
<file path=[Content_Types].xml><?xml version="1.0" encoding="utf-8"?>
<Types xmlns="http://schemas.openxmlformats.org/package/2006/content-types">
  <Default Extension="png" ContentType="image/png"/>
  <Default Extension="bin" ContentType="application/vnd.openxmlformats-officedocument.oleObject"/>
  <Default Extension="tmp"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2.xml" ContentType="application/vnd.openxmlformats-officedocument.theme+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3.xml" ContentType="application/vnd.openxmlformats-officedocument.theme+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theme/theme4.xml" ContentType="application/vnd.openxmlformats-officedocument.theme+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theme/theme5.xml" ContentType="application/vnd.openxmlformats-officedocument.theme+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theme/theme6.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theme/theme7.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theme/theme8.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theme/theme9.xml" ContentType="application/vnd.openxmlformats-officedocument.theme+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theme/theme10.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heme/theme11.xml" ContentType="application/vnd.openxmlformats-officedocument.theme+xml"/>
  <Override PartName="/ppt/theme/theme1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tags/tag9.xml" ContentType="application/vnd.openxmlformats-officedocument.presentationml.tags+xml"/>
  <Override PartName="/ppt/notesSlides/notesSlide59.xml" ContentType="application/vnd.openxmlformats-officedocument.presentationml.notesSlide+xml"/>
  <Override PartName="/ppt/tags/tag10.xml" ContentType="application/vnd.openxmlformats-officedocument.presentationml.tags+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embedTrueTypeFonts="1" saveSubsetFonts="1">
  <p:sldMasterIdLst>
    <p:sldMasterId id="2147483660" r:id="rId1"/>
    <p:sldMasterId id="2147483724" r:id="rId2"/>
    <p:sldMasterId id="2147483749" r:id="rId3"/>
    <p:sldMasterId id="2147483773" r:id="rId4"/>
    <p:sldMasterId id="2147483792" r:id="rId5"/>
    <p:sldMasterId id="2147483823" r:id="rId6"/>
    <p:sldMasterId id="2147483842" r:id="rId7"/>
    <p:sldMasterId id="2147483861" r:id="rId8"/>
    <p:sldMasterId id="2147483880" r:id="rId9"/>
    <p:sldMasterId id="2147483892" r:id="rId10"/>
  </p:sldMasterIdLst>
  <p:notesMasterIdLst>
    <p:notesMasterId r:id="rId74"/>
  </p:notesMasterIdLst>
  <p:handoutMasterIdLst>
    <p:handoutMasterId r:id="rId75"/>
  </p:handoutMasterIdLst>
  <p:sldIdLst>
    <p:sldId id="271" r:id="rId11"/>
    <p:sldId id="256" r:id="rId12"/>
    <p:sldId id="304" r:id="rId13"/>
    <p:sldId id="257" r:id="rId14"/>
    <p:sldId id="259" r:id="rId15"/>
    <p:sldId id="260" r:id="rId16"/>
    <p:sldId id="261" r:id="rId17"/>
    <p:sldId id="262" r:id="rId18"/>
    <p:sldId id="263" r:id="rId19"/>
    <p:sldId id="264" r:id="rId20"/>
    <p:sldId id="265" r:id="rId21"/>
    <p:sldId id="266" r:id="rId22"/>
    <p:sldId id="267" r:id="rId23"/>
    <p:sldId id="268" r:id="rId24"/>
    <p:sldId id="269" r:id="rId25"/>
    <p:sldId id="270" r:id="rId26"/>
    <p:sldId id="305" r:id="rId27"/>
    <p:sldId id="272" r:id="rId28"/>
    <p:sldId id="318" r:id="rId29"/>
    <p:sldId id="273" r:id="rId30"/>
    <p:sldId id="274" r:id="rId31"/>
    <p:sldId id="275" r:id="rId32"/>
    <p:sldId id="276" r:id="rId33"/>
    <p:sldId id="277" r:id="rId34"/>
    <p:sldId id="278" r:id="rId35"/>
    <p:sldId id="279" r:id="rId36"/>
    <p:sldId id="280" r:id="rId37"/>
    <p:sldId id="281" r:id="rId38"/>
    <p:sldId id="282" r:id="rId39"/>
    <p:sldId id="283" r:id="rId40"/>
    <p:sldId id="284" r:id="rId41"/>
    <p:sldId id="285" r:id="rId42"/>
    <p:sldId id="286" r:id="rId43"/>
    <p:sldId id="287" r:id="rId44"/>
    <p:sldId id="288" r:id="rId45"/>
    <p:sldId id="289" r:id="rId46"/>
    <p:sldId id="290" r:id="rId47"/>
    <p:sldId id="258" r:id="rId48"/>
    <p:sldId id="291" r:id="rId49"/>
    <p:sldId id="292" r:id="rId50"/>
    <p:sldId id="293" r:id="rId51"/>
    <p:sldId id="294" r:id="rId52"/>
    <p:sldId id="295" r:id="rId53"/>
    <p:sldId id="296" r:id="rId54"/>
    <p:sldId id="306" r:id="rId55"/>
    <p:sldId id="307" r:id="rId56"/>
    <p:sldId id="297" r:id="rId57"/>
    <p:sldId id="313" r:id="rId58"/>
    <p:sldId id="314" r:id="rId59"/>
    <p:sldId id="308" r:id="rId60"/>
    <p:sldId id="319" r:id="rId61"/>
    <p:sldId id="298" r:id="rId62"/>
    <p:sldId id="317" r:id="rId63"/>
    <p:sldId id="316" r:id="rId64"/>
    <p:sldId id="309" r:id="rId65"/>
    <p:sldId id="310" r:id="rId66"/>
    <p:sldId id="311" r:id="rId67"/>
    <p:sldId id="312" r:id="rId68"/>
    <p:sldId id="299" r:id="rId69"/>
    <p:sldId id="300" r:id="rId70"/>
    <p:sldId id="301" r:id="rId71"/>
    <p:sldId id="302" r:id="rId72"/>
    <p:sldId id="303" r:id="rId73"/>
  </p:sldIdLst>
  <p:sldSz cx="9144000" cy="6858000" type="screen4x3"/>
  <p:notesSz cx="6858000" cy="9144000"/>
  <p:embeddedFontLst>
    <p:embeddedFont>
      <p:font typeface="Verdana" panose="020B0604030504040204" pitchFamily="34" charset="0"/>
      <p:regular r:id="rId76"/>
      <p:bold r:id="rId77"/>
      <p:italic r:id="rId78"/>
      <p:boldItalic r:id="rId79"/>
    </p:embeddedFont>
    <p:embeddedFont>
      <p:font typeface="Segoe UI Semilight" panose="020B0402040204020203" pitchFamily="34" charset="0"/>
      <p:regular r:id="rId80"/>
      <p:italic r:id="rId81"/>
    </p:embeddedFont>
    <p:embeddedFont>
      <p:font typeface="MS PGothic" panose="020B0600070205080204" pitchFamily="34" charset="-128"/>
      <p:regular r:id="rId82"/>
    </p:embeddedFont>
    <p:embeddedFont>
      <p:font typeface="Segoe UI Historic" panose="020B0502040204020203" pitchFamily="34" charset="0"/>
      <p:regular r:id="rId83"/>
    </p:embeddedFont>
    <p:embeddedFont>
      <p:font typeface="Segoe UI Semibold" panose="020B0702040204020203" pitchFamily="34" charset="0"/>
      <p:bold r:id="rId84"/>
      <p:boldItalic r:id="rId85"/>
    </p:embeddedFont>
    <p:embeddedFont>
      <p:font typeface="Calibri" panose="020F0502020204030204" pitchFamily="34" charset="0"/>
      <p:regular r:id="rId86"/>
      <p:bold r:id="rId87"/>
      <p:italic r:id="rId88"/>
      <p:boldItalic r:id="rId89"/>
    </p:embeddedFont>
    <p:embeddedFont>
      <p:font typeface="Wingdings 3" panose="05040102010807070707" pitchFamily="18" charset="2"/>
      <p:regular r:id="rId90"/>
    </p:embeddedFont>
    <p:embeddedFont>
      <p:font typeface="Consolas" panose="020B0609020204030204" pitchFamily="49" charset="0"/>
      <p:regular r:id="rId91"/>
      <p:bold r:id="rId92"/>
      <p:italic r:id="rId93"/>
      <p:boldItalic r:id="rId94"/>
    </p:embeddedFont>
    <p:embeddedFont>
      <p:font typeface="Calibri Light" panose="020F0302020204030204" pitchFamily="34" charset="0"/>
      <p:regular r:id="rId95"/>
      <p:italic r:id="rId96"/>
    </p:embeddedFont>
    <p:embeddedFont>
      <p:font typeface="MS PGothic" panose="020B0600070205080204" pitchFamily="34" charset="-128"/>
      <p:regular r:id="rId82"/>
    </p:embeddedFont>
    <p:embeddedFont>
      <p:font typeface="Segoe UI Light" panose="020B0502040204020203" pitchFamily="34" charset="0"/>
      <p:regular r:id="rId97"/>
      <p:italic r:id="rId98"/>
    </p:embeddedFont>
    <p:embeddedFont>
      <p:font typeface="Segoe UI" panose="020B0502040204020203" pitchFamily="34" charset="0"/>
      <p:regular r:id="rId99"/>
      <p:bold r:id="rId100"/>
      <p:italic r:id="rId101"/>
      <p:boldItalic r:id="rId102"/>
    </p:embeddedFont>
  </p:embeddedFontLst>
  <p:defaultTex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399FF"/>
    <a:srgbClr val="9A57CD"/>
    <a:srgbClr val="669900"/>
    <a:srgbClr val="0070C0"/>
    <a:srgbClr val="7AB0F2"/>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SorterView">
  <p:normalViewPr horzBarState="maximized">
    <p:restoredLeft sz="19122" autoAdjust="0"/>
    <p:restoredTop sz="94614" autoAdjust="0"/>
  </p:normalViewPr>
  <p:slideViewPr>
    <p:cSldViewPr snapToGrid="0">
      <p:cViewPr varScale="1">
        <p:scale>
          <a:sx n="83" d="100"/>
          <a:sy n="83" d="100"/>
        </p:scale>
        <p:origin x="876" y="33"/>
      </p:cViewPr>
      <p:guideLst/>
    </p:cSldViewPr>
  </p:slideViewPr>
  <p:notesTextViewPr>
    <p:cViewPr>
      <p:scale>
        <a:sx n="1" d="1"/>
        <a:sy n="1" d="1"/>
      </p:scale>
      <p:origin x="0" y="0"/>
    </p:cViewPr>
  </p:notesTextViewPr>
  <p:sorterViewPr>
    <p:cViewPr>
      <p:scale>
        <a:sx n="100" d="100"/>
        <a:sy n="100" d="100"/>
      </p:scale>
      <p:origin x="0" y="0"/>
    </p:cViewPr>
  </p:sorterViewPr>
  <p:notesViewPr>
    <p:cSldViewPr snapToGrid="0">
      <p:cViewPr varScale="1">
        <p:scale>
          <a:sx n="80" d="100"/>
          <a:sy n="80" d="100"/>
        </p:scale>
        <p:origin x="3918" y="84"/>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6.xml"/><Relationship Id="rId21" Type="http://schemas.openxmlformats.org/officeDocument/2006/relationships/slide" Target="slides/slide11.xml"/><Relationship Id="rId42" Type="http://schemas.openxmlformats.org/officeDocument/2006/relationships/slide" Target="slides/slide32.xml"/><Relationship Id="rId47" Type="http://schemas.openxmlformats.org/officeDocument/2006/relationships/slide" Target="slides/slide37.xml"/><Relationship Id="rId63" Type="http://schemas.openxmlformats.org/officeDocument/2006/relationships/slide" Target="slides/slide53.xml"/><Relationship Id="rId68" Type="http://schemas.openxmlformats.org/officeDocument/2006/relationships/slide" Target="slides/slide58.xml"/><Relationship Id="rId84" Type="http://schemas.openxmlformats.org/officeDocument/2006/relationships/font" Target="fonts/font9.fntdata"/><Relationship Id="rId89" Type="http://schemas.openxmlformats.org/officeDocument/2006/relationships/font" Target="fonts/font14.fntdata"/><Relationship Id="rId16" Type="http://schemas.openxmlformats.org/officeDocument/2006/relationships/slide" Target="slides/slide6.xml"/><Relationship Id="rId11" Type="http://schemas.openxmlformats.org/officeDocument/2006/relationships/slide" Target="slides/slide1.xml"/><Relationship Id="rId32" Type="http://schemas.openxmlformats.org/officeDocument/2006/relationships/slide" Target="slides/slide22.xml"/><Relationship Id="rId37" Type="http://schemas.openxmlformats.org/officeDocument/2006/relationships/slide" Target="slides/slide27.xml"/><Relationship Id="rId53" Type="http://schemas.openxmlformats.org/officeDocument/2006/relationships/slide" Target="slides/slide43.xml"/><Relationship Id="rId58" Type="http://schemas.openxmlformats.org/officeDocument/2006/relationships/slide" Target="slides/slide48.xml"/><Relationship Id="rId74" Type="http://schemas.openxmlformats.org/officeDocument/2006/relationships/notesMaster" Target="notesMasters/notesMaster1.xml"/><Relationship Id="rId79" Type="http://schemas.openxmlformats.org/officeDocument/2006/relationships/font" Target="fonts/font4.fntdata"/><Relationship Id="rId102" Type="http://schemas.openxmlformats.org/officeDocument/2006/relationships/font" Target="fonts/font27.fntdata"/><Relationship Id="rId5" Type="http://schemas.openxmlformats.org/officeDocument/2006/relationships/slideMaster" Target="slideMasters/slideMaster5.xml"/><Relationship Id="rId90" Type="http://schemas.openxmlformats.org/officeDocument/2006/relationships/font" Target="fonts/font15.fntdata"/><Relationship Id="rId95" Type="http://schemas.openxmlformats.org/officeDocument/2006/relationships/font" Target="fonts/font20.fntdata"/><Relationship Id="rId22" Type="http://schemas.openxmlformats.org/officeDocument/2006/relationships/slide" Target="slides/slide12.xml"/><Relationship Id="rId27" Type="http://schemas.openxmlformats.org/officeDocument/2006/relationships/slide" Target="slides/slide17.xml"/><Relationship Id="rId43" Type="http://schemas.openxmlformats.org/officeDocument/2006/relationships/slide" Target="slides/slide33.xml"/><Relationship Id="rId48" Type="http://schemas.openxmlformats.org/officeDocument/2006/relationships/slide" Target="slides/slide38.xml"/><Relationship Id="rId64" Type="http://schemas.openxmlformats.org/officeDocument/2006/relationships/slide" Target="slides/slide54.xml"/><Relationship Id="rId69" Type="http://schemas.openxmlformats.org/officeDocument/2006/relationships/slide" Target="slides/slide59.xml"/><Relationship Id="rId80" Type="http://schemas.openxmlformats.org/officeDocument/2006/relationships/font" Target="fonts/font5.fntdata"/><Relationship Id="rId85" Type="http://schemas.openxmlformats.org/officeDocument/2006/relationships/font" Target="fonts/font10.fntdata"/><Relationship Id="rId12" Type="http://schemas.openxmlformats.org/officeDocument/2006/relationships/slide" Target="slides/slide2.xml"/><Relationship Id="rId17" Type="http://schemas.openxmlformats.org/officeDocument/2006/relationships/slide" Target="slides/slide7.xml"/><Relationship Id="rId33" Type="http://schemas.openxmlformats.org/officeDocument/2006/relationships/slide" Target="slides/slide23.xml"/><Relationship Id="rId38" Type="http://schemas.openxmlformats.org/officeDocument/2006/relationships/slide" Target="slides/slide28.xml"/><Relationship Id="rId59" Type="http://schemas.openxmlformats.org/officeDocument/2006/relationships/slide" Target="slides/slide49.xml"/><Relationship Id="rId103" Type="http://schemas.openxmlformats.org/officeDocument/2006/relationships/presProps" Target="presProps.xml"/><Relationship Id="rId20" Type="http://schemas.openxmlformats.org/officeDocument/2006/relationships/slide" Target="slides/slide10.xml"/><Relationship Id="rId41" Type="http://schemas.openxmlformats.org/officeDocument/2006/relationships/slide" Target="slides/slide31.xml"/><Relationship Id="rId54" Type="http://schemas.openxmlformats.org/officeDocument/2006/relationships/slide" Target="slides/slide44.xml"/><Relationship Id="rId62" Type="http://schemas.openxmlformats.org/officeDocument/2006/relationships/slide" Target="slides/slide52.xml"/><Relationship Id="rId70" Type="http://schemas.openxmlformats.org/officeDocument/2006/relationships/slide" Target="slides/slide60.xml"/><Relationship Id="rId75" Type="http://schemas.openxmlformats.org/officeDocument/2006/relationships/handoutMaster" Target="handoutMasters/handoutMaster1.xml"/><Relationship Id="rId83" Type="http://schemas.openxmlformats.org/officeDocument/2006/relationships/font" Target="fonts/font8.fntdata"/><Relationship Id="rId88" Type="http://schemas.openxmlformats.org/officeDocument/2006/relationships/font" Target="fonts/font13.fntdata"/><Relationship Id="rId91" Type="http://schemas.openxmlformats.org/officeDocument/2006/relationships/font" Target="fonts/font16.fntdata"/><Relationship Id="rId96" Type="http://schemas.openxmlformats.org/officeDocument/2006/relationships/font" Target="fonts/font21.fntdata"/><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openxmlformats.org/officeDocument/2006/relationships/slide" Target="slides/slide26.xml"/><Relationship Id="rId49" Type="http://schemas.openxmlformats.org/officeDocument/2006/relationships/slide" Target="slides/slide39.xml"/><Relationship Id="rId57" Type="http://schemas.openxmlformats.org/officeDocument/2006/relationships/slide" Target="slides/slide47.xml"/><Relationship Id="rId106" Type="http://schemas.openxmlformats.org/officeDocument/2006/relationships/tableStyles" Target="tableStyles.xml"/><Relationship Id="rId10" Type="http://schemas.openxmlformats.org/officeDocument/2006/relationships/slideMaster" Target="slideMasters/slideMaster10.xml"/><Relationship Id="rId31" Type="http://schemas.openxmlformats.org/officeDocument/2006/relationships/slide" Target="slides/slide21.xml"/><Relationship Id="rId44" Type="http://schemas.openxmlformats.org/officeDocument/2006/relationships/slide" Target="slides/slide34.xml"/><Relationship Id="rId52" Type="http://schemas.openxmlformats.org/officeDocument/2006/relationships/slide" Target="slides/slide42.xml"/><Relationship Id="rId60" Type="http://schemas.openxmlformats.org/officeDocument/2006/relationships/slide" Target="slides/slide50.xml"/><Relationship Id="rId65" Type="http://schemas.openxmlformats.org/officeDocument/2006/relationships/slide" Target="slides/slide55.xml"/><Relationship Id="rId73" Type="http://schemas.openxmlformats.org/officeDocument/2006/relationships/slide" Target="slides/slide63.xml"/><Relationship Id="rId78" Type="http://schemas.openxmlformats.org/officeDocument/2006/relationships/font" Target="fonts/font3.fntdata"/><Relationship Id="rId81" Type="http://schemas.openxmlformats.org/officeDocument/2006/relationships/font" Target="fonts/font6.fntdata"/><Relationship Id="rId86" Type="http://schemas.openxmlformats.org/officeDocument/2006/relationships/font" Target="fonts/font11.fntdata"/><Relationship Id="rId94" Type="http://schemas.openxmlformats.org/officeDocument/2006/relationships/font" Target="fonts/font19.fntdata"/><Relationship Id="rId99" Type="http://schemas.openxmlformats.org/officeDocument/2006/relationships/font" Target="fonts/font24.fntdata"/><Relationship Id="rId101" Type="http://schemas.openxmlformats.org/officeDocument/2006/relationships/font" Target="fonts/font26.fntdata"/><Relationship Id="rId4" Type="http://schemas.openxmlformats.org/officeDocument/2006/relationships/slideMaster" Target="slideMasters/slideMaster4.xml"/><Relationship Id="rId9" Type="http://schemas.openxmlformats.org/officeDocument/2006/relationships/slideMaster" Target="slideMasters/slideMaster9.xml"/><Relationship Id="rId13" Type="http://schemas.openxmlformats.org/officeDocument/2006/relationships/slide" Target="slides/slide3.xml"/><Relationship Id="rId18" Type="http://schemas.openxmlformats.org/officeDocument/2006/relationships/slide" Target="slides/slide8.xml"/><Relationship Id="rId39" Type="http://schemas.openxmlformats.org/officeDocument/2006/relationships/slide" Target="slides/slide29.xml"/><Relationship Id="rId34" Type="http://schemas.openxmlformats.org/officeDocument/2006/relationships/slide" Target="slides/slide24.xml"/><Relationship Id="rId50" Type="http://schemas.openxmlformats.org/officeDocument/2006/relationships/slide" Target="slides/slide40.xml"/><Relationship Id="rId55" Type="http://schemas.openxmlformats.org/officeDocument/2006/relationships/slide" Target="slides/slide45.xml"/><Relationship Id="rId76" Type="http://schemas.openxmlformats.org/officeDocument/2006/relationships/font" Target="fonts/font1.fntdata"/><Relationship Id="rId97" Type="http://schemas.openxmlformats.org/officeDocument/2006/relationships/font" Target="fonts/font22.fntdata"/><Relationship Id="rId104" Type="http://schemas.openxmlformats.org/officeDocument/2006/relationships/viewProps" Target="viewProps.xml"/><Relationship Id="rId7" Type="http://schemas.openxmlformats.org/officeDocument/2006/relationships/slideMaster" Target="slideMasters/slideMaster7.xml"/><Relationship Id="rId71" Type="http://schemas.openxmlformats.org/officeDocument/2006/relationships/slide" Target="slides/slide61.xml"/><Relationship Id="rId92" Type="http://schemas.openxmlformats.org/officeDocument/2006/relationships/font" Target="fonts/font17.fntdata"/><Relationship Id="rId2" Type="http://schemas.openxmlformats.org/officeDocument/2006/relationships/slideMaster" Target="slideMasters/slideMaster2.xml"/><Relationship Id="rId29" Type="http://schemas.openxmlformats.org/officeDocument/2006/relationships/slide" Target="slides/slide19.xml"/><Relationship Id="rId24" Type="http://schemas.openxmlformats.org/officeDocument/2006/relationships/slide" Target="slides/slide14.xml"/><Relationship Id="rId40" Type="http://schemas.openxmlformats.org/officeDocument/2006/relationships/slide" Target="slides/slide30.xml"/><Relationship Id="rId45" Type="http://schemas.openxmlformats.org/officeDocument/2006/relationships/slide" Target="slides/slide35.xml"/><Relationship Id="rId66" Type="http://schemas.openxmlformats.org/officeDocument/2006/relationships/slide" Target="slides/slide56.xml"/><Relationship Id="rId87" Type="http://schemas.openxmlformats.org/officeDocument/2006/relationships/font" Target="fonts/font12.fntdata"/><Relationship Id="rId61" Type="http://schemas.openxmlformats.org/officeDocument/2006/relationships/slide" Target="slides/slide51.xml"/><Relationship Id="rId82" Type="http://schemas.openxmlformats.org/officeDocument/2006/relationships/font" Target="fonts/font7.fntdata"/><Relationship Id="rId19" Type="http://schemas.openxmlformats.org/officeDocument/2006/relationships/slide" Target="slides/slide9.xml"/><Relationship Id="rId14" Type="http://schemas.openxmlformats.org/officeDocument/2006/relationships/slide" Target="slides/slide4.xml"/><Relationship Id="rId30" Type="http://schemas.openxmlformats.org/officeDocument/2006/relationships/slide" Target="slides/slide20.xml"/><Relationship Id="rId35" Type="http://schemas.openxmlformats.org/officeDocument/2006/relationships/slide" Target="slides/slide25.xml"/><Relationship Id="rId56" Type="http://schemas.openxmlformats.org/officeDocument/2006/relationships/slide" Target="slides/slide46.xml"/><Relationship Id="rId77" Type="http://schemas.openxmlformats.org/officeDocument/2006/relationships/font" Target="fonts/font2.fntdata"/><Relationship Id="rId100" Type="http://schemas.openxmlformats.org/officeDocument/2006/relationships/font" Target="fonts/font25.fntdata"/><Relationship Id="rId105" Type="http://schemas.openxmlformats.org/officeDocument/2006/relationships/theme" Target="theme/theme1.xml"/><Relationship Id="rId8" Type="http://schemas.openxmlformats.org/officeDocument/2006/relationships/slideMaster" Target="slideMasters/slideMaster8.xml"/><Relationship Id="rId51" Type="http://schemas.openxmlformats.org/officeDocument/2006/relationships/slide" Target="slides/slide41.xml"/><Relationship Id="rId72" Type="http://schemas.openxmlformats.org/officeDocument/2006/relationships/slide" Target="slides/slide62.xml"/><Relationship Id="rId93" Type="http://schemas.openxmlformats.org/officeDocument/2006/relationships/font" Target="fonts/font18.fntdata"/><Relationship Id="rId98" Type="http://schemas.openxmlformats.org/officeDocument/2006/relationships/font" Target="fonts/font23.fntdata"/><Relationship Id="rId3" Type="http://schemas.openxmlformats.org/officeDocument/2006/relationships/slideMaster" Target="slideMasters/slideMaster3.xml"/><Relationship Id="rId25" Type="http://schemas.openxmlformats.org/officeDocument/2006/relationships/slide" Target="slides/slide15.xml"/><Relationship Id="rId46" Type="http://schemas.openxmlformats.org/officeDocument/2006/relationships/slide" Target="slides/slide36.xml"/><Relationship Id="rId67" Type="http://schemas.openxmlformats.org/officeDocument/2006/relationships/slide" Target="slides/slide57.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2.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3870CA56-E1F1-4304-993E-F3428D50E666}"/>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13D9495E-08B6-4F59-A3F3-9FD12300E122}"/>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7D784404-57E5-4341-9230-5EC072B8C3C5}" type="datetimeFigureOut">
              <a:rPr lang="en-US" smtClean="0"/>
              <a:t>6/5/2018</a:t>
            </a:fld>
            <a:endParaRPr lang="en-US"/>
          </a:p>
        </p:txBody>
      </p:sp>
      <p:sp>
        <p:nvSpPr>
          <p:cNvPr id="4" name="Footer Placeholder 3">
            <a:extLst>
              <a:ext uri="{FF2B5EF4-FFF2-40B4-BE49-F238E27FC236}">
                <a16:creationId xmlns:a16="http://schemas.microsoft.com/office/drawing/2014/main" id="{D110874D-4F40-4590-AD0F-D9901998A10A}"/>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CEC9182F-5CBD-4D85-8594-DD19B01D8A18}"/>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4E07D361-57B1-4BF7-8791-79A35145D1DB}" type="slidenum">
              <a:rPr lang="en-US" smtClean="0"/>
              <a:t>‹#›</a:t>
            </a:fld>
            <a:endParaRPr lang="en-US"/>
          </a:p>
        </p:txBody>
      </p:sp>
    </p:spTree>
    <p:extLst>
      <p:ext uri="{BB962C8B-B14F-4D97-AF65-F5344CB8AC3E}">
        <p14:creationId xmlns:p14="http://schemas.microsoft.com/office/powerpoint/2010/main" val="409120083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933EFA3-31EF-403B-8080-9776000D59FF}" type="datetimeFigureOut">
              <a:rPr lang="en-US" smtClean="0"/>
              <a:t>6/5/2018</a:t>
            </a:fld>
            <a:endParaRPr lang="en-US" dirty="0"/>
          </a:p>
        </p:txBody>
      </p:sp>
      <p:sp>
        <p:nvSpPr>
          <p:cNvPr id="4" name="Slide Image Placeholder 3"/>
          <p:cNvSpPr>
            <a:spLocks noGrp="1" noRot="1" noChangeAspect="1"/>
          </p:cNvSpPr>
          <p:nvPr>
            <p:ph type="sldImg" idx="2"/>
          </p:nvPr>
        </p:nvSpPr>
        <p:spPr>
          <a:xfrm>
            <a:off x="4325112" y="73152"/>
            <a:ext cx="2468880" cy="185166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310896" y="2093976"/>
            <a:ext cx="6153912" cy="660400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19E9337-0361-41F3-9C17-1F4FFD1214BA}" type="slidenum">
              <a:rPr lang="en-US" smtClean="0"/>
              <a:t>‹#›</a:t>
            </a:fld>
            <a:endParaRPr lang="en-US" dirty="0"/>
          </a:p>
        </p:txBody>
      </p:sp>
    </p:spTree>
    <p:extLst>
      <p:ext uri="{BB962C8B-B14F-4D97-AF65-F5344CB8AC3E}">
        <p14:creationId xmlns:p14="http://schemas.microsoft.com/office/powerpoint/2010/main" val="131672534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4" name="Slide Number Placeholder 3"/>
          <p:cNvSpPr>
            <a:spLocks noGrp="1"/>
          </p:cNvSpPr>
          <p:nvPr>
            <p:ph type="sldNum" sz="quarter" idx="10"/>
          </p:nvPr>
        </p:nvSpPr>
        <p:spPr/>
        <p:txBody>
          <a:bodyPr/>
          <a:lstStyle/>
          <a:p>
            <a:fld id="{13F0F35F-DD44-4607-AEC1-49D7A4BC4066}" type="slidenum">
              <a:rPr lang="en-US" smtClean="0"/>
              <a:pPr/>
              <a:t>1</a:t>
            </a:fld>
            <a:endParaRPr lang="en-US" dirty="0"/>
          </a:p>
        </p:txBody>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19486444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1123090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1801540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588359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3758615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854055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718549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794181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5877423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9001540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4022566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F741C27-7160-4856-A60F-0847093CEDE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5526562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2040101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194040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4961518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1059344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7140202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2179117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699925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9064080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5348048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90986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400" b="1" dirty="0">
                <a:latin typeface="Segoe UI Light" pitchFamily="34" charset="0"/>
                <a:ea typeface="ＭＳ Ｐゴシック" charset="0"/>
                <a:cs typeface="ＭＳ Ｐゴシック" charset="0"/>
              </a:rPr>
              <a:t>Why this Slide:</a:t>
            </a:r>
          </a:p>
          <a:p>
            <a:pPr defTabSz="950141">
              <a:defRPr/>
            </a:pPr>
            <a:r>
              <a:rPr lang="en-US" sz="1400" dirty="0">
                <a:latin typeface="Segoe UI Light" pitchFamily="34" charset="0"/>
                <a:ea typeface="ＭＳ Ｐゴシック" charset="0"/>
                <a:cs typeface="ＭＳ Ｐゴシック" charset="0"/>
              </a:rPr>
              <a:t>It shows we have a very broad platform.  It about BOTH IaaS and PaaS, that these work together.  It shows that we continue to lead in world class IT capabilities and that there’s really nothing missing.</a:t>
            </a:r>
          </a:p>
          <a:p>
            <a:pPr lvl="0"/>
            <a:endParaRPr lang="en-US" sz="1400" b="1" dirty="0">
              <a:latin typeface="Segoe UI Light" pitchFamily="34" charset="0"/>
              <a:ea typeface="ＭＳ Ｐゴシック" charset="0"/>
              <a:cs typeface="ＭＳ Ｐゴシック" charset="0"/>
            </a:endParaRPr>
          </a:p>
          <a:p>
            <a:pPr lvl="0"/>
            <a:r>
              <a:rPr lang="en-US" sz="1400" b="1" dirty="0">
                <a:latin typeface="Segoe UI Light" pitchFamily="34" charset="0"/>
                <a:ea typeface="ＭＳ Ｐゴシック" charset="0"/>
                <a:cs typeface="ＭＳ Ｐゴシック" charset="0"/>
              </a:rPr>
              <a:t>Key Points:</a:t>
            </a:r>
          </a:p>
          <a:p>
            <a:pPr marL="174708" indent="-174708">
              <a:buFont typeface="Arial" panose="020B0604020202020204" pitchFamily="34" charset="0"/>
              <a:buChar char="•"/>
            </a:pPr>
            <a:r>
              <a:rPr lang="en-US" sz="1400" dirty="0">
                <a:latin typeface="Segoe UI Light" pitchFamily="34" charset="0"/>
                <a:ea typeface="ＭＳ Ｐゴシック" charset="0"/>
                <a:cs typeface="ＭＳ Ｐゴシック" charset="0"/>
              </a:rPr>
              <a:t>We have already seen how the Azure Platform is IaaS + Pass – but I want you to understand that this is a huge number of capabilities – IT building blocks if you will.</a:t>
            </a:r>
          </a:p>
          <a:p>
            <a:pPr marL="174708" indent="-174708">
              <a:buFont typeface="Arial" panose="020B0604020202020204" pitchFamily="34" charset="0"/>
              <a:buChar char="•"/>
            </a:pPr>
            <a:r>
              <a:rPr lang="en-US" sz="1400" dirty="0">
                <a:latin typeface="Segoe UI Light" pitchFamily="34" charset="0"/>
                <a:ea typeface="ＭＳ Ｐゴシック" charset="0"/>
                <a:cs typeface="ＭＳ Ｐゴシック" charset="0"/>
              </a:rPr>
              <a:t>Every one of these blocks you provision anytime, self-service anywhere in the world 24x7.  You pay for what you use, you can get more or less anytime and you can fully automate everything…</a:t>
            </a:r>
          </a:p>
          <a:p>
            <a:pPr marL="174708" indent="-174708">
              <a:buFont typeface="Arial" panose="020B0604020202020204" pitchFamily="34" charset="0"/>
              <a:buChar char="•"/>
            </a:pPr>
            <a:r>
              <a:rPr lang="en-US" sz="1400" dirty="0">
                <a:latin typeface="Segoe UI Light" pitchFamily="34" charset="0"/>
                <a:ea typeface="ＭＳ Ｐゴシック" charset="0"/>
                <a:cs typeface="ＭＳ Ｐゴシック" charset="0"/>
              </a:rPr>
              <a:t>DON’T spent too much time on this slide – you are going to DEMO (aren’t you!!!)…  DON’T go through each block…</a:t>
            </a:r>
          </a:p>
          <a:p>
            <a:pPr>
              <a:lnSpc>
                <a:spcPct val="107000"/>
              </a:lnSpc>
              <a:spcAft>
                <a:spcPts val="815"/>
              </a:spcAft>
            </a:pPr>
            <a:endParaRPr lang="en-US" sz="1400" dirty="0"/>
          </a:p>
          <a:p>
            <a:pPr>
              <a:lnSpc>
                <a:spcPct val="107000"/>
              </a:lnSpc>
              <a:spcAft>
                <a:spcPts val="815"/>
              </a:spcAft>
            </a:pPr>
            <a:r>
              <a:rPr lang="en-US" sz="1400" b="1" dirty="0"/>
              <a:t>Transition to NEXT Slide:</a:t>
            </a:r>
            <a:r>
              <a:rPr lang="en-US" sz="1400" dirty="0"/>
              <a:t>  Make the build go backwards to show JUST IaaS and then you will go to the demo to show it.</a:t>
            </a:r>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1EFE40D-E08A-464F-96D6-CEB0B2DD69BC}"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6742819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1055758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8674485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2485330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3420338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255527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6341209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954966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9024203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t>To make this vision a reality, we Cortana Intelligence Suite – a suite of services in Intelligent cloud that transform data into intelligent insights and actions. </a:t>
            </a:r>
            <a:endParaRPr lang="en-US" dirty="0"/>
          </a:p>
        </p:txBody>
      </p:sp>
      <p:sp>
        <p:nvSpPr>
          <p:cNvPr id="4" name="Header Placeholder 3"/>
          <p:cNvSpPr>
            <a:spLocks noGrp="1"/>
          </p:cNvSpPr>
          <p:nvPr>
            <p:ph type="hdr" sz="quarter" idx="10"/>
          </p:nvPr>
        </p:nvSpPr>
        <p:spPr/>
        <p:txBody>
          <a:bodyPr/>
          <a:lstStyle/>
          <a:p>
            <a:pPr marL="0" marR="0" lvl="0" indent="0" algn="l" defTabSz="95040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31467"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gradFill>
                  <a:gsLst>
                    <a:gs pos="0">
                      <a:prstClr val="black"/>
                    </a:gs>
                    <a:gs pos="100000">
                      <a:prstClr val="black"/>
                    </a:gs>
                  </a:gsLst>
                  <a:lin ang="5400000" scaled="0"/>
                </a:gradFill>
                <a:effectLst/>
                <a:uLnTx/>
                <a:uFillTx/>
                <a:latin typeface="Calibri"/>
                <a:ea typeface="Segoe UI" pitchFamily="34" charset="0"/>
                <a:cs typeface="+mn-cs"/>
              </a:rPr>
              <a:t>© 2014 Microsoft Corporation. All rights reserved. MICROSOFT MAKES NO WARRANTIES, EXPRESS, IMPLIED OR STATUTORY, AS TO THE INFORMATION IN THIS PRESENTATION.</a:t>
            </a:r>
            <a:endParaRPr kumimoji="0" lang="en-US" sz="1800" b="0" i="0" u="none" strike="noStrike" kern="0" cap="none" spc="0" normalizeH="0" baseline="0" noProof="0" dirty="0">
              <a:ln>
                <a:noFill/>
              </a:ln>
              <a:gradFill>
                <a:gsLst>
                  <a:gs pos="0">
                    <a:prstClr val="black"/>
                  </a:gs>
                  <a:gs pos="100000">
                    <a:prstClr val="black"/>
                  </a:gs>
                </a:gsLst>
                <a:lin ang="5400000" scaled="0"/>
              </a:gradFill>
              <a:effectLst/>
              <a:uLnTx/>
              <a:uFillTx/>
              <a:latin typeface="Calibri"/>
              <a:ea typeface="Segoe UI" pitchFamily="34" charset="0"/>
              <a:cs typeface="+mn-cs"/>
            </a:endParaRPr>
          </a:p>
        </p:txBody>
      </p:sp>
      <p:sp>
        <p:nvSpPr>
          <p:cNvPr id="6" name="Date Placeholder 5"/>
          <p:cNvSpPr>
            <a:spLocks noGrp="1"/>
          </p:cNvSpPr>
          <p:nvPr>
            <p:ph type="dt" idx="12"/>
          </p:nvPr>
        </p:nvSpPr>
        <p:spPr/>
        <p:txBody>
          <a:bodyPr/>
          <a:lstStyle/>
          <a:p>
            <a:pPr marL="0" marR="0" lvl="0" indent="0" algn="r" defTabSz="950409"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a:ln>
                  <a:noFill/>
                </a:ln>
                <a:solidFill>
                  <a:prstClr val="black"/>
                </a:solidFill>
                <a:effectLst/>
                <a:uLnTx/>
                <a:uFillTx/>
                <a:latin typeface="Calibri" panose="020F0502020204030204"/>
                <a:ea typeface="+mn-ea"/>
                <a:cs typeface="+mn-cs"/>
              </a:rPr>
              <a:pPr marL="0" marR="0" lvl="0" indent="0" algn="r" defTabSz="950409" rtl="0" eaLnBrk="1" fontAlgn="auto" latinLnBrk="0" hangingPunct="1">
                <a:lnSpc>
                  <a:spcPct val="100000"/>
                </a:lnSpc>
                <a:spcBef>
                  <a:spcPts val="0"/>
                </a:spcBef>
                <a:spcAft>
                  <a:spcPts val="0"/>
                </a:spcAft>
                <a:buClrTx/>
                <a:buSzTx/>
                <a:buFontTx/>
                <a:buNone/>
                <a:tabLst/>
                <a:defRPr/>
              </a:pPr>
              <a:t>6/5/2018 7:17 PM</a:t>
            </a:fld>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50409"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a:ln>
                  <a:noFill/>
                </a:ln>
                <a:solidFill>
                  <a:prstClr val="black"/>
                </a:solidFill>
                <a:effectLst/>
                <a:uLnTx/>
                <a:uFillTx/>
                <a:latin typeface="Calibri" panose="020F0502020204030204"/>
                <a:ea typeface="+mn-ea"/>
                <a:cs typeface="+mn-cs"/>
              </a:rPr>
              <a:pPr marL="0" marR="0" lvl="0" indent="0" algn="r" defTabSz="950409" rtl="0" eaLnBrk="1" fontAlgn="auto" latinLnBrk="0" hangingPunct="1">
                <a:lnSpc>
                  <a:spcPct val="100000"/>
                </a:lnSpc>
                <a:spcBef>
                  <a:spcPts val="0"/>
                </a:spcBef>
                <a:spcAft>
                  <a:spcPts val="0"/>
                </a:spcAft>
                <a:buClrTx/>
                <a:buSzTx/>
                <a:buFontTx/>
                <a:buNone/>
                <a:tabLst/>
                <a:defRPr/>
              </a:pPr>
              <a:t>38</a:t>
            </a:fld>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24702870"/>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2189320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r>
              <a:rPr lang="en-US" dirty="0"/>
              <a:t>https://docs.microsoft.com/en-us/azure/storage/common/storage-introduction</a:t>
            </a:r>
          </a:p>
          <a:p>
            <a:r>
              <a:rPr lang="en-US" dirty="0"/>
              <a:t>https://docs.microsoft.com/en-us/azure/storage/</a:t>
            </a:r>
          </a:p>
          <a:p>
            <a:r>
              <a:rPr lang="en-US" dirty="0"/>
              <a:t>https://docs.microsoft.com/en-us/azure/virtual-machines/windows/premium-storage</a:t>
            </a:r>
          </a:p>
          <a:p>
            <a:r>
              <a:rPr lang="en-US" dirty="0"/>
              <a:t>https://docs.microsoft.com/en-us/azure/storage/files/storage-files-introduction</a:t>
            </a:r>
          </a:p>
          <a:p>
            <a:r>
              <a:rPr lang="en-US" dirty="0"/>
              <a:t>Blobs are basically files like those that you store on your computer</a:t>
            </a:r>
          </a:p>
          <a:p>
            <a:r>
              <a:rPr lang="en-US" dirty="0"/>
              <a:t>access them from anywhere in the world using URLs, the REST interface, or one of the Azure SDK storage client libraries. Storage client libraries are available for multiple languages, including Node.js, Java, PHP, Ruby, Python, and .NET.</a:t>
            </a:r>
          </a:p>
          <a:p>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F741C27-7160-4856-A60F-0847093CEDE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07777249"/>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73821471"/>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96369217"/>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30756413"/>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92144678"/>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97200733"/>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dirty="0"/>
              <a:t>Source: https://msdn.microsoft.com/en-us/library/mt169378(v=sql.130).aspx</a:t>
            </a:r>
          </a:p>
          <a:p>
            <a:endParaRPr lang="en-US" sz="1000" dirty="0"/>
          </a:p>
          <a:p>
            <a:r>
              <a:rPr lang="en-US" sz="1000" b="1" dirty="0">
                <a:effectLst/>
              </a:rPr>
              <a:t>Concepts and architecture for Stretch Database</a:t>
            </a:r>
          </a:p>
          <a:p>
            <a:r>
              <a:rPr lang="en-US" sz="1000" b="1" dirty="0">
                <a:effectLst/>
              </a:rPr>
              <a:t>Terms </a:t>
            </a:r>
          </a:p>
          <a:p>
            <a:pPr marL="171450" indent="-171450">
              <a:buFont typeface="Arial" panose="020B0604020202020204" pitchFamily="34" charset="0"/>
              <a:buChar char="•"/>
            </a:pPr>
            <a:r>
              <a:rPr lang="en-US" sz="1000" b="1" dirty="0">
                <a:effectLst/>
              </a:rPr>
              <a:t>Local database</a:t>
            </a:r>
            <a:r>
              <a:rPr lang="en-US" sz="1000" dirty="0">
                <a:effectLst/>
              </a:rPr>
              <a:t>. The on-premises SQL Server 2016 database.</a:t>
            </a:r>
          </a:p>
          <a:p>
            <a:pPr marL="171450" indent="-171450">
              <a:buFont typeface="Arial" panose="020B0604020202020204" pitchFamily="34" charset="0"/>
              <a:buChar char="•"/>
            </a:pPr>
            <a:r>
              <a:rPr lang="en-US" sz="1000" b="1" dirty="0">
                <a:effectLst/>
              </a:rPr>
              <a:t>Remote endpoint</a:t>
            </a:r>
            <a:r>
              <a:rPr lang="en-US" sz="1000" dirty="0">
                <a:effectLst/>
              </a:rPr>
              <a:t>. The location in Microsoft Azure that contains the database remote data. In SQL Server 2016, this is an Azure SQL Database server. This is subject to change in the future.</a:t>
            </a:r>
          </a:p>
          <a:p>
            <a:pPr marL="171450" indent="-171450">
              <a:buFont typeface="Arial" panose="020B0604020202020204" pitchFamily="34" charset="0"/>
              <a:buChar char="•"/>
            </a:pPr>
            <a:r>
              <a:rPr lang="en-US" sz="1000" b="1" dirty="0">
                <a:effectLst/>
              </a:rPr>
              <a:t>Local data</a:t>
            </a:r>
            <a:r>
              <a:rPr lang="en-US" sz="1000" dirty="0">
                <a:effectLst/>
              </a:rPr>
              <a:t>. Data in a database with Stretch Database enabled that will not be moved to Azure based on the Stretch Database configuration of the tables in the database.</a:t>
            </a:r>
          </a:p>
          <a:p>
            <a:pPr marL="171450" indent="-171450">
              <a:buFont typeface="Arial" panose="020B0604020202020204" pitchFamily="34" charset="0"/>
              <a:buChar char="•"/>
            </a:pPr>
            <a:r>
              <a:rPr lang="en-US" sz="1000" b="1" dirty="0">
                <a:effectLst/>
              </a:rPr>
              <a:t>Eligible data</a:t>
            </a:r>
            <a:r>
              <a:rPr lang="en-US" sz="1000" dirty="0">
                <a:effectLst/>
              </a:rPr>
              <a:t>. Data in a database with Stretch Database enabled that has not yet been moved, but will be moved to Azure based on the Stretch Database configuration of the tables in the database. </a:t>
            </a:r>
          </a:p>
          <a:p>
            <a:pPr marL="171450" indent="-171450">
              <a:buFont typeface="Arial" panose="020B0604020202020204" pitchFamily="34" charset="0"/>
              <a:buChar char="•"/>
            </a:pPr>
            <a:r>
              <a:rPr lang="en-US" sz="1000" b="1" dirty="0">
                <a:effectLst/>
              </a:rPr>
              <a:t>Remote data</a:t>
            </a:r>
            <a:r>
              <a:rPr lang="en-US" sz="1000" dirty="0">
                <a:effectLst/>
              </a:rPr>
              <a:t>. Data in a database with Stretch Database enabled that has already been moved to Azure.</a:t>
            </a:r>
          </a:p>
          <a:p>
            <a:endParaRPr lang="en-US" sz="1000" dirty="0">
              <a:effectLst/>
            </a:endParaRPr>
          </a:p>
          <a:p>
            <a:r>
              <a:rPr lang="en-US" sz="1000" b="1" dirty="0">
                <a:effectLst/>
              </a:rPr>
              <a:t>Architecture </a:t>
            </a:r>
          </a:p>
          <a:p>
            <a:r>
              <a:rPr lang="en-US" sz="1000" dirty="0">
                <a:effectLst/>
              </a:rPr>
              <a:t>Stretch Database </a:t>
            </a:r>
            <a:r>
              <a:rPr lang="en-US" sz="1000" dirty="0"/>
              <a:t>uses</a:t>
            </a:r>
            <a:r>
              <a:rPr lang="en-US" sz="1000" dirty="0">
                <a:effectLst/>
              </a:rPr>
              <a:t> the resources in Microsoft Azure to offload archival data storage and query processing.</a:t>
            </a:r>
          </a:p>
          <a:p>
            <a:r>
              <a:rPr lang="en-US" sz="1000" dirty="0">
                <a:effectLst/>
              </a:rPr>
              <a:t>When you enable Stretch Database on a database, it creates a secure linked server definition in the on-premises SQL Server. This linked server definition has the remote endpoint as the target. When you enable Stretch Database on a table in the database, it provisions remote resources and begins to migrate eligible data—if migration is enabled.</a:t>
            </a:r>
          </a:p>
          <a:p>
            <a:r>
              <a:rPr lang="en-US" sz="1000" dirty="0">
                <a:effectLst/>
              </a:rPr>
              <a:t>Queries against tables with Stretch Database automatically enabled to run against both the local database and the remote endpoint. Stretch Database </a:t>
            </a:r>
            <a:r>
              <a:rPr lang="en-US" sz="1000" dirty="0"/>
              <a:t>uses the</a:t>
            </a:r>
            <a:r>
              <a:rPr lang="en-US" sz="1000" dirty="0">
                <a:effectLst/>
              </a:rPr>
              <a:t> processing power in Azure to run queries against remote data by rewriting the query. You can see this rewriting as a “remote query” operator in the new query plan.</a:t>
            </a:r>
          </a:p>
          <a:p>
            <a:endParaRPr lang="en-US" sz="1000" dirty="0">
              <a:effectLst/>
            </a:endParaRPr>
          </a:p>
        </p:txBody>
      </p:sp>
      <p:sp>
        <p:nvSpPr>
          <p:cNvPr id="4" name="Slide Number Placeholder 3"/>
          <p:cNvSpPr>
            <a:spLocks noGrp="1"/>
          </p:cNvSpPr>
          <p:nvPr>
            <p:ph type="sldNum" sz="quarter" idx="10"/>
          </p:nvPr>
        </p:nvSpPr>
        <p:spPr>
          <a:xfrm>
            <a:off x="3968763" y="9526686"/>
            <a:ext cx="2971800" cy="458787"/>
          </a:xfrm>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7088D5E3-B0C4-244E-905F-C9848084E0A1}" type="slidenum">
              <a:rPr kumimoji="0" lang="en-US" sz="1200" b="0" i="0" u="none" strike="noStrike" kern="1200" cap="none" spc="0" normalizeH="0" baseline="0" noProof="0" smtClean="0">
                <a:ln>
                  <a:noFill/>
                </a:ln>
                <a:solidFill>
                  <a:prstClr val="black"/>
                </a:solidFill>
                <a:effectLst/>
                <a:uLnTx/>
                <a:uFillTx/>
                <a:latin typeface="Calibri" panose="020F0502020204030204"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45</a:t>
            </a:fld>
            <a:endPar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Tree>
    <p:extLst>
      <p:ext uri="{BB962C8B-B14F-4D97-AF65-F5344CB8AC3E}">
        <p14:creationId xmlns:p14="http://schemas.microsoft.com/office/powerpoint/2010/main" val="1971103695"/>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F741C27-7160-4856-A60F-0847093CEDE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37390583"/>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09338413"/>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67229833"/>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1689444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90315765"/>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F741C27-7160-4856-A60F-0847093CEDE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35415785"/>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dirty="0">
                <a:solidFill>
                  <a:schemeClr val="tx1"/>
                </a:solidFill>
                <a:latin typeface="Segoe UI Light" pitchFamily="34" charset="0"/>
                <a:ea typeface="+mn-ea"/>
                <a:cs typeface="+mn-cs"/>
              </a:rPr>
              <a:t>Azure Cosmos DB </a:t>
            </a:r>
            <a:r>
              <a:rPr lang="en-US" sz="1200" kern="1200" dirty="0">
                <a:solidFill>
                  <a:schemeClr val="tx1"/>
                </a:solidFill>
                <a:latin typeface="Segoe UI Light" pitchFamily="34" charset="0"/>
                <a:ea typeface="+mn-ea"/>
                <a:cs typeface="+mn-cs"/>
              </a:rPr>
              <a:t>offers the first globally distributed, multi-model database service for building planet scale apps. It’s been powering Microsoft’s internet-scale services for years, and now it’s ready to launch yours.</a:t>
            </a:r>
          </a:p>
          <a:p>
            <a:r>
              <a:rPr lang="en-US" sz="1200" kern="1200" dirty="0">
                <a:solidFill>
                  <a:schemeClr val="tx1"/>
                </a:solidFill>
                <a:latin typeface="Segoe UI Light" pitchFamily="34" charset="0"/>
                <a:ea typeface="+mn-ea"/>
                <a:cs typeface="+mn-cs"/>
              </a:rPr>
              <a:t>Only Azure Cosmos DB makes </a:t>
            </a:r>
            <a:r>
              <a:rPr lang="en-US" sz="1200" b="1" kern="1200" dirty="0">
                <a:solidFill>
                  <a:schemeClr val="tx1"/>
                </a:solidFill>
                <a:latin typeface="Segoe UI Light" pitchFamily="34" charset="0"/>
                <a:ea typeface="+mn-ea"/>
                <a:cs typeface="+mn-cs"/>
              </a:rPr>
              <a:t>global distribution turn-key</a:t>
            </a:r>
            <a:r>
              <a:rPr lang="en-US" sz="1200" kern="1200" dirty="0">
                <a:solidFill>
                  <a:schemeClr val="tx1"/>
                </a:solidFill>
                <a:latin typeface="Segoe UI Light" pitchFamily="34" charset="0"/>
                <a:ea typeface="+mn-ea"/>
                <a:cs typeface="+mn-cs"/>
              </a:rPr>
              <a:t>.  </a:t>
            </a:r>
          </a:p>
          <a:p>
            <a:endParaRPr lang="en-US" sz="1200" kern="1200" dirty="0">
              <a:solidFill>
                <a:schemeClr val="tx1"/>
              </a:solidFill>
              <a:latin typeface="Segoe UI Light" pitchFamily="34" charset="0"/>
              <a:ea typeface="+mn-ea"/>
              <a:cs typeface="+mn-cs"/>
            </a:endParaRPr>
          </a:p>
          <a:p>
            <a:r>
              <a:rPr lang="en-US" sz="1200" kern="1200" dirty="0">
                <a:solidFill>
                  <a:schemeClr val="tx1"/>
                </a:solidFill>
                <a:latin typeface="Segoe UI Light" pitchFamily="34" charset="0"/>
                <a:ea typeface="+mn-ea"/>
                <a:cs typeface="+mn-cs"/>
              </a:rPr>
              <a:t>You can </a:t>
            </a:r>
            <a:r>
              <a:rPr lang="en-US" sz="1200" b="1" kern="1200" dirty="0">
                <a:solidFill>
                  <a:schemeClr val="tx1"/>
                </a:solidFill>
                <a:latin typeface="Segoe UI Light" pitchFamily="34" charset="0"/>
                <a:ea typeface="+mn-ea"/>
                <a:cs typeface="+mn-cs"/>
              </a:rPr>
              <a:t>add Azure locations to your database anywhere across the world</a:t>
            </a:r>
            <a:r>
              <a:rPr lang="en-US" sz="1200" kern="1200" dirty="0">
                <a:solidFill>
                  <a:schemeClr val="tx1"/>
                </a:solidFill>
                <a:latin typeface="Segoe UI Light" pitchFamily="34" charset="0"/>
                <a:ea typeface="+mn-ea"/>
                <a:cs typeface="+mn-cs"/>
              </a:rPr>
              <a:t>, at any time, with a single click. Cosmos DB will seamlessly replicate your data and make it highly available. </a:t>
            </a:r>
          </a:p>
          <a:p>
            <a:r>
              <a:rPr lang="en-US" sz="1200" kern="1200" dirty="0">
                <a:solidFill>
                  <a:schemeClr val="tx1"/>
                </a:solidFill>
                <a:latin typeface="Segoe UI Light" pitchFamily="34" charset="0"/>
                <a:ea typeface="+mn-ea"/>
                <a:cs typeface="+mn-cs"/>
              </a:rPr>
              <a:t> </a:t>
            </a:r>
          </a:p>
          <a:p>
            <a:r>
              <a:rPr lang="en-US" sz="1200" kern="1200" dirty="0">
                <a:solidFill>
                  <a:schemeClr val="tx1"/>
                </a:solidFill>
                <a:latin typeface="Segoe UI Light" pitchFamily="34" charset="0"/>
                <a:ea typeface="+mn-ea"/>
                <a:cs typeface="+mn-cs"/>
              </a:rPr>
              <a:t>Cosmos DB allows you to </a:t>
            </a:r>
            <a:r>
              <a:rPr lang="en-US" sz="1200" b="1" kern="1200" dirty="0">
                <a:solidFill>
                  <a:schemeClr val="tx1"/>
                </a:solidFill>
                <a:latin typeface="Segoe UI Light" pitchFamily="34" charset="0"/>
                <a:ea typeface="+mn-ea"/>
                <a:cs typeface="+mn-cs"/>
              </a:rPr>
              <a:t>scale throughout and storage elastically</a:t>
            </a:r>
            <a:r>
              <a:rPr lang="en-US" sz="1200" kern="1200" dirty="0">
                <a:solidFill>
                  <a:schemeClr val="tx1"/>
                </a:solidFill>
                <a:latin typeface="Segoe UI Light" pitchFamily="34" charset="0"/>
                <a:ea typeface="+mn-ea"/>
                <a:cs typeface="+mn-cs"/>
              </a:rPr>
              <a:t>, and </a:t>
            </a:r>
            <a:r>
              <a:rPr lang="en-US" sz="1200" b="1" kern="1200" dirty="0">
                <a:solidFill>
                  <a:schemeClr val="tx1"/>
                </a:solidFill>
                <a:latin typeface="Segoe UI Light" pitchFamily="34" charset="0"/>
                <a:ea typeface="+mn-ea"/>
                <a:cs typeface="+mn-cs"/>
              </a:rPr>
              <a:t>globally</a:t>
            </a:r>
            <a:r>
              <a:rPr lang="en-US" sz="1200" kern="1200" dirty="0">
                <a:solidFill>
                  <a:schemeClr val="tx1"/>
                </a:solidFill>
                <a:latin typeface="Segoe UI Light" pitchFamily="34" charset="0"/>
                <a:ea typeface="+mn-ea"/>
                <a:cs typeface="+mn-cs"/>
              </a:rPr>
              <a:t>! You only pay for the throughput and storage you need – anywhere in the world, at any time.</a:t>
            </a:r>
          </a:p>
          <a:p>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D6FCFD6A-4BD9-4516-9E31-F047A5C70304}" type="slidenum">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52</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12403350"/>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F741C27-7160-4856-A60F-0847093CEDE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11856992"/>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F741C27-7160-4856-A60F-0847093CEDE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28826277"/>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42968721"/>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85734155"/>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90194752"/>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27367258"/>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Digital Transformation Academy FY18</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71B34E4-2498-41F7-A73C-92066A0D072D}"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5/2018 7:17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39990423"/>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Digital Transformation Academy FY18</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71B34E4-2498-41F7-A73C-92066A0D072D}"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5/2018 7:17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8749518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74982123"/>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Digital Transformation Academy FY18</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71B34E4-2498-41F7-A73C-92066A0D072D}"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5/2018 7:17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593211463"/>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EC62DFD-8294-40A6-847A-5CCE5C39779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29697250"/>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1A7C-BD75-483B-A4F3-8D51EFDEC9D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8034913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811050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4828060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7101953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5.xml"/><Relationship Id="rId4" Type="http://schemas.openxmlformats.org/officeDocument/2006/relationships/image" Target="../media/image11.png"/></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6.jpeg"/><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12.emf"/><Relationship Id="rId4" Type="http://schemas.openxmlformats.org/officeDocument/2006/relationships/oleObject" Target="../embeddings/oleObject2.bin"/></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6.jpeg"/><Relationship Id="rId1"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4.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12.emf"/><Relationship Id="rId4" Type="http://schemas.openxmlformats.org/officeDocument/2006/relationships/oleObject" Target="../embeddings/oleObject2.bin"/></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7.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7.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6.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6.jpeg"/><Relationship Id="rId1" Type="http://schemas.openxmlformats.org/officeDocument/2006/relationships/slideMaster" Target="../slideMasters/slideMaster8.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8.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2.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12.emf"/><Relationship Id="rId4" Type="http://schemas.openxmlformats.org/officeDocument/2006/relationships/oleObject" Target="../embeddings/oleObject2.bin"/></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8.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2.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8.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5.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6.jpeg"/><Relationship Id="rId1" Type="http://schemas.openxmlformats.org/officeDocument/2006/relationships/slideMaster" Target="../slideMasters/slideMaster10.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10.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1.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8.xml"/><Relationship Id="rId1" Type="http://schemas.openxmlformats.org/officeDocument/2006/relationships/vmlDrawing" Target="../drawings/vmlDrawing8.vml"/><Relationship Id="rId5" Type="http://schemas.openxmlformats.org/officeDocument/2006/relationships/image" Target="../media/image12.emf"/><Relationship Id="rId4" Type="http://schemas.openxmlformats.org/officeDocument/2006/relationships/oleObject" Target="../embeddings/oleObject2.bin"/></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0.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10.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6.jpeg"/><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44953" y="5132438"/>
            <a:ext cx="6434915" cy="1460779"/>
          </a:xfrm>
          <a:prstGeom prst="rect">
            <a:avLst/>
          </a:prstGeom>
        </p:spPr>
        <p:txBody>
          <a:bodyPr lIns="137160" tIns="137160" rIns="137160" bIns="137160" anchor="b" anchorCtr="0">
            <a:normAutofit/>
          </a:bodyPr>
          <a:lstStyle>
            <a:lvl1pPr marL="0" indent="0" algn="l" defTabSz="685539" rtl="0" eaLnBrk="1" latinLnBrk="0" hangingPunct="1">
              <a:lnSpc>
                <a:spcPct val="100000"/>
              </a:lnSpc>
              <a:spcBef>
                <a:spcPts val="0"/>
              </a:spcBef>
              <a:buSzPct val="90000"/>
              <a:buFont typeface="Arial" pitchFamily="34" charset="0"/>
              <a:buNone/>
              <a:defRPr lang="en-US" sz="1800" b="0" kern="0" spc="0" baseline="0" dirty="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a:lvl2pPr marL="342783" indent="0" algn="ctr">
              <a:buNone/>
              <a:defRPr>
                <a:solidFill>
                  <a:schemeClr val="tx1">
                    <a:tint val="75000"/>
                  </a:schemeClr>
                </a:solidFill>
              </a:defRPr>
            </a:lvl2pPr>
            <a:lvl3pPr marL="685566" indent="0" algn="ctr">
              <a:buNone/>
              <a:defRPr>
                <a:solidFill>
                  <a:schemeClr val="tx1">
                    <a:tint val="75000"/>
                  </a:schemeClr>
                </a:solidFill>
              </a:defRPr>
            </a:lvl3pPr>
            <a:lvl4pPr marL="1028350" indent="0" algn="ctr">
              <a:buNone/>
              <a:defRPr>
                <a:solidFill>
                  <a:schemeClr val="tx1">
                    <a:tint val="75000"/>
                  </a:schemeClr>
                </a:solidFill>
              </a:defRPr>
            </a:lvl4pPr>
            <a:lvl5pPr marL="1371134" indent="0" algn="ctr">
              <a:buNone/>
              <a:defRPr>
                <a:solidFill>
                  <a:schemeClr val="tx1">
                    <a:tint val="75000"/>
                  </a:schemeClr>
                </a:solidFill>
              </a:defRPr>
            </a:lvl5pPr>
            <a:lvl6pPr marL="1713917" indent="0" algn="ctr">
              <a:buNone/>
              <a:defRPr>
                <a:solidFill>
                  <a:schemeClr val="tx1">
                    <a:tint val="75000"/>
                  </a:schemeClr>
                </a:solidFill>
              </a:defRPr>
            </a:lvl6pPr>
            <a:lvl7pPr marL="2056700" indent="0" algn="ctr">
              <a:buNone/>
              <a:defRPr>
                <a:solidFill>
                  <a:schemeClr val="tx1">
                    <a:tint val="75000"/>
                  </a:schemeClr>
                </a:solidFill>
              </a:defRPr>
            </a:lvl7pPr>
            <a:lvl8pPr marL="2399483" indent="0" algn="ctr">
              <a:buNone/>
              <a:defRPr>
                <a:solidFill>
                  <a:schemeClr val="tx1">
                    <a:tint val="75000"/>
                  </a:schemeClr>
                </a:solidFill>
              </a:defRPr>
            </a:lvl8pPr>
            <a:lvl9pPr marL="2742269" indent="0" algn="ctr">
              <a:buNone/>
              <a:defRPr>
                <a:solidFill>
                  <a:schemeClr val="tx1">
                    <a:tint val="75000"/>
                  </a:schemeClr>
                </a:solidFill>
              </a:defRPr>
            </a:lvl9pPr>
          </a:lstStyle>
          <a:p>
            <a:r>
              <a:rPr lang="en-US" dirty="0"/>
              <a:t>Click to edit Master subtitle style</a:t>
            </a:r>
          </a:p>
        </p:txBody>
      </p:sp>
      <p:sp>
        <p:nvSpPr>
          <p:cNvPr id="10" name="Title 1"/>
          <p:cNvSpPr>
            <a:spLocks noGrp="1"/>
          </p:cNvSpPr>
          <p:nvPr>
            <p:ph type="ctrTitle" hasCustomPrompt="1"/>
          </p:nvPr>
        </p:nvSpPr>
        <p:spPr>
          <a:xfrm>
            <a:off x="144953" y="2415642"/>
            <a:ext cx="6434915" cy="2603307"/>
          </a:xfrm>
          <a:prstGeom prst="rect">
            <a:avLst/>
          </a:prstGeom>
          <a:solidFill>
            <a:srgbClr val="007233"/>
          </a:solidFill>
          <a:effectLst/>
        </p:spPr>
        <p:txBody>
          <a:bodyPr vert="horz" lIns="137160" tIns="137160" rIns="91409" bIns="137160" rtlCol="0" anchor="b" anchorCtr="0">
            <a:noAutofit/>
          </a:bodyPr>
          <a:lstStyle>
            <a:lvl1pPr>
              <a:defRPr lang="en-US" sz="3600" kern="0" dirty="0">
                <a:ln w="3175">
                  <a:noFill/>
                </a:ln>
                <a:gradFill flip="none" rotWithShape="1">
                  <a:gsLst>
                    <a:gs pos="4583">
                      <a:srgbClr val="FFFFFF"/>
                    </a:gs>
                    <a:gs pos="100000">
                      <a:srgbClr val="FFFFFF"/>
                    </a:gs>
                  </a:gsLst>
                  <a:lin ang="5400000" scaled="0"/>
                  <a:tileRect/>
                </a:gradFill>
              </a:defRPr>
            </a:lvl1pPr>
          </a:lstStyle>
          <a:p>
            <a:pPr lvl="0"/>
            <a:r>
              <a:rPr lang="en-US" dirty="0"/>
              <a:t>Course title style</a:t>
            </a:r>
          </a:p>
        </p:txBody>
      </p:sp>
      <p:sp>
        <p:nvSpPr>
          <p:cNvPr id="8" name="top right small rectangle"/>
          <p:cNvSpPr/>
          <p:nvPr userDrawn="1"/>
        </p:nvSpPr>
        <p:spPr bwMode="auto">
          <a:xfrm>
            <a:off x="6676870" y="2418735"/>
            <a:ext cx="2315960" cy="2600214"/>
          </a:xfrm>
          <a:prstGeom prst="rect">
            <a:avLst/>
          </a:prstGeom>
          <a:solidFill>
            <a:schemeClr val="tx2"/>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102870" tIns="102870" rIns="102870" bIns="102870" numCol="1" rtlCol="0" anchor="b" anchorCtr="0" compatLnSpc="1">
            <a:prstTxWarp prst="textNoShape">
              <a:avLst/>
            </a:prstTxWarp>
          </a:bodyPr>
          <a:lstStyle/>
          <a:p>
            <a:pPr defTabSz="685341" fontAlgn="base">
              <a:spcBef>
                <a:spcPct val="0"/>
              </a:spcBef>
              <a:spcAft>
                <a:spcPct val="0"/>
              </a:spcAft>
            </a:pPr>
            <a:endParaRPr lang="en-US" sz="1500" dirty="0">
              <a:gradFill>
                <a:gsLst>
                  <a:gs pos="0">
                    <a:srgbClr val="FFFFFF"/>
                  </a:gs>
                  <a:gs pos="100000">
                    <a:srgbClr val="FFFFFF"/>
                  </a:gs>
                </a:gsLst>
                <a:lin ang="5400000" scaled="0"/>
              </a:gradFill>
              <a:latin typeface="Segoe UI Light" panose="020B0502040204020203" pitchFamily="34" charset="0"/>
              <a:cs typeface="Segoe UI Light" panose="020B0502040204020203" pitchFamily="34" charset="0"/>
            </a:endParaRPr>
          </a:p>
        </p:txBody>
      </p:sp>
      <p:pic>
        <p:nvPicPr>
          <p:cNvPr id="11" name="Picture 10"/>
          <p:cNvPicPr>
            <a:picLocks noChangeAspect="1"/>
          </p:cNvPicPr>
          <p:nvPr userDrawn="1"/>
        </p:nvPicPr>
        <p:blipFill rotWithShape="1">
          <a:blip r:embed="rId2" cstate="print">
            <a:extLst>
              <a:ext uri="{28A0092B-C50C-407E-A947-70E740481C1C}">
                <a14:useLocalDpi xmlns:a14="http://schemas.microsoft.com/office/drawing/2010/main" val="0"/>
              </a:ext>
            </a:extLst>
          </a:blip>
          <a:srcRect l="9720" t="16544" r="7275" b="16691"/>
          <a:stretch/>
        </p:blipFill>
        <p:spPr>
          <a:xfrm>
            <a:off x="8048849" y="4630992"/>
            <a:ext cx="848766" cy="334740"/>
          </a:xfrm>
          <a:prstGeom prst="rect">
            <a:avLst/>
          </a:prstGeom>
        </p:spPr>
      </p:pic>
    </p:spTree>
    <p:extLst>
      <p:ext uri="{BB962C8B-B14F-4D97-AF65-F5344CB8AC3E}">
        <p14:creationId xmlns:p14="http://schemas.microsoft.com/office/powerpoint/2010/main" val="2737605128"/>
      </p:ext>
    </p:extLst>
  </p:cSld>
  <p:clrMapOvr>
    <a:masterClrMapping/>
  </p:clrMapOvr>
  <p:extLst mod="1">
    <p:ext uri="{DCECCB84-F9BA-43D5-87BE-67443E8EF086}">
      <p15:sldGuideLst xmlns:p15="http://schemas.microsoft.com/office/powerpoint/2012/main">
        <p15:guide id="1" orient="horz" pos="3792">
          <p15:clr>
            <a:srgbClr val="FBAE40"/>
          </p15:clr>
        </p15:guide>
        <p15:guide id="2" pos="3839">
          <p15:clr>
            <a:srgbClr val="FBAE40"/>
          </p15:clr>
        </p15:guide>
        <p15:guide id="3" orient="horz" pos="72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Demo">
    <p:bg>
      <p:bgPr>
        <a:solidFill>
          <a:srgbClr val="7030A0"/>
        </a:solidFill>
        <a:effectLst/>
      </p:bgPr>
    </p:bg>
    <p:spTree>
      <p:nvGrpSpPr>
        <p:cNvPr id="1" name=""/>
        <p:cNvGrpSpPr/>
        <p:nvPr/>
      </p:nvGrpSpPr>
      <p:grpSpPr>
        <a:xfrm>
          <a:off x="0" y="0"/>
          <a:ext cx="0" cy="0"/>
          <a:chOff x="0" y="0"/>
          <a:chExt cx="0" cy="0"/>
        </a:xfrm>
      </p:grpSpPr>
      <p:sp>
        <p:nvSpPr>
          <p:cNvPr id="726019" name="Rectangle 3"/>
          <p:cNvSpPr>
            <a:spLocks noGrp="1" noChangeArrowheads="1"/>
          </p:cNvSpPr>
          <p:nvPr>
            <p:ph type="ctrTitle" sz="quarter" hasCustomPrompt="1"/>
          </p:nvPr>
        </p:nvSpPr>
        <p:spPr>
          <a:xfrm>
            <a:off x="307911" y="770219"/>
            <a:ext cx="8379200" cy="1011928"/>
          </a:xfrm>
          <a:solidFill>
            <a:srgbClr val="7030A0"/>
          </a:solidFill>
          <a:ln algn="ctr"/>
        </p:spPr>
        <p:txBody>
          <a:bodyPr wrap="square" tIns="0" rIns="0" bIns="0" anchor="t" anchorCtr="0">
            <a:noAutofit/>
          </a:bodyPr>
          <a:lstStyle>
            <a:lvl1pPr algn="l">
              <a:spcBef>
                <a:spcPct val="60000"/>
              </a:spcBef>
              <a:buClr>
                <a:schemeClr val="hlink"/>
              </a:buClr>
              <a:buSzPct val="90000"/>
              <a:buFontTx/>
              <a:buNone/>
              <a:defRPr sz="3800" baseline="0">
                <a:solidFill>
                  <a:schemeClr val="bg1"/>
                </a:solidFill>
                <a:latin typeface="Segoe UI" pitchFamily="34" charset="0"/>
                <a:ea typeface="Segoe UI" pitchFamily="34" charset="0"/>
                <a:cs typeface="Segoe UI" pitchFamily="34" charset="0"/>
              </a:defRPr>
            </a:lvl1pPr>
          </a:lstStyle>
          <a:p>
            <a:r>
              <a:rPr lang="en-US" dirty="0"/>
              <a:t>Demo Title</a:t>
            </a:r>
          </a:p>
        </p:txBody>
      </p:sp>
      <p:sp>
        <p:nvSpPr>
          <p:cNvPr id="726020" name="Rectangle 4"/>
          <p:cNvSpPr>
            <a:spLocks noGrp="1" noChangeArrowheads="1"/>
          </p:cNvSpPr>
          <p:nvPr>
            <p:ph type="subTitle" sz="quarter" idx="1" hasCustomPrompt="1"/>
          </p:nvPr>
        </p:nvSpPr>
        <p:spPr>
          <a:xfrm>
            <a:off x="3685592" y="2110581"/>
            <a:ext cx="5290768" cy="3722293"/>
          </a:xfrm>
          <a:solidFill>
            <a:srgbClr val="7030A0"/>
          </a:solidFill>
        </p:spPr>
        <p:txBody>
          <a:bodyPr lIns="91440" tIns="45720" rIns="91440" bIns="45720"/>
          <a:lstStyle>
            <a:lvl1pPr marL="285750" indent="-285750" algn="l">
              <a:lnSpc>
                <a:spcPct val="95000"/>
              </a:lnSpc>
              <a:spcBef>
                <a:spcPct val="60000"/>
              </a:spcBef>
              <a:buClr>
                <a:schemeClr val="bg1"/>
              </a:buClr>
              <a:buFont typeface="Wingdings" panose="05000000000000000000" pitchFamily="2" charset="2"/>
              <a:buChar char="Ø"/>
              <a:defRPr sz="1800">
                <a:solidFill>
                  <a:schemeClr val="bg1"/>
                </a:solidFill>
                <a:latin typeface="Segoe UI" pitchFamily="34" charset="0"/>
                <a:ea typeface="Segoe UI" pitchFamily="34" charset="0"/>
                <a:cs typeface="Segoe UI" pitchFamily="34" charset="0"/>
              </a:defRPr>
            </a:lvl1pPr>
            <a:lvl2pPr marL="288925" indent="0">
              <a:buNone/>
              <a:defRPr/>
            </a:lvl2pPr>
          </a:lstStyle>
          <a:p>
            <a:r>
              <a:rPr lang="en-US" dirty="0"/>
              <a:t>Enter Description(s)</a:t>
            </a:r>
          </a:p>
          <a:p>
            <a:endParaRPr lang="en-US" dirty="0"/>
          </a:p>
        </p:txBody>
      </p:sp>
      <p:sp>
        <p:nvSpPr>
          <p:cNvPr id="7" name="Text Placeholder 6">
            <a:extLst>
              <a:ext uri="{FF2B5EF4-FFF2-40B4-BE49-F238E27FC236}">
                <a16:creationId xmlns:a16="http://schemas.microsoft.com/office/drawing/2014/main" id="{05E1913A-614D-4F38-AB69-5348B29CCD5D}"/>
              </a:ext>
            </a:extLst>
          </p:cNvPr>
          <p:cNvSpPr>
            <a:spLocks noGrp="1"/>
          </p:cNvSpPr>
          <p:nvPr>
            <p:ph type="body" sz="quarter" idx="10"/>
          </p:nvPr>
        </p:nvSpPr>
        <p:spPr>
          <a:xfrm>
            <a:off x="261938" y="2756542"/>
            <a:ext cx="3241675" cy="2851150"/>
          </a:xfrm>
        </p:spPr>
        <p:txBody>
          <a:bodyPr/>
          <a:lstStyle>
            <a:lvl1pPr>
              <a:defRPr sz="2000">
                <a:solidFill>
                  <a:schemeClr val="bg1"/>
                </a:solidFill>
              </a:defRPr>
            </a:lvl1pPr>
          </a:lstStyle>
          <a:p>
            <a:pPr lvl="0"/>
            <a:r>
              <a:rPr lang="en-US" dirty="0"/>
              <a:t>Edit Master text</a:t>
            </a:r>
          </a:p>
        </p:txBody>
      </p:sp>
      <p:sp>
        <p:nvSpPr>
          <p:cNvPr id="11" name="Text Placeholder 10">
            <a:extLst>
              <a:ext uri="{FF2B5EF4-FFF2-40B4-BE49-F238E27FC236}">
                <a16:creationId xmlns:a16="http://schemas.microsoft.com/office/drawing/2014/main" id="{6A2AE784-2CA5-4194-B30C-8D50C676A59B}"/>
              </a:ext>
            </a:extLst>
          </p:cNvPr>
          <p:cNvSpPr>
            <a:spLocks noGrp="1"/>
          </p:cNvSpPr>
          <p:nvPr>
            <p:ph type="body" sz="quarter" idx="11" hasCustomPrompt="1"/>
          </p:nvPr>
        </p:nvSpPr>
        <p:spPr>
          <a:xfrm>
            <a:off x="261938" y="6018240"/>
            <a:ext cx="8714421" cy="391882"/>
          </a:xfrm>
          <a:solidFill>
            <a:schemeClr val="bg1"/>
          </a:solidFill>
        </p:spPr>
        <p:txBody>
          <a:bodyPr/>
          <a:lstStyle>
            <a:lvl1pPr marL="0" indent="0">
              <a:buNone/>
              <a:defRPr sz="1400">
                <a:solidFill>
                  <a:srgbClr val="3399FF"/>
                </a:solidFill>
              </a:defRPr>
            </a:lvl1pPr>
            <a:lvl2pPr>
              <a:defRPr>
                <a:solidFill>
                  <a:schemeClr val="bg1">
                    <a:lumMod val="75000"/>
                  </a:schemeClr>
                </a:solidFill>
              </a:defRPr>
            </a:lvl2pPr>
            <a:lvl3pPr>
              <a:defRPr>
                <a:solidFill>
                  <a:schemeClr val="bg1">
                    <a:lumMod val="75000"/>
                  </a:schemeClr>
                </a:solidFill>
              </a:defRPr>
            </a:lvl3pPr>
            <a:lvl4pPr>
              <a:defRPr>
                <a:solidFill>
                  <a:schemeClr val="bg1">
                    <a:lumMod val="75000"/>
                  </a:schemeClr>
                </a:solidFill>
              </a:defRPr>
            </a:lvl4pPr>
            <a:lvl5pPr>
              <a:defRPr>
                <a:solidFill>
                  <a:schemeClr val="bg1">
                    <a:lumMod val="75000"/>
                  </a:schemeClr>
                </a:solidFill>
              </a:defRPr>
            </a:lvl5pPr>
          </a:lstStyle>
          <a:p>
            <a:pPr lvl="0"/>
            <a:r>
              <a:rPr lang="en-US" dirty="0"/>
              <a:t>URL</a:t>
            </a:r>
          </a:p>
        </p:txBody>
      </p:sp>
      <p:sp>
        <p:nvSpPr>
          <p:cNvPr id="8" name="Rectangle 7">
            <a:extLst>
              <a:ext uri="{FF2B5EF4-FFF2-40B4-BE49-F238E27FC236}">
                <a16:creationId xmlns:a16="http://schemas.microsoft.com/office/drawing/2014/main" id="{2E5CD9C4-3903-4CFA-9CED-0878686ABD1A}"/>
              </a:ext>
            </a:extLst>
          </p:cNvPr>
          <p:cNvSpPr/>
          <p:nvPr userDrawn="1"/>
        </p:nvSpPr>
        <p:spPr>
          <a:xfrm>
            <a:off x="158449" y="117610"/>
            <a:ext cx="1903085" cy="715581"/>
          </a:xfrm>
          <a:prstGeom prst="rect">
            <a:avLst/>
          </a:prstGeom>
        </p:spPr>
        <p:txBody>
          <a:bodyPr wrap="none">
            <a:spAutoFit/>
          </a:bodyPr>
          <a:lstStyle/>
          <a:p>
            <a:r>
              <a:rPr lang="en-US" sz="4050" dirty="0">
                <a:solidFill>
                  <a:srgbClr val="00B0F0"/>
                </a:solidFill>
              </a:rPr>
              <a:t>DEMO</a:t>
            </a:r>
          </a:p>
        </p:txBody>
      </p:sp>
      <p:sp>
        <p:nvSpPr>
          <p:cNvPr id="9" name="TextBox 8">
            <a:extLst>
              <a:ext uri="{FF2B5EF4-FFF2-40B4-BE49-F238E27FC236}">
                <a16:creationId xmlns:a16="http://schemas.microsoft.com/office/drawing/2014/main" id="{49E51051-C84E-43F1-8039-6E48C7A5E6B8}"/>
              </a:ext>
            </a:extLst>
          </p:cNvPr>
          <p:cNvSpPr txBox="1"/>
          <p:nvPr userDrawn="1"/>
        </p:nvSpPr>
        <p:spPr>
          <a:xfrm>
            <a:off x="6208643" y="6512893"/>
            <a:ext cx="2842055" cy="307777"/>
          </a:xfrm>
          <a:prstGeom prst="rect">
            <a:avLst/>
          </a:prstGeom>
          <a:noFill/>
        </p:spPr>
        <p:txBody>
          <a:bodyPr wrap="square" rtlCol="0">
            <a:spAutoFit/>
          </a:bodyPr>
          <a:lstStyle/>
          <a:p>
            <a:r>
              <a:rPr lang="en-US" sz="1400" dirty="0"/>
              <a:t>#</a:t>
            </a:r>
            <a:r>
              <a:rPr lang="en-US" sz="1400" dirty="0" err="1"/>
              <a:t>AzureArch</a:t>
            </a:r>
            <a:r>
              <a:rPr lang="en-US" sz="1400" dirty="0"/>
              <a:t>  @</a:t>
            </a:r>
            <a:r>
              <a:rPr lang="en-US" sz="1400" dirty="0" err="1"/>
              <a:t>stilldrey</a:t>
            </a:r>
            <a:endParaRPr lang="en-US" sz="1400" dirty="0"/>
          </a:p>
        </p:txBody>
      </p:sp>
    </p:spTree>
    <p:extLst>
      <p:ext uri="{BB962C8B-B14F-4D97-AF65-F5344CB8AC3E}">
        <p14:creationId xmlns:p14="http://schemas.microsoft.com/office/powerpoint/2010/main" val="2828235629"/>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cSld name="1_Diagram layout">
    <p:bg>
      <p:bgPr>
        <a:solidFill>
          <a:schemeClr val="bg1"/>
        </a:solidFill>
        <a:effectLst/>
      </p:bgPr>
    </p:bg>
    <p:spTree>
      <p:nvGrpSpPr>
        <p:cNvPr id="1" name=""/>
        <p:cNvGrpSpPr/>
        <p:nvPr/>
      </p:nvGrpSpPr>
      <p:grpSpPr>
        <a:xfrm>
          <a:off x="0" y="0"/>
          <a:ext cx="0" cy="0"/>
          <a:chOff x="0" y="0"/>
          <a:chExt cx="0" cy="0"/>
        </a:xfrm>
      </p:grpSpPr>
      <p:sp>
        <p:nvSpPr>
          <p:cNvPr id="8" name="Freeform: Shape 7"/>
          <p:cNvSpPr/>
          <p:nvPr/>
        </p:nvSpPr>
        <p:spPr>
          <a:xfrm>
            <a:off x="1" y="1428467"/>
            <a:ext cx="9143999" cy="5429535"/>
          </a:xfrm>
          <a:custGeom>
            <a:avLst/>
            <a:gdLst>
              <a:gd name="connsiteX0" fmla="*/ 0 w 12191999"/>
              <a:gd name="connsiteY0" fmla="*/ 0 h 5316786"/>
              <a:gd name="connsiteX1" fmla="*/ 12191999 w 12191999"/>
              <a:gd name="connsiteY1" fmla="*/ 0 h 5316786"/>
              <a:gd name="connsiteX2" fmla="*/ 12191999 w 12191999"/>
              <a:gd name="connsiteY2" fmla="*/ 119540 h 5316786"/>
              <a:gd name="connsiteX3" fmla="*/ 7315199 w 12191999"/>
              <a:gd name="connsiteY3" fmla="*/ 119540 h 5316786"/>
              <a:gd name="connsiteX4" fmla="*/ 7315199 w 12191999"/>
              <a:gd name="connsiteY4" fmla="*/ 5315056 h 5316786"/>
              <a:gd name="connsiteX5" fmla="*/ 12191999 w 12191999"/>
              <a:gd name="connsiteY5" fmla="*/ 5315056 h 5316786"/>
              <a:gd name="connsiteX6" fmla="*/ 12191999 w 12191999"/>
              <a:gd name="connsiteY6" fmla="*/ 5316786 h 5316786"/>
              <a:gd name="connsiteX7" fmla="*/ 0 w 12191999"/>
              <a:gd name="connsiteY7" fmla="*/ 5316786 h 5316786"/>
              <a:gd name="connsiteX0" fmla="*/ 0 w 12191999"/>
              <a:gd name="connsiteY0" fmla="*/ 0 h 5316786"/>
              <a:gd name="connsiteX1" fmla="*/ 12191999 w 12191999"/>
              <a:gd name="connsiteY1" fmla="*/ 0 h 5316786"/>
              <a:gd name="connsiteX2" fmla="*/ 12191999 w 12191999"/>
              <a:gd name="connsiteY2" fmla="*/ 119540 h 5316786"/>
              <a:gd name="connsiteX3" fmla="*/ 7315199 w 12191999"/>
              <a:gd name="connsiteY3" fmla="*/ 119540 h 5316786"/>
              <a:gd name="connsiteX4" fmla="*/ 7315199 w 12191999"/>
              <a:gd name="connsiteY4" fmla="*/ 5315056 h 5316786"/>
              <a:gd name="connsiteX5" fmla="*/ 12191999 w 12191999"/>
              <a:gd name="connsiteY5" fmla="*/ 5315056 h 5316786"/>
              <a:gd name="connsiteX6" fmla="*/ 0 w 12191999"/>
              <a:gd name="connsiteY6" fmla="*/ 5316786 h 5316786"/>
              <a:gd name="connsiteX7" fmla="*/ 0 w 12191999"/>
              <a:gd name="connsiteY7" fmla="*/ 0 h 5316786"/>
              <a:gd name="connsiteX0" fmla="*/ 0 w 12191999"/>
              <a:gd name="connsiteY0" fmla="*/ 0 h 5316786"/>
              <a:gd name="connsiteX1" fmla="*/ 12191999 w 12191999"/>
              <a:gd name="connsiteY1" fmla="*/ 0 h 5316786"/>
              <a:gd name="connsiteX2" fmla="*/ 12191999 w 12191999"/>
              <a:gd name="connsiteY2" fmla="*/ 119540 h 5316786"/>
              <a:gd name="connsiteX3" fmla="*/ 7315199 w 12191999"/>
              <a:gd name="connsiteY3" fmla="*/ 119540 h 5316786"/>
              <a:gd name="connsiteX4" fmla="*/ 7315199 w 12191999"/>
              <a:gd name="connsiteY4" fmla="*/ 5315056 h 5316786"/>
              <a:gd name="connsiteX5" fmla="*/ 0 w 12191999"/>
              <a:gd name="connsiteY5" fmla="*/ 5316786 h 5316786"/>
              <a:gd name="connsiteX6" fmla="*/ 0 w 12191999"/>
              <a:gd name="connsiteY6" fmla="*/ 0 h 5316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1999" h="5316786">
                <a:moveTo>
                  <a:pt x="0" y="0"/>
                </a:moveTo>
                <a:lnTo>
                  <a:pt x="12191999" y="0"/>
                </a:lnTo>
                <a:lnTo>
                  <a:pt x="12191999" y="119540"/>
                </a:lnTo>
                <a:lnTo>
                  <a:pt x="7315199" y="119540"/>
                </a:lnTo>
                <a:lnTo>
                  <a:pt x="7315199" y="5315056"/>
                </a:lnTo>
                <a:lnTo>
                  <a:pt x="0" y="5316786"/>
                </a:lnTo>
                <a:lnTo>
                  <a:pt x="0" y="0"/>
                </a:lnTo>
                <a:close/>
              </a:path>
            </a:pathLst>
          </a:custGeom>
          <a:solidFill>
            <a:srgbClr val="E5F2FC"/>
          </a:solidFill>
          <a:ln w="12700" cap="flat" cmpd="sng" algn="ctr">
            <a:noFill/>
            <a:prstDash val="solid"/>
            <a:miter lim="800000"/>
          </a:ln>
          <a:effectLst/>
        </p:spPr>
        <p:txBody>
          <a:bodyPr wrap="square" rtlCol="0" anchor="ctr">
            <a:noAutofit/>
          </a:bodyPr>
          <a:lstStyle/>
          <a:p>
            <a:pPr algn="ctr" defTabSz="672290">
              <a:defRPr/>
            </a:pPr>
            <a:endParaRPr lang="en-US" sz="1324" kern="0">
              <a:solidFill>
                <a:prstClr val="white"/>
              </a:solidFill>
            </a:endParaRPr>
          </a:p>
        </p:txBody>
      </p:sp>
      <p:sp>
        <p:nvSpPr>
          <p:cNvPr id="4" name="Text Placeholder 3"/>
          <p:cNvSpPr>
            <a:spLocks noGrp="1"/>
          </p:cNvSpPr>
          <p:nvPr>
            <p:ph type="body" sz="quarter" idx="10"/>
          </p:nvPr>
        </p:nvSpPr>
        <p:spPr>
          <a:xfrm>
            <a:off x="5769416" y="1889197"/>
            <a:ext cx="2983159" cy="4576917"/>
          </a:xfrm>
        </p:spPr>
        <p:txBody>
          <a:bodyPr>
            <a:noAutofit/>
          </a:bodyPr>
          <a:lstStyle>
            <a:lvl1pPr>
              <a:buClr>
                <a:schemeClr val="accent1"/>
              </a:buClr>
              <a:defRPr sz="1500">
                <a:solidFill>
                  <a:schemeClr val="tx2"/>
                </a:solidFill>
                <a:latin typeface="+mj-lt"/>
              </a:defRPr>
            </a:lvl1pPr>
            <a:lvl2pPr>
              <a:buClr>
                <a:schemeClr val="accent1"/>
              </a:buClr>
              <a:defRPr sz="1350">
                <a:solidFill>
                  <a:schemeClr val="tx2"/>
                </a:solidFill>
                <a:latin typeface="+mj-lt"/>
              </a:defRPr>
            </a:lvl2pPr>
            <a:lvl3pPr>
              <a:buClr>
                <a:schemeClr val="accent1"/>
              </a:buClr>
              <a:defRPr sz="1200">
                <a:solidFill>
                  <a:schemeClr val="tx2"/>
                </a:solidFill>
                <a:latin typeface="+mj-lt"/>
              </a:defRPr>
            </a:lvl3pPr>
            <a:lvl4pPr>
              <a:buClr>
                <a:schemeClr val="accent1"/>
              </a:buClr>
              <a:defRPr sz="1050">
                <a:solidFill>
                  <a:schemeClr val="tx2"/>
                </a:solidFill>
                <a:latin typeface="+mj-lt"/>
              </a:defRPr>
            </a:lvl4pPr>
            <a:lvl5pPr>
              <a:buClr>
                <a:schemeClr val="accent1"/>
              </a:buClr>
              <a:defRPr sz="1050">
                <a:solidFill>
                  <a:schemeClr val="tx2"/>
                </a:solidFill>
                <a:latin typeface="+mj-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p:nvPr>
        </p:nvSpPr>
        <p:spPr>
          <a:xfrm>
            <a:off x="243348" y="358848"/>
            <a:ext cx="8538157" cy="892552"/>
          </a:xfrm>
        </p:spPr>
        <p:txBody>
          <a:bodyPr anchor="ctr">
            <a:normAutofit/>
          </a:bodyPr>
          <a:lstStyle>
            <a:lvl1pPr>
              <a:defRPr sz="2700">
                <a:solidFill>
                  <a:schemeClr val="tx2"/>
                </a:solidFill>
              </a:defRPr>
            </a:lvl1pPr>
          </a:lstStyle>
          <a:p>
            <a:r>
              <a:rPr lang="en-US" dirty="0"/>
              <a:t>Click to edit Master title style</a:t>
            </a:r>
          </a:p>
        </p:txBody>
      </p:sp>
      <p:sp>
        <p:nvSpPr>
          <p:cNvPr id="7" name="Text Placeholder 6"/>
          <p:cNvSpPr>
            <a:spLocks noGrp="1"/>
          </p:cNvSpPr>
          <p:nvPr>
            <p:ph type="body" sz="quarter" idx="11"/>
          </p:nvPr>
        </p:nvSpPr>
        <p:spPr>
          <a:xfrm>
            <a:off x="1" y="110400"/>
            <a:ext cx="2286001" cy="355158"/>
          </a:xfr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0" rIns="0" rtlCol="0" anchor="ctr">
            <a:noAutofit/>
          </a:bodyPr>
          <a:lstStyle>
            <a:lvl1pPr>
              <a:defRPr kumimoji="0" lang="en-US" sz="1050" b="0" i="0" u="none" strike="noStrike" cap="none" spc="0" normalizeH="0" baseline="0" dirty="0">
                <a:ln>
                  <a:noFill/>
                </a:ln>
                <a:solidFill>
                  <a:prstClr val="white"/>
                </a:solidFill>
                <a:effectLst/>
                <a:uLnTx/>
                <a:uFillTx/>
                <a:latin typeface="Segoe UI"/>
                <a:cs typeface="+mn-cs"/>
              </a:defRPr>
            </a:lvl1pPr>
          </a:lstStyle>
          <a:p>
            <a:pPr marL="0" marR="0" lvl="0" indent="0" fontAlgn="auto">
              <a:lnSpc>
                <a:spcPct val="100000"/>
              </a:lnSpc>
              <a:spcBef>
                <a:spcPts val="0"/>
              </a:spcBef>
              <a:spcAft>
                <a:spcPts val="0"/>
              </a:spcAft>
              <a:buClrTx/>
              <a:buSzTx/>
              <a:buFontTx/>
              <a:buNone/>
              <a:tabLst/>
            </a:pPr>
            <a:r>
              <a:rPr lang="en-US" dirty="0"/>
              <a:t>Edit Master text styles</a:t>
            </a:r>
          </a:p>
        </p:txBody>
      </p:sp>
    </p:spTree>
    <p:extLst>
      <p:ext uri="{BB962C8B-B14F-4D97-AF65-F5344CB8AC3E}">
        <p14:creationId xmlns:p14="http://schemas.microsoft.com/office/powerpoint/2010/main" val="1686245295"/>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obj">
  <p:cSld name="1_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dirty="0"/>
              <a:t>Click to edit Master title style</a:t>
            </a:r>
          </a:p>
        </p:txBody>
      </p:sp>
      <p:sp>
        <p:nvSpPr>
          <p:cNvPr id="3" name="Content Placeholder 2"/>
          <p:cNvSpPr>
            <a:spLocks noGrp="1"/>
          </p:cNvSpPr>
          <p:nvPr>
            <p:ph idx="1"/>
          </p:nvPr>
        </p:nvSpPr>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628650" y="6356351"/>
            <a:ext cx="2057400" cy="365125"/>
          </a:xfrm>
          <a:prstGeom prst="rect">
            <a:avLst/>
          </a:prstGeom>
        </p:spPr>
        <p:txBody>
          <a:bodyPr/>
          <a:lstStyle/>
          <a:p>
            <a:fld id="{F770BDB5-9302-4A72-AFF3-5588E374E395}" type="datetimeFigureOut">
              <a:rPr lang="en-US" smtClean="0">
                <a:solidFill>
                  <a:srgbClr val="505050"/>
                </a:solidFill>
              </a:rPr>
              <a:pPr/>
              <a:t>6/5/2018</a:t>
            </a:fld>
            <a:endParaRPr lang="en-US">
              <a:solidFill>
                <a:srgbClr val="505050"/>
              </a:solidFill>
            </a:endParaRPr>
          </a:p>
        </p:txBody>
      </p:sp>
      <p:sp>
        <p:nvSpPr>
          <p:cNvPr id="5" name="Footer Placeholder 4"/>
          <p:cNvSpPr>
            <a:spLocks noGrp="1"/>
          </p:cNvSpPr>
          <p:nvPr>
            <p:ph type="ftr" sz="quarter" idx="11"/>
          </p:nvPr>
        </p:nvSpPr>
        <p:spPr>
          <a:xfrm>
            <a:off x="3028950" y="6356351"/>
            <a:ext cx="3086100" cy="365125"/>
          </a:xfrm>
          <a:prstGeom prst="rect">
            <a:avLst/>
          </a:prstGeom>
        </p:spPr>
        <p:txBody>
          <a:bodyPr/>
          <a:lstStyle/>
          <a:p>
            <a:endParaRPr lang="en-US">
              <a:solidFill>
                <a:srgbClr val="505050"/>
              </a:solidFill>
            </a:endParaRPr>
          </a:p>
        </p:txBody>
      </p:sp>
      <p:sp>
        <p:nvSpPr>
          <p:cNvPr id="6" name="Slide Number Placeholder 5"/>
          <p:cNvSpPr>
            <a:spLocks noGrp="1"/>
          </p:cNvSpPr>
          <p:nvPr>
            <p:ph type="sldNum" sz="quarter" idx="12"/>
          </p:nvPr>
        </p:nvSpPr>
        <p:spPr>
          <a:xfrm>
            <a:off x="6457950" y="6356351"/>
            <a:ext cx="2057400" cy="365125"/>
          </a:xfrm>
          <a:prstGeom prst="rect">
            <a:avLst/>
          </a:prstGeom>
        </p:spPr>
        <p:txBody>
          <a:bodyPr/>
          <a:lstStyle/>
          <a:p>
            <a:fld id="{358B1C62-6523-40EB-A5E7-63AFE8AC4F95}" type="slidenum">
              <a:rPr lang="en-US" smtClean="0">
                <a:solidFill>
                  <a:srgbClr val="505050"/>
                </a:solidFill>
              </a:rPr>
              <a:pPr/>
              <a:t>‹#›</a:t>
            </a:fld>
            <a:endParaRPr lang="en-US">
              <a:solidFill>
                <a:srgbClr val="505050"/>
              </a:solidFill>
            </a:endParaRPr>
          </a:p>
        </p:txBody>
      </p:sp>
    </p:spTree>
    <p:extLst>
      <p:ext uri="{BB962C8B-B14F-4D97-AF65-F5344CB8AC3E}">
        <p14:creationId xmlns:p14="http://schemas.microsoft.com/office/powerpoint/2010/main" val="3443693555"/>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cSld name="1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01696" y="286381"/>
            <a:ext cx="8740142" cy="927940"/>
          </a:xfrm>
          <a:prstGeom prst="rect">
            <a:avLst/>
          </a:prstGeom>
        </p:spPr>
        <p:txBody>
          <a:bodyPr lIns="146304" tIns="91440" rIns="146304" bIns="91440"/>
          <a:lstStyle>
            <a:lvl1pPr algn="l">
              <a:defRPr sz="2941">
                <a:solidFill>
                  <a:schemeClr val="tx1"/>
                </a:solidFill>
                <a:latin typeface="+mj-lt"/>
              </a:defRPr>
            </a:lvl1pPr>
          </a:lstStyle>
          <a:p>
            <a:r>
              <a:rPr lang="en-US" dirty="0"/>
              <a:t>Click to edit Master title style</a:t>
            </a:r>
          </a:p>
        </p:txBody>
      </p:sp>
    </p:spTree>
    <p:extLst>
      <p:ext uri="{BB962C8B-B14F-4D97-AF65-F5344CB8AC3E}">
        <p14:creationId xmlns:p14="http://schemas.microsoft.com/office/powerpoint/2010/main" val="39626111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a:xfrm>
            <a:off x="336159" y="6437742"/>
            <a:ext cx="2894705" cy="133860"/>
          </a:xfrm>
          <a:prstGeom prst="rect">
            <a:avLst/>
          </a:prstGeom>
        </p:spPr>
        <p:txBody>
          <a:bodyPr/>
          <a:lstStyle>
            <a:lvl1pPr fontAlgn="base">
              <a:spcBef>
                <a:spcPct val="0"/>
              </a:spcBef>
              <a:spcAft>
                <a:spcPct val="0"/>
              </a:spcAft>
              <a:defRPr dirty="0" smtClean="0">
                <a:solidFill>
                  <a:srgbClr val="000000"/>
                </a:solidFill>
              </a:defRPr>
            </a:lvl1pPr>
          </a:lstStyle>
          <a:p>
            <a:pPr>
              <a:defRPr/>
            </a:pPr>
            <a:r>
              <a:t>Microsoft Confidential</a:t>
            </a:r>
          </a:p>
        </p:txBody>
      </p:sp>
      <p:sp>
        <p:nvSpPr>
          <p:cNvPr id="3" name="Slide Number Placeholder 2"/>
          <p:cNvSpPr>
            <a:spLocks noGrp="1"/>
          </p:cNvSpPr>
          <p:nvPr>
            <p:ph type="sldNum" sz="quarter" idx="11"/>
          </p:nvPr>
        </p:nvSpPr>
        <p:spPr/>
        <p:txBody>
          <a:bodyPr/>
          <a:lstStyle>
            <a:lvl1pPr defTabSz="685129" fontAlgn="base">
              <a:spcBef>
                <a:spcPct val="0"/>
              </a:spcBef>
              <a:spcAft>
                <a:spcPct val="0"/>
              </a:spcAft>
              <a:defRPr smtClean="0">
                <a:solidFill>
                  <a:srgbClr val="000000"/>
                </a:solidFill>
              </a:defRPr>
            </a:lvl1pPr>
          </a:lstStyle>
          <a:p>
            <a:pPr>
              <a:defRPr/>
            </a:pPr>
            <a:fld id="{F8A0AC42-AA1D-4944-8D96-660DE70C7E1B}" type="slidenum">
              <a:rPr/>
              <a:pPr>
                <a:defRPr/>
              </a:pPr>
              <a:t>‹#›</a:t>
            </a:fld>
            <a:endParaRPr dirty="0"/>
          </a:p>
        </p:txBody>
      </p:sp>
    </p:spTree>
    <p:extLst>
      <p:ext uri="{BB962C8B-B14F-4D97-AF65-F5344CB8AC3E}">
        <p14:creationId xmlns:p14="http://schemas.microsoft.com/office/powerpoint/2010/main" val="1472989"/>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cSld name="Mission Critical Text">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197962" y="125098"/>
            <a:ext cx="8568328" cy="1054884"/>
          </a:xfrm>
        </p:spPr>
        <p:txBody>
          <a:bodyPr lIns="146304" tIns="91440" rIns="146304" bIns="91440"/>
          <a:lstStyle>
            <a:lvl1pPr>
              <a:lnSpc>
                <a:spcPts val="4541"/>
              </a:lnSpc>
              <a:defRPr sz="2941" baseline="0">
                <a:solidFill>
                  <a:schemeClr val="tx1"/>
                </a:solidFill>
              </a:defRPr>
            </a:lvl1pPr>
          </a:lstStyle>
          <a:p>
            <a:r>
              <a:rPr lang="en-US"/>
              <a:t>Lorem ipsum dolor sit.</a:t>
            </a:r>
            <a:endParaRPr lang="en-US" dirty="0"/>
          </a:p>
        </p:txBody>
      </p:sp>
      <p:grpSp>
        <p:nvGrpSpPr>
          <p:cNvPr id="11" name="Group 10"/>
          <p:cNvGrpSpPr/>
          <p:nvPr/>
        </p:nvGrpSpPr>
        <p:grpSpPr>
          <a:xfrm>
            <a:off x="-883" y="6514984"/>
            <a:ext cx="9144235" cy="353924"/>
            <a:chOff x="-1200" y="6644680"/>
            <a:chExt cx="12436794" cy="360970"/>
          </a:xfrm>
        </p:grpSpPr>
        <p:sp>
          <p:nvSpPr>
            <p:cNvPr id="12" name="TextBox 11"/>
            <p:cNvSpPr txBox="1"/>
            <p:nvPr/>
          </p:nvSpPr>
          <p:spPr>
            <a:xfrm>
              <a:off x="-1200" y="6644680"/>
              <a:ext cx="4147213" cy="360970"/>
            </a:xfrm>
            <a:prstGeom prst="rect">
              <a:avLst/>
            </a:prstGeom>
            <a:solidFill>
              <a:schemeClr val="accent4"/>
            </a:solidFill>
          </p:spPr>
          <p:txBody>
            <a:bodyPr wrap="square" lIns="457135" tIns="137141" rIns="365707" rtlCol="0">
              <a:noAutofit/>
            </a:bodyPr>
            <a:lstStyle/>
            <a:p>
              <a:pPr defTabSz="685608" fontAlgn="auto">
                <a:lnSpc>
                  <a:spcPts val="2250"/>
                </a:lnSpc>
                <a:spcBef>
                  <a:spcPts val="0"/>
                </a:spcBef>
                <a:spcAft>
                  <a:spcPts val="0"/>
                </a:spcAft>
              </a:pPr>
              <a:r>
                <a:rPr lang="en-US" sz="2100" dirty="0">
                  <a:solidFill>
                    <a:srgbClr val="FFFFFF"/>
                  </a:solidFill>
                  <a:latin typeface="Segoe UI Light"/>
                  <a:ea typeface="+mn-ea"/>
                  <a:cs typeface="+mn-cs"/>
                </a:rPr>
                <a:t> </a:t>
              </a:r>
            </a:p>
          </p:txBody>
        </p:sp>
        <p:sp>
          <p:nvSpPr>
            <p:cNvPr id="8" name="TextBox 7"/>
            <p:cNvSpPr txBox="1"/>
            <p:nvPr userDrawn="1"/>
          </p:nvSpPr>
          <p:spPr>
            <a:xfrm>
              <a:off x="4146013" y="6644680"/>
              <a:ext cx="8289581" cy="360970"/>
            </a:xfrm>
            <a:prstGeom prst="rect">
              <a:avLst/>
            </a:prstGeom>
            <a:solidFill>
              <a:srgbClr val="900000"/>
            </a:solidFill>
          </p:spPr>
          <p:txBody>
            <a:bodyPr wrap="square" lIns="457135" tIns="137141" rIns="365707" rtlCol="0">
              <a:noAutofit/>
            </a:bodyPr>
            <a:lstStyle/>
            <a:p>
              <a:pPr defTabSz="685608" fontAlgn="auto">
                <a:lnSpc>
                  <a:spcPts val="2250"/>
                </a:lnSpc>
                <a:spcBef>
                  <a:spcPts val="0"/>
                </a:spcBef>
                <a:spcAft>
                  <a:spcPts val="0"/>
                </a:spcAft>
              </a:pPr>
              <a:r>
                <a:rPr lang="en-US" sz="2100" dirty="0">
                  <a:solidFill>
                    <a:srgbClr val="FFFFFF"/>
                  </a:solidFill>
                  <a:latin typeface="Segoe UI Light"/>
                  <a:ea typeface="+mn-ea"/>
                  <a:cs typeface="+mn-cs"/>
                </a:rPr>
                <a:t> </a:t>
              </a:r>
            </a:p>
          </p:txBody>
        </p:sp>
      </p:grpSp>
      <p:sp>
        <p:nvSpPr>
          <p:cNvPr id="16" name="Text Placeholder 2"/>
          <p:cNvSpPr>
            <a:spLocks noGrp="1"/>
          </p:cNvSpPr>
          <p:nvPr>
            <p:ph type="body" sz="quarter" idx="13"/>
          </p:nvPr>
        </p:nvSpPr>
        <p:spPr>
          <a:xfrm>
            <a:off x="197962" y="1324594"/>
            <a:ext cx="8745277" cy="4827325"/>
          </a:xfrm>
        </p:spPr>
        <p:txBody>
          <a:bodyPr/>
          <a:lstStyle>
            <a:lvl1pPr marL="0" indent="0">
              <a:lnSpc>
                <a:spcPct val="100000"/>
              </a:lnSpc>
              <a:spcBef>
                <a:spcPts val="1471"/>
              </a:spcBef>
              <a:buFontTx/>
              <a:buNone/>
              <a:defRPr sz="2353">
                <a:solidFill>
                  <a:srgbClr val="C00000"/>
                </a:solidFill>
              </a:defRPr>
            </a:lvl1pPr>
            <a:lvl2pPr marL="252109" indent="0">
              <a:lnSpc>
                <a:spcPct val="100000"/>
              </a:lnSpc>
              <a:spcBef>
                <a:spcPts val="1471"/>
              </a:spcBef>
              <a:buFontTx/>
              <a:buNone/>
              <a:defRPr/>
            </a:lvl2pPr>
            <a:lvl3pPr marL="420181" indent="0">
              <a:lnSpc>
                <a:spcPct val="100000"/>
              </a:lnSpc>
              <a:spcBef>
                <a:spcPts val="1471"/>
              </a:spcBef>
              <a:buFontTx/>
              <a:buNone/>
              <a:defRPr/>
            </a:lvl3pPr>
            <a:lvl4pPr marL="588254" indent="0">
              <a:lnSpc>
                <a:spcPct val="100000"/>
              </a:lnSpc>
              <a:spcBef>
                <a:spcPts val="1471"/>
              </a:spcBef>
              <a:buFontTx/>
              <a:buNone/>
              <a:defRPr/>
            </a:lvl4pPr>
            <a:lvl5pPr marL="756326" indent="0">
              <a:lnSpc>
                <a:spcPct val="100000"/>
              </a:lnSpc>
              <a:spcBef>
                <a:spcPts val="1471"/>
              </a:spcBef>
              <a:buFontTx/>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40868167"/>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cSld name="3_Custom Layout">
    <p:bg>
      <p:bgPr>
        <a:solidFill>
          <a:schemeClr val="accent4"/>
        </a:solidFill>
        <a:effectLst/>
      </p:bgPr>
    </p:bg>
    <p:spTree>
      <p:nvGrpSpPr>
        <p:cNvPr id="1" name=""/>
        <p:cNvGrpSpPr/>
        <p:nvPr/>
      </p:nvGrpSpPr>
      <p:grpSpPr>
        <a:xfrm>
          <a:off x="0" y="0"/>
          <a:ext cx="0" cy="0"/>
          <a:chOff x="0" y="0"/>
          <a:chExt cx="0" cy="0"/>
        </a:xfrm>
      </p:grpSpPr>
      <p:sp>
        <p:nvSpPr>
          <p:cNvPr id="1392" name="Rectangle 1391"/>
          <p:cNvSpPr/>
          <p:nvPr/>
        </p:nvSpPr>
        <p:spPr bwMode="auto">
          <a:xfrm>
            <a:off x="86195" y="75958"/>
            <a:ext cx="9586057" cy="6727537"/>
          </a:xfrm>
          <a:prstGeom prst="rect">
            <a:avLst/>
          </a:prstGeom>
          <a:blipFill>
            <a:blip r:embed="rId2">
              <a:alphaModFix amt="80000"/>
            </a:blip>
            <a:srcRect/>
            <a:stretch>
              <a:fillRect l="-89347" r="-1"/>
            </a:stretch>
          </a:bli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marL="252109" indent="-252109" algn="ctr" defTabSz="685577" fontAlgn="base">
              <a:lnSpc>
                <a:spcPct val="90000"/>
              </a:lnSpc>
              <a:spcBef>
                <a:spcPct val="0"/>
              </a:spcBef>
              <a:spcAft>
                <a:spcPct val="0"/>
              </a:spcAft>
              <a:buFont typeface="Wingdings 3" panose="05040102010807070707" pitchFamily="18" charset="2"/>
              <a:buChar char="Æ"/>
            </a:pPr>
            <a:endParaRPr lang="en-US" sz="1471" b="1" dirty="0" err="1">
              <a:solidFill>
                <a:schemeClr val="bg1"/>
              </a:solidFill>
              <a:latin typeface="+mj-lt"/>
              <a:ea typeface="Segoe UI" pitchFamily="34" charset="0"/>
              <a:cs typeface="Segoe UI" pitchFamily="34" charset="0"/>
            </a:endParaRPr>
          </a:p>
        </p:txBody>
      </p:sp>
      <p:pic>
        <p:nvPicPr>
          <p:cNvPr id="19" name="Picture 18"/>
          <p:cNvPicPr>
            <a:picLocks noChangeAspect="1"/>
          </p:cNvPicPr>
          <p:nvPr/>
        </p:nvPicPr>
        <p:blipFill rotWithShape="1">
          <a:blip r:embed="rId3"/>
          <a:srcRect l="3690" t="27657" r="2751" b="17378"/>
          <a:stretch/>
        </p:blipFill>
        <p:spPr>
          <a:xfrm>
            <a:off x="86195" y="1"/>
            <a:ext cx="9144558" cy="6857411"/>
          </a:xfrm>
          <a:prstGeom prst="rect">
            <a:avLst/>
          </a:prstGeom>
        </p:spPr>
      </p:pic>
      <p:pic>
        <p:nvPicPr>
          <p:cNvPr id="23" name="Picture 22"/>
          <p:cNvPicPr>
            <a:picLocks noChangeAspect="1"/>
          </p:cNvPicPr>
          <p:nvPr/>
        </p:nvPicPr>
        <p:blipFill rotWithShape="1">
          <a:blip r:embed="rId4"/>
          <a:srcRect l="5796" t="5241" b="19866"/>
          <a:stretch/>
        </p:blipFill>
        <p:spPr>
          <a:xfrm>
            <a:off x="0" y="-48462"/>
            <a:ext cx="6832323" cy="6930105"/>
          </a:xfrm>
          <a:prstGeom prst="rect">
            <a:avLst/>
          </a:prstGeom>
        </p:spPr>
      </p:pic>
      <p:sp>
        <p:nvSpPr>
          <p:cNvPr id="1381" name="Title 1"/>
          <p:cNvSpPr txBox="1">
            <a:spLocks/>
          </p:cNvSpPr>
          <p:nvPr/>
        </p:nvSpPr>
        <p:spPr>
          <a:xfrm>
            <a:off x="227853" y="333918"/>
            <a:ext cx="3856027" cy="3406726"/>
          </a:xfrm>
          <a:prstGeom prst="rect">
            <a:avLst/>
          </a:prstGeom>
        </p:spPr>
        <p:txBody>
          <a:bodyPr vert="horz" wrap="square" lIns="107555" tIns="67223" rIns="107555" bIns="67223"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a:lstStyle>
          <a:p>
            <a:endParaRPr lang="en-US" sz="3970" dirty="0">
              <a:solidFill>
                <a:srgbClr val="0072C6"/>
              </a:solidFill>
            </a:endParaRPr>
          </a:p>
        </p:txBody>
      </p:sp>
      <p:sp>
        <p:nvSpPr>
          <p:cNvPr id="1382" name="Title 1"/>
          <p:cNvSpPr>
            <a:spLocks noGrp="1"/>
          </p:cNvSpPr>
          <p:nvPr>
            <p:ph type="title"/>
          </p:nvPr>
        </p:nvSpPr>
        <p:spPr>
          <a:xfrm>
            <a:off x="201930" y="289514"/>
            <a:ext cx="3944097" cy="2386171"/>
          </a:xfrm>
        </p:spPr>
        <p:txBody>
          <a:bodyPr/>
          <a:lstStyle>
            <a:lvl1pPr>
              <a:defRPr sz="3971">
                <a:solidFill>
                  <a:schemeClr val="accent4"/>
                </a:solidFill>
              </a:defRPr>
            </a:lvl1pPr>
          </a:lstStyle>
          <a:p>
            <a:r>
              <a:rPr lang="en-US" dirty="0"/>
              <a:t>Click to edit Master title style</a:t>
            </a:r>
          </a:p>
        </p:txBody>
      </p:sp>
      <p:grpSp>
        <p:nvGrpSpPr>
          <p:cNvPr id="1383" name="Group 1382"/>
          <p:cNvGrpSpPr/>
          <p:nvPr/>
        </p:nvGrpSpPr>
        <p:grpSpPr>
          <a:xfrm>
            <a:off x="924856" y="2978459"/>
            <a:ext cx="1305393" cy="1740771"/>
            <a:chOff x="1257868" y="2914778"/>
            <a:chExt cx="1775425" cy="1775425"/>
          </a:xfrm>
        </p:grpSpPr>
        <p:grpSp>
          <p:nvGrpSpPr>
            <p:cNvPr id="1384" name="Group 1383"/>
            <p:cNvGrpSpPr/>
            <p:nvPr userDrawn="1"/>
          </p:nvGrpSpPr>
          <p:grpSpPr>
            <a:xfrm>
              <a:off x="1257868" y="2914778"/>
              <a:ext cx="1775425" cy="1775425"/>
              <a:chOff x="1068968" y="3223626"/>
              <a:chExt cx="1775425" cy="1775425"/>
            </a:xfrm>
            <a:solidFill>
              <a:srgbClr val="BA141A"/>
            </a:solidFill>
          </p:grpSpPr>
          <p:sp>
            <p:nvSpPr>
              <p:cNvPr id="1387" name="Donut 1386"/>
              <p:cNvSpPr/>
              <p:nvPr/>
            </p:nvSpPr>
            <p:spPr bwMode="auto">
              <a:xfrm>
                <a:off x="1068968" y="3223626"/>
                <a:ext cx="1775425" cy="1775425"/>
              </a:xfrm>
              <a:prstGeom prst="donut">
                <a:avLst>
                  <a:gd name="adj" fmla="val 7423"/>
                </a:avLst>
              </a:prstGeom>
              <a:solidFill>
                <a:srgbClr val="BA141A">
                  <a:lumMod val="40000"/>
                  <a:lumOff val="60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252060" marR="0" lvl="0" indent="-252060" algn="ctr" defTabSz="685445" eaLnBrk="1" fontAlgn="auto" latinLnBrk="0" hangingPunct="1">
                  <a:lnSpc>
                    <a:spcPct val="90000"/>
                  </a:lnSpc>
                  <a:spcBef>
                    <a:spcPts val="0"/>
                  </a:spcBef>
                  <a:spcAft>
                    <a:spcPts val="0"/>
                  </a:spcAft>
                  <a:buClrTx/>
                  <a:buSzTx/>
                  <a:buFont typeface="Wingdings 3" panose="05040102010807070707" pitchFamily="18" charset="2"/>
                  <a:buChar char="Æ"/>
                  <a:tabLst/>
                  <a:defRPr/>
                </a:pPr>
                <a:endParaRPr kumimoji="0" lang="en-IN" sz="147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1388" name="Freeform 5"/>
              <p:cNvSpPr>
                <a:spLocks/>
              </p:cNvSpPr>
              <p:nvPr/>
            </p:nvSpPr>
            <p:spPr bwMode="auto">
              <a:xfrm rot="18900000">
                <a:off x="1616206" y="3474252"/>
                <a:ext cx="376606" cy="352694"/>
              </a:xfrm>
              <a:custGeom>
                <a:avLst/>
                <a:gdLst>
                  <a:gd name="T0" fmla="*/ 53 w 53"/>
                  <a:gd name="T1" fmla="*/ 22 h 49"/>
                  <a:gd name="T2" fmla="*/ 2 w 53"/>
                  <a:gd name="T3" fmla="*/ 0 h 49"/>
                  <a:gd name="T4" fmla="*/ 0 w 53"/>
                  <a:gd name="T5" fmla="*/ 37 h 49"/>
                  <a:gd name="T6" fmla="*/ 28 w 53"/>
                  <a:gd name="T7" fmla="*/ 49 h 49"/>
                  <a:gd name="T8" fmla="*/ 53 w 53"/>
                  <a:gd name="T9" fmla="*/ 22 h 49"/>
                </a:gdLst>
                <a:ahLst/>
                <a:cxnLst>
                  <a:cxn ang="0">
                    <a:pos x="T0" y="T1"/>
                  </a:cxn>
                  <a:cxn ang="0">
                    <a:pos x="T2" y="T3"/>
                  </a:cxn>
                  <a:cxn ang="0">
                    <a:pos x="T4" y="T5"/>
                  </a:cxn>
                  <a:cxn ang="0">
                    <a:pos x="T6" y="T7"/>
                  </a:cxn>
                  <a:cxn ang="0">
                    <a:pos x="T8" y="T9"/>
                  </a:cxn>
                </a:cxnLst>
                <a:rect l="0" t="0" r="r" b="b"/>
                <a:pathLst>
                  <a:path w="53" h="49">
                    <a:moveTo>
                      <a:pt x="53" y="22"/>
                    </a:moveTo>
                    <a:cubicBezTo>
                      <a:pt x="39" y="9"/>
                      <a:pt x="21" y="2"/>
                      <a:pt x="2" y="0"/>
                    </a:cubicBezTo>
                    <a:cubicBezTo>
                      <a:pt x="0" y="37"/>
                      <a:pt x="0" y="37"/>
                      <a:pt x="0" y="37"/>
                    </a:cubicBezTo>
                    <a:cubicBezTo>
                      <a:pt x="10" y="38"/>
                      <a:pt x="20" y="42"/>
                      <a:pt x="28" y="49"/>
                    </a:cubicBezTo>
                    <a:lnTo>
                      <a:pt x="53" y="22"/>
                    </a:lnTo>
                    <a:close/>
                  </a:path>
                </a:pathLst>
              </a:custGeom>
              <a:grpFill/>
              <a:ln>
                <a:noFill/>
              </a:ln>
              <a:extLst/>
            </p:spPr>
            <p:txBody>
              <a:bodyPr vert="horz" wrap="square" lIns="91427" tIns="45713" rIns="91427" bIns="45713" numCol="1" anchor="t" anchorCtr="0" compatLnSpc="1">
                <a:prstTxWarp prst="textNoShape">
                  <a:avLst/>
                </a:prstTxWarp>
              </a:bodyPr>
              <a:lstStyle/>
              <a:p>
                <a:pPr marL="0" marR="0" lvl="0" indent="0" defTabSz="684998" eaLnBrk="1" fontAlgn="auto" latinLnBrk="0" hangingPunct="1">
                  <a:lnSpc>
                    <a:spcPct val="100000"/>
                  </a:lnSpc>
                  <a:spcBef>
                    <a:spcPts val="0"/>
                  </a:spcBef>
                  <a:spcAft>
                    <a:spcPts val="0"/>
                  </a:spcAft>
                  <a:buClrTx/>
                  <a:buSzTx/>
                  <a:buFontTx/>
                  <a:buNone/>
                  <a:tabLst/>
                  <a:defRPr/>
                </a:pPr>
                <a:endParaRPr kumimoji="0" lang="en-IN" sz="1324" b="0" i="0" u="none" strike="noStrike" kern="0" cap="none" spc="0" normalizeH="0" baseline="0" noProof="0" dirty="0">
                  <a:ln>
                    <a:noFill/>
                  </a:ln>
                  <a:solidFill>
                    <a:srgbClr val="000000"/>
                  </a:solidFill>
                  <a:effectLst/>
                  <a:uLnTx/>
                  <a:uFillTx/>
                  <a:latin typeface="Segoe UI"/>
                  <a:cs typeface="+mn-cs"/>
                </a:endParaRPr>
              </a:p>
            </p:txBody>
          </p:sp>
          <p:sp>
            <p:nvSpPr>
              <p:cNvPr id="1389" name="Freeform 6"/>
              <p:cNvSpPr>
                <a:spLocks/>
              </p:cNvSpPr>
              <p:nvPr/>
            </p:nvSpPr>
            <p:spPr bwMode="auto">
              <a:xfrm rot="18900000">
                <a:off x="1942016" y="3461858"/>
                <a:ext cx="352695" cy="379596"/>
              </a:xfrm>
              <a:custGeom>
                <a:avLst/>
                <a:gdLst>
                  <a:gd name="T0" fmla="*/ 12 w 49"/>
                  <a:gd name="T1" fmla="*/ 53 h 53"/>
                  <a:gd name="T2" fmla="*/ 49 w 49"/>
                  <a:gd name="T3" fmla="*/ 51 h 53"/>
                  <a:gd name="T4" fmla="*/ 27 w 49"/>
                  <a:gd name="T5" fmla="*/ 0 h 53"/>
                  <a:gd name="T6" fmla="*/ 0 w 49"/>
                  <a:gd name="T7" fmla="*/ 24 h 53"/>
                  <a:gd name="T8" fmla="*/ 12 w 49"/>
                  <a:gd name="T9" fmla="*/ 53 h 53"/>
                </a:gdLst>
                <a:ahLst/>
                <a:cxnLst>
                  <a:cxn ang="0">
                    <a:pos x="T0" y="T1"/>
                  </a:cxn>
                  <a:cxn ang="0">
                    <a:pos x="T2" y="T3"/>
                  </a:cxn>
                  <a:cxn ang="0">
                    <a:pos x="T4" y="T5"/>
                  </a:cxn>
                  <a:cxn ang="0">
                    <a:pos x="T6" y="T7"/>
                  </a:cxn>
                  <a:cxn ang="0">
                    <a:pos x="T8" y="T9"/>
                  </a:cxn>
                </a:cxnLst>
                <a:rect l="0" t="0" r="r" b="b"/>
                <a:pathLst>
                  <a:path w="49" h="53">
                    <a:moveTo>
                      <a:pt x="12" y="53"/>
                    </a:moveTo>
                    <a:cubicBezTo>
                      <a:pt x="49" y="51"/>
                      <a:pt x="49" y="51"/>
                      <a:pt x="49" y="51"/>
                    </a:cubicBezTo>
                    <a:cubicBezTo>
                      <a:pt x="47" y="32"/>
                      <a:pt x="40" y="14"/>
                      <a:pt x="27" y="0"/>
                    </a:cubicBezTo>
                    <a:cubicBezTo>
                      <a:pt x="0" y="24"/>
                      <a:pt x="0" y="24"/>
                      <a:pt x="0" y="24"/>
                    </a:cubicBezTo>
                    <a:cubicBezTo>
                      <a:pt x="7" y="32"/>
                      <a:pt x="11" y="43"/>
                      <a:pt x="12" y="53"/>
                    </a:cubicBezTo>
                    <a:close/>
                  </a:path>
                </a:pathLst>
              </a:custGeom>
              <a:grpFill/>
              <a:ln>
                <a:noFill/>
              </a:ln>
              <a:extLst/>
            </p:spPr>
            <p:txBody>
              <a:bodyPr vert="horz" wrap="square" lIns="91427" tIns="45713" rIns="91427" bIns="45713" numCol="1" anchor="t" anchorCtr="0" compatLnSpc="1">
                <a:prstTxWarp prst="textNoShape">
                  <a:avLst/>
                </a:prstTxWarp>
              </a:bodyPr>
              <a:lstStyle/>
              <a:p>
                <a:pPr marL="0" marR="0" lvl="0" indent="0" defTabSz="684998" eaLnBrk="1" fontAlgn="auto" latinLnBrk="0" hangingPunct="1">
                  <a:lnSpc>
                    <a:spcPct val="100000"/>
                  </a:lnSpc>
                  <a:spcBef>
                    <a:spcPts val="0"/>
                  </a:spcBef>
                  <a:spcAft>
                    <a:spcPts val="0"/>
                  </a:spcAft>
                  <a:buClrTx/>
                  <a:buSzTx/>
                  <a:buFontTx/>
                  <a:buNone/>
                  <a:tabLst/>
                  <a:defRPr/>
                </a:pPr>
                <a:endParaRPr kumimoji="0" lang="en-IN" sz="1324" b="0" i="0" u="none" strike="noStrike" kern="0" cap="none" spc="0" normalizeH="0" baseline="0" noProof="0" dirty="0">
                  <a:ln>
                    <a:noFill/>
                  </a:ln>
                  <a:solidFill>
                    <a:srgbClr val="000000"/>
                  </a:solidFill>
                  <a:effectLst/>
                  <a:uLnTx/>
                  <a:uFillTx/>
                  <a:latin typeface="Segoe UI"/>
                  <a:cs typeface="+mn-cs"/>
                </a:endParaRPr>
              </a:p>
            </p:txBody>
          </p:sp>
          <p:sp>
            <p:nvSpPr>
              <p:cNvPr id="1390" name="Freeform 7"/>
              <p:cNvSpPr>
                <a:spLocks/>
              </p:cNvSpPr>
              <p:nvPr/>
            </p:nvSpPr>
            <p:spPr bwMode="auto">
              <a:xfrm rot="18900000">
                <a:off x="1311425" y="3777538"/>
                <a:ext cx="379596" cy="352694"/>
              </a:xfrm>
              <a:custGeom>
                <a:avLst/>
                <a:gdLst>
                  <a:gd name="T0" fmla="*/ 53 w 53"/>
                  <a:gd name="T1" fmla="*/ 37 h 49"/>
                  <a:gd name="T2" fmla="*/ 51 w 53"/>
                  <a:gd name="T3" fmla="*/ 0 h 49"/>
                  <a:gd name="T4" fmla="*/ 0 w 53"/>
                  <a:gd name="T5" fmla="*/ 21 h 49"/>
                  <a:gd name="T6" fmla="*/ 24 w 53"/>
                  <a:gd name="T7" fmla="*/ 49 h 49"/>
                  <a:gd name="T8" fmla="*/ 53 w 53"/>
                  <a:gd name="T9" fmla="*/ 37 h 49"/>
                </a:gdLst>
                <a:ahLst/>
                <a:cxnLst>
                  <a:cxn ang="0">
                    <a:pos x="T0" y="T1"/>
                  </a:cxn>
                  <a:cxn ang="0">
                    <a:pos x="T2" y="T3"/>
                  </a:cxn>
                  <a:cxn ang="0">
                    <a:pos x="T4" y="T5"/>
                  </a:cxn>
                  <a:cxn ang="0">
                    <a:pos x="T6" y="T7"/>
                  </a:cxn>
                  <a:cxn ang="0">
                    <a:pos x="T8" y="T9"/>
                  </a:cxn>
                </a:cxnLst>
                <a:rect l="0" t="0" r="r" b="b"/>
                <a:pathLst>
                  <a:path w="53" h="49">
                    <a:moveTo>
                      <a:pt x="53" y="37"/>
                    </a:moveTo>
                    <a:cubicBezTo>
                      <a:pt x="51" y="0"/>
                      <a:pt x="51" y="0"/>
                      <a:pt x="51" y="0"/>
                    </a:cubicBezTo>
                    <a:cubicBezTo>
                      <a:pt x="32" y="1"/>
                      <a:pt x="14" y="9"/>
                      <a:pt x="0" y="21"/>
                    </a:cubicBezTo>
                    <a:cubicBezTo>
                      <a:pt x="24" y="49"/>
                      <a:pt x="24" y="49"/>
                      <a:pt x="24" y="49"/>
                    </a:cubicBezTo>
                    <a:cubicBezTo>
                      <a:pt x="32" y="42"/>
                      <a:pt x="43" y="38"/>
                      <a:pt x="53" y="37"/>
                    </a:cubicBezTo>
                    <a:close/>
                  </a:path>
                </a:pathLst>
              </a:custGeom>
              <a:grpFill/>
              <a:ln>
                <a:noFill/>
              </a:ln>
              <a:extLst/>
            </p:spPr>
            <p:txBody>
              <a:bodyPr vert="horz" wrap="square" lIns="91427" tIns="45713" rIns="91427" bIns="45713" numCol="1" anchor="t" anchorCtr="0" compatLnSpc="1">
                <a:prstTxWarp prst="textNoShape">
                  <a:avLst/>
                </a:prstTxWarp>
              </a:bodyPr>
              <a:lstStyle/>
              <a:p>
                <a:pPr marL="0" marR="0" lvl="0" indent="0" defTabSz="684998" eaLnBrk="1" fontAlgn="auto" latinLnBrk="0" hangingPunct="1">
                  <a:lnSpc>
                    <a:spcPct val="100000"/>
                  </a:lnSpc>
                  <a:spcBef>
                    <a:spcPts val="0"/>
                  </a:spcBef>
                  <a:spcAft>
                    <a:spcPts val="0"/>
                  </a:spcAft>
                  <a:buClrTx/>
                  <a:buSzTx/>
                  <a:buFontTx/>
                  <a:buNone/>
                  <a:tabLst/>
                  <a:defRPr/>
                </a:pPr>
                <a:endParaRPr kumimoji="0" lang="en-IN" sz="1324" b="0" i="0" u="none" strike="noStrike" kern="0" cap="none" spc="0" normalizeH="0" baseline="0" noProof="0" dirty="0">
                  <a:ln>
                    <a:noFill/>
                  </a:ln>
                  <a:solidFill>
                    <a:srgbClr val="000000"/>
                  </a:solidFill>
                  <a:effectLst/>
                  <a:uLnTx/>
                  <a:uFillTx/>
                  <a:latin typeface="Segoe UI"/>
                  <a:cs typeface="+mn-cs"/>
                </a:endParaRPr>
              </a:p>
            </p:txBody>
          </p:sp>
          <p:sp>
            <p:nvSpPr>
              <p:cNvPr id="1391" name="Freeform 8"/>
              <p:cNvSpPr>
                <a:spLocks/>
              </p:cNvSpPr>
              <p:nvPr/>
            </p:nvSpPr>
            <p:spPr bwMode="auto">
              <a:xfrm rot="18900000">
                <a:off x="1331654" y="4082167"/>
                <a:ext cx="349706" cy="379596"/>
              </a:xfrm>
              <a:custGeom>
                <a:avLst/>
                <a:gdLst>
                  <a:gd name="T0" fmla="*/ 48 w 49"/>
                  <a:gd name="T1" fmla="*/ 23 h 53"/>
                  <a:gd name="T2" fmla="*/ 21 w 49"/>
                  <a:gd name="T3" fmla="*/ 0 h 53"/>
                  <a:gd name="T4" fmla="*/ 0 w 49"/>
                  <a:gd name="T5" fmla="*/ 51 h 53"/>
                  <a:gd name="T6" fmla="*/ 37 w 49"/>
                  <a:gd name="T7" fmla="*/ 53 h 53"/>
                  <a:gd name="T8" fmla="*/ 49 w 49"/>
                  <a:gd name="T9" fmla="*/ 24 h 53"/>
                  <a:gd name="T10" fmla="*/ 48 w 49"/>
                  <a:gd name="T11" fmla="*/ 23 h 53"/>
                </a:gdLst>
                <a:ahLst/>
                <a:cxnLst>
                  <a:cxn ang="0">
                    <a:pos x="T0" y="T1"/>
                  </a:cxn>
                  <a:cxn ang="0">
                    <a:pos x="T2" y="T3"/>
                  </a:cxn>
                  <a:cxn ang="0">
                    <a:pos x="T4" y="T5"/>
                  </a:cxn>
                  <a:cxn ang="0">
                    <a:pos x="T6" y="T7"/>
                  </a:cxn>
                  <a:cxn ang="0">
                    <a:pos x="T8" y="T9"/>
                  </a:cxn>
                  <a:cxn ang="0">
                    <a:pos x="T10" y="T11"/>
                  </a:cxn>
                </a:cxnLst>
                <a:rect l="0" t="0" r="r" b="b"/>
                <a:pathLst>
                  <a:path w="49" h="53">
                    <a:moveTo>
                      <a:pt x="48" y="23"/>
                    </a:moveTo>
                    <a:cubicBezTo>
                      <a:pt x="21" y="0"/>
                      <a:pt x="21" y="0"/>
                      <a:pt x="21" y="0"/>
                    </a:cubicBezTo>
                    <a:cubicBezTo>
                      <a:pt x="8" y="14"/>
                      <a:pt x="1" y="32"/>
                      <a:pt x="0" y="51"/>
                    </a:cubicBezTo>
                    <a:cubicBezTo>
                      <a:pt x="37" y="53"/>
                      <a:pt x="37" y="53"/>
                      <a:pt x="37" y="53"/>
                    </a:cubicBezTo>
                    <a:cubicBezTo>
                      <a:pt x="38" y="42"/>
                      <a:pt x="42" y="32"/>
                      <a:pt x="49" y="24"/>
                    </a:cubicBezTo>
                    <a:cubicBezTo>
                      <a:pt x="48" y="23"/>
                      <a:pt x="48" y="23"/>
                      <a:pt x="48" y="23"/>
                    </a:cubicBezTo>
                    <a:close/>
                  </a:path>
                </a:pathLst>
              </a:custGeom>
              <a:grpFill/>
              <a:ln>
                <a:noFill/>
              </a:ln>
              <a:extLst/>
            </p:spPr>
            <p:txBody>
              <a:bodyPr vert="horz" wrap="square" lIns="91427" tIns="45713" rIns="91427" bIns="45713" numCol="1" anchor="t" anchorCtr="0" compatLnSpc="1">
                <a:prstTxWarp prst="textNoShape">
                  <a:avLst/>
                </a:prstTxWarp>
              </a:bodyPr>
              <a:lstStyle/>
              <a:p>
                <a:pPr marL="0" marR="0" lvl="0" indent="0" defTabSz="684998" eaLnBrk="1" fontAlgn="auto" latinLnBrk="0" hangingPunct="1">
                  <a:lnSpc>
                    <a:spcPct val="100000"/>
                  </a:lnSpc>
                  <a:spcBef>
                    <a:spcPts val="0"/>
                  </a:spcBef>
                  <a:spcAft>
                    <a:spcPts val="0"/>
                  </a:spcAft>
                  <a:buClrTx/>
                  <a:buSzTx/>
                  <a:buFontTx/>
                  <a:buNone/>
                  <a:tabLst/>
                  <a:defRPr/>
                </a:pPr>
                <a:endParaRPr kumimoji="0" lang="en-IN" sz="1324" b="0" i="0" u="none" strike="noStrike" kern="0" cap="none" spc="0" normalizeH="0" baseline="0" noProof="0" dirty="0">
                  <a:ln>
                    <a:noFill/>
                  </a:ln>
                  <a:solidFill>
                    <a:srgbClr val="000000"/>
                  </a:solidFill>
                  <a:effectLst/>
                  <a:uLnTx/>
                  <a:uFillTx/>
                  <a:latin typeface="Segoe UI"/>
                  <a:cs typeface="+mn-cs"/>
                </a:endParaRPr>
              </a:p>
            </p:txBody>
          </p:sp>
        </p:grpSp>
        <p:sp>
          <p:nvSpPr>
            <p:cNvPr id="1385" name="Freeform 1384"/>
            <p:cNvSpPr>
              <a:spLocks/>
            </p:cNvSpPr>
            <p:nvPr userDrawn="1"/>
          </p:nvSpPr>
          <p:spPr bwMode="auto">
            <a:xfrm rot="18900000">
              <a:off x="2170096" y="3434382"/>
              <a:ext cx="593840" cy="477384"/>
            </a:xfrm>
            <a:custGeom>
              <a:avLst/>
              <a:gdLst>
                <a:gd name="connsiteX0" fmla="*/ 42335 w 473106"/>
                <a:gd name="connsiteY0" fmla="*/ 21859 h 380327"/>
                <a:gd name="connsiteX1" fmla="*/ 61057 w 473106"/>
                <a:gd name="connsiteY1" fmla="*/ 49049 h 380327"/>
                <a:gd name="connsiteX2" fmla="*/ 64322 w 473106"/>
                <a:gd name="connsiteY2" fmla="*/ 64322 h 380327"/>
                <a:gd name="connsiteX3" fmla="*/ 0 w 473106"/>
                <a:gd name="connsiteY3" fmla="*/ 0 h 380327"/>
                <a:gd name="connsiteX4" fmla="*/ 15056 w 473106"/>
                <a:gd name="connsiteY4" fmla="*/ 3198 h 380327"/>
                <a:gd name="connsiteX5" fmla="*/ 42335 w 473106"/>
                <a:gd name="connsiteY5" fmla="*/ 21859 h 380327"/>
                <a:gd name="connsiteX6" fmla="*/ 473106 w 473106"/>
                <a:gd name="connsiteY6" fmla="*/ 104320 h 380327"/>
                <a:gd name="connsiteX7" fmla="*/ 376111 w 473106"/>
                <a:gd name="connsiteY7" fmla="*/ 371609 h 380327"/>
                <a:gd name="connsiteX8" fmla="*/ 380327 w 473106"/>
                <a:gd name="connsiteY8" fmla="*/ 380327 h 380327"/>
                <a:gd name="connsiteX9" fmla="*/ 222557 w 473106"/>
                <a:gd name="connsiteY9" fmla="*/ 222557 h 380327"/>
                <a:gd name="connsiteX10" fmla="*/ 248449 w 473106"/>
                <a:gd name="connsiteY10" fmla="*/ 160479 h 380327"/>
                <a:gd name="connsiteX11" fmla="*/ 262000 w 473106"/>
                <a:gd name="connsiteY11" fmla="*/ 92946 h 380327"/>
                <a:gd name="connsiteX12" fmla="*/ 473106 w 473106"/>
                <a:gd name="connsiteY12" fmla="*/ 104320 h 3803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73106" h="380327">
                  <a:moveTo>
                    <a:pt x="42335" y="21859"/>
                  </a:moveTo>
                  <a:cubicBezTo>
                    <a:pt x="50181" y="29678"/>
                    <a:pt x="56599" y="38919"/>
                    <a:pt x="61057" y="49049"/>
                  </a:cubicBezTo>
                  <a:lnTo>
                    <a:pt x="64322" y="64322"/>
                  </a:lnTo>
                  <a:lnTo>
                    <a:pt x="0" y="0"/>
                  </a:lnTo>
                  <a:lnTo>
                    <a:pt x="15056" y="3198"/>
                  </a:lnTo>
                  <a:cubicBezTo>
                    <a:pt x="25218" y="7641"/>
                    <a:pt x="34490" y="14039"/>
                    <a:pt x="42335" y="21859"/>
                  </a:cubicBezTo>
                  <a:close/>
                  <a:moveTo>
                    <a:pt x="473106" y="104320"/>
                  </a:moveTo>
                  <a:cubicBezTo>
                    <a:pt x="467401" y="200999"/>
                    <a:pt x="433167" y="297678"/>
                    <a:pt x="376111" y="371609"/>
                  </a:cubicBezTo>
                  <a:lnTo>
                    <a:pt x="380327" y="380327"/>
                  </a:lnTo>
                  <a:lnTo>
                    <a:pt x="222557" y="222557"/>
                  </a:lnTo>
                  <a:lnTo>
                    <a:pt x="248449" y="160479"/>
                  </a:lnTo>
                  <a:cubicBezTo>
                    <a:pt x="254868" y="138442"/>
                    <a:pt x="259147" y="115694"/>
                    <a:pt x="262000" y="92946"/>
                  </a:cubicBezTo>
                  <a:cubicBezTo>
                    <a:pt x="262000" y="92946"/>
                    <a:pt x="262000" y="92946"/>
                    <a:pt x="473106" y="104320"/>
                  </a:cubicBezTo>
                  <a:close/>
                </a:path>
              </a:pathLst>
            </a:custGeom>
            <a:solidFill>
              <a:srgbClr val="BA141A"/>
            </a:solidFill>
            <a:ln>
              <a:noFill/>
            </a:ln>
            <a:extLst/>
          </p:spPr>
          <p:txBody>
            <a:bodyPr vert="horz" wrap="square" lIns="91427" tIns="45713" rIns="91427" bIns="45713" numCol="1" anchor="t" anchorCtr="0" compatLnSpc="1">
              <a:prstTxWarp prst="textNoShape">
                <a:avLst/>
              </a:prstTxWarp>
              <a:noAutofit/>
            </a:bodyPr>
            <a:lstStyle/>
            <a:p>
              <a:pPr marL="0" marR="0" lvl="0" indent="0" defTabSz="684998" eaLnBrk="1" fontAlgn="auto" latinLnBrk="0" hangingPunct="1">
                <a:lnSpc>
                  <a:spcPct val="100000"/>
                </a:lnSpc>
                <a:spcBef>
                  <a:spcPts val="0"/>
                </a:spcBef>
                <a:spcAft>
                  <a:spcPts val="0"/>
                </a:spcAft>
                <a:buClrTx/>
                <a:buSzTx/>
                <a:buFontTx/>
                <a:buNone/>
                <a:tabLst/>
                <a:defRPr/>
              </a:pPr>
              <a:endParaRPr kumimoji="0" lang="en-IN" sz="1324" b="0" i="0" u="none" strike="noStrike" kern="0" cap="none" spc="0" normalizeH="0" baseline="0" noProof="0" dirty="0">
                <a:ln>
                  <a:noFill/>
                </a:ln>
                <a:solidFill>
                  <a:srgbClr val="000000"/>
                </a:solidFill>
                <a:effectLst/>
                <a:uLnTx/>
                <a:uFillTx/>
                <a:latin typeface="Segoe UI"/>
                <a:cs typeface="+mn-cs"/>
              </a:endParaRPr>
            </a:p>
          </p:txBody>
        </p:sp>
        <p:sp>
          <p:nvSpPr>
            <p:cNvPr id="1386" name="Freeform 1385"/>
            <p:cNvSpPr>
              <a:spLocks/>
            </p:cNvSpPr>
            <p:nvPr userDrawn="1"/>
          </p:nvSpPr>
          <p:spPr bwMode="auto">
            <a:xfrm rot="19005034">
              <a:off x="2115065" y="3501231"/>
              <a:ext cx="616889" cy="599616"/>
            </a:xfrm>
            <a:custGeom>
              <a:avLst/>
              <a:gdLst>
                <a:gd name="connsiteX0" fmla="*/ 145492 w 491469"/>
                <a:gd name="connsiteY0" fmla="*/ 25592 h 477708"/>
                <a:gd name="connsiteX1" fmla="*/ 171167 w 491469"/>
                <a:gd name="connsiteY1" fmla="*/ 85305 h 477708"/>
                <a:gd name="connsiteX2" fmla="*/ 325218 w 491469"/>
                <a:gd name="connsiteY2" fmla="*/ 227480 h 477708"/>
                <a:gd name="connsiteX3" fmla="*/ 325539 w 491469"/>
                <a:gd name="connsiteY3" fmla="*/ 226709 h 477708"/>
                <a:gd name="connsiteX4" fmla="*/ 484040 w 491469"/>
                <a:gd name="connsiteY4" fmla="*/ 385210 h 477708"/>
                <a:gd name="connsiteX5" fmla="*/ 488807 w 491469"/>
                <a:gd name="connsiteY5" fmla="*/ 395069 h 477708"/>
                <a:gd name="connsiteX6" fmla="*/ 473563 w 491469"/>
                <a:gd name="connsiteY6" fmla="*/ 460647 h 477708"/>
                <a:gd name="connsiteX7" fmla="*/ 387979 w 491469"/>
                <a:gd name="connsiteY7" fmla="*/ 460647 h 477708"/>
                <a:gd name="connsiteX8" fmla="*/ 85584 w 491469"/>
                <a:gd name="connsiteY8" fmla="*/ 170610 h 477708"/>
                <a:gd name="connsiteX9" fmla="*/ 0 w 491469"/>
                <a:gd name="connsiteY9" fmla="*/ 85305 h 477708"/>
                <a:gd name="connsiteX10" fmla="*/ 85584 w 491469"/>
                <a:gd name="connsiteY10" fmla="*/ 0 h 477708"/>
                <a:gd name="connsiteX11" fmla="*/ 145492 w 491469"/>
                <a:gd name="connsiteY11" fmla="*/ 25592 h 477708"/>
                <a:gd name="connsiteX0" fmla="*/ 145492 w 491469"/>
                <a:gd name="connsiteY0" fmla="*/ 25592 h 477708"/>
                <a:gd name="connsiteX1" fmla="*/ 171167 w 491469"/>
                <a:gd name="connsiteY1" fmla="*/ 85305 h 477708"/>
                <a:gd name="connsiteX2" fmla="*/ 325218 w 491469"/>
                <a:gd name="connsiteY2" fmla="*/ 227480 h 477708"/>
                <a:gd name="connsiteX3" fmla="*/ 484040 w 491469"/>
                <a:gd name="connsiteY3" fmla="*/ 385210 h 477708"/>
                <a:gd name="connsiteX4" fmla="*/ 488807 w 491469"/>
                <a:gd name="connsiteY4" fmla="*/ 395069 h 477708"/>
                <a:gd name="connsiteX5" fmla="*/ 473563 w 491469"/>
                <a:gd name="connsiteY5" fmla="*/ 460647 h 477708"/>
                <a:gd name="connsiteX6" fmla="*/ 387979 w 491469"/>
                <a:gd name="connsiteY6" fmla="*/ 460647 h 477708"/>
                <a:gd name="connsiteX7" fmla="*/ 85584 w 491469"/>
                <a:gd name="connsiteY7" fmla="*/ 170610 h 477708"/>
                <a:gd name="connsiteX8" fmla="*/ 0 w 491469"/>
                <a:gd name="connsiteY8" fmla="*/ 85305 h 477708"/>
                <a:gd name="connsiteX9" fmla="*/ 85584 w 491469"/>
                <a:gd name="connsiteY9" fmla="*/ 0 h 477708"/>
                <a:gd name="connsiteX10" fmla="*/ 145492 w 491469"/>
                <a:gd name="connsiteY10" fmla="*/ 25592 h 477708"/>
                <a:gd name="connsiteX0" fmla="*/ 145492 w 491469"/>
                <a:gd name="connsiteY0" fmla="*/ 25592 h 477708"/>
                <a:gd name="connsiteX1" fmla="*/ 171167 w 491469"/>
                <a:gd name="connsiteY1" fmla="*/ 85305 h 477708"/>
                <a:gd name="connsiteX2" fmla="*/ 484040 w 491469"/>
                <a:gd name="connsiteY2" fmla="*/ 385210 h 477708"/>
                <a:gd name="connsiteX3" fmla="*/ 488807 w 491469"/>
                <a:gd name="connsiteY3" fmla="*/ 395069 h 477708"/>
                <a:gd name="connsiteX4" fmla="*/ 473563 w 491469"/>
                <a:gd name="connsiteY4" fmla="*/ 460647 h 477708"/>
                <a:gd name="connsiteX5" fmla="*/ 387979 w 491469"/>
                <a:gd name="connsiteY5" fmla="*/ 460647 h 477708"/>
                <a:gd name="connsiteX6" fmla="*/ 85584 w 491469"/>
                <a:gd name="connsiteY6" fmla="*/ 170610 h 477708"/>
                <a:gd name="connsiteX7" fmla="*/ 0 w 491469"/>
                <a:gd name="connsiteY7" fmla="*/ 85305 h 477708"/>
                <a:gd name="connsiteX8" fmla="*/ 85584 w 491469"/>
                <a:gd name="connsiteY8" fmla="*/ 0 h 477708"/>
                <a:gd name="connsiteX9" fmla="*/ 145492 w 491469"/>
                <a:gd name="connsiteY9" fmla="*/ 25592 h 477708"/>
                <a:gd name="connsiteX0" fmla="*/ 145492 w 491469"/>
                <a:gd name="connsiteY0" fmla="*/ 25592 h 477708"/>
                <a:gd name="connsiteX1" fmla="*/ 171167 w 491469"/>
                <a:gd name="connsiteY1" fmla="*/ 85305 h 477708"/>
                <a:gd name="connsiteX2" fmla="*/ 488807 w 491469"/>
                <a:gd name="connsiteY2" fmla="*/ 395069 h 477708"/>
                <a:gd name="connsiteX3" fmla="*/ 473563 w 491469"/>
                <a:gd name="connsiteY3" fmla="*/ 460647 h 477708"/>
                <a:gd name="connsiteX4" fmla="*/ 387979 w 491469"/>
                <a:gd name="connsiteY4" fmla="*/ 460647 h 477708"/>
                <a:gd name="connsiteX5" fmla="*/ 85584 w 491469"/>
                <a:gd name="connsiteY5" fmla="*/ 170610 h 477708"/>
                <a:gd name="connsiteX6" fmla="*/ 0 w 491469"/>
                <a:gd name="connsiteY6" fmla="*/ 85305 h 477708"/>
                <a:gd name="connsiteX7" fmla="*/ 85584 w 491469"/>
                <a:gd name="connsiteY7" fmla="*/ 0 h 477708"/>
                <a:gd name="connsiteX8" fmla="*/ 145492 w 491469"/>
                <a:gd name="connsiteY8" fmla="*/ 25592 h 4777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91469" h="477708">
                  <a:moveTo>
                    <a:pt x="145492" y="25592"/>
                  </a:moveTo>
                  <a:cubicBezTo>
                    <a:pt x="161183" y="41231"/>
                    <a:pt x="171167" y="62557"/>
                    <a:pt x="171167" y="85305"/>
                  </a:cubicBezTo>
                  <a:lnTo>
                    <a:pt x="488807" y="395069"/>
                  </a:lnTo>
                  <a:cubicBezTo>
                    <a:pt x="494959" y="416928"/>
                    <a:pt x="490679" y="443586"/>
                    <a:pt x="473563" y="460647"/>
                  </a:cubicBezTo>
                  <a:cubicBezTo>
                    <a:pt x="450740" y="483395"/>
                    <a:pt x="410801" y="483395"/>
                    <a:pt x="387979" y="460647"/>
                  </a:cubicBezTo>
                  <a:lnTo>
                    <a:pt x="85584" y="170610"/>
                  </a:lnTo>
                  <a:cubicBezTo>
                    <a:pt x="39939" y="170610"/>
                    <a:pt x="0" y="136488"/>
                    <a:pt x="0" y="85305"/>
                  </a:cubicBezTo>
                  <a:cubicBezTo>
                    <a:pt x="0" y="39809"/>
                    <a:pt x="39939" y="0"/>
                    <a:pt x="85584" y="0"/>
                  </a:cubicBezTo>
                  <a:cubicBezTo>
                    <a:pt x="108406" y="0"/>
                    <a:pt x="129802" y="9952"/>
                    <a:pt x="145492" y="25592"/>
                  </a:cubicBezTo>
                  <a:close/>
                </a:path>
              </a:pathLst>
            </a:custGeom>
            <a:solidFill>
              <a:srgbClr val="BA141A">
                <a:lumMod val="50000"/>
              </a:srgbClr>
            </a:solidFill>
            <a:ln>
              <a:noFill/>
            </a:ln>
            <a:extLst/>
          </p:spPr>
          <p:txBody>
            <a:bodyPr vert="horz" wrap="square" lIns="91427" tIns="45713" rIns="91427" bIns="45713" numCol="1" anchor="t" anchorCtr="0" compatLnSpc="1">
              <a:prstTxWarp prst="textNoShape">
                <a:avLst/>
              </a:prstTxWarp>
              <a:noAutofit/>
            </a:bodyPr>
            <a:lstStyle/>
            <a:p>
              <a:pPr marL="0" marR="0" lvl="0" indent="0" defTabSz="684998" eaLnBrk="1" fontAlgn="auto" latinLnBrk="0" hangingPunct="1">
                <a:lnSpc>
                  <a:spcPct val="100000"/>
                </a:lnSpc>
                <a:spcBef>
                  <a:spcPts val="0"/>
                </a:spcBef>
                <a:spcAft>
                  <a:spcPts val="0"/>
                </a:spcAft>
                <a:buClrTx/>
                <a:buSzTx/>
                <a:buFontTx/>
                <a:buNone/>
                <a:tabLst/>
                <a:defRPr/>
              </a:pPr>
              <a:endParaRPr kumimoji="0" lang="en-IN" sz="1324" b="0" i="0" u="none" strike="noStrike" kern="0" cap="none" spc="0" normalizeH="0" baseline="0" noProof="0" dirty="0">
                <a:ln>
                  <a:noFill/>
                </a:ln>
                <a:solidFill>
                  <a:srgbClr val="000000"/>
                </a:solidFill>
                <a:effectLst/>
                <a:uLnTx/>
                <a:uFillTx/>
                <a:latin typeface="Segoe UI"/>
                <a:cs typeface="+mn-cs"/>
              </a:endParaRPr>
            </a:p>
          </p:txBody>
        </p:sp>
      </p:grpSp>
    </p:spTree>
    <p:extLst>
      <p:ext uri="{BB962C8B-B14F-4D97-AF65-F5344CB8AC3E}">
        <p14:creationId xmlns:p14="http://schemas.microsoft.com/office/powerpoint/2010/main" val="371350822"/>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01977" y="1187644"/>
            <a:ext cx="8741309" cy="537775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Box 7"/>
          <p:cNvSpPr txBox="1"/>
          <p:nvPr/>
        </p:nvSpPr>
        <p:spPr bwMode="white">
          <a:xfrm>
            <a:off x="3277255" y="6586706"/>
            <a:ext cx="2589491" cy="11881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772" b="0" spc="11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283148722"/>
      </p:ext>
    </p:extLst>
  </p:cSld>
  <p:clrMapOvr>
    <a:masterClrMapping/>
  </p:clrMapOvr>
  <p:transition spd="med">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endParaRPr lang="en-IN"/>
          </a:p>
        </p:txBody>
      </p:sp>
      <p:grpSp>
        <p:nvGrpSpPr>
          <p:cNvPr id="4" name="Group 3"/>
          <p:cNvGrpSpPr/>
          <p:nvPr/>
        </p:nvGrpSpPr>
        <p:grpSpPr>
          <a:xfrm>
            <a:off x="-883" y="6514984"/>
            <a:ext cx="9144235" cy="353924"/>
            <a:chOff x="-1200" y="6644680"/>
            <a:chExt cx="12436794" cy="360970"/>
          </a:xfrm>
        </p:grpSpPr>
        <p:sp>
          <p:nvSpPr>
            <p:cNvPr id="5" name="TextBox 4"/>
            <p:cNvSpPr txBox="1"/>
            <p:nvPr/>
          </p:nvSpPr>
          <p:spPr>
            <a:xfrm>
              <a:off x="-1200" y="6644680"/>
              <a:ext cx="4147213" cy="360970"/>
            </a:xfrm>
            <a:prstGeom prst="rect">
              <a:avLst/>
            </a:prstGeom>
            <a:solidFill>
              <a:schemeClr val="accent4"/>
            </a:solidFill>
          </p:spPr>
          <p:txBody>
            <a:bodyPr wrap="square" lIns="457135" tIns="137141" rIns="365707" rtlCol="0">
              <a:noAutofit/>
            </a:bodyPr>
            <a:lstStyle/>
            <a:p>
              <a:pPr defTabSz="685608" fontAlgn="auto">
                <a:lnSpc>
                  <a:spcPts val="2250"/>
                </a:lnSpc>
                <a:spcBef>
                  <a:spcPts val="0"/>
                </a:spcBef>
                <a:spcAft>
                  <a:spcPts val="0"/>
                </a:spcAft>
              </a:pPr>
              <a:r>
                <a:rPr lang="en-US" sz="2100" dirty="0">
                  <a:solidFill>
                    <a:srgbClr val="FFFFFF"/>
                  </a:solidFill>
                  <a:latin typeface="Segoe UI Light"/>
                  <a:ea typeface="+mn-ea"/>
                  <a:cs typeface="+mn-cs"/>
                </a:rPr>
                <a:t> </a:t>
              </a:r>
            </a:p>
          </p:txBody>
        </p:sp>
        <p:sp>
          <p:nvSpPr>
            <p:cNvPr id="6" name="TextBox 5"/>
            <p:cNvSpPr txBox="1"/>
            <p:nvPr userDrawn="1"/>
          </p:nvSpPr>
          <p:spPr>
            <a:xfrm>
              <a:off x="4146013" y="6644680"/>
              <a:ext cx="8289581" cy="360970"/>
            </a:xfrm>
            <a:prstGeom prst="rect">
              <a:avLst/>
            </a:prstGeom>
            <a:solidFill>
              <a:srgbClr val="900000"/>
            </a:solidFill>
          </p:spPr>
          <p:txBody>
            <a:bodyPr wrap="square" lIns="457135" tIns="137141" rIns="365707" rtlCol="0">
              <a:noAutofit/>
            </a:bodyPr>
            <a:lstStyle/>
            <a:p>
              <a:pPr defTabSz="685608" fontAlgn="auto">
                <a:lnSpc>
                  <a:spcPts val="2250"/>
                </a:lnSpc>
                <a:spcBef>
                  <a:spcPts val="0"/>
                </a:spcBef>
                <a:spcAft>
                  <a:spcPts val="0"/>
                </a:spcAft>
              </a:pPr>
              <a:r>
                <a:rPr lang="en-US" sz="2100" dirty="0">
                  <a:solidFill>
                    <a:srgbClr val="FFFFFF"/>
                  </a:solidFill>
                  <a:latin typeface="Segoe UI Light"/>
                  <a:ea typeface="+mn-ea"/>
                  <a:cs typeface="+mn-cs"/>
                </a:rPr>
                <a:t> </a:t>
              </a:r>
            </a:p>
          </p:txBody>
        </p:sp>
      </p:grpSp>
    </p:spTree>
    <p:extLst>
      <p:ext uri="{BB962C8B-B14F-4D97-AF65-F5344CB8AC3E}">
        <p14:creationId xmlns:p14="http://schemas.microsoft.com/office/powerpoint/2010/main" val="1615937001"/>
      </p:ext>
    </p:extLst>
  </p:cSld>
  <p:clrMapOvr>
    <a:masterClrMapping/>
  </p:clrMapOvr>
  <p:transition>
    <p:fade/>
  </p:transition>
  <p:extLst>
    <p:ext uri="{DCECCB84-F9BA-43D5-87BE-67443E8EF086}">
      <p15:sldGuideLst xmlns:p15="http://schemas.microsoft.com/office/powerpoint/2012/main">
        <p15:guide id="1" orient="horz" pos="2203">
          <p15:clr>
            <a:srgbClr val="FBAE40"/>
          </p15:clr>
        </p15:guide>
        <p15:guide id="2" pos="3917">
          <p15:clr>
            <a:srgbClr val="FBAE40"/>
          </p15:clr>
        </p15:guide>
        <p15:guide id="3" orient="horz" pos="523">
          <p15:clr>
            <a:srgbClr val="FBAE40"/>
          </p15:clr>
        </p15:guide>
        <p15:guide id="4" pos="293">
          <p15:clr>
            <a:srgbClr val="FBAE4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cSld name="2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01930" y="1189176"/>
            <a:ext cx="8740142" cy="1881541"/>
          </a:xfrm>
        </p:spPr>
        <p:txBody>
          <a:bodyPr>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lvl1pPr>
              <a:defRPr sz="3897"/>
            </a:lvl1pPr>
          </a:lstStyle>
          <a:p>
            <a:r>
              <a:rPr lang="en-US" dirty="0"/>
              <a:t>Click to edit Master title style</a:t>
            </a:r>
          </a:p>
        </p:txBody>
      </p:sp>
    </p:spTree>
    <p:extLst>
      <p:ext uri="{BB962C8B-B14F-4D97-AF65-F5344CB8AC3E}">
        <p14:creationId xmlns:p14="http://schemas.microsoft.com/office/powerpoint/2010/main" val="1748138046"/>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0" y="1189177"/>
            <a:ext cx="8741309" cy="1881541"/>
          </a:xfrm>
        </p:spPr>
        <p:txBody>
          <a:bodyPr>
            <a:spAutoFit/>
          </a:bodyPr>
          <a:lstStyle>
            <a:lvl1pPr marL="0" indent="0">
              <a:buNone/>
              <a:defRPr/>
            </a:lvl1pPr>
            <a:lvl2pPr marL="168073" indent="0">
              <a:buNone/>
              <a:defRPr/>
            </a:lvl2pPr>
            <a:lvl3pPr marL="336145" indent="0">
              <a:buNone/>
              <a:defRPr/>
            </a:lvl3pPr>
            <a:lvl4pPr marL="504218"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p:cNvSpPr txBox="1"/>
          <p:nvPr/>
        </p:nvSpPr>
        <p:spPr bwMode="white">
          <a:xfrm>
            <a:off x="3277255" y="6586706"/>
            <a:ext cx="2589491" cy="11881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772" b="0" spc="11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8299070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Lab">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55B8EEB-D399-4AF3-B7D1-E78E1898CC1F}"/>
              </a:ext>
            </a:extLst>
          </p:cNvPr>
          <p:cNvSpPr/>
          <p:nvPr userDrawn="1"/>
        </p:nvSpPr>
        <p:spPr>
          <a:xfrm>
            <a:off x="0" y="0"/>
            <a:ext cx="9144000" cy="1371600"/>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hasCustomPrompt="1"/>
          </p:nvPr>
        </p:nvSpPr>
        <p:spPr>
          <a:xfrm>
            <a:off x="1473233" y="1"/>
            <a:ext cx="7511614" cy="1231901"/>
          </a:xfrm>
        </p:spPr>
        <p:txBody>
          <a:bodyPr/>
          <a:lstStyle>
            <a:lvl1pPr>
              <a:defRPr sz="2400"/>
            </a:lvl1pPr>
          </a:lstStyle>
          <a:p>
            <a:r>
              <a:rPr lang="en-US" dirty="0"/>
              <a:t>Click to edit Lab title</a:t>
            </a:r>
          </a:p>
        </p:txBody>
      </p:sp>
      <p:sp>
        <p:nvSpPr>
          <p:cNvPr id="3" name="Content Placeholder 2"/>
          <p:cNvSpPr>
            <a:spLocks noGrp="1"/>
          </p:cNvSpPr>
          <p:nvPr>
            <p:ph idx="1" hasCustomPrompt="1"/>
          </p:nvPr>
        </p:nvSpPr>
        <p:spPr>
          <a:xfrm>
            <a:off x="151194" y="1371600"/>
            <a:ext cx="8833654" cy="4793789"/>
          </a:xfrm>
        </p:spPr>
        <p:txBody>
          <a:bodyPr>
            <a:normAutofit/>
          </a:bodyPr>
          <a:lstStyle>
            <a:lvl1pPr marL="514350" indent="-514350">
              <a:buFont typeface="+mj-lt"/>
              <a:buAutoNum type="arabicParenR"/>
              <a:defRPr sz="2700"/>
            </a:lvl1pPr>
            <a:lvl2pPr marL="342900" indent="0">
              <a:buFontTx/>
              <a:buNone/>
              <a:defRPr sz="2400"/>
            </a:lvl2pPr>
            <a:lvl3pPr marL="685800" indent="0">
              <a:buFontTx/>
              <a:buNone/>
              <a:defRPr sz="2100"/>
            </a:lvl3pPr>
            <a:lvl4pPr marL="1028700" indent="0">
              <a:buFontTx/>
              <a:buNone/>
              <a:defRPr sz="1800"/>
            </a:lvl4pPr>
            <a:lvl5pPr marL="1371600" indent="0">
              <a:buFontTx/>
              <a:buNone/>
              <a:defRPr sz="1800"/>
            </a:lvl5pPr>
          </a:lstStyle>
          <a:p>
            <a:pPr lvl="0"/>
            <a:r>
              <a:rPr lang="en-US" dirty="0"/>
              <a:t>Click to edit Master text styles</a:t>
            </a:r>
          </a:p>
          <a:p>
            <a:pPr lvl="1"/>
            <a:r>
              <a:rPr lang="en-US" dirty="0"/>
              <a:t>Second level </a:t>
            </a:r>
          </a:p>
          <a:p>
            <a:pPr lvl="1"/>
            <a:r>
              <a:rPr lang="en-US" dirty="0"/>
              <a:t>	Third level</a:t>
            </a:r>
          </a:p>
          <a:p>
            <a:pPr lvl="3"/>
            <a:r>
              <a:rPr lang="en-US" dirty="0"/>
              <a:t>Fourth level</a:t>
            </a:r>
          </a:p>
          <a:p>
            <a:pPr lvl="4"/>
            <a:r>
              <a:rPr lang="en-US" dirty="0"/>
              <a:t>Fifth level</a:t>
            </a:r>
          </a:p>
        </p:txBody>
      </p:sp>
      <p:sp>
        <p:nvSpPr>
          <p:cNvPr id="7" name="Rectangle 6">
            <a:extLst>
              <a:ext uri="{FF2B5EF4-FFF2-40B4-BE49-F238E27FC236}">
                <a16:creationId xmlns:a16="http://schemas.microsoft.com/office/drawing/2014/main" id="{36E8BE26-ED1E-4BC3-AABB-33679E13D11C}"/>
              </a:ext>
            </a:extLst>
          </p:cNvPr>
          <p:cNvSpPr/>
          <p:nvPr userDrawn="1"/>
        </p:nvSpPr>
        <p:spPr>
          <a:xfrm>
            <a:off x="158449" y="117610"/>
            <a:ext cx="1314784" cy="715581"/>
          </a:xfrm>
          <a:prstGeom prst="rect">
            <a:avLst/>
          </a:prstGeom>
        </p:spPr>
        <p:txBody>
          <a:bodyPr wrap="none">
            <a:spAutoFit/>
          </a:bodyPr>
          <a:lstStyle/>
          <a:p>
            <a:r>
              <a:rPr lang="en-US" sz="4050" dirty="0">
                <a:solidFill>
                  <a:srgbClr val="00B0F0"/>
                </a:solidFill>
              </a:rPr>
              <a:t>LAB</a:t>
            </a:r>
          </a:p>
        </p:txBody>
      </p:sp>
      <p:sp>
        <p:nvSpPr>
          <p:cNvPr id="8" name="Text Placeholder 4">
            <a:extLst>
              <a:ext uri="{FF2B5EF4-FFF2-40B4-BE49-F238E27FC236}">
                <a16:creationId xmlns:a16="http://schemas.microsoft.com/office/drawing/2014/main" id="{5F53A04A-F1A4-47F1-8696-966F2AE336F7}"/>
              </a:ext>
            </a:extLst>
          </p:cNvPr>
          <p:cNvSpPr>
            <a:spLocks noGrp="1"/>
          </p:cNvSpPr>
          <p:nvPr>
            <p:ph type="body" sz="quarter" idx="10" hasCustomPrompt="1"/>
          </p:nvPr>
        </p:nvSpPr>
        <p:spPr>
          <a:xfrm>
            <a:off x="261188" y="6307137"/>
            <a:ext cx="8574837"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2625449846"/>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cSld name="3_General content light">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28601" y="304802"/>
            <a:ext cx="8458200" cy="685800"/>
          </a:xfrm>
          <a:noFill/>
        </p:spPr>
        <p:txBody>
          <a:bodyPr rIns="91440">
            <a:noAutofit/>
          </a:bodyPr>
          <a:lstStyle>
            <a:lvl1pPr>
              <a:defRPr sz="2699" baseline="0">
                <a:solidFill>
                  <a:schemeClr val="accent1"/>
                </a:solidFill>
                <a:latin typeface="Segoe UI Light" panose="020B0502040204020203" pitchFamily="34" charset="0"/>
                <a:cs typeface="Segoe UI Light" panose="020B0502040204020203" pitchFamily="34" charset="0"/>
              </a:defRPr>
            </a:lvl1pPr>
          </a:lstStyle>
          <a:p>
            <a:r>
              <a:rPr lang="en-US" dirty="0"/>
              <a:t>Click to edit slide title</a:t>
            </a:r>
          </a:p>
        </p:txBody>
      </p:sp>
      <p:sp>
        <p:nvSpPr>
          <p:cNvPr id="14" name="Content Placeholder 13"/>
          <p:cNvSpPr>
            <a:spLocks noGrp="1"/>
          </p:cNvSpPr>
          <p:nvPr>
            <p:ph sz="quarter" idx="13" hasCustomPrompt="1"/>
          </p:nvPr>
        </p:nvSpPr>
        <p:spPr>
          <a:xfrm>
            <a:off x="304800" y="1143000"/>
            <a:ext cx="8382000" cy="4953000"/>
          </a:xfrm>
          <a:prstGeom prst="rect">
            <a:avLst/>
          </a:prstGeom>
        </p:spPr>
        <p:txBody>
          <a:bodyPr vert="horz" lIns="91440" tIns="45720">
            <a:normAutofit/>
          </a:bodyPr>
          <a:lstStyle>
            <a:lvl1pPr marL="0" indent="0">
              <a:lnSpc>
                <a:spcPct val="100000"/>
              </a:lnSpc>
              <a:spcBef>
                <a:spcPts val="225"/>
              </a:spcBef>
              <a:buFontTx/>
              <a:buNone/>
              <a:defRPr sz="1799" baseline="0">
                <a:solidFill>
                  <a:srgbClr val="3F3F3F"/>
                </a:solidFill>
                <a:latin typeface="Segoe UI Light" pitchFamily="34" charset="0"/>
              </a:defRPr>
            </a:lvl1pPr>
          </a:lstStyle>
          <a:p>
            <a:pPr lvl="0"/>
            <a:r>
              <a:rPr lang="en-US" dirty="0"/>
              <a:t>Click to edit slide content</a:t>
            </a:r>
          </a:p>
        </p:txBody>
      </p:sp>
      <p:sp>
        <p:nvSpPr>
          <p:cNvPr id="7" name="Slide Number Placeholder 3"/>
          <p:cNvSpPr>
            <a:spLocks noGrp="1"/>
          </p:cNvSpPr>
          <p:nvPr>
            <p:ph type="sldNum" sz="quarter" idx="11"/>
          </p:nvPr>
        </p:nvSpPr>
        <p:spPr>
          <a:xfrm>
            <a:off x="7015506" y="6492880"/>
            <a:ext cx="2133600" cy="365125"/>
          </a:xfrm>
        </p:spPr>
        <p:txBody>
          <a:bodyPr/>
          <a:lstStyle>
            <a:lvl1pPr>
              <a:defRPr>
                <a:solidFill>
                  <a:srgbClr val="3F3F3F"/>
                </a:solidFill>
                <a:latin typeface="+mn-lt"/>
              </a:defRPr>
            </a:lvl1pPr>
          </a:lstStyle>
          <a:p>
            <a:pPr defTabSz="685503"/>
            <a:fld id="{74A398B2-5A34-1A4A-811E-F4027282568C}" type="slidenum">
              <a:rPr lang="en-US" smtClean="0"/>
              <a:pPr defTabSz="685503"/>
              <a:t>‹#›</a:t>
            </a:fld>
            <a:endParaRPr lang="en-US"/>
          </a:p>
        </p:txBody>
      </p:sp>
      <p:sp>
        <p:nvSpPr>
          <p:cNvPr id="8" name="Slide Number Placeholder 3"/>
          <p:cNvSpPr txBox="1">
            <a:spLocks/>
          </p:cNvSpPr>
          <p:nvPr/>
        </p:nvSpPr>
        <p:spPr>
          <a:xfrm>
            <a:off x="3505201" y="6477005"/>
            <a:ext cx="2133600" cy="365125"/>
          </a:xfrm>
          <a:prstGeom prst="rect">
            <a:avLst/>
          </a:prstGeom>
        </p:spPr>
        <p:txBody>
          <a:bodyPr vert="horz" lIns="137086" tIns="34271" rIns="137086" bIns="34271" rtlCol="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336012"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3F3F3F"/>
                </a:solidFill>
                <a:effectLst/>
                <a:uLnTx/>
                <a:uFillTx/>
                <a:latin typeface="Segoe UI"/>
                <a:ea typeface="+mn-ea"/>
              </a:rPr>
              <a:t>Microsoft Confidential</a:t>
            </a:r>
          </a:p>
        </p:txBody>
      </p:sp>
    </p:spTree>
    <p:extLst>
      <p:ext uri="{BB962C8B-B14F-4D97-AF65-F5344CB8AC3E}">
        <p14:creationId xmlns:p14="http://schemas.microsoft.com/office/powerpoint/2010/main" val="288590640"/>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cSld name="Mission Critical Code">
    <p:spTree>
      <p:nvGrpSpPr>
        <p:cNvPr id="1" name=""/>
        <p:cNvGrpSpPr/>
        <p:nvPr/>
      </p:nvGrpSpPr>
      <p:grpSpPr>
        <a:xfrm>
          <a:off x="0" y="0"/>
          <a:ext cx="0" cy="0"/>
          <a:chOff x="0" y="0"/>
          <a:chExt cx="0" cy="0"/>
        </a:xfrm>
      </p:grpSpPr>
      <p:sp>
        <p:nvSpPr>
          <p:cNvPr id="3" name="Text Placeholder 3"/>
          <p:cNvSpPr>
            <a:spLocks noGrp="1"/>
          </p:cNvSpPr>
          <p:nvPr>
            <p:ph type="body" sz="quarter" idx="10" hasCustomPrompt="1"/>
          </p:nvPr>
        </p:nvSpPr>
        <p:spPr>
          <a:xfrm>
            <a:off x="326951" y="1350549"/>
            <a:ext cx="5063639" cy="4826969"/>
          </a:xfrm>
          <a:solidFill>
            <a:schemeClr val="bg1">
              <a:lumMod val="95000"/>
            </a:schemeClr>
          </a:solidFill>
          <a:ln w="63500">
            <a:solidFill>
              <a:schemeClr val="accent4"/>
            </a:solidFill>
            <a:miter lim="800000"/>
          </a:ln>
        </p:spPr>
        <p:txBody>
          <a:bodyPr wrap="square">
            <a:normAutofit/>
          </a:bodyPr>
          <a:lstStyle>
            <a:lvl1pPr marL="0" indent="0" defTabSz="274268">
              <a:lnSpc>
                <a:spcPct val="100000"/>
              </a:lnSpc>
              <a:spcBef>
                <a:spcPts val="0"/>
              </a:spcBef>
              <a:buClr>
                <a:schemeClr val="tx1"/>
              </a:buClr>
              <a:buFont typeface="Wingdings" pitchFamily="2" charset="2"/>
              <a:buNone/>
              <a:defRPr sz="1350" baseline="0">
                <a:solidFill>
                  <a:schemeClr val="tx1"/>
                </a:solidFill>
                <a:latin typeface="Consolas" panose="020B0609020204030204" pitchFamily="49" charset="0"/>
                <a:cs typeface="Consolas" panose="020B0609020204030204" pitchFamily="49" charset="0"/>
              </a:defRPr>
            </a:lvl1pPr>
            <a:lvl2pPr marL="274268" indent="0" defTabSz="274268">
              <a:lnSpc>
                <a:spcPct val="100000"/>
              </a:lnSpc>
              <a:spcBef>
                <a:spcPts val="0"/>
              </a:spcBef>
              <a:buNone/>
              <a:defRPr sz="1350">
                <a:latin typeface="Consolas" panose="020B0609020204030204" pitchFamily="49" charset="0"/>
                <a:cs typeface="Consolas" panose="020B0609020204030204" pitchFamily="49" charset="0"/>
              </a:defRPr>
            </a:lvl2pPr>
            <a:lvl3pPr marL="548534" indent="0" defTabSz="274268">
              <a:lnSpc>
                <a:spcPct val="100000"/>
              </a:lnSpc>
              <a:spcBef>
                <a:spcPts val="0"/>
              </a:spcBef>
              <a:buNone/>
              <a:tabLst/>
              <a:defRPr sz="1350">
                <a:latin typeface="Consolas" panose="020B0609020204030204" pitchFamily="49" charset="0"/>
                <a:cs typeface="Consolas" panose="020B0609020204030204" pitchFamily="49" charset="0"/>
              </a:defRPr>
            </a:lvl3pPr>
            <a:lvl4pPr marL="822802" indent="0" defTabSz="274268">
              <a:lnSpc>
                <a:spcPct val="100000"/>
              </a:lnSpc>
              <a:spcBef>
                <a:spcPts val="0"/>
              </a:spcBef>
              <a:buNone/>
              <a:defRPr sz="1350">
                <a:latin typeface="Consolas" panose="020B0609020204030204" pitchFamily="49" charset="0"/>
                <a:cs typeface="Consolas" panose="020B0609020204030204" pitchFamily="49" charset="0"/>
              </a:defRPr>
            </a:lvl4pPr>
            <a:lvl5pPr marL="1097069" indent="0" defTabSz="274268">
              <a:lnSpc>
                <a:spcPct val="100000"/>
              </a:lnSpc>
              <a:spcBef>
                <a:spcPts val="0"/>
              </a:spcBef>
              <a:buNone/>
              <a:tabLst/>
              <a:defRPr sz="1350">
                <a:latin typeface="Consolas" panose="020B0609020204030204" pitchFamily="49" charset="0"/>
                <a:cs typeface="Consolas" panose="020B0609020204030204" pitchFamily="49" charset="0"/>
              </a:defRPr>
            </a:lvl5pPr>
          </a:lstStyle>
          <a:p>
            <a:pPr lvl="0"/>
            <a:r>
              <a:rPr lang="en-US" dirty="0"/>
              <a:t>Click to edit code</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12" name="Group 11"/>
          <p:cNvGrpSpPr/>
          <p:nvPr/>
        </p:nvGrpSpPr>
        <p:grpSpPr>
          <a:xfrm>
            <a:off x="-883" y="6514984"/>
            <a:ext cx="9144235" cy="353924"/>
            <a:chOff x="-1200" y="6644680"/>
            <a:chExt cx="12436794" cy="360970"/>
          </a:xfrm>
        </p:grpSpPr>
        <p:sp>
          <p:nvSpPr>
            <p:cNvPr id="13" name="TextBox 12"/>
            <p:cNvSpPr txBox="1"/>
            <p:nvPr/>
          </p:nvSpPr>
          <p:spPr>
            <a:xfrm>
              <a:off x="-1200" y="6644680"/>
              <a:ext cx="4147213" cy="360970"/>
            </a:xfrm>
            <a:prstGeom prst="rect">
              <a:avLst/>
            </a:prstGeom>
            <a:solidFill>
              <a:schemeClr val="accent4"/>
            </a:solidFill>
          </p:spPr>
          <p:txBody>
            <a:bodyPr wrap="square" lIns="457135" tIns="137141" rIns="365707" rtlCol="0">
              <a:noAutofit/>
            </a:bodyPr>
            <a:lstStyle/>
            <a:p>
              <a:pPr defTabSz="685608" fontAlgn="auto">
                <a:lnSpc>
                  <a:spcPts val="2250"/>
                </a:lnSpc>
                <a:spcBef>
                  <a:spcPts val="0"/>
                </a:spcBef>
                <a:spcAft>
                  <a:spcPts val="0"/>
                </a:spcAft>
              </a:pPr>
              <a:r>
                <a:rPr lang="en-US" sz="2100" dirty="0">
                  <a:solidFill>
                    <a:srgbClr val="FFFFFF"/>
                  </a:solidFill>
                  <a:latin typeface="Segoe UI Light"/>
                  <a:ea typeface="+mn-ea"/>
                  <a:cs typeface="+mn-cs"/>
                </a:rPr>
                <a:t> </a:t>
              </a:r>
            </a:p>
          </p:txBody>
        </p:sp>
        <p:sp>
          <p:nvSpPr>
            <p:cNvPr id="14" name="TextBox 13"/>
            <p:cNvSpPr txBox="1"/>
            <p:nvPr userDrawn="1"/>
          </p:nvSpPr>
          <p:spPr>
            <a:xfrm>
              <a:off x="4146013" y="6644680"/>
              <a:ext cx="8289581" cy="360970"/>
            </a:xfrm>
            <a:prstGeom prst="rect">
              <a:avLst/>
            </a:prstGeom>
            <a:solidFill>
              <a:srgbClr val="900000"/>
            </a:solidFill>
          </p:spPr>
          <p:txBody>
            <a:bodyPr wrap="square" lIns="457135" tIns="137141" rIns="365707" rtlCol="0">
              <a:noAutofit/>
            </a:bodyPr>
            <a:lstStyle/>
            <a:p>
              <a:pPr defTabSz="685608" fontAlgn="auto">
                <a:lnSpc>
                  <a:spcPts val="2250"/>
                </a:lnSpc>
                <a:spcBef>
                  <a:spcPts val="0"/>
                </a:spcBef>
                <a:spcAft>
                  <a:spcPts val="0"/>
                </a:spcAft>
              </a:pPr>
              <a:r>
                <a:rPr lang="en-US" sz="2100" dirty="0">
                  <a:solidFill>
                    <a:srgbClr val="FFFFFF"/>
                  </a:solidFill>
                  <a:latin typeface="Segoe UI Light"/>
                  <a:ea typeface="+mn-ea"/>
                  <a:cs typeface="+mn-cs"/>
                </a:rPr>
                <a:t> </a:t>
              </a:r>
            </a:p>
          </p:txBody>
        </p:sp>
      </p:grpSp>
      <p:sp>
        <p:nvSpPr>
          <p:cNvPr id="20" name="Text Placeholder 2"/>
          <p:cNvSpPr>
            <a:spLocks noGrp="1"/>
          </p:cNvSpPr>
          <p:nvPr>
            <p:ph type="body" sz="quarter" idx="13" hasCustomPrompt="1"/>
          </p:nvPr>
        </p:nvSpPr>
        <p:spPr>
          <a:xfrm>
            <a:off x="5561803" y="1324594"/>
            <a:ext cx="3381436" cy="4827325"/>
          </a:xfrm>
        </p:spPr>
        <p:txBody>
          <a:bodyPr/>
          <a:lstStyle>
            <a:lvl1pPr marL="0" indent="0">
              <a:lnSpc>
                <a:spcPct val="100000"/>
              </a:lnSpc>
              <a:spcBef>
                <a:spcPts val="1471"/>
              </a:spcBef>
              <a:buFontTx/>
              <a:buNone/>
              <a:defRPr lang="en-US" sz="1765" kern="1200" dirty="0" smtClean="0">
                <a:solidFill>
                  <a:schemeClr val="accent4"/>
                </a:solidFill>
                <a:latin typeface="+mj-lt"/>
                <a:ea typeface="ＭＳ Ｐゴシック" charset="0"/>
                <a:cs typeface="ＭＳ Ｐゴシック" charset="0"/>
              </a:defRPr>
            </a:lvl1pPr>
            <a:lvl2pPr marL="252109" indent="0">
              <a:lnSpc>
                <a:spcPct val="100000"/>
              </a:lnSpc>
              <a:spcBef>
                <a:spcPts val="1471"/>
              </a:spcBef>
              <a:buFontTx/>
              <a:buNone/>
              <a:defRPr lang="en-US" sz="1441" b="0" kern="1200" dirty="0" smtClean="0">
                <a:solidFill>
                  <a:schemeClr val="tx1"/>
                </a:solidFill>
                <a:latin typeface="+mn-lt"/>
                <a:ea typeface="ＭＳ Ｐゴシック" charset="0"/>
                <a:cs typeface="Segoe UI Semibold" panose="020B0702040204020203" pitchFamily="34" charset="0"/>
              </a:defRPr>
            </a:lvl2pPr>
            <a:lvl3pPr marL="420181" indent="0">
              <a:lnSpc>
                <a:spcPct val="100000"/>
              </a:lnSpc>
              <a:spcBef>
                <a:spcPts val="1471"/>
              </a:spcBef>
              <a:buFontTx/>
              <a:buNone/>
              <a:defRPr/>
            </a:lvl3pPr>
            <a:lvl4pPr marL="588254" indent="0">
              <a:lnSpc>
                <a:spcPct val="100000"/>
              </a:lnSpc>
              <a:spcBef>
                <a:spcPts val="1471"/>
              </a:spcBef>
              <a:buFontTx/>
              <a:buNone/>
              <a:defRPr/>
            </a:lvl4pPr>
            <a:lvl5pPr marL="756326" indent="0">
              <a:lnSpc>
                <a:spcPct val="100000"/>
              </a:lnSpc>
              <a:spcBef>
                <a:spcPts val="1471"/>
              </a:spcBef>
              <a:buFontTx/>
              <a:buNone/>
              <a:defRPr/>
            </a:lvl5pPr>
          </a:lstStyle>
          <a:p>
            <a:pPr marL="0" lvl="0" indent="0" algn="l" defTabSz="685129" rtl="0" fontAlgn="base">
              <a:lnSpc>
                <a:spcPct val="100000"/>
              </a:lnSpc>
              <a:spcBef>
                <a:spcPts val="900"/>
              </a:spcBef>
              <a:spcAft>
                <a:spcPts val="882"/>
              </a:spcAft>
              <a:buClr>
                <a:schemeClr val="tx1"/>
              </a:buClr>
              <a:buSzPct val="90000"/>
              <a:buFont typeface="Wingdings" pitchFamily="2" charset="2"/>
              <a:buNone/>
            </a:pPr>
            <a:r>
              <a:rPr lang="en-US" dirty="0"/>
              <a:t>Click to edit Master text styles</a:t>
            </a:r>
          </a:p>
          <a:p>
            <a:pPr marL="0" lvl="1" indent="0" algn="l" defTabSz="685129" rtl="0" fontAlgn="base">
              <a:lnSpc>
                <a:spcPct val="100000"/>
              </a:lnSpc>
              <a:spcBef>
                <a:spcPts val="450"/>
              </a:spcBef>
              <a:spcAft>
                <a:spcPts val="882"/>
              </a:spcAft>
              <a:buSzPct val="90000"/>
              <a:buFont typeface="Arial" charset="0"/>
              <a:buNone/>
            </a:pPr>
            <a:r>
              <a:rPr lang="en-US" dirty="0"/>
              <a:t>Second level</a:t>
            </a:r>
          </a:p>
        </p:txBody>
      </p:sp>
      <p:sp>
        <p:nvSpPr>
          <p:cNvPr id="23" name="Text Placeholder 4"/>
          <p:cNvSpPr>
            <a:spLocks noGrp="1"/>
          </p:cNvSpPr>
          <p:nvPr>
            <p:ph type="body" sz="quarter" idx="14"/>
          </p:nvPr>
        </p:nvSpPr>
        <p:spPr>
          <a:xfrm>
            <a:off x="197961" y="121888"/>
            <a:ext cx="8565339" cy="1057931"/>
          </a:xfrm>
        </p:spPr>
        <p:txBody>
          <a:bodyPr lIns="146304" tIns="91440" rIns="146304" bIns="91440" anchor="ctr" anchorCtr="0"/>
          <a:lstStyle>
            <a:lvl1pPr marL="0" indent="0">
              <a:buNone/>
              <a:defRPr sz="2941">
                <a:solidFill>
                  <a:schemeClr val="tx1">
                    <a:lumMod val="90000"/>
                    <a:lumOff val="10000"/>
                  </a:schemeClr>
                </a:solidFill>
              </a:defRPr>
            </a:lvl1pPr>
            <a:lvl5pPr marL="756326" indent="0">
              <a:buNone/>
              <a:defRPr/>
            </a:lvl5pPr>
          </a:lstStyle>
          <a:p>
            <a:pPr lvl="0"/>
            <a:r>
              <a:rPr lang="en-US"/>
              <a:t>Click to edit Master text styles</a:t>
            </a:r>
          </a:p>
        </p:txBody>
      </p:sp>
    </p:spTree>
    <p:extLst>
      <p:ext uri="{BB962C8B-B14F-4D97-AF65-F5344CB8AC3E}">
        <p14:creationId xmlns:p14="http://schemas.microsoft.com/office/powerpoint/2010/main" val="3752850275"/>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01931" y="1187645"/>
            <a:ext cx="4033911" cy="2079737"/>
          </a:xfrm>
        </p:spPr>
        <p:txBody>
          <a:bodyPr wrap="square">
            <a:spAutoFit/>
          </a:bodyPr>
          <a:lstStyle>
            <a:lvl1pPr marL="170407" indent="-170407">
              <a:spcBef>
                <a:spcPts val="900"/>
              </a:spcBef>
              <a:buClr>
                <a:schemeClr val="tx1"/>
              </a:buClr>
              <a:buFont typeface="Wingdings" panose="05000000000000000000" pitchFamily="2" charset="2"/>
              <a:buChar char=""/>
              <a:defRPr sz="2206" b="0">
                <a:latin typeface="+mn-lt"/>
              </a:defRPr>
            </a:lvl1pPr>
            <a:lvl2pPr marL="313969" indent="-126054">
              <a:buFont typeface="Wingdings" panose="05000000000000000000" pitchFamily="2" charset="2"/>
              <a:buChar char=""/>
              <a:defRPr sz="1765" b="0"/>
            </a:lvl2pPr>
            <a:lvl3pPr marL="470370" indent="-138893">
              <a:buFont typeface="Wingdings" panose="05000000000000000000" pitchFamily="2" charset="2"/>
              <a:buChar char=""/>
              <a:tabLst/>
              <a:defRPr sz="1618" b="0"/>
            </a:lvl3pPr>
            <a:lvl4pPr marL="609263" indent="-129557">
              <a:buFont typeface="Wingdings" panose="05000000000000000000" pitchFamily="2" charset="2"/>
              <a:buChar char=""/>
              <a:defRPr sz="1618" b="0"/>
            </a:lvl4pPr>
            <a:lvl5pPr marL="752825" indent="-124888">
              <a:buFont typeface="Wingdings" panose="05000000000000000000" pitchFamily="2" charset="2"/>
              <a:buChar char=""/>
              <a:tabLst/>
              <a:defRPr sz="1618"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4908161" y="1187644"/>
            <a:ext cx="4033911" cy="2027030"/>
          </a:xfrm>
        </p:spPr>
        <p:txBody>
          <a:bodyPr wrap="square">
            <a:spAutoFit/>
          </a:bodyPr>
          <a:lstStyle>
            <a:lvl1pPr marL="211258" indent="-211258">
              <a:spcBef>
                <a:spcPts val="900"/>
              </a:spcBef>
              <a:buClr>
                <a:schemeClr val="tx1"/>
              </a:buClr>
              <a:buFont typeface="Arial" pitchFamily="34" charset="0"/>
              <a:buChar char="•"/>
              <a:defRPr lang="en-US" sz="2206" b="0" kern="1200" spc="0" baseline="0" dirty="0">
                <a:gradFill>
                  <a:gsLst>
                    <a:gs pos="1250">
                      <a:schemeClr val="tx1"/>
                    </a:gs>
                    <a:gs pos="100000">
                      <a:schemeClr val="tx1"/>
                    </a:gs>
                  </a:gsLst>
                  <a:lin ang="5400000" scaled="0"/>
                </a:gradFill>
                <a:latin typeface="+mn-lt"/>
                <a:ea typeface="+mn-ea"/>
                <a:cs typeface="+mn-cs"/>
              </a:defRPr>
            </a:lvl1pPr>
            <a:lvl2pPr marL="440024" indent="-252109">
              <a:defRPr lang="en-US" sz="1765" b="0" kern="1200" spc="0" baseline="0" dirty="0">
                <a:gradFill>
                  <a:gsLst>
                    <a:gs pos="1250">
                      <a:schemeClr val="tx1"/>
                    </a:gs>
                    <a:gs pos="100000">
                      <a:schemeClr val="tx1"/>
                    </a:gs>
                  </a:gsLst>
                  <a:lin ang="5400000" scaled="0"/>
                </a:gradFill>
                <a:latin typeface="+mn-lt"/>
                <a:ea typeface="+mn-ea"/>
                <a:cs typeface="+mn-cs"/>
              </a:defRPr>
            </a:lvl2pPr>
            <a:lvl3pPr marL="583585" indent="-252109">
              <a:tabLst/>
              <a:defRPr lang="en-US" sz="1618" b="0" kern="1200" spc="0" baseline="0" dirty="0">
                <a:gradFill>
                  <a:gsLst>
                    <a:gs pos="1250">
                      <a:schemeClr val="tx1"/>
                    </a:gs>
                    <a:gs pos="100000">
                      <a:schemeClr val="tx1"/>
                    </a:gs>
                  </a:gsLst>
                  <a:lin ang="5400000" scaled="0"/>
                </a:gradFill>
                <a:latin typeface="+mn-lt"/>
                <a:ea typeface="+mn-ea"/>
                <a:cs typeface="+mn-cs"/>
              </a:defRPr>
            </a:lvl3pPr>
            <a:lvl4pPr marL="731815" indent="-252109">
              <a:defRPr lang="en-US" sz="1618" b="0" kern="1200" spc="0" baseline="0" dirty="0">
                <a:gradFill>
                  <a:gsLst>
                    <a:gs pos="1250">
                      <a:schemeClr val="tx1"/>
                    </a:gs>
                    <a:gs pos="100000">
                      <a:schemeClr val="tx1"/>
                    </a:gs>
                  </a:gsLst>
                  <a:lin ang="5400000" scaled="0"/>
                </a:gradFill>
                <a:latin typeface="+mn-lt"/>
                <a:ea typeface="+mn-ea"/>
                <a:cs typeface="+mn-cs"/>
              </a:defRPr>
            </a:lvl4pPr>
            <a:lvl5pPr marL="880046" indent="-252109">
              <a:tabLst/>
              <a:defRPr lang="en-US" sz="1618" b="0" kern="1200" spc="0" baseline="0" dirty="0">
                <a:gradFill>
                  <a:gsLst>
                    <a:gs pos="1250">
                      <a:schemeClr val="tx1"/>
                    </a:gs>
                    <a:gs pos="100000">
                      <a:schemeClr val="tx1"/>
                    </a:gs>
                  </a:gsLst>
                  <a:lin ang="5400000" scaled="0"/>
                </a:gradFill>
                <a:latin typeface="+mn-lt"/>
                <a:ea typeface="+mn-ea"/>
                <a:cs typeface="+mn-cs"/>
              </a:defRPr>
            </a:lvl5pPr>
          </a:lstStyle>
          <a:p>
            <a:pPr marL="170407" marR="0" lvl="0" indent="-170407" algn="l" defTabSz="685775" rtl="0" eaLnBrk="1" fontAlgn="auto" latinLnBrk="0" hangingPunct="1">
              <a:lnSpc>
                <a:spcPct val="90000"/>
              </a:lnSpc>
              <a:spcBef>
                <a:spcPts val="900"/>
              </a:spcBef>
              <a:spcAft>
                <a:spcPts val="0"/>
              </a:spcAft>
              <a:buClr>
                <a:schemeClr val="tx1"/>
              </a:buClr>
              <a:buSzPct val="90000"/>
              <a:buFont typeface="Wingdings" panose="05000000000000000000" pitchFamily="2" charset="2"/>
              <a:buChar char=""/>
              <a:tabLst/>
            </a:pPr>
            <a:r>
              <a:rPr lang="en-US" dirty="0"/>
              <a:t>Click to edit Master text styles</a:t>
            </a:r>
          </a:p>
          <a:p>
            <a:pPr marL="313969" marR="0" lvl="1" indent="-126054" algn="l" defTabSz="685775"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Second level</a:t>
            </a:r>
          </a:p>
          <a:p>
            <a:pPr marL="470370" marR="0" lvl="2" indent="-138893" algn="l" defTabSz="685775"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Third level</a:t>
            </a:r>
          </a:p>
          <a:p>
            <a:pPr marL="609263" marR="0" lvl="3" indent="-129557" algn="l" defTabSz="685775"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ourth level</a:t>
            </a:r>
          </a:p>
          <a:p>
            <a:pPr marL="752825" marR="0" lvl="4" indent="-124888" algn="l" defTabSz="685775"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ifth level</a:t>
            </a:r>
          </a:p>
        </p:txBody>
      </p:sp>
      <p:sp>
        <p:nvSpPr>
          <p:cNvPr id="6" name="TextBox 7"/>
          <p:cNvSpPr txBox="1"/>
          <p:nvPr/>
        </p:nvSpPr>
        <p:spPr bwMode="white">
          <a:xfrm>
            <a:off x="3277255" y="6586706"/>
            <a:ext cx="2589491" cy="11881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772" b="0" spc="11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493926817"/>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Insights Screen">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882" y="254721"/>
            <a:ext cx="8767172" cy="1054884"/>
          </a:xfrm>
        </p:spPr>
        <p:txBody>
          <a:bodyPr lIns="457200" tIns="91440" rIns="146304" bIns="91440"/>
          <a:lstStyle>
            <a:lvl1pPr>
              <a:lnSpc>
                <a:spcPct val="100000"/>
              </a:lnSpc>
              <a:defRPr sz="2941" baseline="0">
                <a:solidFill>
                  <a:schemeClr val="tx1"/>
                </a:solidFill>
              </a:defRPr>
            </a:lvl1pPr>
          </a:lstStyle>
          <a:p>
            <a:r>
              <a:rPr lang="en-US" dirty="0"/>
              <a:t>Lorem ipsum dolor sit.</a:t>
            </a:r>
          </a:p>
        </p:txBody>
      </p:sp>
      <p:sp>
        <p:nvSpPr>
          <p:cNvPr id="6" name="Text Placeholder 3"/>
          <p:cNvSpPr>
            <a:spLocks noGrp="1"/>
          </p:cNvSpPr>
          <p:nvPr>
            <p:ph type="body" sz="quarter" idx="11"/>
          </p:nvPr>
        </p:nvSpPr>
        <p:spPr>
          <a:xfrm>
            <a:off x="5561459" y="1324186"/>
            <a:ext cx="3204830" cy="4853157"/>
          </a:xfrm>
        </p:spPr>
        <p:txBody>
          <a:bodyPr wrap="square">
            <a:normAutofit/>
          </a:bodyPr>
          <a:lstStyle>
            <a:lvl1pPr marL="0" indent="0">
              <a:lnSpc>
                <a:spcPct val="100000"/>
              </a:lnSpc>
              <a:spcBef>
                <a:spcPts val="882"/>
              </a:spcBef>
              <a:spcAft>
                <a:spcPts val="882"/>
              </a:spcAft>
              <a:buClr>
                <a:schemeClr val="tx1"/>
              </a:buClr>
              <a:buFont typeface="Wingdings" pitchFamily="2" charset="2"/>
              <a:buNone/>
              <a:defRPr sz="1765">
                <a:solidFill>
                  <a:schemeClr val="accent5"/>
                </a:solidFill>
              </a:defRPr>
            </a:lvl1pPr>
            <a:lvl2pPr marL="0" indent="0">
              <a:lnSpc>
                <a:spcPct val="100000"/>
              </a:lnSpc>
              <a:spcAft>
                <a:spcPts val="882"/>
              </a:spcAft>
              <a:buNone/>
              <a:defRPr sz="1442">
                <a:solidFill>
                  <a:schemeClr val="tx1"/>
                </a:solidFill>
              </a:defRPr>
            </a:lvl2pPr>
            <a:lvl3pPr marL="167050" indent="0">
              <a:lnSpc>
                <a:spcPct val="100000"/>
              </a:lnSpc>
              <a:spcAft>
                <a:spcPts val="882"/>
              </a:spcAft>
              <a:buNone/>
              <a:tabLst/>
              <a:defRPr sz="1442">
                <a:solidFill>
                  <a:schemeClr val="tx1"/>
                </a:solidFill>
              </a:defRPr>
            </a:lvl3pPr>
            <a:lvl4pPr marL="331811" indent="0">
              <a:buNone/>
              <a:defRPr/>
            </a:lvl4pPr>
            <a:lvl5pPr marL="494285" indent="0">
              <a:buNone/>
              <a:tabLst/>
              <a:defRPr/>
            </a:lvl5pPr>
          </a:lstStyle>
          <a:p>
            <a:pPr lvl="0"/>
            <a:r>
              <a:rPr lang="en-US" dirty="0"/>
              <a:t>Click to edit Master text styles</a:t>
            </a:r>
          </a:p>
          <a:p>
            <a:pPr lvl="1"/>
            <a:r>
              <a:rPr lang="en-US" dirty="0"/>
              <a:t>Second level</a:t>
            </a:r>
          </a:p>
          <a:p>
            <a:pPr lvl="2"/>
            <a:r>
              <a:rPr lang="en-US" dirty="0"/>
              <a:t>Third level</a:t>
            </a:r>
          </a:p>
        </p:txBody>
      </p:sp>
      <p:sp>
        <p:nvSpPr>
          <p:cNvPr id="7" name="Picture Placeholder 6"/>
          <p:cNvSpPr>
            <a:spLocks noGrp="1"/>
          </p:cNvSpPr>
          <p:nvPr>
            <p:ph type="pic" sz="quarter" idx="12" hasCustomPrompt="1"/>
          </p:nvPr>
        </p:nvSpPr>
        <p:spPr>
          <a:xfrm>
            <a:off x="198428" y="1324595"/>
            <a:ext cx="5363375" cy="4852747"/>
          </a:xfrm>
          <a:ln w="152400">
            <a:noFill/>
          </a:ln>
        </p:spPr>
        <p:txBody>
          <a:bodyPr/>
          <a:lstStyle>
            <a:lvl1pPr marL="0" indent="0">
              <a:buNone/>
              <a:defRPr>
                <a:solidFill>
                  <a:schemeClr val="tx1"/>
                </a:solidFill>
              </a:defRPr>
            </a:lvl1pPr>
          </a:lstStyle>
          <a:p>
            <a:r>
              <a:rPr lang="en-US" dirty="0"/>
              <a:t>Screen shot or image here</a:t>
            </a:r>
          </a:p>
        </p:txBody>
      </p:sp>
      <p:grpSp>
        <p:nvGrpSpPr>
          <p:cNvPr id="11" name="Group 10"/>
          <p:cNvGrpSpPr/>
          <p:nvPr userDrawn="1"/>
        </p:nvGrpSpPr>
        <p:grpSpPr>
          <a:xfrm>
            <a:off x="-883" y="6514984"/>
            <a:ext cx="9144235" cy="353924"/>
            <a:chOff x="-1200" y="6644680"/>
            <a:chExt cx="12436794" cy="360970"/>
          </a:xfrm>
        </p:grpSpPr>
        <p:sp>
          <p:nvSpPr>
            <p:cNvPr id="12" name="TextBox 11"/>
            <p:cNvSpPr txBox="1"/>
            <p:nvPr/>
          </p:nvSpPr>
          <p:spPr>
            <a:xfrm>
              <a:off x="-1200" y="6644680"/>
              <a:ext cx="4147213" cy="360970"/>
            </a:xfrm>
            <a:prstGeom prst="rect">
              <a:avLst/>
            </a:prstGeom>
            <a:solidFill>
              <a:srgbClr val="FFB900"/>
            </a:solidFill>
          </p:spPr>
          <p:txBody>
            <a:bodyPr wrap="square" lIns="457135" tIns="137141" rIns="365707" rtlCol="0">
              <a:noAutofit/>
            </a:bodyPr>
            <a:lstStyle/>
            <a:p>
              <a:pPr defTabSz="685608" fontAlgn="auto">
                <a:lnSpc>
                  <a:spcPts val="2250"/>
                </a:lnSpc>
                <a:spcBef>
                  <a:spcPts val="0"/>
                </a:spcBef>
                <a:spcAft>
                  <a:spcPts val="0"/>
                </a:spcAft>
              </a:pPr>
              <a:r>
                <a:rPr lang="en-US" sz="2100" dirty="0">
                  <a:solidFill>
                    <a:srgbClr val="FFFFFF"/>
                  </a:solidFill>
                  <a:latin typeface="Segoe UI Light"/>
                  <a:ea typeface="+mn-ea"/>
                  <a:cs typeface="+mn-cs"/>
                </a:rPr>
                <a:t> </a:t>
              </a:r>
            </a:p>
          </p:txBody>
        </p:sp>
        <p:sp>
          <p:nvSpPr>
            <p:cNvPr id="13" name="TextBox 12"/>
            <p:cNvSpPr txBox="1"/>
            <p:nvPr userDrawn="1"/>
          </p:nvSpPr>
          <p:spPr>
            <a:xfrm>
              <a:off x="4146013" y="6644680"/>
              <a:ext cx="8289581" cy="360970"/>
            </a:xfrm>
            <a:prstGeom prst="rect">
              <a:avLst/>
            </a:prstGeom>
            <a:solidFill>
              <a:srgbClr val="FF8C00"/>
            </a:solidFill>
          </p:spPr>
          <p:txBody>
            <a:bodyPr wrap="square" lIns="457135" tIns="137141" rIns="365707" rtlCol="0">
              <a:noAutofit/>
            </a:bodyPr>
            <a:lstStyle/>
            <a:p>
              <a:pPr defTabSz="685608" fontAlgn="auto">
                <a:lnSpc>
                  <a:spcPts val="2250"/>
                </a:lnSpc>
                <a:spcBef>
                  <a:spcPts val="0"/>
                </a:spcBef>
                <a:spcAft>
                  <a:spcPts val="0"/>
                </a:spcAft>
              </a:pPr>
              <a:r>
                <a:rPr lang="en-US" sz="2100" dirty="0">
                  <a:solidFill>
                    <a:srgbClr val="FFFFFF"/>
                  </a:solidFill>
                  <a:latin typeface="Segoe UI Light"/>
                  <a:ea typeface="+mn-ea"/>
                  <a:cs typeface="+mn-cs"/>
                </a:rPr>
                <a:t> </a:t>
              </a:r>
            </a:p>
          </p:txBody>
        </p:sp>
      </p:grpSp>
    </p:spTree>
    <p:extLst>
      <p:ext uri="{BB962C8B-B14F-4D97-AF65-F5344CB8AC3E}">
        <p14:creationId xmlns:p14="http://schemas.microsoft.com/office/powerpoint/2010/main" val="3827622182"/>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Insights Code">
    <p:spTree>
      <p:nvGrpSpPr>
        <p:cNvPr id="1" name=""/>
        <p:cNvGrpSpPr/>
        <p:nvPr/>
      </p:nvGrpSpPr>
      <p:grpSpPr>
        <a:xfrm>
          <a:off x="0" y="0"/>
          <a:ext cx="0" cy="0"/>
          <a:chOff x="0" y="0"/>
          <a:chExt cx="0" cy="0"/>
        </a:xfrm>
      </p:grpSpPr>
      <p:sp>
        <p:nvSpPr>
          <p:cNvPr id="3" name="Text Placeholder 3"/>
          <p:cNvSpPr>
            <a:spLocks noGrp="1"/>
          </p:cNvSpPr>
          <p:nvPr>
            <p:ph type="body" sz="quarter" idx="10" hasCustomPrompt="1"/>
          </p:nvPr>
        </p:nvSpPr>
        <p:spPr>
          <a:xfrm>
            <a:off x="197961" y="1312655"/>
            <a:ext cx="5063639" cy="4826969"/>
          </a:xfrm>
          <a:solidFill>
            <a:schemeClr val="bg1">
              <a:lumMod val="95000"/>
            </a:schemeClr>
          </a:solidFill>
          <a:ln w="63500">
            <a:solidFill>
              <a:schemeClr val="accent5"/>
            </a:solidFill>
            <a:miter lim="800000"/>
          </a:ln>
        </p:spPr>
        <p:txBody>
          <a:bodyPr wrap="square">
            <a:normAutofit/>
          </a:bodyPr>
          <a:lstStyle>
            <a:lvl1pPr marL="0" indent="0" defTabSz="274268">
              <a:lnSpc>
                <a:spcPct val="100000"/>
              </a:lnSpc>
              <a:spcBef>
                <a:spcPts val="0"/>
              </a:spcBef>
              <a:buClr>
                <a:schemeClr val="tx1"/>
              </a:buClr>
              <a:buFont typeface="Wingdings" pitchFamily="2" charset="2"/>
              <a:buNone/>
              <a:defRPr sz="1350" baseline="0">
                <a:solidFill>
                  <a:schemeClr val="tx1"/>
                </a:solidFill>
                <a:latin typeface="Consolas" panose="020B0609020204030204" pitchFamily="49" charset="0"/>
                <a:cs typeface="Consolas" panose="020B0609020204030204" pitchFamily="49" charset="0"/>
              </a:defRPr>
            </a:lvl1pPr>
            <a:lvl2pPr marL="274268" indent="0" defTabSz="274268">
              <a:lnSpc>
                <a:spcPct val="100000"/>
              </a:lnSpc>
              <a:spcBef>
                <a:spcPts val="0"/>
              </a:spcBef>
              <a:buNone/>
              <a:defRPr sz="1350">
                <a:latin typeface="Consolas" panose="020B0609020204030204" pitchFamily="49" charset="0"/>
                <a:cs typeface="Consolas" panose="020B0609020204030204" pitchFamily="49" charset="0"/>
              </a:defRPr>
            </a:lvl2pPr>
            <a:lvl3pPr marL="548534" indent="0" defTabSz="274268">
              <a:lnSpc>
                <a:spcPct val="100000"/>
              </a:lnSpc>
              <a:spcBef>
                <a:spcPts val="0"/>
              </a:spcBef>
              <a:buNone/>
              <a:tabLst/>
              <a:defRPr sz="1350">
                <a:latin typeface="Consolas" panose="020B0609020204030204" pitchFamily="49" charset="0"/>
                <a:cs typeface="Consolas" panose="020B0609020204030204" pitchFamily="49" charset="0"/>
              </a:defRPr>
            </a:lvl3pPr>
            <a:lvl4pPr marL="822802" indent="0" defTabSz="274268">
              <a:lnSpc>
                <a:spcPct val="100000"/>
              </a:lnSpc>
              <a:spcBef>
                <a:spcPts val="0"/>
              </a:spcBef>
              <a:buNone/>
              <a:defRPr sz="1350">
                <a:latin typeface="Consolas" panose="020B0609020204030204" pitchFamily="49" charset="0"/>
                <a:cs typeface="Consolas" panose="020B0609020204030204" pitchFamily="49" charset="0"/>
              </a:defRPr>
            </a:lvl4pPr>
            <a:lvl5pPr marL="1097069" indent="0" defTabSz="274268">
              <a:lnSpc>
                <a:spcPct val="100000"/>
              </a:lnSpc>
              <a:spcBef>
                <a:spcPts val="0"/>
              </a:spcBef>
              <a:buNone/>
              <a:tabLst/>
              <a:defRPr sz="1350">
                <a:latin typeface="Consolas" panose="020B0609020204030204" pitchFamily="49" charset="0"/>
                <a:cs typeface="Consolas" panose="020B0609020204030204" pitchFamily="49" charset="0"/>
              </a:defRPr>
            </a:lvl5pPr>
          </a:lstStyle>
          <a:p>
            <a:pPr lvl="0"/>
            <a:r>
              <a:rPr lang="en-US" dirty="0"/>
              <a:t>Click to edit co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quarter" idx="11"/>
          </p:nvPr>
        </p:nvSpPr>
        <p:spPr>
          <a:xfrm>
            <a:off x="5390590" y="1312652"/>
            <a:ext cx="3383735" cy="4826970"/>
          </a:xfrm>
        </p:spPr>
        <p:txBody>
          <a:bodyPr wrap="square">
            <a:normAutofit/>
          </a:bodyPr>
          <a:lstStyle>
            <a:lvl1pPr marL="0" indent="0">
              <a:lnSpc>
                <a:spcPct val="100000"/>
              </a:lnSpc>
              <a:spcBef>
                <a:spcPts val="900"/>
              </a:spcBef>
              <a:spcAft>
                <a:spcPts val="882"/>
              </a:spcAft>
              <a:buClr>
                <a:schemeClr val="tx1"/>
              </a:buClr>
              <a:buFont typeface="Wingdings" pitchFamily="2" charset="2"/>
              <a:buNone/>
              <a:defRPr sz="1765">
                <a:solidFill>
                  <a:schemeClr val="accent5"/>
                </a:solidFill>
              </a:defRPr>
            </a:lvl1pPr>
            <a:lvl2pPr marL="0" indent="0">
              <a:lnSpc>
                <a:spcPct val="100000"/>
              </a:lnSpc>
              <a:spcBef>
                <a:spcPts val="450"/>
              </a:spcBef>
              <a:spcAft>
                <a:spcPts val="882"/>
              </a:spcAft>
              <a:buNone/>
              <a:defRPr sz="1441" b="0">
                <a:latin typeface="+mn-lt"/>
                <a:cs typeface="Segoe UI Semibold" panose="020B0702040204020203" pitchFamily="34" charset="0"/>
              </a:defRPr>
            </a:lvl2pPr>
            <a:lvl3pPr marL="170374" indent="0">
              <a:buNone/>
              <a:tabLst/>
              <a:defRPr sz="1471"/>
            </a:lvl3pPr>
            <a:lvl4pPr marL="338414" indent="0">
              <a:buNone/>
              <a:defRPr/>
            </a:lvl4pPr>
            <a:lvl5pPr marL="504121" indent="0">
              <a:buNone/>
              <a:tabLst/>
              <a:defRPr/>
            </a:lvl5pPr>
          </a:lstStyle>
          <a:p>
            <a:pPr lvl="0"/>
            <a:r>
              <a:rPr lang="en-US" dirty="0"/>
              <a:t>Click to edit Master text styles</a:t>
            </a:r>
          </a:p>
          <a:p>
            <a:pPr lvl="1"/>
            <a:r>
              <a:rPr lang="en-US" dirty="0"/>
              <a:t>Second level</a:t>
            </a:r>
          </a:p>
        </p:txBody>
      </p:sp>
      <p:grpSp>
        <p:nvGrpSpPr>
          <p:cNvPr id="12" name="Group 11"/>
          <p:cNvGrpSpPr/>
          <p:nvPr userDrawn="1"/>
        </p:nvGrpSpPr>
        <p:grpSpPr>
          <a:xfrm>
            <a:off x="-883" y="6514984"/>
            <a:ext cx="9144235" cy="353924"/>
            <a:chOff x="-1200" y="6644680"/>
            <a:chExt cx="12436794" cy="360970"/>
          </a:xfrm>
        </p:grpSpPr>
        <p:sp>
          <p:nvSpPr>
            <p:cNvPr id="13" name="TextBox 12"/>
            <p:cNvSpPr txBox="1"/>
            <p:nvPr/>
          </p:nvSpPr>
          <p:spPr>
            <a:xfrm>
              <a:off x="-1200" y="6644680"/>
              <a:ext cx="4147213" cy="360970"/>
            </a:xfrm>
            <a:prstGeom prst="rect">
              <a:avLst/>
            </a:prstGeom>
            <a:solidFill>
              <a:srgbClr val="FFB900"/>
            </a:solidFill>
          </p:spPr>
          <p:txBody>
            <a:bodyPr wrap="square" lIns="457135" tIns="137141" rIns="365707" rtlCol="0">
              <a:noAutofit/>
            </a:bodyPr>
            <a:lstStyle/>
            <a:p>
              <a:pPr defTabSz="685608" fontAlgn="auto">
                <a:lnSpc>
                  <a:spcPts val="2250"/>
                </a:lnSpc>
                <a:spcBef>
                  <a:spcPts val="0"/>
                </a:spcBef>
                <a:spcAft>
                  <a:spcPts val="0"/>
                </a:spcAft>
              </a:pPr>
              <a:r>
                <a:rPr lang="en-US" sz="2100" dirty="0">
                  <a:solidFill>
                    <a:srgbClr val="FFFFFF"/>
                  </a:solidFill>
                  <a:latin typeface="Segoe UI Light"/>
                  <a:ea typeface="+mn-ea"/>
                  <a:cs typeface="+mn-cs"/>
                </a:rPr>
                <a:t> </a:t>
              </a:r>
            </a:p>
          </p:txBody>
        </p:sp>
        <p:sp>
          <p:nvSpPr>
            <p:cNvPr id="14" name="TextBox 13"/>
            <p:cNvSpPr txBox="1"/>
            <p:nvPr userDrawn="1"/>
          </p:nvSpPr>
          <p:spPr>
            <a:xfrm>
              <a:off x="4146013" y="6644680"/>
              <a:ext cx="8289581" cy="360970"/>
            </a:xfrm>
            <a:prstGeom prst="rect">
              <a:avLst/>
            </a:prstGeom>
            <a:solidFill>
              <a:srgbClr val="FF8C00"/>
            </a:solidFill>
          </p:spPr>
          <p:txBody>
            <a:bodyPr wrap="square" lIns="457135" tIns="137141" rIns="365707" rtlCol="0">
              <a:noAutofit/>
            </a:bodyPr>
            <a:lstStyle/>
            <a:p>
              <a:pPr defTabSz="685608" fontAlgn="auto">
                <a:lnSpc>
                  <a:spcPts val="2250"/>
                </a:lnSpc>
                <a:spcBef>
                  <a:spcPts val="0"/>
                </a:spcBef>
                <a:spcAft>
                  <a:spcPts val="0"/>
                </a:spcAft>
              </a:pPr>
              <a:r>
                <a:rPr lang="en-US" sz="2100" dirty="0">
                  <a:solidFill>
                    <a:srgbClr val="FFFFFF"/>
                  </a:solidFill>
                  <a:latin typeface="Segoe UI Light"/>
                  <a:ea typeface="+mn-ea"/>
                  <a:cs typeface="+mn-cs"/>
                </a:rPr>
                <a:t> </a:t>
              </a:r>
            </a:p>
          </p:txBody>
        </p:sp>
      </p:grpSp>
      <p:sp>
        <p:nvSpPr>
          <p:cNvPr id="18" name="Text Placeholder 4"/>
          <p:cNvSpPr>
            <a:spLocks noGrp="1"/>
          </p:cNvSpPr>
          <p:nvPr>
            <p:ph type="body" sz="quarter" idx="14"/>
          </p:nvPr>
        </p:nvSpPr>
        <p:spPr>
          <a:xfrm>
            <a:off x="197961" y="254722"/>
            <a:ext cx="8565339" cy="1057931"/>
          </a:xfrm>
        </p:spPr>
        <p:txBody>
          <a:bodyPr lIns="146304" tIns="91440" rIns="146304" bIns="91440" anchor="ctr" anchorCtr="0"/>
          <a:lstStyle>
            <a:lvl1pPr marL="0" indent="0">
              <a:buNone/>
              <a:defRPr sz="2941">
                <a:solidFill>
                  <a:schemeClr val="tx1">
                    <a:lumMod val="90000"/>
                    <a:lumOff val="10000"/>
                  </a:schemeClr>
                </a:solidFill>
              </a:defRPr>
            </a:lvl1pPr>
            <a:lvl5pPr marL="756326" indent="0">
              <a:buNone/>
              <a:defRPr/>
            </a:lvl5pPr>
          </a:lstStyle>
          <a:p>
            <a:pPr lvl="0"/>
            <a:r>
              <a:rPr lang="en-US" dirty="0"/>
              <a:t>Click to edit Master text styles</a:t>
            </a:r>
          </a:p>
        </p:txBody>
      </p:sp>
    </p:spTree>
    <p:extLst>
      <p:ext uri="{BB962C8B-B14F-4D97-AF65-F5344CB8AC3E}">
        <p14:creationId xmlns:p14="http://schemas.microsoft.com/office/powerpoint/2010/main" val="189318781"/>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Cloud Screen">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1" y="286897"/>
            <a:ext cx="8766290" cy="1054884"/>
          </a:xfrm>
        </p:spPr>
        <p:txBody>
          <a:bodyPr lIns="457200" tIns="91440" rIns="146304" bIns="91440"/>
          <a:lstStyle>
            <a:lvl1pPr>
              <a:lnSpc>
                <a:spcPts val="4541"/>
              </a:lnSpc>
              <a:defRPr sz="2941" baseline="0">
                <a:solidFill>
                  <a:schemeClr val="tx1"/>
                </a:solidFill>
              </a:defRPr>
            </a:lvl1pPr>
          </a:lstStyle>
          <a:p>
            <a:r>
              <a:rPr lang="en-US" dirty="0"/>
              <a:t>Lorem ipsum dolor sit.</a:t>
            </a:r>
          </a:p>
        </p:txBody>
      </p:sp>
      <p:sp>
        <p:nvSpPr>
          <p:cNvPr id="6" name="Text Placeholder 3"/>
          <p:cNvSpPr>
            <a:spLocks noGrp="1"/>
          </p:cNvSpPr>
          <p:nvPr>
            <p:ph type="body" sz="quarter" idx="11"/>
          </p:nvPr>
        </p:nvSpPr>
        <p:spPr>
          <a:xfrm>
            <a:off x="5561459" y="1363507"/>
            <a:ext cx="3204830" cy="4813835"/>
          </a:xfrm>
        </p:spPr>
        <p:txBody>
          <a:bodyPr wrap="square">
            <a:normAutofit/>
          </a:bodyPr>
          <a:lstStyle>
            <a:lvl1pPr marL="0" indent="0">
              <a:lnSpc>
                <a:spcPct val="100000"/>
              </a:lnSpc>
              <a:spcBef>
                <a:spcPts val="882"/>
              </a:spcBef>
              <a:spcAft>
                <a:spcPts val="882"/>
              </a:spcAft>
              <a:buClr>
                <a:schemeClr val="tx1"/>
              </a:buClr>
              <a:buFont typeface="Wingdings" pitchFamily="2" charset="2"/>
              <a:buNone/>
              <a:defRPr sz="1765">
                <a:solidFill>
                  <a:schemeClr val="accent1"/>
                </a:solidFill>
              </a:defRPr>
            </a:lvl1pPr>
            <a:lvl2pPr marL="0" indent="0">
              <a:lnSpc>
                <a:spcPct val="100000"/>
              </a:lnSpc>
              <a:spcAft>
                <a:spcPts val="882"/>
              </a:spcAft>
              <a:buNone/>
              <a:defRPr sz="1442">
                <a:solidFill>
                  <a:schemeClr val="tx1"/>
                </a:solidFill>
              </a:defRPr>
            </a:lvl2pPr>
            <a:lvl3pPr marL="167050" indent="0">
              <a:lnSpc>
                <a:spcPct val="100000"/>
              </a:lnSpc>
              <a:spcAft>
                <a:spcPts val="882"/>
              </a:spcAft>
              <a:buNone/>
              <a:tabLst/>
              <a:defRPr sz="1442">
                <a:solidFill>
                  <a:schemeClr val="tx1"/>
                </a:solidFill>
              </a:defRPr>
            </a:lvl3pPr>
            <a:lvl4pPr marL="331811" indent="0">
              <a:buNone/>
              <a:defRPr/>
            </a:lvl4pPr>
            <a:lvl5pPr marL="494285" indent="0">
              <a:buNone/>
              <a:tabLst/>
              <a:defRPr/>
            </a:lvl5pPr>
          </a:lstStyle>
          <a:p>
            <a:pPr lvl="0"/>
            <a:r>
              <a:rPr lang="en-US" dirty="0"/>
              <a:t>Click to edit Master text styles</a:t>
            </a:r>
          </a:p>
          <a:p>
            <a:pPr lvl="1"/>
            <a:r>
              <a:rPr lang="en-US" dirty="0"/>
              <a:t>Second level</a:t>
            </a:r>
          </a:p>
          <a:p>
            <a:pPr lvl="2"/>
            <a:r>
              <a:rPr lang="en-US" dirty="0"/>
              <a:t>Third level</a:t>
            </a:r>
          </a:p>
        </p:txBody>
      </p:sp>
      <p:sp>
        <p:nvSpPr>
          <p:cNvPr id="7" name="Picture Placeholder 6"/>
          <p:cNvSpPr>
            <a:spLocks noGrp="1"/>
          </p:cNvSpPr>
          <p:nvPr>
            <p:ph type="pic" sz="quarter" idx="12" hasCustomPrompt="1"/>
          </p:nvPr>
        </p:nvSpPr>
        <p:spPr>
          <a:xfrm>
            <a:off x="1" y="1363507"/>
            <a:ext cx="5561803" cy="4813835"/>
          </a:xfrm>
          <a:ln w="152400">
            <a:noFill/>
          </a:ln>
        </p:spPr>
        <p:txBody>
          <a:bodyPr lIns="457200"/>
          <a:lstStyle>
            <a:lvl1pPr marL="0" indent="0">
              <a:buNone/>
              <a:defRPr>
                <a:solidFill>
                  <a:schemeClr val="tx1"/>
                </a:solidFill>
              </a:defRPr>
            </a:lvl1pPr>
          </a:lstStyle>
          <a:p>
            <a:r>
              <a:rPr lang="en-US" dirty="0"/>
              <a:t>Screen shot or image here</a:t>
            </a:r>
          </a:p>
        </p:txBody>
      </p:sp>
      <p:grpSp>
        <p:nvGrpSpPr>
          <p:cNvPr id="11" name="Group 2"/>
          <p:cNvGrpSpPr/>
          <p:nvPr userDrawn="1"/>
        </p:nvGrpSpPr>
        <p:grpSpPr>
          <a:xfrm>
            <a:off x="-883" y="6512639"/>
            <a:ext cx="9144235" cy="353950"/>
            <a:chOff x="2577137" y="4571778"/>
            <a:chExt cx="9101124" cy="1390560"/>
          </a:xfrm>
        </p:grpSpPr>
        <p:sp>
          <p:nvSpPr>
            <p:cNvPr id="12" name="TextBox 11"/>
            <p:cNvSpPr txBox="1"/>
            <p:nvPr/>
          </p:nvSpPr>
          <p:spPr>
            <a:xfrm>
              <a:off x="2577137" y="4571778"/>
              <a:ext cx="3034890" cy="1390458"/>
            </a:xfrm>
            <a:prstGeom prst="rect">
              <a:avLst/>
            </a:prstGeom>
            <a:solidFill>
              <a:schemeClr val="accent1"/>
            </a:solidFill>
          </p:spPr>
          <p:txBody>
            <a:bodyPr wrap="square" lIns="457135" tIns="137141" rIns="365707" rtlCol="0">
              <a:noAutofit/>
            </a:bodyPr>
            <a:lstStyle/>
            <a:p>
              <a:pPr defTabSz="685608">
                <a:lnSpc>
                  <a:spcPts val="2250"/>
                </a:lnSpc>
              </a:pPr>
              <a:r>
                <a:rPr lang="en-US" sz="2100" dirty="0">
                  <a:solidFill>
                    <a:srgbClr val="FFFFFF"/>
                  </a:solidFill>
                  <a:latin typeface="Segoe UI Light"/>
                </a:rPr>
                <a:t> </a:t>
              </a:r>
            </a:p>
          </p:txBody>
        </p:sp>
        <p:sp>
          <p:nvSpPr>
            <p:cNvPr id="13" name="TextBox 12"/>
            <p:cNvSpPr txBox="1"/>
            <p:nvPr/>
          </p:nvSpPr>
          <p:spPr>
            <a:xfrm>
              <a:off x="5612027" y="4572324"/>
              <a:ext cx="6066234" cy="1390014"/>
            </a:xfrm>
            <a:prstGeom prst="rect">
              <a:avLst/>
            </a:prstGeom>
            <a:solidFill>
              <a:schemeClr val="accent1">
                <a:lumMod val="50000"/>
              </a:schemeClr>
            </a:solidFill>
          </p:spPr>
          <p:txBody>
            <a:bodyPr wrap="square" lIns="457135" tIns="137141" rIns="639989" rtlCol="0">
              <a:noAutofit/>
            </a:bodyPr>
            <a:lstStyle/>
            <a:p>
              <a:pPr defTabSz="685271">
                <a:lnSpc>
                  <a:spcPts val="2207"/>
                </a:lnSpc>
                <a:defRPr/>
              </a:pPr>
              <a:endParaRPr lang="en-US" sz="2100" kern="0" dirty="0">
                <a:solidFill>
                  <a:srgbClr val="FFFFFF"/>
                </a:solidFill>
                <a:latin typeface="Segoe UI Light"/>
              </a:endParaRPr>
            </a:p>
          </p:txBody>
        </p:sp>
      </p:grpSp>
    </p:spTree>
    <p:extLst>
      <p:ext uri="{BB962C8B-B14F-4D97-AF65-F5344CB8AC3E}">
        <p14:creationId xmlns:p14="http://schemas.microsoft.com/office/powerpoint/2010/main" val="2480235788"/>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userDrawn="1">
  <p:cSld name="Cloud Code">
    <p:spTree>
      <p:nvGrpSpPr>
        <p:cNvPr id="1" name=""/>
        <p:cNvGrpSpPr/>
        <p:nvPr/>
      </p:nvGrpSpPr>
      <p:grpSpPr>
        <a:xfrm>
          <a:off x="0" y="0"/>
          <a:ext cx="0" cy="0"/>
          <a:chOff x="0" y="0"/>
          <a:chExt cx="0" cy="0"/>
        </a:xfrm>
      </p:grpSpPr>
      <p:sp>
        <p:nvSpPr>
          <p:cNvPr id="3" name="Text Placeholder 3"/>
          <p:cNvSpPr>
            <a:spLocks noGrp="1"/>
          </p:cNvSpPr>
          <p:nvPr>
            <p:ph type="body" sz="quarter" idx="10" hasCustomPrompt="1"/>
          </p:nvPr>
        </p:nvSpPr>
        <p:spPr>
          <a:xfrm>
            <a:off x="326951" y="1350549"/>
            <a:ext cx="5063639" cy="4826969"/>
          </a:xfrm>
          <a:solidFill>
            <a:schemeClr val="bg1">
              <a:lumMod val="95000"/>
            </a:schemeClr>
          </a:solidFill>
          <a:ln w="73025">
            <a:solidFill>
              <a:srgbClr val="0072C6"/>
            </a:solidFill>
            <a:miter lim="800000"/>
          </a:ln>
        </p:spPr>
        <p:txBody>
          <a:bodyPr wrap="square">
            <a:normAutofit/>
          </a:bodyPr>
          <a:lstStyle>
            <a:lvl1pPr marL="0" indent="0" defTabSz="274268">
              <a:lnSpc>
                <a:spcPct val="100000"/>
              </a:lnSpc>
              <a:spcBef>
                <a:spcPts val="0"/>
              </a:spcBef>
              <a:buClr>
                <a:schemeClr val="tx1"/>
              </a:buClr>
              <a:buFont typeface="Wingdings" pitchFamily="2" charset="2"/>
              <a:buNone/>
              <a:defRPr sz="1350" baseline="0">
                <a:solidFill>
                  <a:schemeClr val="tx1"/>
                </a:solidFill>
                <a:latin typeface="Consolas" panose="020B0609020204030204" pitchFamily="49" charset="0"/>
                <a:cs typeface="Consolas" panose="020B0609020204030204" pitchFamily="49" charset="0"/>
              </a:defRPr>
            </a:lvl1pPr>
            <a:lvl2pPr marL="274268" indent="0" defTabSz="274268">
              <a:lnSpc>
                <a:spcPct val="100000"/>
              </a:lnSpc>
              <a:spcBef>
                <a:spcPts val="0"/>
              </a:spcBef>
              <a:buNone/>
              <a:defRPr sz="1350">
                <a:latin typeface="Consolas" panose="020B0609020204030204" pitchFamily="49" charset="0"/>
                <a:cs typeface="Consolas" panose="020B0609020204030204" pitchFamily="49" charset="0"/>
              </a:defRPr>
            </a:lvl2pPr>
            <a:lvl3pPr marL="548534" indent="0" defTabSz="274268">
              <a:lnSpc>
                <a:spcPct val="100000"/>
              </a:lnSpc>
              <a:spcBef>
                <a:spcPts val="0"/>
              </a:spcBef>
              <a:buNone/>
              <a:tabLst/>
              <a:defRPr sz="1350">
                <a:latin typeface="Consolas" panose="020B0609020204030204" pitchFamily="49" charset="0"/>
                <a:cs typeface="Consolas" panose="020B0609020204030204" pitchFamily="49" charset="0"/>
              </a:defRPr>
            </a:lvl3pPr>
            <a:lvl4pPr marL="822802" indent="0" defTabSz="274268">
              <a:lnSpc>
                <a:spcPct val="100000"/>
              </a:lnSpc>
              <a:spcBef>
                <a:spcPts val="0"/>
              </a:spcBef>
              <a:buNone/>
              <a:defRPr sz="1350">
                <a:latin typeface="Consolas" panose="020B0609020204030204" pitchFamily="49" charset="0"/>
                <a:cs typeface="Consolas" panose="020B0609020204030204" pitchFamily="49" charset="0"/>
              </a:defRPr>
            </a:lvl4pPr>
            <a:lvl5pPr marL="1097069" indent="0" defTabSz="274268">
              <a:lnSpc>
                <a:spcPct val="100000"/>
              </a:lnSpc>
              <a:spcBef>
                <a:spcPts val="0"/>
              </a:spcBef>
              <a:buNone/>
              <a:tabLst/>
              <a:defRPr sz="1350">
                <a:latin typeface="Consolas" panose="020B0609020204030204" pitchFamily="49" charset="0"/>
                <a:cs typeface="Consolas" panose="020B0609020204030204" pitchFamily="49" charset="0"/>
              </a:defRPr>
            </a:lvl5pPr>
          </a:lstStyle>
          <a:p>
            <a:pPr lvl="0"/>
            <a:r>
              <a:rPr lang="en-US" dirty="0"/>
              <a:t>Click to edit co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quarter" idx="11"/>
          </p:nvPr>
        </p:nvSpPr>
        <p:spPr>
          <a:xfrm>
            <a:off x="5672980" y="1350547"/>
            <a:ext cx="2987240" cy="4826970"/>
          </a:xfrm>
        </p:spPr>
        <p:txBody>
          <a:bodyPr wrap="square">
            <a:normAutofit/>
          </a:bodyPr>
          <a:lstStyle>
            <a:lvl1pPr marL="0" indent="0">
              <a:lnSpc>
                <a:spcPct val="100000"/>
              </a:lnSpc>
              <a:spcBef>
                <a:spcPts val="900"/>
              </a:spcBef>
              <a:spcAft>
                <a:spcPts val="882"/>
              </a:spcAft>
              <a:buClr>
                <a:schemeClr val="tx1"/>
              </a:buClr>
              <a:buFont typeface="Wingdings" pitchFamily="2" charset="2"/>
              <a:buNone/>
              <a:defRPr sz="1765">
                <a:solidFill>
                  <a:srgbClr val="0072C6"/>
                </a:solidFill>
              </a:defRPr>
            </a:lvl1pPr>
            <a:lvl2pPr marL="0" indent="0">
              <a:lnSpc>
                <a:spcPct val="100000"/>
              </a:lnSpc>
              <a:spcBef>
                <a:spcPts val="0"/>
              </a:spcBef>
              <a:spcAft>
                <a:spcPts val="882"/>
              </a:spcAft>
              <a:buNone/>
              <a:defRPr sz="1441">
                <a:latin typeface="+mj-lt"/>
              </a:defRPr>
            </a:lvl2pPr>
            <a:lvl3pPr marL="170374" indent="0">
              <a:buNone/>
              <a:tabLst/>
              <a:defRPr sz="1471"/>
            </a:lvl3pPr>
            <a:lvl4pPr marL="338414" indent="0">
              <a:buNone/>
              <a:defRPr/>
            </a:lvl4pPr>
            <a:lvl5pPr marL="504121" indent="0">
              <a:buNone/>
              <a:tabLst/>
              <a:defRPr/>
            </a:lvl5pPr>
          </a:lstStyle>
          <a:p>
            <a:pPr lvl="0"/>
            <a:r>
              <a:rPr lang="en-US" dirty="0"/>
              <a:t>Click to edit Master text styles</a:t>
            </a:r>
          </a:p>
          <a:p>
            <a:pPr lvl="1"/>
            <a:r>
              <a:rPr lang="en-US" dirty="0"/>
              <a:t>Second level</a:t>
            </a:r>
          </a:p>
        </p:txBody>
      </p:sp>
      <p:grpSp>
        <p:nvGrpSpPr>
          <p:cNvPr id="12" name="Group 11"/>
          <p:cNvGrpSpPr/>
          <p:nvPr userDrawn="1"/>
        </p:nvGrpSpPr>
        <p:grpSpPr>
          <a:xfrm>
            <a:off x="-883" y="6514984"/>
            <a:ext cx="9144235" cy="353924"/>
            <a:chOff x="-1200" y="6644680"/>
            <a:chExt cx="12436794" cy="360970"/>
          </a:xfrm>
        </p:grpSpPr>
        <p:sp>
          <p:nvSpPr>
            <p:cNvPr id="13" name="TextBox 12"/>
            <p:cNvSpPr txBox="1"/>
            <p:nvPr/>
          </p:nvSpPr>
          <p:spPr>
            <a:xfrm>
              <a:off x="-1200" y="6644680"/>
              <a:ext cx="4147213" cy="360970"/>
            </a:xfrm>
            <a:prstGeom prst="rect">
              <a:avLst/>
            </a:prstGeom>
            <a:solidFill>
              <a:srgbClr val="0072C6"/>
            </a:solidFill>
          </p:spPr>
          <p:txBody>
            <a:bodyPr wrap="square" lIns="457135" tIns="137141" rIns="365707" rtlCol="0">
              <a:noAutofit/>
            </a:bodyPr>
            <a:lstStyle/>
            <a:p>
              <a:pPr defTabSz="685608" fontAlgn="auto">
                <a:lnSpc>
                  <a:spcPts val="2250"/>
                </a:lnSpc>
                <a:spcBef>
                  <a:spcPts val="0"/>
                </a:spcBef>
                <a:spcAft>
                  <a:spcPts val="0"/>
                </a:spcAft>
              </a:pPr>
              <a:r>
                <a:rPr lang="en-US" sz="2100" dirty="0">
                  <a:solidFill>
                    <a:srgbClr val="FFFFFF"/>
                  </a:solidFill>
                  <a:latin typeface="Segoe UI Light"/>
                  <a:ea typeface="+mn-ea"/>
                  <a:cs typeface="+mn-cs"/>
                </a:rPr>
                <a:t> </a:t>
              </a:r>
            </a:p>
          </p:txBody>
        </p:sp>
        <p:sp>
          <p:nvSpPr>
            <p:cNvPr id="14" name="TextBox 13"/>
            <p:cNvSpPr txBox="1"/>
            <p:nvPr userDrawn="1"/>
          </p:nvSpPr>
          <p:spPr>
            <a:xfrm>
              <a:off x="4146013" y="6644680"/>
              <a:ext cx="8289581" cy="360970"/>
            </a:xfrm>
            <a:prstGeom prst="rect">
              <a:avLst/>
            </a:prstGeom>
            <a:solidFill>
              <a:srgbClr val="003963"/>
            </a:solidFill>
          </p:spPr>
          <p:txBody>
            <a:bodyPr wrap="square" lIns="457135" tIns="137141" rIns="365707" rtlCol="0">
              <a:noAutofit/>
            </a:bodyPr>
            <a:lstStyle/>
            <a:p>
              <a:pPr defTabSz="685608" fontAlgn="auto">
                <a:lnSpc>
                  <a:spcPts val="2250"/>
                </a:lnSpc>
                <a:spcBef>
                  <a:spcPts val="0"/>
                </a:spcBef>
                <a:spcAft>
                  <a:spcPts val="0"/>
                </a:spcAft>
              </a:pPr>
              <a:r>
                <a:rPr lang="en-US" sz="2100" dirty="0">
                  <a:solidFill>
                    <a:srgbClr val="FFFFFF"/>
                  </a:solidFill>
                  <a:latin typeface="Segoe UI Light"/>
                  <a:ea typeface="+mn-ea"/>
                  <a:cs typeface="+mn-cs"/>
                </a:rPr>
                <a:t> </a:t>
              </a:r>
            </a:p>
          </p:txBody>
        </p:sp>
      </p:grpSp>
      <p:sp>
        <p:nvSpPr>
          <p:cNvPr id="16" name="Text Placeholder 4"/>
          <p:cNvSpPr>
            <a:spLocks noGrp="1"/>
          </p:cNvSpPr>
          <p:nvPr>
            <p:ph type="body" sz="quarter" idx="14"/>
          </p:nvPr>
        </p:nvSpPr>
        <p:spPr>
          <a:xfrm>
            <a:off x="-882" y="286898"/>
            <a:ext cx="8764183" cy="1057931"/>
          </a:xfrm>
        </p:spPr>
        <p:txBody>
          <a:bodyPr lIns="457200" tIns="91440" rIns="146304" bIns="91440" anchor="ctr" anchorCtr="0"/>
          <a:lstStyle>
            <a:lvl1pPr marL="0" indent="0">
              <a:buNone/>
              <a:defRPr sz="2941">
                <a:solidFill>
                  <a:schemeClr val="tx1">
                    <a:lumMod val="90000"/>
                    <a:lumOff val="10000"/>
                  </a:schemeClr>
                </a:solidFill>
              </a:defRPr>
            </a:lvl1pPr>
            <a:lvl5pPr marL="756326" indent="0">
              <a:buNone/>
              <a:defRPr/>
            </a:lvl5pPr>
          </a:lstStyle>
          <a:p>
            <a:pPr lvl="0"/>
            <a:r>
              <a:rPr lang="en-US" dirty="0"/>
              <a:t>Click to edit Master text styles</a:t>
            </a:r>
          </a:p>
        </p:txBody>
      </p:sp>
    </p:spTree>
    <p:extLst>
      <p:ext uri="{BB962C8B-B14F-4D97-AF65-F5344CB8AC3E}">
        <p14:creationId xmlns:p14="http://schemas.microsoft.com/office/powerpoint/2010/main" val="1930445271"/>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userDrawn="1">
  <p:cSld name="1_Insights Text">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197962" y="254721"/>
            <a:ext cx="8568328" cy="1054884"/>
          </a:xfrm>
        </p:spPr>
        <p:txBody>
          <a:bodyPr lIns="146304" tIns="91440" rIns="146304" bIns="91440"/>
          <a:lstStyle>
            <a:lvl1pPr>
              <a:lnSpc>
                <a:spcPts val="4541"/>
              </a:lnSpc>
              <a:defRPr sz="2941" baseline="0">
                <a:solidFill>
                  <a:schemeClr val="tx1"/>
                </a:solidFill>
              </a:defRPr>
            </a:lvl1pPr>
          </a:lstStyle>
          <a:p>
            <a:r>
              <a:rPr lang="en-US" dirty="0"/>
              <a:t>Lorem ipsum dolor sit.</a:t>
            </a:r>
          </a:p>
        </p:txBody>
      </p:sp>
      <p:sp>
        <p:nvSpPr>
          <p:cNvPr id="6" name="Text Placeholder 3"/>
          <p:cNvSpPr>
            <a:spLocks noGrp="1"/>
          </p:cNvSpPr>
          <p:nvPr>
            <p:ph type="body" sz="quarter" idx="11"/>
          </p:nvPr>
        </p:nvSpPr>
        <p:spPr>
          <a:xfrm>
            <a:off x="197962" y="1324186"/>
            <a:ext cx="8568327" cy="4853157"/>
          </a:xfrm>
        </p:spPr>
        <p:txBody>
          <a:bodyPr wrap="square">
            <a:normAutofit/>
          </a:bodyPr>
          <a:lstStyle>
            <a:lvl1pPr marL="0" indent="0">
              <a:lnSpc>
                <a:spcPct val="100000"/>
              </a:lnSpc>
              <a:spcBef>
                <a:spcPts val="882"/>
              </a:spcBef>
              <a:spcAft>
                <a:spcPts val="882"/>
              </a:spcAft>
              <a:buClr>
                <a:schemeClr val="tx1"/>
              </a:buClr>
              <a:buFont typeface="Wingdings" pitchFamily="2" charset="2"/>
              <a:buNone/>
              <a:defRPr sz="1765">
                <a:solidFill>
                  <a:schemeClr val="accent5"/>
                </a:solidFill>
              </a:defRPr>
            </a:lvl1pPr>
            <a:lvl2pPr marL="0" indent="0">
              <a:lnSpc>
                <a:spcPct val="100000"/>
              </a:lnSpc>
              <a:spcAft>
                <a:spcPts val="882"/>
              </a:spcAft>
              <a:buNone/>
              <a:defRPr sz="1442">
                <a:solidFill>
                  <a:schemeClr val="tx1"/>
                </a:solidFill>
              </a:defRPr>
            </a:lvl2pPr>
            <a:lvl3pPr marL="167050" indent="0">
              <a:lnSpc>
                <a:spcPct val="100000"/>
              </a:lnSpc>
              <a:spcAft>
                <a:spcPts val="882"/>
              </a:spcAft>
              <a:buNone/>
              <a:tabLst/>
              <a:defRPr sz="1442">
                <a:solidFill>
                  <a:schemeClr val="tx1"/>
                </a:solidFill>
              </a:defRPr>
            </a:lvl3pPr>
            <a:lvl4pPr marL="331811" indent="0">
              <a:buNone/>
              <a:defRPr/>
            </a:lvl4pPr>
            <a:lvl5pPr marL="494285" indent="0">
              <a:buNone/>
              <a:tabLst/>
              <a:defRPr/>
            </a:lvl5pPr>
          </a:lstStyle>
          <a:p>
            <a:pPr lvl="0"/>
            <a:r>
              <a:rPr lang="en-US" dirty="0"/>
              <a:t>Click to edit Master text styles</a:t>
            </a:r>
          </a:p>
          <a:p>
            <a:pPr lvl="1"/>
            <a:r>
              <a:rPr lang="en-US" dirty="0"/>
              <a:t>Second level</a:t>
            </a:r>
          </a:p>
          <a:p>
            <a:pPr lvl="2"/>
            <a:r>
              <a:rPr lang="en-US" dirty="0"/>
              <a:t>Third level</a:t>
            </a:r>
          </a:p>
        </p:txBody>
      </p:sp>
      <p:grpSp>
        <p:nvGrpSpPr>
          <p:cNvPr id="11" name="Group 10"/>
          <p:cNvGrpSpPr/>
          <p:nvPr userDrawn="1"/>
        </p:nvGrpSpPr>
        <p:grpSpPr>
          <a:xfrm>
            <a:off x="-883" y="6514984"/>
            <a:ext cx="9144235" cy="353924"/>
            <a:chOff x="-1200" y="6644680"/>
            <a:chExt cx="12436794" cy="360970"/>
          </a:xfrm>
        </p:grpSpPr>
        <p:sp>
          <p:nvSpPr>
            <p:cNvPr id="12" name="TextBox 11"/>
            <p:cNvSpPr txBox="1"/>
            <p:nvPr/>
          </p:nvSpPr>
          <p:spPr>
            <a:xfrm>
              <a:off x="-1200" y="6644680"/>
              <a:ext cx="4147213" cy="360970"/>
            </a:xfrm>
            <a:prstGeom prst="rect">
              <a:avLst/>
            </a:prstGeom>
            <a:solidFill>
              <a:srgbClr val="FFB900"/>
            </a:solidFill>
          </p:spPr>
          <p:txBody>
            <a:bodyPr wrap="square" lIns="457135" tIns="137141" rIns="365707" rtlCol="0">
              <a:noAutofit/>
            </a:bodyPr>
            <a:lstStyle/>
            <a:p>
              <a:pPr defTabSz="685608" fontAlgn="auto">
                <a:lnSpc>
                  <a:spcPts val="2250"/>
                </a:lnSpc>
                <a:spcBef>
                  <a:spcPts val="0"/>
                </a:spcBef>
                <a:spcAft>
                  <a:spcPts val="0"/>
                </a:spcAft>
              </a:pPr>
              <a:r>
                <a:rPr lang="en-US" sz="2100" dirty="0">
                  <a:solidFill>
                    <a:srgbClr val="FFFFFF"/>
                  </a:solidFill>
                  <a:latin typeface="Segoe UI Light"/>
                  <a:ea typeface="+mn-ea"/>
                  <a:cs typeface="+mn-cs"/>
                </a:rPr>
                <a:t> </a:t>
              </a:r>
            </a:p>
          </p:txBody>
        </p:sp>
        <p:sp>
          <p:nvSpPr>
            <p:cNvPr id="13" name="TextBox 12"/>
            <p:cNvSpPr txBox="1"/>
            <p:nvPr userDrawn="1"/>
          </p:nvSpPr>
          <p:spPr>
            <a:xfrm>
              <a:off x="4146013" y="6644680"/>
              <a:ext cx="8289581" cy="360970"/>
            </a:xfrm>
            <a:prstGeom prst="rect">
              <a:avLst/>
            </a:prstGeom>
            <a:solidFill>
              <a:srgbClr val="FF8C00"/>
            </a:solidFill>
          </p:spPr>
          <p:txBody>
            <a:bodyPr wrap="square" lIns="457135" tIns="137141" rIns="365707" rtlCol="0">
              <a:noAutofit/>
            </a:bodyPr>
            <a:lstStyle/>
            <a:p>
              <a:pPr defTabSz="685608" fontAlgn="auto">
                <a:lnSpc>
                  <a:spcPts val="2250"/>
                </a:lnSpc>
                <a:spcBef>
                  <a:spcPts val="0"/>
                </a:spcBef>
                <a:spcAft>
                  <a:spcPts val="0"/>
                </a:spcAft>
              </a:pPr>
              <a:r>
                <a:rPr lang="en-US" sz="2100" dirty="0">
                  <a:solidFill>
                    <a:srgbClr val="FFFFFF"/>
                  </a:solidFill>
                  <a:latin typeface="Segoe UI Light"/>
                  <a:ea typeface="+mn-ea"/>
                  <a:cs typeface="+mn-cs"/>
                </a:rPr>
                <a:t> </a:t>
              </a:r>
            </a:p>
          </p:txBody>
        </p:sp>
      </p:grpSp>
    </p:spTree>
    <p:extLst>
      <p:ext uri="{BB962C8B-B14F-4D97-AF65-F5344CB8AC3E}">
        <p14:creationId xmlns:p14="http://schemas.microsoft.com/office/powerpoint/2010/main" val="1530335971"/>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3594601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userDrawn="1">
  <p:cSld name="1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9144000" cy="1232898"/>
          </a:xfrm>
        </p:spPr>
        <p:txBody>
          <a:bodyPr lIns="393192" tIns="393192" bIns="91440">
            <a:normAutofit/>
          </a:bodyPr>
          <a:lstStyle>
            <a:lvl1pPr marL="0" indent="0">
              <a:buNone/>
              <a:defRPr sz="3300">
                <a:solidFill>
                  <a:srgbClr val="505050"/>
                </a:solidFill>
              </a:defRPr>
            </a:lvl1pPr>
          </a:lstStyle>
          <a:p>
            <a:pPr lvl="0"/>
            <a:r>
              <a:rPr lang="en-US" dirty="0"/>
              <a:t>Title (Optional)</a:t>
            </a:r>
          </a:p>
        </p:txBody>
      </p:sp>
      <p:sp>
        <p:nvSpPr>
          <p:cNvPr id="8" name="Text Placeholder 7"/>
          <p:cNvSpPr>
            <a:spLocks noGrp="1"/>
          </p:cNvSpPr>
          <p:nvPr>
            <p:ph type="body" sz="quarter" idx="11" hasCustomPrompt="1"/>
          </p:nvPr>
        </p:nvSpPr>
        <p:spPr>
          <a:xfrm>
            <a:off x="0" y="1243014"/>
            <a:ext cx="9144000" cy="904286"/>
          </a:xfrm>
        </p:spPr>
        <p:txBody>
          <a:bodyPr lIns="393192" bIns="91440"/>
          <a:lstStyle>
            <a:lvl1pPr marL="0" indent="0">
              <a:buNone/>
              <a:defRPr>
                <a:solidFill>
                  <a:schemeClr val="tx2"/>
                </a:solidFill>
              </a:defRPr>
            </a:lvl1pPr>
            <a:lvl2pPr marL="342900"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157414"/>
            <a:ext cx="9144000" cy="4700587"/>
          </a:xfrm>
        </p:spPr>
        <p:txBody>
          <a:bodyPr lIns="393192" tIns="91440" bIns="91440">
            <a:normAutofit/>
          </a:bodyPr>
          <a:lstStyle>
            <a:lvl1pPr marL="0" indent="0">
              <a:buNone/>
              <a:defRPr sz="1500">
                <a:solidFill>
                  <a:schemeClr val="tx1"/>
                </a:solidFill>
              </a:defRPr>
            </a:lvl1pPr>
          </a:lstStyle>
          <a:p>
            <a:pPr lvl="0"/>
            <a:r>
              <a:rPr lang="en-US" dirty="0"/>
              <a:t>Body copy</a:t>
            </a:r>
          </a:p>
        </p:txBody>
      </p:sp>
    </p:spTree>
    <p:extLst>
      <p:ext uri="{BB962C8B-B14F-4D97-AF65-F5344CB8AC3E}">
        <p14:creationId xmlns:p14="http://schemas.microsoft.com/office/powerpoint/2010/main" val="331812885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ntent &amp; Co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1194" y="0"/>
            <a:ext cx="8833654" cy="878350"/>
          </a:xfrm>
        </p:spPr>
        <p:txBody>
          <a:bodyPr/>
          <a:lstStyle>
            <a:lvl1pPr>
              <a:defRPr/>
            </a:lvl1pPr>
          </a:lstStyle>
          <a:p>
            <a:r>
              <a:rPr lang="en-US" dirty="0"/>
              <a:t>Content &amp; Code</a:t>
            </a:r>
          </a:p>
        </p:txBody>
      </p:sp>
      <p:sp>
        <p:nvSpPr>
          <p:cNvPr id="3" name="Content Placeholder 2"/>
          <p:cNvSpPr>
            <a:spLocks noGrp="1"/>
          </p:cNvSpPr>
          <p:nvPr>
            <p:ph idx="1"/>
          </p:nvPr>
        </p:nvSpPr>
        <p:spPr>
          <a:xfrm>
            <a:off x="151194" y="1231902"/>
            <a:ext cx="8833654" cy="2421204"/>
          </a:xfrm>
        </p:spPr>
        <p:txBody>
          <a:bodyPr>
            <a:normAutofit/>
          </a:bodyPr>
          <a:lstStyle>
            <a:lvl1pPr marL="0" indent="0">
              <a:buFont typeface="Arial" panose="020B0604020202020204" pitchFamily="34" charset="0"/>
              <a:buNone/>
              <a:defRPr sz="2100"/>
            </a:lvl1pPr>
            <a:lvl2pPr marL="342900" indent="0">
              <a:buFont typeface="Arial" panose="020B0604020202020204" pitchFamily="34" charset="0"/>
              <a:buNone/>
              <a:defRPr sz="1800"/>
            </a:lvl2pPr>
            <a:lvl3pPr marL="685800" indent="0">
              <a:buFont typeface="Arial" panose="020B0604020202020204" pitchFamily="34" charset="0"/>
              <a:buNone/>
              <a:defRPr sz="1500"/>
            </a:lvl3pPr>
            <a:lvl4pPr marL="1028700" indent="0">
              <a:buFont typeface="Arial" panose="020B0604020202020204" pitchFamily="34" charset="0"/>
              <a:buNone/>
              <a:defRPr sz="1350"/>
            </a:lvl4pPr>
            <a:lvl5pPr marL="1371600" indent="0">
              <a:buFont typeface="Arial" panose="020B0604020202020204" pitchFamily="34" charset="0"/>
              <a:buNone/>
              <a:defRPr sz="135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6">
            <a:extLst>
              <a:ext uri="{FF2B5EF4-FFF2-40B4-BE49-F238E27FC236}">
                <a16:creationId xmlns:a16="http://schemas.microsoft.com/office/drawing/2014/main" id="{06833DA2-9089-4E59-9B9D-7F3A29DCE61C}"/>
              </a:ext>
            </a:extLst>
          </p:cNvPr>
          <p:cNvSpPr/>
          <p:nvPr userDrawn="1"/>
        </p:nvSpPr>
        <p:spPr bwMode="auto">
          <a:xfrm>
            <a:off x="33849" y="3653108"/>
            <a:ext cx="9020275" cy="3129417"/>
          </a:xfrm>
          <a:prstGeom prst="rect">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577" fontAlgn="base">
              <a:spcBef>
                <a:spcPct val="0"/>
              </a:spcBef>
              <a:spcAft>
                <a:spcPct val="0"/>
              </a:spcAft>
            </a:pPr>
            <a:endParaRPr lang="en-US" sz="1471" dirty="0">
              <a:gradFill>
                <a:gsLst>
                  <a:gs pos="0">
                    <a:srgbClr val="FFFFFF"/>
                  </a:gs>
                  <a:gs pos="100000">
                    <a:srgbClr val="FFFFFF"/>
                  </a:gs>
                </a:gsLst>
                <a:lin ang="5400000" scaled="0"/>
              </a:gradFill>
            </a:endParaRPr>
          </a:p>
        </p:txBody>
      </p:sp>
      <p:sp>
        <p:nvSpPr>
          <p:cNvPr id="10" name="Content Placeholder 2">
            <a:extLst>
              <a:ext uri="{FF2B5EF4-FFF2-40B4-BE49-F238E27FC236}">
                <a16:creationId xmlns:a16="http://schemas.microsoft.com/office/drawing/2014/main" id="{A7A07890-C86B-4334-9F28-D4C01C01B9F8}"/>
              </a:ext>
            </a:extLst>
          </p:cNvPr>
          <p:cNvSpPr>
            <a:spLocks noGrp="1"/>
          </p:cNvSpPr>
          <p:nvPr>
            <p:ph idx="10" hasCustomPrompt="1"/>
          </p:nvPr>
        </p:nvSpPr>
        <p:spPr>
          <a:xfrm>
            <a:off x="151194" y="3795486"/>
            <a:ext cx="8833654" cy="2910114"/>
          </a:xfrm>
          <a:solidFill>
            <a:schemeClr val="bg1"/>
          </a:solidFill>
          <a:ln w="60325" cmpd="sng">
            <a:solidFill>
              <a:srgbClr val="0070C0"/>
            </a:solidFill>
          </a:ln>
        </p:spPr>
        <p:txBody>
          <a:bodyPr>
            <a:normAutofit/>
          </a:bodyPr>
          <a:lstStyle>
            <a:lvl1pPr marL="0" indent="0" defTabSz="0">
              <a:buFont typeface="Arial" panose="020B0604020202020204" pitchFamily="34" charset="0"/>
              <a:buNone/>
              <a:defRPr sz="1200">
                <a:latin typeface="Courier New" panose="02070309020205020404" pitchFamily="49" charset="0"/>
                <a:cs typeface="Courier New" panose="02070309020205020404" pitchFamily="49" charset="0"/>
              </a:defRPr>
            </a:lvl1pPr>
            <a:lvl2pPr marL="342900" indent="0" defTabSz="0">
              <a:buFont typeface="Arial" panose="020B0604020202020204" pitchFamily="34" charset="0"/>
              <a:buNone/>
              <a:defRPr sz="1200">
                <a:latin typeface="Courier New" panose="02070309020205020404" pitchFamily="49" charset="0"/>
                <a:cs typeface="Courier New" panose="02070309020205020404" pitchFamily="49" charset="0"/>
              </a:defRPr>
            </a:lvl2pPr>
            <a:lvl3pPr marL="685800" indent="0" defTabSz="0">
              <a:buFont typeface="Arial" panose="020B0604020202020204" pitchFamily="34" charset="0"/>
              <a:buNone/>
              <a:defRPr sz="1200">
                <a:latin typeface="Courier New" panose="02070309020205020404" pitchFamily="49" charset="0"/>
                <a:cs typeface="Courier New" panose="02070309020205020404" pitchFamily="49" charset="0"/>
              </a:defRPr>
            </a:lvl3pPr>
            <a:lvl4pPr marL="1028700" indent="0" defTabSz="0">
              <a:buFont typeface="Arial" panose="020B0604020202020204" pitchFamily="34" charset="0"/>
              <a:buNone/>
              <a:defRPr sz="1200">
                <a:latin typeface="Courier New" panose="02070309020205020404" pitchFamily="49" charset="0"/>
                <a:cs typeface="Courier New" panose="02070309020205020404" pitchFamily="49" charset="0"/>
              </a:defRPr>
            </a:lvl4pPr>
            <a:lvl5pPr marL="1371600" indent="0" defTabSz="0">
              <a:buFont typeface="Arial" panose="020B0604020202020204" pitchFamily="34" charset="0"/>
              <a:buNone/>
              <a:defRPr sz="1200">
                <a:latin typeface="Courier New" panose="02070309020205020404" pitchFamily="49" charset="0"/>
                <a:cs typeface="Courier New" panose="02070309020205020404" pitchFamily="49" charset="0"/>
              </a:defRPr>
            </a:lvl5pPr>
          </a:lstStyle>
          <a:p>
            <a:pPr lvl="0"/>
            <a:r>
              <a:rPr lang="en-US" dirty="0"/>
              <a:t>Click to Edit/Paste/Insert Code or Paste/Insert Screenshot</a:t>
            </a:r>
          </a:p>
          <a:p>
            <a:pPr lvl="1"/>
            <a:r>
              <a:rPr lang="en-US" dirty="0"/>
              <a:t>	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05699000"/>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Walkin Microsoft Ready - Editable">
    <p:bg>
      <p:bgPr>
        <a:solidFill>
          <a:schemeClr val="accent1"/>
        </a:solidFill>
        <a:effectLst/>
      </p:bgPr>
    </p:bg>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2214E044-D81A-4BC8-8B44-D5B6E72EA6F5}"/>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3355092" y="0"/>
            <a:ext cx="5788909" cy="6862028"/>
          </a:xfrm>
          <a:prstGeom prst="rect">
            <a:avLst/>
          </a:prstGeom>
        </p:spPr>
      </p:pic>
      <p:sp>
        <p:nvSpPr>
          <p:cNvPr id="8" name="Rectangle 7">
            <a:extLst>
              <a:ext uri="{FF2B5EF4-FFF2-40B4-BE49-F238E27FC236}">
                <a16:creationId xmlns:a16="http://schemas.microsoft.com/office/drawing/2014/main" id="{CA6A04B4-1456-490B-8B52-A08A4AF91494}"/>
              </a:ext>
            </a:extLst>
          </p:cNvPr>
          <p:cNvSpPr/>
          <p:nvPr userDrawn="1"/>
        </p:nvSpPr>
        <p:spPr bwMode="auto">
          <a:xfrm>
            <a:off x="0" y="-13453"/>
            <a:ext cx="3429070" cy="687145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pPr>
            <a:endParaRPr lang="en-US" sz="1765" dirty="0" err="1">
              <a:gradFill>
                <a:gsLst>
                  <a:gs pos="0">
                    <a:srgbClr val="FFFFFF"/>
                  </a:gs>
                  <a:gs pos="100000">
                    <a:srgbClr val="FFFFFF"/>
                  </a:gs>
                </a:gsLst>
                <a:lin ang="5400000" scaled="0"/>
              </a:gradFill>
              <a:ea typeface="Segoe UI" pitchFamily="34" charset="0"/>
              <a:cs typeface="Segoe UI" pitchFamily="34" charset="0"/>
            </a:endParaRPr>
          </a:p>
        </p:txBody>
      </p:sp>
      <p:pic>
        <p:nvPicPr>
          <p:cNvPr id="6" name="MS logo white - EMF"/>
          <p:cNvPicPr>
            <a:picLocks noChangeAspect="1"/>
          </p:cNvPicPr>
          <p:nvPr userDrawn="1"/>
        </p:nvPicPr>
        <p:blipFill>
          <a:blip r:embed="rId3"/>
          <a:stretch>
            <a:fillRect/>
          </a:stretch>
        </p:blipFill>
        <p:spPr bwMode="white">
          <a:xfrm>
            <a:off x="338725" y="470067"/>
            <a:ext cx="1067477" cy="304828"/>
          </a:xfrm>
          <a:prstGeom prst="rect">
            <a:avLst/>
          </a:prstGeom>
        </p:spPr>
      </p:pic>
      <p:sp>
        <p:nvSpPr>
          <p:cNvPr id="7" name="TextBox 6"/>
          <p:cNvSpPr txBox="1"/>
          <p:nvPr userDrawn="1"/>
        </p:nvSpPr>
        <p:spPr bwMode="white">
          <a:xfrm>
            <a:off x="201930" y="5588534"/>
            <a:ext cx="2353136" cy="1246243"/>
          </a:xfrm>
          <a:prstGeom prst="rect">
            <a:avLst/>
          </a:prstGeom>
          <a:noFill/>
        </p:spPr>
        <p:txBody>
          <a:bodyPr wrap="square" lIns="134464" tIns="107571" rIns="134464" bIns="107571" rtlCol="0">
            <a:spAutoFit/>
          </a:bodyPr>
          <a:lstStyle/>
          <a:p>
            <a:pPr>
              <a:lnSpc>
                <a:spcPct val="90000"/>
              </a:lnSpc>
              <a:spcAft>
                <a:spcPts val="441"/>
              </a:spcAft>
            </a:pPr>
            <a:r>
              <a:rPr lang="en-US" sz="1765" dirty="0">
                <a:gradFill>
                  <a:gsLst>
                    <a:gs pos="2917">
                      <a:schemeClr val="tx1"/>
                    </a:gs>
                    <a:gs pos="30000">
                      <a:schemeClr val="tx1"/>
                    </a:gs>
                  </a:gsLst>
                  <a:lin ang="5400000" scaled="0"/>
                </a:gradFill>
              </a:rPr>
              <a:t>Las Vegas, Nevada</a:t>
            </a:r>
          </a:p>
          <a:p>
            <a:pPr>
              <a:lnSpc>
                <a:spcPct val="90000"/>
              </a:lnSpc>
              <a:spcAft>
                <a:spcPts val="441"/>
              </a:spcAft>
            </a:pPr>
            <a:r>
              <a:rPr lang="en-US" sz="1765" dirty="0">
                <a:gradFill>
                  <a:gsLst>
                    <a:gs pos="2917">
                      <a:schemeClr val="tx1"/>
                    </a:gs>
                    <a:gs pos="30000">
                      <a:schemeClr val="tx1"/>
                    </a:gs>
                  </a:gsLst>
                  <a:lin ang="5400000" scaled="0"/>
                </a:gradFill>
              </a:rPr>
              <a:t>October 23–26, 2017</a:t>
            </a:r>
          </a:p>
        </p:txBody>
      </p:sp>
      <p:sp>
        <p:nvSpPr>
          <p:cNvPr id="2" name="TextBox 1">
            <a:extLst>
              <a:ext uri="{FF2B5EF4-FFF2-40B4-BE49-F238E27FC236}">
                <a16:creationId xmlns:a16="http://schemas.microsoft.com/office/drawing/2014/main" id="{056C9DEE-6F0F-4952-B2B1-A47AFA7F3DE1}"/>
              </a:ext>
            </a:extLst>
          </p:cNvPr>
          <p:cNvSpPr txBox="1"/>
          <p:nvPr userDrawn="1"/>
        </p:nvSpPr>
        <p:spPr bwMode="white">
          <a:xfrm>
            <a:off x="201929" y="1707465"/>
            <a:ext cx="3153162" cy="1683606"/>
          </a:xfrm>
          <a:prstGeom prst="rect">
            <a:avLst/>
          </a:prstGeom>
          <a:noFill/>
        </p:spPr>
        <p:txBody>
          <a:bodyPr wrap="square" lIns="134464" tIns="107571" rIns="134464" bIns="107571" rtlCol="0">
            <a:spAutoFit/>
          </a:bodyPr>
          <a:lstStyle/>
          <a:p>
            <a:pPr>
              <a:lnSpc>
                <a:spcPct val="90000"/>
              </a:lnSpc>
              <a:spcBef>
                <a:spcPts val="1324"/>
              </a:spcBef>
              <a:spcAft>
                <a:spcPts val="441"/>
              </a:spcAft>
            </a:pPr>
            <a:r>
              <a:rPr lang="en-US" sz="3529" dirty="0">
                <a:gradFill>
                  <a:gsLst>
                    <a:gs pos="2917">
                      <a:schemeClr val="tx1"/>
                    </a:gs>
                    <a:gs pos="30000">
                      <a:schemeClr val="tx1"/>
                    </a:gs>
                  </a:gsLst>
                  <a:lin ang="5400000" scaled="0"/>
                </a:gradFill>
                <a:latin typeface="+mj-lt"/>
              </a:rPr>
              <a:t>Digital</a:t>
            </a:r>
            <a:br>
              <a:rPr lang="en-US" sz="3529" dirty="0">
                <a:gradFill>
                  <a:gsLst>
                    <a:gs pos="2917">
                      <a:schemeClr val="tx1"/>
                    </a:gs>
                    <a:gs pos="30000">
                      <a:schemeClr val="tx1"/>
                    </a:gs>
                  </a:gsLst>
                  <a:lin ang="5400000" scaled="0"/>
                </a:gradFill>
                <a:latin typeface="+mj-lt"/>
              </a:rPr>
            </a:br>
            <a:r>
              <a:rPr lang="en-US" sz="3529" dirty="0">
                <a:gradFill>
                  <a:gsLst>
                    <a:gs pos="2917">
                      <a:schemeClr val="tx1"/>
                    </a:gs>
                    <a:gs pos="30000">
                      <a:schemeClr val="tx1"/>
                    </a:gs>
                  </a:gsLst>
                  <a:lin ang="5400000" scaled="0"/>
                </a:gradFill>
                <a:latin typeface="+mj-lt"/>
              </a:rPr>
              <a:t>Transformation</a:t>
            </a:r>
            <a:br>
              <a:rPr lang="en-US" sz="3529" dirty="0">
                <a:gradFill>
                  <a:gsLst>
                    <a:gs pos="2917">
                      <a:schemeClr val="tx1"/>
                    </a:gs>
                    <a:gs pos="30000">
                      <a:schemeClr val="tx1"/>
                    </a:gs>
                  </a:gsLst>
                  <a:lin ang="5400000" scaled="0"/>
                </a:gradFill>
                <a:latin typeface="+mj-lt"/>
              </a:rPr>
            </a:br>
            <a:r>
              <a:rPr lang="en-US" sz="3529" dirty="0">
                <a:gradFill>
                  <a:gsLst>
                    <a:gs pos="2917">
                      <a:schemeClr val="tx1"/>
                    </a:gs>
                    <a:gs pos="30000">
                      <a:schemeClr val="tx1"/>
                    </a:gs>
                  </a:gsLst>
                  <a:lin ang="5400000" scaled="0"/>
                </a:gradFill>
                <a:latin typeface="+mj-lt"/>
              </a:rPr>
              <a:t>Academy</a:t>
            </a:r>
          </a:p>
        </p:txBody>
      </p:sp>
    </p:spTree>
    <p:extLst>
      <p:ext uri="{BB962C8B-B14F-4D97-AF65-F5344CB8AC3E}">
        <p14:creationId xmlns:p14="http://schemas.microsoft.com/office/powerpoint/2010/main" val="37599721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01977" y="2084187"/>
            <a:ext cx="6723139" cy="1793090"/>
          </a:xfrm>
          <a:noFill/>
        </p:spPr>
        <p:txBody>
          <a:bodyPr lIns="146304" tIns="91440" rIns="146304" bIns="91440" anchor="t" anchorCtr="0"/>
          <a:lstStyle>
            <a:lvl1pPr>
              <a:defRPr sz="3971" spc="-74"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01976" y="3878574"/>
            <a:ext cx="5378503" cy="1792326"/>
          </a:xfrm>
          <a:noFill/>
        </p:spPr>
        <p:txBody>
          <a:bodyPr lIns="164592" tIns="109728" rIns="164592" bIns="109728">
            <a:noAutofit/>
          </a:bodyPr>
          <a:lstStyle>
            <a:lvl1pPr marL="0" indent="0">
              <a:spcBef>
                <a:spcPts val="0"/>
              </a:spcBef>
              <a:buNone/>
              <a:defRPr sz="2353"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6" name="MS logo white - EMF"/>
          <p:cNvPicPr>
            <a:picLocks noChangeAspect="1"/>
          </p:cNvPicPr>
          <p:nvPr userDrawn="1"/>
        </p:nvPicPr>
        <p:blipFill>
          <a:blip r:embed="rId2"/>
          <a:stretch>
            <a:fillRect/>
          </a:stretch>
        </p:blipFill>
        <p:spPr bwMode="black">
          <a:xfrm>
            <a:off x="338725" y="470067"/>
            <a:ext cx="1067477" cy="304828"/>
          </a:xfrm>
          <a:prstGeom prst="rect">
            <a:avLst/>
          </a:prstGeom>
        </p:spPr>
      </p:pic>
      <p:sp>
        <p:nvSpPr>
          <p:cNvPr id="7" name="Text Placeholder 16"/>
          <p:cNvSpPr>
            <a:spLocks noGrp="1"/>
          </p:cNvSpPr>
          <p:nvPr>
            <p:ph type="body" sz="quarter" idx="13" hasCustomPrompt="1"/>
          </p:nvPr>
        </p:nvSpPr>
        <p:spPr>
          <a:xfrm>
            <a:off x="6254758" y="288561"/>
            <a:ext cx="2689274" cy="499176"/>
          </a:xfrm>
        </p:spPr>
        <p:txBody>
          <a:bodyPr lIns="182880" tIns="146304" rIns="182880" bIns="146304"/>
          <a:lstStyle>
            <a:lvl1pPr marL="0" indent="0" algn="r">
              <a:buNone/>
              <a:defRPr sz="1471">
                <a:latin typeface="+mn-lt"/>
              </a:defRPr>
            </a:lvl1pPr>
            <a:lvl2pPr marL="252109" indent="0">
              <a:buNone/>
              <a:defRPr sz="1471"/>
            </a:lvl2pPr>
            <a:lvl3pPr marL="420181" indent="0">
              <a:buNone/>
              <a:defRPr sz="1471"/>
            </a:lvl3pPr>
            <a:lvl4pPr marL="588254" indent="0">
              <a:buNone/>
              <a:defRPr sz="1471"/>
            </a:lvl4pPr>
            <a:lvl5pPr marL="756326" indent="0">
              <a:buNone/>
              <a:defRPr sz="1471"/>
            </a:lvl5pPr>
          </a:lstStyle>
          <a:p>
            <a:pPr lvl="0"/>
            <a:r>
              <a:rPr lang="en-US" dirty="0"/>
              <a:t>Session Code</a:t>
            </a:r>
          </a:p>
        </p:txBody>
      </p:sp>
    </p:spTree>
    <p:extLst>
      <p:ext uri="{BB962C8B-B14F-4D97-AF65-F5344CB8AC3E}">
        <p14:creationId xmlns:p14="http://schemas.microsoft.com/office/powerpoint/2010/main" val="140612692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7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950"/>
                                        <p:tgtEl>
                                          <p:spTgt spid="7"/>
                                        </p:tgtEl>
                                      </p:cBhvr>
                                    </p:animEffect>
                                  </p:childTnLst>
                                </p:cTn>
                              </p:par>
                              <p:par>
                                <p:cTn id="8" presetID="63" presetClass="path" presetSubtype="0" decel="100000" fill="hold" grpId="1" nodeType="withEffect">
                                  <p:stCondLst>
                                    <p:cond delay="700"/>
                                  </p:stCondLst>
                                  <p:childTnLst>
                                    <p:animMotion origin="layout" path="M -0.01455 2.13345E-6 L 1.62369E-6 2.13345E-6 " pathEditMode="relative" rAng="0" ptsTypes="AA">
                                      <p:cBhvr>
                                        <p:cTn id="9" dur="950" fill="hold"/>
                                        <p:tgtEl>
                                          <p:spTgt spid="7"/>
                                        </p:tgtEl>
                                        <p:attrNameLst>
                                          <p:attrName>ppt_x</p:attrName>
                                          <p:attrName>ppt_y</p:attrName>
                                        </p:attrNameLst>
                                      </p:cBhvr>
                                      <p:rCtr x="728" y="0"/>
                                    </p:animMotion>
                                  </p:childTnLst>
                                </p:cTn>
                              </p:par>
                              <p:par>
                                <p:cTn id="10" presetID="6" presetClass="emph" presetSubtype="0" accel="100000" autoRev="1" fill="hold" grpId="2" nodeType="withEffect">
                                  <p:stCondLst>
                                    <p:cond delay="0"/>
                                  </p:stCondLst>
                                  <p:childTnLst>
                                    <p:animScale>
                                      <p:cBhvr>
                                        <p:cTn id="11" dur="500" fill="hold"/>
                                        <p:tgtEl>
                                          <p:spTgt spid="7"/>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tmplLst>
          <p:tmpl>
            <p:tnLst>
              <p:par>
                <p:cTn presetID="10" presetClass="entr" presetSubtype="0" fill="hold" nodeType="withEffect">
                  <p:stCondLst>
                    <p:cond delay="700"/>
                  </p:stCondLst>
                  <p:childTnLst>
                    <p:set>
                      <p:cBhvr>
                        <p:cTn dur="1" fill="hold">
                          <p:stCondLst>
                            <p:cond delay="0"/>
                          </p:stCondLst>
                        </p:cTn>
                        <p:tgtEl>
                          <p:spTgt spid="7"/>
                        </p:tgtEl>
                        <p:attrNameLst>
                          <p:attrName>style.visibility</p:attrName>
                        </p:attrNameLst>
                      </p:cBhvr>
                      <p:to>
                        <p:strVal val="visible"/>
                      </p:to>
                    </p:set>
                    <p:animEffect transition="in" filter="fade">
                      <p:cBhvr>
                        <p:cTn dur="950"/>
                        <p:tgtEl>
                          <p:spTgt spid="7"/>
                        </p:tgtEl>
                      </p:cBhvr>
                    </p:animEffect>
                  </p:childTnLst>
                </p:cTn>
              </p:par>
            </p:tnLst>
          </p:tmpl>
        </p:tmplLst>
      </p:bldP>
      <p:bldP spid="7" grpId="1"/>
      <p:bldP spid="7" grpId="2"/>
    </p:bldLst>
  </p:timing>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0" y="1189177"/>
            <a:ext cx="8741309" cy="1746440"/>
          </a:xfrm>
        </p:spPr>
        <p:txBody>
          <a:bodyPr>
            <a:spAutoFit/>
          </a:bodyPr>
          <a:lstStyle>
            <a:lvl1pPr marL="0" indent="0">
              <a:buNone/>
              <a:defRPr/>
            </a:lvl1pPr>
            <a:lvl2pPr marL="168073" indent="0">
              <a:buNone/>
              <a:defRPr/>
            </a:lvl2pPr>
            <a:lvl3pPr marL="336145" indent="0">
              <a:buNone/>
              <a:defRPr/>
            </a:lvl3pPr>
            <a:lvl4pPr marL="504218"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53303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01977" y="1187645"/>
            <a:ext cx="8741309" cy="174644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721447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1" y="1187644"/>
            <a:ext cx="4033911" cy="1610697"/>
          </a:xfrm>
        </p:spPr>
        <p:txBody>
          <a:bodyPr wrap="square">
            <a:spAutoFit/>
          </a:bodyPr>
          <a:lstStyle>
            <a:lvl1pPr marL="0" indent="0">
              <a:spcBef>
                <a:spcPts val="900"/>
              </a:spcBef>
              <a:buClr>
                <a:schemeClr val="tx1"/>
              </a:buClr>
              <a:buFont typeface="Wingdings" panose="05000000000000000000" pitchFamily="2" charset="2"/>
              <a:buNone/>
              <a:defRPr sz="2206" b="0">
                <a:latin typeface="+mn-lt"/>
              </a:defRPr>
            </a:lvl1pPr>
            <a:lvl2pPr marL="187915" indent="0">
              <a:buFont typeface="Wingdings" panose="05000000000000000000" pitchFamily="2" charset="2"/>
              <a:buNone/>
              <a:defRPr sz="1765" b="0"/>
            </a:lvl2pPr>
            <a:lvl3pPr marL="331476" indent="0">
              <a:buFont typeface="Wingdings" panose="05000000000000000000" pitchFamily="2" charset="2"/>
              <a:buNone/>
              <a:tabLst/>
              <a:defRPr sz="1618" b="0"/>
            </a:lvl3pPr>
            <a:lvl4pPr marL="479706" indent="0">
              <a:buFont typeface="Wingdings" panose="05000000000000000000" pitchFamily="2" charset="2"/>
              <a:buNone/>
              <a:defRPr sz="1618" b="0"/>
            </a:lvl4pPr>
            <a:lvl5pPr marL="627938" indent="0">
              <a:buFont typeface="Wingdings" panose="05000000000000000000" pitchFamily="2" charset="2"/>
              <a:buNone/>
              <a:tabLst/>
              <a:defRPr sz="161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4908161" y="1187644"/>
            <a:ext cx="4033911" cy="1868588"/>
          </a:xfrm>
        </p:spPr>
        <p:txBody>
          <a:bodyPr wrap="square">
            <a:spAutoFit/>
          </a:bodyPr>
          <a:lstStyle>
            <a:lvl1pPr marL="0" indent="0">
              <a:spcBef>
                <a:spcPts val="900"/>
              </a:spcBef>
              <a:buClr>
                <a:schemeClr val="tx1"/>
              </a:buClr>
              <a:buFont typeface="Arial" panose="020B0604020202020204" pitchFamily="34" charset="0"/>
              <a:buNone/>
              <a:defRPr lang="en-US" sz="2206" b="0" kern="1200" spc="0" baseline="0" dirty="0">
                <a:gradFill>
                  <a:gsLst>
                    <a:gs pos="1250">
                      <a:schemeClr val="tx1"/>
                    </a:gs>
                    <a:gs pos="100000">
                      <a:schemeClr val="tx1"/>
                    </a:gs>
                  </a:gsLst>
                  <a:lin ang="5400000" scaled="0"/>
                </a:gradFill>
                <a:latin typeface="+mn-lt"/>
                <a:ea typeface="+mn-ea"/>
                <a:cs typeface="+mn-cs"/>
              </a:defRPr>
            </a:lvl1pPr>
            <a:lvl2pPr marL="187915" indent="0">
              <a:buFont typeface="Arial" panose="020B0604020202020204" pitchFamily="34" charset="0"/>
              <a:buNone/>
              <a:defRPr lang="en-US" sz="1765" b="0" kern="1200" spc="0" baseline="0" dirty="0">
                <a:gradFill>
                  <a:gsLst>
                    <a:gs pos="1250">
                      <a:schemeClr val="tx1"/>
                    </a:gs>
                    <a:gs pos="100000">
                      <a:schemeClr val="tx1"/>
                    </a:gs>
                  </a:gsLst>
                  <a:lin ang="5400000" scaled="0"/>
                </a:gradFill>
                <a:latin typeface="+mn-lt"/>
                <a:ea typeface="+mn-ea"/>
                <a:cs typeface="+mn-cs"/>
              </a:defRPr>
            </a:lvl2pPr>
            <a:lvl3pPr marL="331476" indent="0">
              <a:buFont typeface="Arial" panose="020B0604020202020204" pitchFamily="34" charset="0"/>
              <a:buNone/>
              <a:tabLst/>
              <a:defRPr lang="en-US" sz="1618" b="0" kern="1200" spc="0" baseline="0" dirty="0">
                <a:gradFill>
                  <a:gsLst>
                    <a:gs pos="1250">
                      <a:schemeClr val="tx1"/>
                    </a:gs>
                    <a:gs pos="100000">
                      <a:schemeClr val="tx1"/>
                    </a:gs>
                  </a:gsLst>
                  <a:lin ang="5400000" scaled="0"/>
                </a:gradFill>
                <a:latin typeface="+mn-lt"/>
                <a:ea typeface="+mn-ea"/>
                <a:cs typeface="+mn-cs"/>
              </a:defRPr>
            </a:lvl3pPr>
            <a:lvl4pPr marL="479706" indent="0">
              <a:buFont typeface="Arial" panose="020B0604020202020204" pitchFamily="34" charset="0"/>
              <a:buNone/>
              <a:defRPr lang="en-US" sz="1618" b="0" kern="1200" spc="0" baseline="0" dirty="0">
                <a:gradFill>
                  <a:gsLst>
                    <a:gs pos="1250">
                      <a:schemeClr val="tx1"/>
                    </a:gs>
                    <a:gs pos="100000">
                      <a:schemeClr val="tx1"/>
                    </a:gs>
                  </a:gsLst>
                  <a:lin ang="5400000" scaled="0"/>
                </a:gradFill>
                <a:latin typeface="+mn-lt"/>
                <a:ea typeface="+mn-ea"/>
                <a:cs typeface="+mn-cs"/>
              </a:defRPr>
            </a:lvl4pPr>
            <a:lvl5pPr marL="627938" indent="0">
              <a:buFont typeface="Arial" panose="020B0604020202020204" pitchFamily="34" charset="0"/>
              <a:buNone/>
              <a:tabLst/>
              <a:defRPr lang="en-US" sz="1618" b="0" kern="1200" spc="0" baseline="0" dirty="0">
                <a:gradFill>
                  <a:gsLst>
                    <a:gs pos="1250">
                      <a:schemeClr val="tx1"/>
                    </a:gs>
                    <a:gs pos="100000">
                      <a:schemeClr val="tx1"/>
                    </a:gs>
                  </a:gsLst>
                  <a:lin ang="5400000" scaled="0"/>
                </a:gradFill>
                <a:latin typeface="+mn-lt"/>
                <a:ea typeface="+mn-ea"/>
                <a:cs typeface="+mn-cs"/>
              </a:defRPr>
            </a:lvl5pPr>
          </a:lstStyle>
          <a:p>
            <a:pPr marL="378163" marR="0" lvl="0" indent="-378163" algn="l" defTabSz="685775" rtl="0" eaLnBrk="1" fontAlgn="auto" latinLnBrk="0" hangingPunct="1">
              <a:lnSpc>
                <a:spcPct val="90000"/>
              </a:lnSpc>
              <a:spcBef>
                <a:spcPts val="900"/>
              </a:spcBef>
              <a:spcAft>
                <a:spcPts val="0"/>
              </a:spcAft>
              <a:buClr>
                <a:schemeClr val="tx1"/>
              </a:buClr>
              <a:buSzPct val="90000"/>
              <a:tabLst/>
            </a:pPr>
            <a:r>
              <a:rPr lang="en-US"/>
              <a:t>Edit Master text styles</a:t>
            </a:r>
          </a:p>
          <a:p>
            <a:pPr marL="378163" marR="0" lvl="1" indent="-378163" algn="l" defTabSz="685775" rtl="0" eaLnBrk="1" fontAlgn="auto" latinLnBrk="0" hangingPunct="1">
              <a:lnSpc>
                <a:spcPct val="90000"/>
              </a:lnSpc>
              <a:spcBef>
                <a:spcPts val="900"/>
              </a:spcBef>
              <a:spcAft>
                <a:spcPts val="0"/>
              </a:spcAft>
              <a:buClr>
                <a:schemeClr val="tx1"/>
              </a:buClr>
              <a:buSzPct val="90000"/>
              <a:tabLst/>
            </a:pPr>
            <a:r>
              <a:rPr lang="en-US"/>
              <a:t>Second level</a:t>
            </a:r>
          </a:p>
          <a:p>
            <a:pPr marL="378163" marR="0" lvl="2" indent="-378163" algn="l" defTabSz="685775" rtl="0" eaLnBrk="1" fontAlgn="auto" latinLnBrk="0" hangingPunct="1">
              <a:lnSpc>
                <a:spcPct val="90000"/>
              </a:lnSpc>
              <a:spcBef>
                <a:spcPts val="900"/>
              </a:spcBef>
              <a:spcAft>
                <a:spcPts val="0"/>
              </a:spcAft>
              <a:buClr>
                <a:schemeClr val="tx1"/>
              </a:buClr>
              <a:buSzPct val="90000"/>
              <a:tabLst/>
            </a:pPr>
            <a:r>
              <a:rPr lang="en-US"/>
              <a:t>Third level</a:t>
            </a:r>
          </a:p>
          <a:p>
            <a:pPr marL="378163" marR="0" lvl="3" indent="-378163" algn="l" defTabSz="685775" rtl="0" eaLnBrk="1" fontAlgn="auto" latinLnBrk="0" hangingPunct="1">
              <a:lnSpc>
                <a:spcPct val="90000"/>
              </a:lnSpc>
              <a:spcBef>
                <a:spcPts val="900"/>
              </a:spcBef>
              <a:spcAft>
                <a:spcPts val="0"/>
              </a:spcAft>
              <a:buClr>
                <a:schemeClr val="tx1"/>
              </a:buClr>
              <a:buSzPct val="90000"/>
              <a:tabLst/>
            </a:pPr>
            <a:r>
              <a:rPr lang="en-US"/>
              <a:t>Fourth level</a:t>
            </a:r>
          </a:p>
          <a:p>
            <a:pPr marL="378163" marR="0" lvl="4" indent="-378163" algn="l" defTabSz="685775" rtl="0" eaLnBrk="1" fontAlgn="auto" latinLnBrk="0" hangingPunct="1">
              <a:lnSpc>
                <a:spcPct val="90000"/>
              </a:lnSpc>
              <a:spcBef>
                <a:spcPts val="900"/>
              </a:spcBef>
              <a:spcAft>
                <a:spcPts val="0"/>
              </a:spcAft>
              <a:buClr>
                <a:schemeClr val="tx1"/>
              </a:buClr>
              <a:buSzPct val="90000"/>
              <a:tabLst/>
            </a:pPr>
            <a:r>
              <a:rPr lang="en-US"/>
              <a:t>Fifth level</a:t>
            </a:r>
            <a:endParaRPr lang="en-US" dirty="0"/>
          </a:p>
        </p:txBody>
      </p:sp>
    </p:spTree>
    <p:extLst>
      <p:ext uri="{BB962C8B-B14F-4D97-AF65-F5344CB8AC3E}">
        <p14:creationId xmlns:p14="http://schemas.microsoft.com/office/powerpoint/2010/main" val="5169176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1" y="1187644"/>
            <a:ext cx="4033911" cy="1610697"/>
          </a:xfrm>
        </p:spPr>
        <p:txBody>
          <a:bodyPr wrap="square">
            <a:spAutoFit/>
          </a:bodyPr>
          <a:lstStyle>
            <a:lvl1pPr marL="170407" indent="-170407">
              <a:spcBef>
                <a:spcPts val="900"/>
              </a:spcBef>
              <a:buClr>
                <a:schemeClr val="tx1"/>
              </a:buClr>
              <a:buFont typeface="Wingdings" panose="05000000000000000000" pitchFamily="2" charset="2"/>
              <a:buChar char=""/>
              <a:defRPr sz="2206" b="0">
                <a:latin typeface="+mn-lt"/>
              </a:defRPr>
            </a:lvl1pPr>
            <a:lvl2pPr marL="313969" indent="-126054">
              <a:buFont typeface="Wingdings" panose="05000000000000000000" pitchFamily="2" charset="2"/>
              <a:buChar char=""/>
              <a:defRPr sz="1765" b="0"/>
            </a:lvl2pPr>
            <a:lvl3pPr marL="470370" indent="-138893">
              <a:buFont typeface="Wingdings" panose="05000000000000000000" pitchFamily="2" charset="2"/>
              <a:buChar char=""/>
              <a:tabLst/>
              <a:defRPr sz="1618" b="0"/>
            </a:lvl3pPr>
            <a:lvl4pPr marL="609263" indent="-129557">
              <a:buFont typeface="Wingdings" panose="05000000000000000000" pitchFamily="2" charset="2"/>
              <a:buChar char=""/>
              <a:defRPr sz="1618" b="0"/>
            </a:lvl4pPr>
            <a:lvl5pPr marL="752825" indent="-124888">
              <a:buFont typeface="Wingdings" panose="05000000000000000000" pitchFamily="2" charset="2"/>
              <a:buChar char=""/>
              <a:tabLst/>
              <a:defRPr sz="161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4908161" y="1187644"/>
            <a:ext cx="4033911" cy="1868588"/>
          </a:xfrm>
        </p:spPr>
        <p:txBody>
          <a:bodyPr wrap="square">
            <a:spAutoFit/>
          </a:bodyPr>
          <a:lstStyle>
            <a:lvl1pPr marL="211258" indent="-211258">
              <a:spcBef>
                <a:spcPts val="900"/>
              </a:spcBef>
              <a:buClr>
                <a:schemeClr val="tx1"/>
              </a:buClr>
              <a:buFont typeface="Arial" pitchFamily="34" charset="0"/>
              <a:buChar char="•"/>
              <a:defRPr lang="en-US" sz="2206" b="0" kern="1200" spc="0" baseline="0" dirty="0">
                <a:gradFill>
                  <a:gsLst>
                    <a:gs pos="1250">
                      <a:schemeClr val="tx1"/>
                    </a:gs>
                    <a:gs pos="100000">
                      <a:schemeClr val="tx1"/>
                    </a:gs>
                  </a:gsLst>
                  <a:lin ang="5400000" scaled="0"/>
                </a:gradFill>
                <a:latin typeface="+mn-lt"/>
                <a:ea typeface="+mn-ea"/>
                <a:cs typeface="+mn-cs"/>
              </a:defRPr>
            </a:lvl1pPr>
            <a:lvl2pPr marL="440024" indent="-252109">
              <a:defRPr lang="en-US" sz="1765" b="0" kern="1200" spc="0" baseline="0" dirty="0">
                <a:gradFill>
                  <a:gsLst>
                    <a:gs pos="1250">
                      <a:schemeClr val="tx1"/>
                    </a:gs>
                    <a:gs pos="100000">
                      <a:schemeClr val="tx1"/>
                    </a:gs>
                  </a:gsLst>
                  <a:lin ang="5400000" scaled="0"/>
                </a:gradFill>
                <a:latin typeface="+mn-lt"/>
                <a:ea typeface="+mn-ea"/>
                <a:cs typeface="+mn-cs"/>
              </a:defRPr>
            </a:lvl2pPr>
            <a:lvl3pPr marL="583585" indent="-252109">
              <a:tabLst/>
              <a:defRPr lang="en-US" sz="1618" b="0" kern="1200" spc="0" baseline="0" dirty="0">
                <a:gradFill>
                  <a:gsLst>
                    <a:gs pos="1250">
                      <a:schemeClr val="tx1"/>
                    </a:gs>
                    <a:gs pos="100000">
                      <a:schemeClr val="tx1"/>
                    </a:gs>
                  </a:gsLst>
                  <a:lin ang="5400000" scaled="0"/>
                </a:gradFill>
                <a:latin typeface="+mn-lt"/>
                <a:ea typeface="+mn-ea"/>
                <a:cs typeface="+mn-cs"/>
              </a:defRPr>
            </a:lvl3pPr>
            <a:lvl4pPr marL="731815" indent="-252109">
              <a:defRPr lang="en-US" sz="1618" b="0" kern="1200" spc="0" baseline="0" dirty="0">
                <a:gradFill>
                  <a:gsLst>
                    <a:gs pos="1250">
                      <a:schemeClr val="tx1"/>
                    </a:gs>
                    <a:gs pos="100000">
                      <a:schemeClr val="tx1"/>
                    </a:gs>
                  </a:gsLst>
                  <a:lin ang="5400000" scaled="0"/>
                </a:gradFill>
                <a:latin typeface="+mn-lt"/>
                <a:ea typeface="+mn-ea"/>
                <a:cs typeface="+mn-cs"/>
              </a:defRPr>
            </a:lvl4pPr>
            <a:lvl5pPr marL="880046" indent="-252109">
              <a:tabLst/>
              <a:defRPr lang="en-US" sz="1618" b="0" kern="1200" spc="0" baseline="0" dirty="0">
                <a:gradFill>
                  <a:gsLst>
                    <a:gs pos="1250">
                      <a:schemeClr val="tx1"/>
                    </a:gs>
                    <a:gs pos="100000">
                      <a:schemeClr val="tx1"/>
                    </a:gs>
                  </a:gsLst>
                  <a:lin ang="5400000" scaled="0"/>
                </a:gradFill>
                <a:latin typeface="+mn-lt"/>
                <a:ea typeface="+mn-ea"/>
                <a:cs typeface="+mn-cs"/>
              </a:defRPr>
            </a:lvl5pPr>
          </a:lstStyle>
          <a:p>
            <a:pPr marL="170407" marR="0" lvl="0" indent="-170407" algn="l" defTabSz="685775" rtl="0" eaLnBrk="1" fontAlgn="auto" latinLnBrk="0" hangingPunct="1">
              <a:lnSpc>
                <a:spcPct val="90000"/>
              </a:lnSpc>
              <a:spcBef>
                <a:spcPts val="900"/>
              </a:spcBef>
              <a:spcAft>
                <a:spcPts val="0"/>
              </a:spcAft>
              <a:buClr>
                <a:schemeClr val="tx1"/>
              </a:buClr>
              <a:buSzPct val="90000"/>
              <a:buFont typeface="Wingdings" panose="05000000000000000000" pitchFamily="2" charset="2"/>
              <a:buChar char=""/>
              <a:tabLst/>
            </a:pPr>
            <a:r>
              <a:rPr lang="en-US"/>
              <a:t>Edit Master text styles</a:t>
            </a:r>
          </a:p>
          <a:p>
            <a:pPr marL="170407" marR="0" lvl="1" indent="-170407" algn="l" defTabSz="685775" rtl="0" eaLnBrk="1" fontAlgn="auto" latinLnBrk="0" hangingPunct="1">
              <a:lnSpc>
                <a:spcPct val="90000"/>
              </a:lnSpc>
              <a:spcBef>
                <a:spcPts val="900"/>
              </a:spcBef>
              <a:spcAft>
                <a:spcPts val="0"/>
              </a:spcAft>
              <a:buClr>
                <a:schemeClr val="tx1"/>
              </a:buClr>
              <a:buSzPct val="90000"/>
              <a:buFont typeface="Wingdings" panose="05000000000000000000" pitchFamily="2" charset="2"/>
              <a:buChar char=""/>
              <a:tabLst/>
            </a:pPr>
            <a:r>
              <a:rPr lang="en-US"/>
              <a:t>Second level</a:t>
            </a:r>
          </a:p>
          <a:p>
            <a:pPr marL="170407" marR="0" lvl="2" indent="-170407" algn="l" defTabSz="685775" rtl="0" eaLnBrk="1" fontAlgn="auto" latinLnBrk="0" hangingPunct="1">
              <a:lnSpc>
                <a:spcPct val="90000"/>
              </a:lnSpc>
              <a:spcBef>
                <a:spcPts val="900"/>
              </a:spcBef>
              <a:spcAft>
                <a:spcPts val="0"/>
              </a:spcAft>
              <a:buClr>
                <a:schemeClr val="tx1"/>
              </a:buClr>
              <a:buSzPct val="90000"/>
              <a:buFont typeface="Wingdings" panose="05000000000000000000" pitchFamily="2" charset="2"/>
              <a:buChar char=""/>
              <a:tabLst/>
            </a:pPr>
            <a:r>
              <a:rPr lang="en-US"/>
              <a:t>Third level</a:t>
            </a:r>
          </a:p>
          <a:p>
            <a:pPr marL="170407" marR="0" lvl="3" indent="-170407" algn="l" defTabSz="685775" rtl="0" eaLnBrk="1" fontAlgn="auto" latinLnBrk="0" hangingPunct="1">
              <a:lnSpc>
                <a:spcPct val="90000"/>
              </a:lnSpc>
              <a:spcBef>
                <a:spcPts val="900"/>
              </a:spcBef>
              <a:spcAft>
                <a:spcPts val="0"/>
              </a:spcAft>
              <a:buClr>
                <a:schemeClr val="tx1"/>
              </a:buClr>
              <a:buSzPct val="90000"/>
              <a:buFont typeface="Wingdings" panose="05000000000000000000" pitchFamily="2" charset="2"/>
              <a:buChar char=""/>
              <a:tabLst/>
            </a:pPr>
            <a:r>
              <a:rPr lang="en-US"/>
              <a:t>Fourth level</a:t>
            </a:r>
          </a:p>
          <a:p>
            <a:pPr marL="170407" marR="0" lvl="4" indent="-170407" algn="l" defTabSz="685775" rtl="0" eaLnBrk="1" fontAlgn="auto" latinLnBrk="0" hangingPunct="1">
              <a:lnSpc>
                <a:spcPct val="90000"/>
              </a:lnSpc>
              <a:spcBef>
                <a:spcPts val="900"/>
              </a:spcBef>
              <a:spcAft>
                <a:spcPts val="0"/>
              </a:spcAft>
              <a:buClr>
                <a:schemeClr val="tx1"/>
              </a:buClr>
              <a:buSzPct val="90000"/>
              <a:buFont typeface="Wingdings" panose="05000000000000000000" pitchFamily="2" charset="2"/>
              <a:buChar char=""/>
              <a:tabLst/>
            </a:pPr>
            <a:r>
              <a:rPr lang="en-US"/>
              <a:t>Fifth level</a:t>
            </a:r>
            <a:endParaRPr lang="en-US" dirty="0"/>
          </a:p>
        </p:txBody>
      </p:sp>
    </p:spTree>
    <p:extLst>
      <p:ext uri="{BB962C8B-B14F-4D97-AF65-F5344CB8AC3E}">
        <p14:creationId xmlns:p14="http://schemas.microsoft.com/office/powerpoint/2010/main" val="25770230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94C1D52-F5EA-4B1D-8BA6-224F2EFC9117}"/>
              </a:ext>
            </a:extLst>
          </p:cNvPr>
          <p:cNvGraphicFramePr>
            <a:graphicFrameLocks noChangeAspect="1"/>
          </p:cNvGraphicFramePr>
          <p:nvPr userDrawn="1">
            <p:custDataLst>
              <p:tags r:id="rId2"/>
            </p:custDataLst>
            <p:extLst/>
          </p:nvPr>
        </p:nvGraphicFramePr>
        <p:xfrm>
          <a:off x="1168" y="1558"/>
          <a:ext cx="1167" cy="1556"/>
        </p:xfrm>
        <a:graphic>
          <a:graphicData uri="http://schemas.openxmlformats.org/presentationml/2006/ole">
            <mc:AlternateContent xmlns:mc="http://schemas.openxmlformats.org/markup-compatibility/2006">
              <mc:Choice xmlns:v="urn:schemas-microsoft-com:vml" Requires="v">
                <p:oleObj spid="_x0000_s2050" name="think-cell Slide" r:id="rId4" imgW="425" imgH="424" progId="TCLayout.ActiveDocument.1">
                  <p:embed/>
                </p:oleObj>
              </mc:Choice>
              <mc:Fallback>
                <p:oleObj name="think-cell Slide" r:id="rId4" imgW="425" imgH="424" progId="TCLayout.ActiveDocument.1">
                  <p:embed/>
                  <p:pic>
                    <p:nvPicPr>
                      <p:cNvPr id="3" name="Object 2" hidden="1">
                        <a:extLst>
                          <a:ext uri="{FF2B5EF4-FFF2-40B4-BE49-F238E27FC236}">
                            <a16:creationId xmlns:a16="http://schemas.microsoft.com/office/drawing/2014/main" id="{894C1D52-F5EA-4B1D-8BA6-224F2EFC9117}"/>
                          </a:ext>
                        </a:extLst>
                      </p:cNvPr>
                      <p:cNvPicPr/>
                      <p:nvPr/>
                    </p:nvPicPr>
                    <p:blipFill>
                      <a:blip r:embed="rId5"/>
                      <a:stretch>
                        <a:fillRect/>
                      </a:stretch>
                    </p:blipFill>
                    <p:spPr>
                      <a:xfrm>
                        <a:off x="1168" y="1558"/>
                        <a:ext cx="1167" cy="1556"/>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7361124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graphicFrame>
        <p:nvGraphicFramePr>
          <p:cNvPr id="3" name="Table 2">
            <a:extLst>
              <a:ext uri="{FF2B5EF4-FFF2-40B4-BE49-F238E27FC236}">
                <a16:creationId xmlns:a16="http://schemas.microsoft.com/office/drawing/2014/main" id="{0DA8EFC8-B6A4-4A4B-9EDA-91002B4DFD8C}"/>
              </a:ext>
            </a:extLst>
          </p:cNvPr>
          <p:cNvGraphicFramePr>
            <a:graphicFrameLocks noGrp="1"/>
          </p:cNvGraphicFramePr>
          <p:nvPr userDrawn="1">
            <p:extLst/>
          </p:nvPr>
        </p:nvGraphicFramePr>
        <p:xfrm>
          <a:off x="178159" y="1594041"/>
          <a:ext cx="8798975" cy="915686"/>
        </p:xfrm>
        <a:graphic>
          <a:graphicData uri="http://schemas.openxmlformats.org/drawingml/2006/table">
            <a:tbl>
              <a:tblPr firstRow="1" bandRow="1">
                <a:tableStyleId>{5C22544A-7EE6-4342-B048-85BDC9FD1C3A}</a:tableStyleId>
              </a:tblPr>
              <a:tblGrid>
                <a:gridCol w="247744">
                  <a:extLst>
                    <a:ext uri="{9D8B030D-6E8A-4147-A177-3AD203B41FA5}">
                      <a16:colId xmlns:a16="http://schemas.microsoft.com/office/drawing/2014/main" val="612254498"/>
                    </a:ext>
                  </a:extLst>
                </a:gridCol>
                <a:gridCol w="2696195">
                  <a:extLst>
                    <a:ext uri="{9D8B030D-6E8A-4147-A177-3AD203B41FA5}">
                      <a16:colId xmlns:a16="http://schemas.microsoft.com/office/drawing/2014/main" val="1261049811"/>
                    </a:ext>
                  </a:extLst>
                </a:gridCol>
                <a:gridCol w="241048">
                  <a:extLst>
                    <a:ext uri="{9D8B030D-6E8A-4147-A177-3AD203B41FA5}">
                      <a16:colId xmlns:a16="http://schemas.microsoft.com/office/drawing/2014/main" val="2638922956"/>
                    </a:ext>
                  </a:extLst>
                </a:gridCol>
                <a:gridCol w="2696195">
                  <a:extLst>
                    <a:ext uri="{9D8B030D-6E8A-4147-A177-3AD203B41FA5}">
                      <a16:colId xmlns:a16="http://schemas.microsoft.com/office/drawing/2014/main" val="1530065899"/>
                    </a:ext>
                  </a:extLst>
                </a:gridCol>
                <a:gridCol w="221596">
                  <a:extLst>
                    <a:ext uri="{9D8B030D-6E8A-4147-A177-3AD203B41FA5}">
                      <a16:colId xmlns:a16="http://schemas.microsoft.com/office/drawing/2014/main" val="1628348927"/>
                    </a:ext>
                  </a:extLst>
                </a:gridCol>
                <a:gridCol w="2696195">
                  <a:extLst>
                    <a:ext uri="{9D8B030D-6E8A-4147-A177-3AD203B41FA5}">
                      <a16:colId xmlns:a16="http://schemas.microsoft.com/office/drawing/2014/main" val="3564049150"/>
                    </a:ext>
                  </a:extLst>
                </a:gridCol>
              </a:tblGrid>
              <a:tr h="915686">
                <a:tc>
                  <a:txBody>
                    <a:bodyPr/>
                    <a:lstStyle/>
                    <a:p>
                      <a:pPr algn="ctr"/>
                      <a:r>
                        <a:rPr lang="en-US" sz="1800" dirty="0">
                          <a:solidFill>
                            <a:schemeClr val="bg1"/>
                          </a:solidFill>
                        </a:rPr>
                        <a:t>1</a:t>
                      </a:r>
                    </a:p>
                  </a:txBody>
                  <a:tcPr marL="68570" marR="6857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accent2"/>
                    </a:solidFill>
                  </a:tcPr>
                </a:tc>
                <a:tc>
                  <a:txBody>
                    <a:bodyPr/>
                    <a:lstStyle/>
                    <a:p>
                      <a:pPr marL="0" indent="0" algn="l">
                        <a:buFont typeface="Arial" panose="020B0604020202020204" pitchFamily="34" charset="0"/>
                        <a:buNone/>
                      </a:pPr>
                      <a:endParaRPr lang="en-US" sz="1200" b="0" dirty="0">
                        <a:solidFill>
                          <a:schemeClr val="tx1"/>
                        </a:solidFill>
                        <a:latin typeface="Segoe UI" panose="020B0502040204020203" pitchFamily="34" charset="0"/>
                        <a:cs typeface="Segoe UI" panose="020B0502040204020203" pitchFamily="34" charset="0"/>
                      </a:endParaRPr>
                    </a:p>
                  </a:txBody>
                  <a:tcPr marL="68570" marR="6857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tc>
                  <a:txBody>
                    <a:bodyPr/>
                    <a:lstStyle/>
                    <a:p>
                      <a:pPr algn="ctr"/>
                      <a:r>
                        <a:rPr lang="en-US" sz="1800" dirty="0">
                          <a:solidFill>
                            <a:schemeClr val="bg1"/>
                          </a:solidFill>
                        </a:rPr>
                        <a:t>2</a:t>
                      </a:r>
                    </a:p>
                  </a:txBody>
                  <a:tcPr marL="68570" marR="6857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accent2"/>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a:txBody>
                  <a:tcPr marL="68570" marR="6857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tc>
                  <a:txBody>
                    <a:bodyPr/>
                    <a:lstStyle/>
                    <a:p>
                      <a:pPr algn="ctr"/>
                      <a:r>
                        <a:rPr lang="en-US" sz="1800" dirty="0">
                          <a:solidFill>
                            <a:schemeClr val="bg1"/>
                          </a:solidFill>
                        </a:rPr>
                        <a:t>3</a:t>
                      </a:r>
                    </a:p>
                  </a:txBody>
                  <a:tcPr marL="68570" marR="6857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accent2"/>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a:txBody>
                  <a:tcPr marL="68570" marR="6857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02296024"/>
                  </a:ext>
                </a:extLst>
              </a:tr>
            </a:tbl>
          </a:graphicData>
        </a:graphic>
      </p:graphicFrame>
      <p:sp>
        <p:nvSpPr>
          <p:cNvPr id="4" name="Rectangle 3">
            <a:extLst>
              <a:ext uri="{FF2B5EF4-FFF2-40B4-BE49-F238E27FC236}">
                <a16:creationId xmlns:a16="http://schemas.microsoft.com/office/drawing/2014/main" id="{E0AD6D0A-0B93-4FDA-8794-74E05AF3986D}"/>
              </a:ext>
            </a:extLst>
          </p:cNvPr>
          <p:cNvSpPr/>
          <p:nvPr userDrawn="1"/>
        </p:nvSpPr>
        <p:spPr>
          <a:xfrm>
            <a:off x="4670373" y="2843719"/>
            <a:ext cx="4307306" cy="2266594"/>
          </a:xfrm>
          <a:prstGeom prst="rect">
            <a:avLst/>
          </a:prstGeom>
          <a:solidFill>
            <a:schemeClr val="bg1"/>
          </a:solidFill>
          <a:ln w="317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70" tIns="137141" rIns="68570" bIns="34285" numCol="1" spcCol="0" rtlCol="0" fromWordArt="0" anchor="t" anchorCtr="0" forceAA="0" compatLnSpc="1">
            <a:prstTxWarp prst="textNoShape">
              <a:avLst/>
            </a:prstTxWarp>
            <a:noAutofit/>
          </a:bodyPr>
          <a:lstStyle/>
          <a:p>
            <a:pPr marL="214271" indent="-214271">
              <a:buFont typeface="+mj-lt"/>
              <a:buAutoNum type="arabicPeriod"/>
            </a:pPr>
            <a:endParaRPr lang="en-US" sz="900" dirty="0">
              <a:solidFill>
                <a:schemeClr val="tx1"/>
              </a:solidFill>
              <a:latin typeface="Segoe UI" panose="020B0502040204020203" pitchFamily="34" charset="0"/>
              <a:cs typeface="Segoe UI" panose="020B0502040204020203" pitchFamily="34" charset="0"/>
            </a:endParaRPr>
          </a:p>
        </p:txBody>
      </p:sp>
      <p:sp>
        <p:nvSpPr>
          <p:cNvPr id="5" name="Rectangle 4">
            <a:extLst>
              <a:ext uri="{FF2B5EF4-FFF2-40B4-BE49-F238E27FC236}">
                <a16:creationId xmlns:a16="http://schemas.microsoft.com/office/drawing/2014/main" id="{AE569D99-EA10-4A5E-A210-0C0CFB1784DA}"/>
              </a:ext>
            </a:extLst>
          </p:cNvPr>
          <p:cNvSpPr/>
          <p:nvPr userDrawn="1"/>
        </p:nvSpPr>
        <p:spPr>
          <a:xfrm>
            <a:off x="169904" y="5453547"/>
            <a:ext cx="8798975" cy="1158475"/>
          </a:xfrm>
          <a:prstGeom prst="rect">
            <a:avLst/>
          </a:prstGeom>
          <a:solidFill>
            <a:schemeClr val="bg1"/>
          </a:solidFill>
          <a:ln w="317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70" tIns="137141" rIns="68570" bIns="34285" numCol="1" spcCol="0" rtlCol="0" fromWordArt="0" anchor="t" anchorCtr="0" forceAA="0" compatLnSpc="1">
            <a:prstTxWarp prst="textNoShape">
              <a:avLst/>
            </a:prstTxWarp>
            <a:noAutofit/>
          </a:bodyPr>
          <a:lstStyle/>
          <a:p>
            <a:pPr marL="214271" indent="-214271">
              <a:buFont typeface="+mj-lt"/>
              <a:buAutoNum type="arabicPeriod"/>
            </a:pPr>
            <a:endParaRPr lang="en-US" sz="900" dirty="0">
              <a:solidFill>
                <a:schemeClr val="tx1"/>
              </a:solidFill>
              <a:latin typeface="Segoe UI" panose="020B0502040204020203" pitchFamily="34" charset="0"/>
              <a:cs typeface="Segoe UI" panose="020B0502040204020203" pitchFamily="34" charset="0"/>
            </a:endParaRPr>
          </a:p>
        </p:txBody>
      </p:sp>
      <p:sp>
        <p:nvSpPr>
          <p:cNvPr id="6" name="Rectangle 5">
            <a:extLst>
              <a:ext uri="{FF2B5EF4-FFF2-40B4-BE49-F238E27FC236}">
                <a16:creationId xmlns:a16="http://schemas.microsoft.com/office/drawing/2014/main" id="{25343C9A-BA04-485B-85B2-7C39B7490E88}"/>
              </a:ext>
            </a:extLst>
          </p:cNvPr>
          <p:cNvSpPr/>
          <p:nvPr userDrawn="1"/>
        </p:nvSpPr>
        <p:spPr>
          <a:xfrm>
            <a:off x="169906" y="2843719"/>
            <a:ext cx="4307306" cy="2266594"/>
          </a:xfrm>
          <a:prstGeom prst="rect">
            <a:avLst/>
          </a:prstGeom>
          <a:solidFill>
            <a:schemeClr val="bg1"/>
          </a:solidFill>
          <a:ln w="317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tIns="137141" rtlCol="0" anchor="t"/>
          <a:lstStyle/>
          <a:p>
            <a:pPr marL="214271" indent="-214271">
              <a:buFont typeface="+mj-lt"/>
              <a:buAutoNum type="arabicPeriod"/>
            </a:pPr>
            <a:endParaRPr lang="en-US" sz="900" dirty="0">
              <a:solidFill>
                <a:schemeClr val="tx1"/>
              </a:solidFill>
              <a:latin typeface="Segoe UI" panose="020B0502040204020203" pitchFamily="34" charset="0"/>
              <a:cs typeface="Segoe UI" panose="020B0502040204020203" pitchFamily="34" charset="0"/>
            </a:endParaRPr>
          </a:p>
        </p:txBody>
      </p:sp>
      <p:sp>
        <p:nvSpPr>
          <p:cNvPr id="7" name="TextBox 6">
            <a:extLst>
              <a:ext uri="{FF2B5EF4-FFF2-40B4-BE49-F238E27FC236}">
                <a16:creationId xmlns:a16="http://schemas.microsoft.com/office/drawing/2014/main" id="{92028F83-BC57-46B6-AE4F-F363D917BFB5}"/>
              </a:ext>
            </a:extLst>
          </p:cNvPr>
          <p:cNvSpPr txBox="1"/>
          <p:nvPr userDrawn="1"/>
        </p:nvSpPr>
        <p:spPr>
          <a:xfrm>
            <a:off x="4669826" y="2707892"/>
            <a:ext cx="1568243" cy="271654"/>
          </a:xfrm>
          <a:prstGeom prst="rect">
            <a:avLst/>
          </a:prstGeom>
          <a:solidFill>
            <a:schemeClr val="bg1"/>
          </a:solidFill>
          <a:ln w="12700">
            <a:solidFill>
              <a:schemeClr val="tx1"/>
            </a:solidFill>
          </a:ln>
        </p:spPr>
        <p:txBody>
          <a:bodyPr wrap="square" lIns="68570" tIns="34285" rIns="68570" bIns="34285" rtlCol="0" anchor="ctr">
            <a:noAutofit/>
          </a:bodyPr>
          <a:lstStyle>
            <a:defPPr>
              <a:defRPr lang="en-US"/>
            </a:defPPr>
            <a:lvl1pPr>
              <a:defRPr sz="2400">
                <a:solidFill>
                  <a:srgbClr val="0078D7"/>
                </a:solidFill>
                <a:latin typeface="+mj-lt"/>
              </a:defRPr>
            </a:lvl1pPr>
          </a:lstStyle>
          <a:p>
            <a:pPr defTabSz="685669">
              <a:defRPr/>
            </a:pPr>
            <a:r>
              <a:rPr lang="en-US" sz="1050" b="1" dirty="0">
                <a:solidFill>
                  <a:schemeClr val="accent1"/>
                </a:solidFill>
                <a:latin typeface="Segoe UI Light"/>
              </a:rPr>
              <a:t>Actions to Take</a:t>
            </a:r>
          </a:p>
        </p:txBody>
      </p:sp>
      <p:sp>
        <p:nvSpPr>
          <p:cNvPr id="8" name="TextBox 7">
            <a:extLst>
              <a:ext uri="{FF2B5EF4-FFF2-40B4-BE49-F238E27FC236}">
                <a16:creationId xmlns:a16="http://schemas.microsoft.com/office/drawing/2014/main" id="{1B2D9789-D165-4BDB-A460-2343E7F13D54}"/>
              </a:ext>
            </a:extLst>
          </p:cNvPr>
          <p:cNvSpPr txBox="1"/>
          <p:nvPr userDrawn="1"/>
        </p:nvSpPr>
        <p:spPr>
          <a:xfrm>
            <a:off x="169906" y="5308480"/>
            <a:ext cx="1565352" cy="271654"/>
          </a:xfrm>
          <a:prstGeom prst="rect">
            <a:avLst/>
          </a:prstGeom>
          <a:solidFill>
            <a:schemeClr val="bg1"/>
          </a:solidFill>
          <a:ln w="12700">
            <a:solidFill>
              <a:schemeClr val="tx1"/>
            </a:solidFill>
          </a:ln>
        </p:spPr>
        <p:txBody>
          <a:bodyPr wrap="square" lIns="68570" tIns="34285" rIns="68570" bIns="34285" rtlCol="0" anchor="ctr">
            <a:noAutofit/>
          </a:bodyPr>
          <a:lstStyle>
            <a:defPPr>
              <a:defRPr lang="en-US"/>
            </a:defPPr>
            <a:lvl1pPr>
              <a:defRPr sz="2400">
                <a:solidFill>
                  <a:srgbClr val="0078D7"/>
                </a:solidFill>
                <a:latin typeface="+mj-lt"/>
              </a:defRPr>
            </a:lvl1pPr>
          </a:lstStyle>
          <a:p>
            <a:pPr defTabSz="685669">
              <a:defRPr/>
            </a:pPr>
            <a:r>
              <a:rPr lang="en-US" sz="1050" b="1" dirty="0">
                <a:solidFill>
                  <a:schemeClr val="accent1"/>
                </a:solidFill>
                <a:latin typeface="Segoe UI Light"/>
              </a:rPr>
              <a:t>Resources</a:t>
            </a:r>
          </a:p>
        </p:txBody>
      </p:sp>
      <p:sp>
        <p:nvSpPr>
          <p:cNvPr id="9" name="TextBox 8">
            <a:extLst>
              <a:ext uri="{FF2B5EF4-FFF2-40B4-BE49-F238E27FC236}">
                <a16:creationId xmlns:a16="http://schemas.microsoft.com/office/drawing/2014/main" id="{CCF24501-8757-48AA-B9DD-ED5BECE78DDC}"/>
              </a:ext>
            </a:extLst>
          </p:cNvPr>
          <p:cNvSpPr txBox="1"/>
          <p:nvPr userDrawn="1"/>
        </p:nvSpPr>
        <p:spPr>
          <a:xfrm>
            <a:off x="169906" y="2707892"/>
            <a:ext cx="1568243" cy="271654"/>
          </a:xfrm>
          <a:prstGeom prst="rect">
            <a:avLst/>
          </a:prstGeom>
          <a:solidFill>
            <a:schemeClr val="bg1"/>
          </a:solidFill>
          <a:ln w="12700">
            <a:solidFill>
              <a:schemeClr val="tx1"/>
            </a:solidFill>
          </a:ln>
        </p:spPr>
        <p:txBody>
          <a:bodyPr wrap="square" lIns="68570" tIns="34285" rIns="68570" bIns="34285" rtlCol="0" anchor="ctr">
            <a:noAutofit/>
          </a:bodyPr>
          <a:lstStyle>
            <a:defPPr>
              <a:defRPr lang="en-US"/>
            </a:defPPr>
            <a:lvl1pPr>
              <a:defRPr sz="2400">
                <a:solidFill>
                  <a:srgbClr val="0078D7"/>
                </a:solidFill>
                <a:latin typeface="+mj-lt"/>
              </a:defRPr>
            </a:lvl1pPr>
          </a:lstStyle>
          <a:p>
            <a:pPr defTabSz="685669">
              <a:defRPr/>
            </a:pPr>
            <a:r>
              <a:rPr lang="en-US" sz="1050" b="1" dirty="0">
                <a:solidFill>
                  <a:schemeClr val="accent1"/>
                </a:solidFill>
                <a:latin typeface="Segoe UI Light"/>
              </a:rPr>
              <a:t>Questions to Ask</a:t>
            </a:r>
          </a:p>
        </p:txBody>
      </p:sp>
      <p:sp>
        <p:nvSpPr>
          <p:cNvPr id="10" name="TextBox 9">
            <a:extLst>
              <a:ext uri="{FF2B5EF4-FFF2-40B4-BE49-F238E27FC236}">
                <a16:creationId xmlns:a16="http://schemas.microsoft.com/office/drawing/2014/main" id="{2A40F325-ADB0-41C7-9EF7-7E36EF2381D6}"/>
              </a:ext>
            </a:extLst>
          </p:cNvPr>
          <p:cNvSpPr txBox="1"/>
          <p:nvPr userDrawn="1"/>
        </p:nvSpPr>
        <p:spPr>
          <a:xfrm>
            <a:off x="169904" y="1456607"/>
            <a:ext cx="1568244" cy="271654"/>
          </a:xfrm>
          <a:prstGeom prst="rect">
            <a:avLst/>
          </a:prstGeom>
          <a:solidFill>
            <a:schemeClr val="bg1"/>
          </a:solidFill>
          <a:ln w="12700">
            <a:solidFill>
              <a:schemeClr val="tx1"/>
            </a:solidFill>
          </a:ln>
        </p:spPr>
        <p:txBody>
          <a:bodyPr wrap="square" lIns="68570" tIns="34285" rIns="68570" bIns="34285" rtlCol="0" anchor="ctr">
            <a:noAutofit/>
          </a:bodyPr>
          <a:lstStyle>
            <a:defPPr>
              <a:defRPr lang="en-US"/>
            </a:defPPr>
            <a:lvl1pPr>
              <a:defRPr sz="2400">
                <a:solidFill>
                  <a:srgbClr val="0078D7"/>
                </a:solidFill>
                <a:latin typeface="+mj-lt"/>
              </a:defRPr>
            </a:lvl1pPr>
          </a:lstStyle>
          <a:p>
            <a:pPr defTabSz="685669">
              <a:defRPr/>
            </a:pPr>
            <a:r>
              <a:rPr lang="en-US" sz="1050" b="1" dirty="0">
                <a:solidFill>
                  <a:schemeClr val="accent1"/>
                </a:solidFill>
                <a:latin typeface="Segoe UI Light"/>
              </a:rPr>
              <a:t>Goals</a:t>
            </a:r>
          </a:p>
        </p:txBody>
      </p:sp>
      <p:sp>
        <p:nvSpPr>
          <p:cNvPr id="11" name="Arrow: Down 10">
            <a:extLst>
              <a:ext uri="{FF2B5EF4-FFF2-40B4-BE49-F238E27FC236}">
                <a16:creationId xmlns:a16="http://schemas.microsoft.com/office/drawing/2014/main" id="{F67E61E6-AA38-485B-AE09-CD08BBD8FABF}"/>
              </a:ext>
            </a:extLst>
          </p:cNvPr>
          <p:cNvSpPr/>
          <p:nvPr userDrawn="1"/>
        </p:nvSpPr>
        <p:spPr bwMode="auto">
          <a:xfrm rot="16200000">
            <a:off x="2927137" y="1411179"/>
            <a:ext cx="470385" cy="2854139"/>
          </a:xfrm>
          <a:prstGeom prst="downArrow">
            <a:avLst>
              <a:gd name="adj1" fmla="val 31468"/>
              <a:gd name="adj2" fmla="val 37425"/>
            </a:avLst>
          </a:prstGeom>
          <a:gradFill flip="none" rotWithShape="1">
            <a:gsLst>
              <a:gs pos="0">
                <a:srgbClr val="0078D7">
                  <a:lumMod val="0"/>
                  <a:lumOff val="100000"/>
                  <a:alpha val="0"/>
                </a:srgbClr>
              </a:gs>
              <a:gs pos="100000">
                <a:srgbClr val="0078D7">
                  <a:lumMod val="45000"/>
                  <a:lumOff val="55000"/>
                </a:srgbClr>
              </a:gs>
              <a:gs pos="100000">
                <a:schemeClr val="accent6"/>
              </a:gs>
            </a:gsLst>
            <a:lin ang="5400000" scaled="1"/>
            <a:tileRect/>
          </a:gradFill>
          <a:ln>
            <a:noFill/>
          </a:ln>
          <a:effectLst/>
        </p:spPr>
        <p:txBody>
          <a:bodyPr rot="0" spcFirstLastPara="0" vertOverflow="overflow" horzOverflow="overflow" vert="horz" wrap="square" lIns="137141" tIns="109713" rIns="137141" bIns="109713" numCol="1" spcCol="0" rtlCol="0" fromWordArt="0" anchor="t" anchorCtr="0" forceAA="0" compatLnSpc="1">
            <a:prstTxWarp prst="textNoShape">
              <a:avLst/>
            </a:prstTxWarp>
            <a:noAutofit/>
          </a:bodyPr>
          <a:lstStyle/>
          <a:p>
            <a:pPr algn="ctr" defTabSz="699220" fontAlgn="base">
              <a:lnSpc>
                <a:spcPct val="90000"/>
              </a:lnSpc>
              <a:spcBef>
                <a:spcPct val="0"/>
              </a:spcBef>
              <a:spcAft>
                <a:spcPct val="0"/>
              </a:spcAft>
              <a:defRPr/>
            </a:pPr>
            <a:endParaRPr lang="en-US" sz="18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596914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29" y="2084187"/>
            <a:ext cx="7394337" cy="917880"/>
          </a:xfrm>
          <a:noFill/>
        </p:spPr>
        <p:txBody>
          <a:bodyPr tIns="91440" bIns="91440" anchor="t" anchorCtr="0">
            <a:spAutoFit/>
          </a:bodyPr>
          <a:lstStyle>
            <a:lvl1pPr>
              <a:defRPr sz="5294" spc="-74"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01930" y="3877277"/>
            <a:ext cx="7395506" cy="621324"/>
          </a:xfrm>
          <a:noFill/>
        </p:spPr>
        <p:txBody>
          <a:bodyPr lIns="182880" tIns="146304" rIns="182880" bIns="146304">
            <a:spAutoFit/>
          </a:bodyPr>
          <a:lstStyle>
            <a:lvl1pPr marL="0" indent="0">
              <a:spcBef>
                <a:spcPts val="0"/>
              </a:spcBef>
              <a:buNone/>
              <a:defRPr sz="2353"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425107658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0" y="2084187"/>
            <a:ext cx="7394337" cy="917880"/>
          </a:xfrm>
          <a:noFill/>
        </p:spPr>
        <p:txBody>
          <a:bodyPr tIns="91440" bIns="91440" anchor="t" anchorCtr="0">
            <a:spAutoFit/>
          </a:bodyPr>
          <a:lstStyle>
            <a:lvl1pPr>
              <a:defRPr lang="en-US" sz="5294" b="0" kern="1200" cap="none" spc="-74"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9536805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23216E-3091-410D-83D4-F3B694551529}"/>
              </a:ext>
            </a:extLst>
          </p:cNvPr>
          <p:cNvSpPr>
            <a:spLocks noGrp="1"/>
          </p:cNvSpPr>
          <p:nvPr>
            <p:ph type="title" hasCustomPrompt="1"/>
          </p:nvPr>
        </p:nvSpPr>
        <p:spPr/>
        <p:txBody>
          <a:bodyPr/>
          <a:lstStyle>
            <a:lvl1pPr>
              <a:defRPr/>
            </a:lvl1pPr>
          </a:lstStyle>
          <a:p>
            <a:r>
              <a:rPr lang="en-US" dirty="0"/>
              <a:t>Click to edit Code Title</a:t>
            </a:r>
          </a:p>
        </p:txBody>
      </p:sp>
      <p:sp>
        <p:nvSpPr>
          <p:cNvPr id="4" name="Text Placeholder 3">
            <a:extLst>
              <a:ext uri="{FF2B5EF4-FFF2-40B4-BE49-F238E27FC236}">
                <a16:creationId xmlns:a16="http://schemas.microsoft.com/office/drawing/2014/main" id="{8AA8E3D7-116C-400A-AC64-F86759F16B62}"/>
              </a:ext>
            </a:extLst>
          </p:cNvPr>
          <p:cNvSpPr>
            <a:spLocks noGrp="1"/>
          </p:cNvSpPr>
          <p:nvPr>
            <p:ph type="body" sz="quarter" idx="10" hasCustomPrompt="1"/>
          </p:nvPr>
        </p:nvSpPr>
        <p:spPr>
          <a:xfrm>
            <a:off x="93306" y="1055077"/>
            <a:ext cx="8929396" cy="5616311"/>
          </a:xfrm>
        </p:spPr>
        <p:txBody>
          <a:bodyPr/>
          <a:lstStyle>
            <a:lvl1pPr marL="0" indent="0">
              <a:buNone/>
              <a:defRPr sz="2400">
                <a:latin typeface="Consolas" panose="020B0609020204030204" pitchFamily="49" charset="0"/>
              </a:defRPr>
            </a:lvl1pPr>
            <a:lvl2pPr marL="288925" indent="0">
              <a:buNone/>
              <a:defRPr sz="2000">
                <a:latin typeface="Consolas" panose="020B0609020204030204" pitchFamily="49" charset="0"/>
              </a:defRPr>
            </a:lvl2pPr>
            <a:lvl3pPr marL="681037" indent="0">
              <a:buNone/>
              <a:defRPr sz="1800">
                <a:latin typeface="Consolas" panose="020B0609020204030204" pitchFamily="49" charset="0"/>
              </a:defRPr>
            </a:lvl3pPr>
            <a:lvl4pPr marL="1089025" indent="0">
              <a:buNone/>
              <a:defRPr sz="1600">
                <a:latin typeface="Consolas" panose="020B0609020204030204" pitchFamily="49" charset="0"/>
              </a:defRPr>
            </a:lvl4pPr>
            <a:lvl5pPr marL="1376363" indent="0">
              <a:buNone/>
              <a:defRPr sz="1600">
                <a:latin typeface="Consolas" panose="020B0609020204030204" pitchFamily="49" charset="0"/>
              </a:defRPr>
            </a:lvl5pPr>
          </a:lstStyle>
          <a:p>
            <a:pPr lvl="0"/>
            <a:r>
              <a:rPr lang="en-US" dirty="0"/>
              <a:t>Edit Cod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17181669"/>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0" y="2084173"/>
            <a:ext cx="8740142" cy="917880"/>
          </a:xfrm>
          <a:noFill/>
        </p:spPr>
        <p:txBody>
          <a:bodyPr tIns="91440" bIns="91440" anchor="t" anchorCtr="0">
            <a:spAutoFit/>
          </a:bodyPr>
          <a:lstStyle>
            <a:lvl1pPr>
              <a:defRPr sz="5294" spc="-74"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6216293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0" y="2084173"/>
            <a:ext cx="8740142" cy="917880"/>
          </a:xfrm>
          <a:noFill/>
        </p:spPr>
        <p:txBody>
          <a:bodyPr tIns="91440" bIns="91440" anchor="t" anchorCtr="0">
            <a:spAutoFit/>
          </a:bodyPr>
          <a:lstStyle>
            <a:lvl1pPr>
              <a:defRPr sz="5294" spc="-74"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1723496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0" y="2847879"/>
            <a:ext cx="3596905" cy="1162241"/>
          </a:xfrm>
        </p:spPr>
        <p:txBody>
          <a:bodyPr wrap="square" anchor="ctr">
            <a:spAutoFit/>
          </a:bodyPr>
          <a:lstStyle>
            <a:lvl1pPr>
              <a:defRPr sz="3529"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4000762" y="0"/>
            <a:ext cx="5143238" cy="6856100"/>
          </a:xfrm>
          <a:prstGeom prst="rect">
            <a:avLst/>
          </a:prstGeom>
          <a:blipFill>
            <a:blip r:embed="rId2"/>
            <a:stretch>
              <a:fillRect/>
            </a:stretch>
          </a:blipFill>
        </p:spPr>
        <p:txBody>
          <a:bodyPr tIns="548640" anchor="ctr" anchorCtr="0">
            <a:noAutofit/>
          </a:bodyPr>
          <a:lstStyle>
            <a:lvl1pPr marL="0" indent="0" algn="ctr">
              <a:buNone/>
              <a:defRPr sz="1176"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5997753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51083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4099249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Developer Code Layou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9144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2" tIns="34292" rIns="34292" bIns="34292" numCol="1" spcCol="0" rtlCol="0" fromWordArt="0" anchor="ctr" anchorCtr="0" forceAA="0" compatLnSpc="1">
            <a:prstTxWarp prst="textNoShape">
              <a:avLst/>
            </a:prstTxWarp>
            <a:noAutofit/>
          </a:bodyPr>
          <a:lstStyle/>
          <a:p>
            <a:pPr algn="ctr" defTabSz="685577" fontAlgn="base">
              <a:spcBef>
                <a:spcPct val="0"/>
              </a:spcBef>
              <a:spcAft>
                <a:spcPct val="0"/>
              </a:spcAft>
            </a:pPr>
            <a:endParaRPr lang="en-US" sz="1324"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01929" y="1197322"/>
            <a:ext cx="8740142" cy="1715791"/>
          </a:xfrm>
        </p:spPr>
        <p:txBody>
          <a:bodyPr/>
          <a:lstStyle>
            <a:lvl1pPr marL="0" indent="0">
              <a:buNone/>
              <a:defRPr sz="2426">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254795"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429818"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59888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772719"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0692747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01930" y="6099190"/>
            <a:ext cx="3361593" cy="350807"/>
          </a:xfrm>
          <a:prstGeom prst="rect">
            <a:avLst/>
          </a:prstGeom>
          <a:noFill/>
          <a:ln w="12700">
            <a:noFill/>
            <a:miter lim="800000"/>
            <a:headEnd type="none" w="sm" len="sm"/>
            <a:tailEnd type="none" w="sm" len="sm"/>
          </a:ln>
          <a:effectLst/>
        </p:spPr>
        <p:txBody>
          <a:bodyPr vert="horz" wrap="square" lIns="134464" tIns="134464" rIns="134464" bIns="134464" numCol="1" anchor="t" anchorCtr="0" compatLnSpc="1">
            <a:prstTxWarp prst="textNoShape">
              <a:avLst/>
            </a:prstTxWarp>
            <a:spAutoFit/>
          </a:bodyPr>
          <a:lstStyle/>
          <a:p>
            <a:pPr defTabSz="685443" eaLnBrk="0" hangingPunct="0"/>
            <a:r>
              <a:rPr lang="en-US" sz="515"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338725" y="470067"/>
            <a:ext cx="1067477" cy="304828"/>
          </a:xfrm>
          <a:prstGeom prst="rect">
            <a:avLst/>
          </a:prstGeom>
        </p:spPr>
      </p:pic>
    </p:spTree>
    <p:extLst>
      <p:ext uri="{BB962C8B-B14F-4D97-AF65-F5344CB8AC3E}">
        <p14:creationId xmlns:p14="http://schemas.microsoft.com/office/powerpoint/2010/main" val="73034088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01930" y="1189178"/>
            <a:ext cx="8740142" cy="1845826"/>
          </a:xfrm>
          <a:prstGeom prst="rect">
            <a:avLst/>
          </a:prstGeom>
        </p:spPr>
        <p:txBody>
          <a:bodyPr/>
          <a:lstStyle>
            <a:lvl1pPr marL="213593" indent="-213593">
              <a:buClr>
                <a:schemeClr val="tx1"/>
              </a:buClr>
              <a:buSzPct val="90000"/>
              <a:buFont typeface="Arial" pitchFamily="34" charset="0"/>
              <a:buChar char="•"/>
              <a:defRPr sz="264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420181" indent="-206590">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633773" indent="-213593">
              <a:buClr>
                <a:schemeClr val="tx1"/>
              </a:buClr>
              <a:buSzPct val="90000"/>
              <a:buFont typeface="Arial" pitchFamily="34" charset="0"/>
              <a:buChar char="•"/>
              <a:defRPr sz="2059">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801846" indent="-168073">
              <a:buClr>
                <a:schemeClr val="tx1"/>
              </a:buClr>
              <a:buSzPct val="90000"/>
              <a:buFont typeface="Arial" pitchFamily="34" charset="0"/>
              <a:buChar char="•"/>
              <a:defRPr sz="1765">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969919" indent="-168073">
              <a:buClr>
                <a:schemeClr val="tx1"/>
              </a:buClr>
              <a:buSzPct val="90000"/>
              <a:buFont typeface="Arial" pitchFamily="34" charset="0"/>
              <a:buChar char="•"/>
              <a:defRPr sz="147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7"/>
            <a:ext cx="9144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2720" spc="-3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178539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Walkin Microsoft Ready - Editable">
    <p:bg>
      <p:bgPr>
        <a:solidFill>
          <a:schemeClr val="accent1"/>
        </a:solidFill>
        <a:effectLst/>
      </p:bgPr>
    </p:bg>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2214E044-D81A-4BC8-8B44-D5B6E72EA6F5}"/>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3355092" y="0"/>
            <a:ext cx="5788909" cy="6862028"/>
          </a:xfrm>
          <a:prstGeom prst="rect">
            <a:avLst/>
          </a:prstGeom>
        </p:spPr>
      </p:pic>
      <p:sp>
        <p:nvSpPr>
          <p:cNvPr id="8" name="Rectangle 7">
            <a:extLst>
              <a:ext uri="{FF2B5EF4-FFF2-40B4-BE49-F238E27FC236}">
                <a16:creationId xmlns:a16="http://schemas.microsoft.com/office/drawing/2014/main" id="{CA6A04B4-1456-490B-8B52-A08A4AF91494}"/>
              </a:ext>
            </a:extLst>
          </p:cNvPr>
          <p:cNvSpPr/>
          <p:nvPr userDrawn="1"/>
        </p:nvSpPr>
        <p:spPr bwMode="auto">
          <a:xfrm>
            <a:off x="0" y="-13453"/>
            <a:ext cx="3429070" cy="687145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pPr>
            <a:endParaRPr lang="en-US" sz="1765" dirty="0" err="1">
              <a:gradFill>
                <a:gsLst>
                  <a:gs pos="0">
                    <a:srgbClr val="FFFFFF"/>
                  </a:gs>
                  <a:gs pos="100000">
                    <a:srgbClr val="FFFFFF"/>
                  </a:gs>
                </a:gsLst>
                <a:lin ang="5400000" scaled="0"/>
              </a:gradFill>
              <a:ea typeface="Segoe UI" pitchFamily="34" charset="0"/>
              <a:cs typeface="Segoe UI" pitchFamily="34" charset="0"/>
            </a:endParaRPr>
          </a:p>
        </p:txBody>
      </p:sp>
      <p:pic>
        <p:nvPicPr>
          <p:cNvPr id="6" name="MS logo white - EMF"/>
          <p:cNvPicPr>
            <a:picLocks noChangeAspect="1"/>
          </p:cNvPicPr>
          <p:nvPr userDrawn="1"/>
        </p:nvPicPr>
        <p:blipFill>
          <a:blip r:embed="rId3"/>
          <a:stretch>
            <a:fillRect/>
          </a:stretch>
        </p:blipFill>
        <p:spPr bwMode="white">
          <a:xfrm>
            <a:off x="338725" y="470067"/>
            <a:ext cx="1067477" cy="304828"/>
          </a:xfrm>
          <a:prstGeom prst="rect">
            <a:avLst/>
          </a:prstGeom>
        </p:spPr>
      </p:pic>
      <p:sp>
        <p:nvSpPr>
          <p:cNvPr id="7" name="TextBox 6"/>
          <p:cNvSpPr txBox="1"/>
          <p:nvPr userDrawn="1"/>
        </p:nvSpPr>
        <p:spPr bwMode="white">
          <a:xfrm>
            <a:off x="201930" y="5588534"/>
            <a:ext cx="2353136" cy="1246243"/>
          </a:xfrm>
          <a:prstGeom prst="rect">
            <a:avLst/>
          </a:prstGeom>
          <a:noFill/>
        </p:spPr>
        <p:txBody>
          <a:bodyPr wrap="square" lIns="134464" tIns="107571" rIns="134464" bIns="107571" rtlCol="0">
            <a:spAutoFit/>
          </a:bodyPr>
          <a:lstStyle/>
          <a:p>
            <a:pPr>
              <a:lnSpc>
                <a:spcPct val="90000"/>
              </a:lnSpc>
              <a:spcAft>
                <a:spcPts val="441"/>
              </a:spcAft>
            </a:pPr>
            <a:r>
              <a:rPr lang="en-US" sz="1765" dirty="0">
                <a:gradFill>
                  <a:gsLst>
                    <a:gs pos="2917">
                      <a:schemeClr val="tx1"/>
                    </a:gs>
                    <a:gs pos="30000">
                      <a:schemeClr val="tx1"/>
                    </a:gs>
                  </a:gsLst>
                  <a:lin ang="5400000" scaled="0"/>
                </a:gradFill>
              </a:rPr>
              <a:t>Las Vegas, Nevada</a:t>
            </a:r>
          </a:p>
          <a:p>
            <a:pPr>
              <a:lnSpc>
                <a:spcPct val="90000"/>
              </a:lnSpc>
              <a:spcAft>
                <a:spcPts val="441"/>
              </a:spcAft>
            </a:pPr>
            <a:r>
              <a:rPr lang="en-US" sz="1765" dirty="0">
                <a:gradFill>
                  <a:gsLst>
                    <a:gs pos="2917">
                      <a:schemeClr val="tx1"/>
                    </a:gs>
                    <a:gs pos="30000">
                      <a:schemeClr val="tx1"/>
                    </a:gs>
                  </a:gsLst>
                  <a:lin ang="5400000" scaled="0"/>
                </a:gradFill>
              </a:rPr>
              <a:t>October 23–26, 2017</a:t>
            </a:r>
          </a:p>
        </p:txBody>
      </p:sp>
      <p:sp>
        <p:nvSpPr>
          <p:cNvPr id="2" name="TextBox 1">
            <a:extLst>
              <a:ext uri="{FF2B5EF4-FFF2-40B4-BE49-F238E27FC236}">
                <a16:creationId xmlns:a16="http://schemas.microsoft.com/office/drawing/2014/main" id="{056C9DEE-6F0F-4952-B2B1-A47AFA7F3DE1}"/>
              </a:ext>
            </a:extLst>
          </p:cNvPr>
          <p:cNvSpPr txBox="1"/>
          <p:nvPr userDrawn="1"/>
        </p:nvSpPr>
        <p:spPr bwMode="white">
          <a:xfrm>
            <a:off x="201929" y="1707465"/>
            <a:ext cx="3153162" cy="1683606"/>
          </a:xfrm>
          <a:prstGeom prst="rect">
            <a:avLst/>
          </a:prstGeom>
          <a:noFill/>
        </p:spPr>
        <p:txBody>
          <a:bodyPr wrap="square" lIns="134464" tIns="107571" rIns="134464" bIns="107571" rtlCol="0">
            <a:spAutoFit/>
          </a:bodyPr>
          <a:lstStyle/>
          <a:p>
            <a:pPr>
              <a:lnSpc>
                <a:spcPct val="90000"/>
              </a:lnSpc>
              <a:spcBef>
                <a:spcPts val="1324"/>
              </a:spcBef>
              <a:spcAft>
                <a:spcPts val="441"/>
              </a:spcAft>
            </a:pPr>
            <a:r>
              <a:rPr lang="en-US" sz="3529" dirty="0">
                <a:gradFill>
                  <a:gsLst>
                    <a:gs pos="2917">
                      <a:schemeClr val="tx1"/>
                    </a:gs>
                    <a:gs pos="30000">
                      <a:schemeClr val="tx1"/>
                    </a:gs>
                  </a:gsLst>
                  <a:lin ang="5400000" scaled="0"/>
                </a:gradFill>
                <a:latin typeface="+mj-lt"/>
              </a:rPr>
              <a:t>Digital</a:t>
            </a:r>
            <a:br>
              <a:rPr lang="en-US" sz="3529" dirty="0">
                <a:gradFill>
                  <a:gsLst>
                    <a:gs pos="2917">
                      <a:schemeClr val="tx1"/>
                    </a:gs>
                    <a:gs pos="30000">
                      <a:schemeClr val="tx1"/>
                    </a:gs>
                  </a:gsLst>
                  <a:lin ang="5400000" scaled="0"/>
                </a:gradFill>
                <a:latin typeface="+mj-lt"/>
              </a:rPr>
            </a:br>
            <a:r>
              <a:rPr lang="en-US" sz="3529" dirty="0">
                <a:gradFill>
                  <a:gsLst>
                    <a:gs pos="2917">
                      <a:schemeClr val="tx1"/>
                    </a:gs>
                    <a:gs pos="30000">
                      <a:schemeClr val="tx1"/>
                    </a:gs>
                  </a:gsLst>
                  <a:lin ang="5400000" scaled="0"/>
                </a:gradFill>
                <a:latin typeface="+mj-lt"/>
              </a:rPr>
              <a:t>Transformation</a:t>
            </a:r>
            <a:br>
              <a:rPr lang="en-US" sz="3529" dirty="0">
                <a:gradFill>
                  <a:gsLst>
                    <a:gs pos="2917">
                      <a:schemeClr val="tx1"/>
                    </a:gs>
                    <a:gs pos="30000">
                      <a:schemeClr val="tx1"/>
                    </a:gs>
                  </a:gsLst>
                  <a:lin ang="5400000" scaled="0"/>
                </a:gradFill>
                <a:latin typeface="+mj-lt"/>
              </a:rPr>
            </a:br>
            <a:r>
              <a:rPr lang="en-US" sz="3529" dirty="0">
                <a:gradFill>
                  <a:gsLst>
                    <a:gs pos="2917">
                      <a:schemeClr val="tx1"/>
                    </a:gs>
                    <a:gs pos="30000">
                      <a:schemeClr val="tx1"/>
                    </a:gs>
                  </a:gsLst>
                  <a:lin ang="5400000" scaled="0"/>
                </a:gradFill>
                <a:latin typeface="+mj-lt"/>
              </a:rPr>
              <a:t>Academy</a:t>
            </a:r>
          </a:p>
        </p:txBody>
      </p:sp>
    </p:spTree>
    <p:extLst>
      <p:ext uri="{BB962C8B-B14F-4D97-AF65-F5344CB8AC3E}">
        <p14:creationId xmlns:p14="http://schemas.microsoft.com/office/powerpoint/2010/main" val="328507276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01977" y="2084187"/>
            <a:ext cx="6723139" cy="1793090"/>
          </a:xfrm>
          <a:noFill/>
        </p:spPr>
        <p:txBody>
          <a:bodyPr lIns="146304" tIns="91440" rIns="146304" bIns="91440" anchor="t" anchorCtr="0"/>
          <a:lstStyle>
            <a:lvl1pPr>
              <a:defRPr sz="3971" spc="-74"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01976" y="3878574"/>
            <a:ext cx="5378503" cy="1792326"/>
          </a:xfrm>
          <a:noFill/>
        </p:spPr>
        <p:txBody>
          <a:bodyPr lIns="164592" tIns="109728" rIns="164592" bIns="109728">
            <a:noAutofit/>
          </a:bodyPr>
          <a:lstStyle>
            <a:lvl1pPr marL="0" indent="0">
              <a:spcBef>
                <a:spcPts val="0"/>
              </a:spcBef>
              <a:buNone/>
              <a:defRPr sz="2353"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6" name="MS logo white - EMF"/>
          <p:cNvPicPr>
            <a:picLocks noChangeAspect="1"/>
          </p:cNvPicPr>
          <p:nvPr userDrawn="1"/>
        </p:nvPicPr>
        <p:blipFill>
          <a:blip r:embed="rId2"/>
          <a:stretch>
            <a:fillRect/>
          </a:stretch>
        </p:blipFill>
        <p:spPr bwMode="black">
          <a:xfrm>
            <a:off x="338725" y="470067"/>
            <a:ext cx="1067477" cy="304828"/>
          </a:xfrm>
          <a:prstGeom prst="rect">
            <a:avLst/>
          </a:prstGeom>
        </p:spPr>
      </p:pic>
      <p:sp>
        <p:nvSpPr>
          <p:cNvPr id="7" name="Text Placeholder 16"/>
          <p:cNvSpPr>
            <a:spLocks noGrp="1"/>
          </p:cNvSpPr>
          <p:nvPr>
            <p:ph type="body" sz="quarter" idx="13" hasCustomPrompt="1"/>
          </p:nvPr>
        </p:nvSpPr>
        <p:spPr>
          <a:xfrm>
            <a:off x="6254758" y="288561"/>
            <a:ext cx="2689274" cy="499176"/>
          </a:xfrm>
        </p:spPr>
        <p:txBody>
          <a:bodyPr lIns="182880" tIns="146304" rIns="182880" bIns="146304"/>
          <a:lstStyle>
            <a:lvl1pPr marL="0" indent="0" algn="r">
              <a:buNone/>
              <a:defRPr sz="1471">
                <a:latin typeface="+mn-lt"/>
              </a:defRPr>
            </a:lvl1pPr>
            <a:lvl2pPr marL="252109" indent="0">
              <a:buNone/>
              <a:defRPr sz="1471"/>
            </a:lvl2pPr>
            <a:lvl3pPr marL="420181" indent="0">
              <a:buNone/>
              <a:defRPr sz="1471"/>
            </a:lvl3pPr>
            <a:lvl4pPr marL="588254" indent="0">
              <a:buNone/>
              <a:defRPr sz="1471"/>
            </a:lvl4pPr>
            <a:lvl5pPr marL="756326" indent="0">
              <a:buNone/>
              <a:defRPr sz="1471"/>
            </a:lvl5pPr>
          </a:lstStyle>
          <a:p>
            <a:pPr lvl="0"/>
            <a:r>
              <a:rPr lang="en-US" dirty="0"/>
              <a:t>Session Code</a:t>
            </a:r>
          </a:p>
        </p:txBody>
      </p:sp>
    </p:spTree>
    <p:extLst>
      <p:ext uri="{BB962C8B-B14F-4D97-AF65-F5344CB8AC3E}">
        <p14:creationId xmlns:p14="http://schemas.microsoft.com/office/powerpoint/2010/main" val="46858985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7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950"/>
                                        <p:tgtEl>
                                          <p:spTgt spid="7"/>
                                        </p:tgtEl>
                                      </p:cBhvr>
                                    </p:animEffect>
                                  </p:childTnLst>
                                </p:cTn>
                              </p:par>
                              <p:par>
                                <p:cTn id="8" presetID="63" presetClass="path" presetSubtype="0" decel="100000" fill="hold" grpId="1" nodeType="withEffect">
                                  <p:stCondLst>
                                    <p:cond delay="700"/>
                                  </p:stCondLst>
                                  <p:childTnLst>
                                    <p:animMotion origin="layout" path="M -0.01455 2.13345E-6 L 1.62369E-6 2.13345E-6 " pathEditMode="relative" rAng="0" ptsTypes="AA">
                                      <p:cBhvr>
                                        <p:cTn id="9" dur="950" fill="hold"/>
                                        <p:tgtEl>
                                          <p:spTgt spid="7"/>
                                        </p:tgtEl>
                                        <p:attrNameLst>
                                          <p:attrName>ppt_x</p:attrName>
                                          <p:attrName>ppt_y</p:attrName>
                                        </p:attrNameLst>
                                      </p:cBhvr>
                                      <p:rCtr x="728" y="0"/>
                                    </p:animMotion>
                                  </p:childTnLst>
                                </p:cTn>
                              </p:par>
                              <p:par>
                                <p:cTn id="10" presetID="6" presetClass="emph" presetSubtype="0" accel="100000" autoRev="1" fill="hold" grpId="2" nodeType="withEffect">
                                  <p:stCondLst>
                                    <p:cond delay="0"/>
                                  </p:stCondLst>
                                  <p:childTnLst>
                                    <p:animScale>
                                      <p:cBhvr>
                                        <p:cTn id="11" dur="500" fill="hold"/>
                                        <p:tgtEl>
                                          <p:spTgt spid="7"/>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tmplLst>
          <p:tmpl>
            <p:tnLst>
              <p:par>
                <p:cTn presetID="10" presetClass="entr" presetSubtype="0" fill="hold" nodeType="withEffect">
                  <p:stCondLst>
                    <p:cond delay="700"/>
                  </p:stCondLst>
                  <p:childTnLst>
                    <p:set>
                      <p:cBhvr>
                        <p:cTn dur="1" fill="hold">
                          <p:stCondLst>
                            <p:cond delay="0"/>
                          </p:stCondLst>
                        </p:cTn>
                        <p:tgtEl>
                          <p:spTgt spid="7"/>
                        </p:tgtEl>
                        <p:attrNameLst>
                          <p:attrName>style.visibility</p:attrName>
                        </p:attrNameLst>
                      </p:cBhvr>
                      <p:to>
                        <p:strVal val="visible"/>
                      </p:to>
                    </p:set>
                    <p:animEffect transition="in" filter="fade">
                      <p:cBhvr>
                        <p:cTn dur="950"/>
                        <p:tgtEl>
                          <p:spTgt spid="7"/>
                        </p:tgtEl>
                      </p:cBhvr>
                    </p:animEffect>
                  </p:childTnLst>
                </p:cTn>
              </p:par>
            </p:tnLst>
          </p:tmpl>
        </p:tmplLst>
      </p:bldP>
      <p:bldP spid="7" grpId="1"/>
      <p:bldP spid="7" grpId="2"/>
    </p:bld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01930" y="1189178"/>
            <a:ext cx="8740142" cy="4801075"/>
          </a:xfrm>
          <a:prstGeom prst="rect">
            <a:avLst/>
          </a:prstGeom>
        </p:spPr>
        <p:txBody>
          <a:bodyPr/>
          <a:lstStyle>
            <a:lvl1pPr marL="213593" indent="-213593">
              <a:buClr>
                <a:schemeClr val="tx1"/>
              </a:buClr>
              <a:buSzPct val="90000"/>
              <a:buFont typeface="Arial" pitchFamily="34" charset="0"/>
              <a:buChar char="•"/>
              <a:defRPr sz="264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420181" indent="-206590">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633773" indent="-213593">
              <a:buClr>
                <a:schemeClr val="tx1"/>
              </a:buClr>
              <a:buSzPct val="90000"/>
              <a:buFont typeface="Arial" pitchFamily="34" charset="0"/>
              <a:buChar char="•"/>
              <a:defRPr sz="2059">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801846" indent="-168073">
              <a:buClr>
                <a:schemeClr val="tx1"/>
              </a:buClr>
              <a:buSzPct val="90000"/>
              <a:buFont typeface="Arial" pitchFamily="34" charset="0"/>
              <a:buChar char="•"/>
              <a:defRPr sz="1765">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969919" indent="-168073">
              <a:buClr>
                <a:schemeClr val="tx1"/>
              </a:buClr>
              <a:buSzPct val="90000"/>
              <a:buFont typeface="Arial" pitchFamily="34" charset="0"/>
              <a:buChar char="•"/>
              <a:defRPr sz="147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7"/>
            <a:ext cx="9144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2720" spc="-3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hasCustomPrompt="1"/>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Title</a:t>
            </a:r>
          </a:p>
        </p:txBody>
      </p:sp>
    </p:spTree>
    <p:extLst>
      <p:ext uri="{BB962C8B-B14F-4D97-AF65-F5344CB8AC3E}">
        <p14:creationId xmlns:p14="http://schemas.microsoft.com/office/powerpoint/2010/main" val="11963743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0" y="1189177"/>
            <a:ext cx="8741309" cy="1746440"/>
          </a:xfrm>
        </p:spPr>
        <p:txBody>
          <a:bodyPr>
            <a:spAutoFit/>
          </a:bodyPr>
          <a:lstStyle>
            <a:lvl1pPr marL="0" indent="0">
              <a:buNone/>
              <a:defRPr/>
            </a:lvl1pPr>
            <a:lvl2pPr marL="168073" indent="0">
              <a:buNone/>
              <a:defRPr/>
            </a:lvl2pPr>
            <a:lvl3pPr marL="336145" indent="0">
              <a:buNone/>
              <a:defRPr/>
            </a:lvl3pPr>
            <a:lvl4pPr marL="504218"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884799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01977" y="1187645"/>
            <a:ext cx="8741309" cy="174644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610207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1" y="1187644"/>
            <a:ext cx="4033911" cy="1610697"/>
          </a:xfrm>
        </p:spPr>
        <p:txBody>
          <a:bodyPr wrap="square">
            <a:spAutoFit/>
          </a:bodyPr>
          <a:lstStyle>
            <a:lvl1pPr marL="0" indent="0">
              <a:spcBef>
                <a:spcPts val="900"/>
              </a:spcBef>
              <a:buClr>
                <a:schemeClr val="tx1"/>
              </a:buClr>
              <a:buFont typeface="Wingdings" panose="05000000000000000000" pitchFamily="2" charset="2"/>
              <a:buNone/>
              <a:defRPr sz="2206" b="0">
                <a:latin typeface="+mn-lt"/>
              </a:defRPr>
            </a:lvl1pPr>
            <a:lvl2pPr marL="187915" indent="0">
              <a:buFont typeface="Wingdings" panose="05000000000000000000" pitchFamily="2" charset="2"/>
              <a:buNone/>
              <a:defRPr sz="1765" b="0"/>
            </a:lvl2pPr>
            <a:lvl3pPr marL="331476" indent="0">
              <a:buFont typeface="Wingdings" panose="05000000000000000000" pitchFamily="2" charset="2"/>
              <a:buNone/>
              <a:tabLst/>
              <a:defRPr sz="1618" b="0"/>
            </a:lvl3pPr>
            <a:lvl4pPr marL="479706" indent="0">
              <a:buFont typeface="Wingdings" panose="05000000000000000000" pitchFamily="2" charset="2"/>
              <a:buNone/>
              <a:defRPr sz="1618" b="0"/>
            </a:lvl4pPr>
            <a:lvl5pPr marL="627938" indent="0">
              <a:buFont typeface="Wingdings" panose="05000000000000000000" pitchFamily="2" charset="2"/>
              <a:buNone/>
              <a:tabLst/>
              <a:defRPr sz="161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4908161" y="1187644"/>
            <a:ext cx="4033911" cy="1868588"/>
          </a:xfrm>
        </p:spPr>
        <p:txBody>
          <a:bodyPr wrap="square">
            <a:spAutoFit/>
          </a:bodyPr>
          <a:lstStyle>
            <a:lvl1pPr marL="0" indent="0">
              <a:spcBef>
                <a:spcPts val="900"/>
              </a:spcBef>
              <a:buClr>
                <a:schemeClr val="tx1"/>
              </a:buClr>
              <a:buFont typeface="Arial" panose="020B0604020202020204" pitchFamily="34" charset="0"/>
              <a:buNone/>
              <a:defRPr lang="en-US" sz="2206" b="0" kern="1200" spc="0" baseline="0" dirty="0">
                <a:gradFill>
                  <a:gsLst>
                    <a:gs pos="1250">
                      <a:schemeClr val="tx1"/>
                    </a:gs>
                    <a:gs pos="100000">
                      <a:schemeClr val="tx1"/>
                    </a:gs>
                  </a:gsLst>
                  <a:lin ang="5400000" scaled="0"/>
                </a:gradFill>
                <a:latin typeface="+mn-lt"/>
                <a:ea typeface="+mn-ea"/>
                <a:cs typeface="+mn-cs"/>
              </a:defRPr>
            </a:lvl1pPr>
            <a:lvl2pPr marL="187915" indent="0">
              <a:buFont typeface="Arial" panose="020B0604020202020204" pitchFamily="34" charset="0"/>
              <a:buNone/>
              <a:defRPr lang="en-US" sz="1765" b="0" kern="1200" spc="0" baseline="0" dirty="0">
                <a:gradFill>
                  <a:gsLst>
                    <a:gs pos="1250">
                      <a:schemeClr val="tx1"/>
                    </a:gs>
                    <a:gs pos="100000">
                      <a:schemeClr val="tx1"/>
                    </a:gs>
                  </a:gsLst>
                  <a:lin ang="5400000" scaled="0"/>
                </a:gradFill>
                <a:latin typeface="+mn-lt"/>
                <a:ea typeface="+mn-ea"/>
                <a:cs typeface="+mn-cs"/>
              </a:defRPr>
            </a:lvl2pPr>
            <a:lvl3pPr marL="331476" indent="0">
              <a:buFont typeface="Arial" panose="020B0604020202020204" pitchFamily="34" charset="0"/>
              <a:buNone/>
              <a:tabLst/>
              <a:defRPr lang="en-US" sz="1618" b="0" kern="1200" spc="0" baseline="0" dirty="0">
                <a:gradFill>
                  <a:gsLst>
                    <a:gs pos="1250">
                      <a:schemeClr val="tx1"/>
                    </a:gs>
                    <a:gs pos="100000">
                      <a:schemeClr val="tx1"/>
                    </a:gs>
                  </a:gsLst>
                  <a:lin ang="5400000" scaled="0"/>
                </a:gradFill>
                <a:latin typeface="+mn-lt"/>
                <a:ea typeface="+mn-ea"/>
                <a:cs typeface="+mn-cs"/>
              </a:defRPr>
            </a:lvl3pPr>
            <a:lvl4pPr marL="479706" indent="0">
              <a:buFont typeface="Arial" panose="020B0604020202020204" pitchFamily="34" charset="0"/>
              <a:buNone/>
              <a:defRPr lang="en-US" sz="1618" b="0" kern="1200" spc="0" baseline="0" dirty="0">
                <a:gradFill>
                  <a:gsLst>
                    <a:gs pos="1250">
                      <a:schemeClr val="tx1"/>
                    </a:gs>
                    <a:gs pos="100000">
                      <a:schemeClr val="tx1"/>
                    </a:gs>
                  </a:gsLst>
                  <a:lin ang="5400000" scaled="0"/>
                </a:gradFill>
                <a:latin typeface="+mn-lt"/>
                <a:ea typeface="+mn-ea"/>
                <a:cs typeface="+mn-cs"/>
              </a:defRPr>
            </a:lvl4pPr>
            <a:lvl5pPr marL="627938" indent="0">
              <a:buFont typeface="Arial" panose="020B0604020202020204" pitchFamily="34" charset="0"/>
              <a:buNone/>
              <a:tabLst/>
              <a:defRPr lang="en-US" sz="1618" b="0" kern="1200" spc="0" baseline="0" dirty="0">
                <a:gradFill>
                  <a:gsLst>
                    <a:gs pos="1250">
                      <a:schemeClr val="tx1"/>
                    </a:gs>
                    <a:gs pos="100000">
                      <a:schemeClr val="tx1"/>
                    </a:gs>
                  </a:gsLst>
                  <a:lin ang="5400000" scaled="0"/>
                </a:gradFill>
                <a:latin typeface="+mn-lt"/>
                <a:ea typeface="+mn-ea"/>
                <a:cs typeface="+mn-cs"/>
              </a:defRPr>
            </a:lvl5pPr>
          </a:lstStyle>
          <a:p>
            <a:pPr marL="378163" marR="0" lvl="0" indent="-378163" algn="l" defTabSz="685775" rtl="0" eaLnBrk="1" fontAlgn="auto" latinLnBrk="0" hangingPunct="1">
              <a:lnSpc>
                <a:spcPct val="90000"/>
              </a:lnSpc>
              <a:spcBef>
                <a:spcPts val="900"/>
              </a:spcBef>
              <a:spcAft>
                <a:spcPts val="0"/>
              </a:spcAft>
              <a:buClr>
                <a:schemeClr val="tx1"/>
              </a:buClr>
              <a:buSzPct val="90000"/>
              <a:tabLst/>
            </a:pPr>
            <a:r>
              <a:rPr lang="en-US"/>
              <a:t>Edit Master text styles</a:t>
            </a:r>
          </a:p>
          <a:p>
            <a:pPr marL="378163" marR="0" lvl="1" indent="-378163" algn="l" defTabSz="685775" rtl="0" eaLnBrk="1" fontAlgn="auto" latinLnBrk="0" hangingPunct="1">
              <a:lnSpc>
                <a:spcPct val="90000"/>
              </a:lnSpc>
              <a:spcBef>
                <a:spcPts val="900"/>
              </a:spcBef>
              <a:spcAft>
                <a:spcPts val="0"/>
              </a:spcAft>
              <a:buClr>
                <a:schemeClr val="tx1"/>
              </a:buClr>
              <a:buSzPct val="90000"/>
              <a:tabLst/>
            </a:pPr>
            <a:r>
              <a:rPr lang="en-US"/>
              <a:t>Second level</a:t>
            </a:r>
          </a:p>
          <a:p>
            <a:pPr marL="378163" marR="0" lvl="2" indent="-378163" algn="l" defTabSz="685775" rtl="0" eaLnBrk="1" fontAlgn="auto" latinLnBrk="0" hangingPunct="1">
              <a:lnSpc>
                <a:spcPct val="90000"/>
              </a:lnSpc>
              <a:spcBef>
                <a:spcPts val="900"/>
              </a:spcBef>
              <a:spcAft>
                <a:spcPts val="0"/>
              </a:spcAft>
              <a:buClr>
                <a:schemeClr val="tx1"/>
              </a:buClr>
              <a:buSzPct val="90000"/>
              <a:tabLst/>
            </a:pPr>
            <a:r>
              <a:rPr lang="en-US"/>
              <a:t>Third level</a:t>
            </a:r>
          </a:p>
          <a:p>
            <a:pPr marL="378163" marR="0" lvl="3" indent="-378163" algn="l" defTabSz="685775" rtl="0" eaLnBrk="1" fontAlgn="auto" latinLnBrk="0" hangingPunct="1">
              <a:lnSpc>
                <a:spcPct val="90000"/>
              </a:lnSpc>
              <a:spcBef>
                <a:spcPts val="900"/>
              </a:spcBef>
              <a:spcAft>
                <a:spcPts val="0"/>
              </a:spcAft>
              <a:buClr>
                <a:schemeClr val="tx1"/>
              </a:buClr>
              <a:buSzPct val="90000"/>
              <a:tabLst/>
            </a:pPr>
            <a:r>
              <a:rPr lang="en-US"/>
              <a:t>Fourth level</a:t>
            </a:r>
          </a:p>
          <a:p>
            <a:pPr marL="378163" marR="0" lvl="4" indent="-378163" algn="l" defTabSz="685775" rtl="0" eaLnBrk="1" fontAlgn="auto" latinLnBrk="0" hangingPunct="1">
              <a:lnSpc>
                <a:spcPct val="90000"/>
              </a:lnSpc>
              <a:spcBef>
                <a:spcPts val="900"/>
              </a:spcBef>
              <a:spcAft>
                <a:spcPts val="0"/>
              </a:spcAft>
              <a:buClr>
                <a:schemeClr val="tx1"/>
              </a:buClr>
              <a:buSzPct val="90000"/>
              <a:tabLst/>
            </a:pPr>
            <a:r>
              <a:rPr lang="en-US"/>
              <a:t>Fifth level</a:t>
            </a:r>
            <a:endParaRPr lang="en-US" dirty="0"/>
          </a:p>
        </p:txBody>
      </p:sp>
    </p:spTree>
    <p:extLst>
      <p:ext uri="{BB962C8B-B14F-4D97-AF65-F5344CB8AC3E}">
        <p14:creationId xmlns:p14="http://schemas.microsoft.com/office/powerpoint/2010/main" val="19251085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1" y="1187644"/>
            <a:ext cx="4033911" cy="1610697"/>
          </a:xfrm>
        </p:spPr>
        <p:txBody>
          <a:bodyPr wrap="square">
            <a:spAutoFit/>
          </a:bodyPr>
          <a:lstStyle>
            <a:lvl1pPr marL="170407" indent="-170407">
              <a:spcBef>
                <a:spcPts val="900"/>
              </a:spcBef>
              <a:buClr>
                <a:schemeClr val="tx1"/>
              </a:buClr>
              <a:buFont typeface="Wingdings" panose="05000000000000000000" pitchFamily="2" charset="2"/>
              <a:buChar char=""/>
              <a:defRPr sz="2206" b="0">
                <a:latin typeface="+mn-lt"/>
              </a:defRPr>
            </a:lvl1pPr>
            <a:lvl2pPr marL="313969" indent="-126054">
              <a:buFont typeface="Wingdings" panose="05000000000000000000" pitchFamily="2" charset="2"/>
              <a:buChar char=""/>
              <a:defRPr sz="1765" b="0"/>
            </a:lvl2pPr>
            <a:lvl3pPr marL="470370" indent="-138893">
              <a:buFont typeface="Wingdings" panose="05000000000000000000" pitchFamily="2" charset="2"/>
              <a:buChar char=""/>
              <a:tabLst/>
              <a:defRPr sz="1618" b="0"/>
            </a:lvl3pPr>
            <a:lvl4pPr marL="609263" indent="-129557">
              <a:buFont typeface="Wingdings" panose="05000000000000000000" pitchFamily="2" charset="2"/>
              <a:buChar char=""/>
              <a:defRPr sz="1618" b="0"/>
            </a:lvl4pPr>
            <a:lvl5pPr marL="752825" indent="-124888">
              <a:buFont typeface="Wingdings" panose="05000000000000000000" pitchFamily="2" charset="2"/>
              <a:buChar char=""/>
              <a:tabLst/>
              <a:defRPr sz="161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4908161" y="1187644"/>
            <a:ext cx="4033911" cy="1868588"/>
          </a:xfrm>
        </p:spPr>
        <p:txBody>
          <a:bodyPr wrap="square">
            <a:spAutoFit/>
          </a:bodyPr>
          <a:lstStyle>
            <a:lvl1pPr marL="211258" indent="-211258">
              <a:spcBef>
                <a:spcPts val="900"/>
              </a:spcBef>
              <a:buClr>
                <a:schemeClr val="tx1"/>
              </a:buClr>
              <a:buFont typeface="Arial" pitchFamily="34" charset="0"/>
              <a:buChar char="•"/>
              <a:defRPr lang="en-US" sz="2206" b="0" kern="1200" spc="0" baseline="0" dirty="0">
                <a:gradFill>
                  <a:gsLst>
                    <a:gs pos="1250">
                      <a:schemeClr val="tx1"/>
                    </a:gs>
                    <a:gs pos="100000">
                      <a:schemeClr val="tx1"/>
                    </a:gs>
                  </a:gsLst>
                  <a:lin ang="5400000" scaled="0"/>
                </a:gradFill>
                <a:latin typeface="+mn-lt"/>
                <a:ea typeface="+mn-ea"/>
                <a:cs typeface="+mn-cs"/>
              </a:defRPr>
            </a:lvl1pPr>
            <a:lvl2pPr marL="440024" indent="-252109">
              <a:defRPr lang="en-US" sz="1765" b="0" kern="1200" spc="0" baseline="0" dirty="0">
                <a:gradFill>
                  <a:gsLst>
                    <a:gs pos="1250">
                      <a:schemeClr val="tx1"/>
                    </a:gs>
                    <a:gs pos="100000">
                      <a:schemeClr val="tx1"/>
                    </a:gs>
                  </a:gsLst>
                  <a:lin ang="5400000" scaled="0"/>
                </a:gradFill>
                <a:latin typeface="+mn-lt"/>
                <a:ea typeface="+mn-ea"/>
                <a:cs typeface="+mn-cs"/>
              </a:defRPr>
            </a:lvl2pPr>
            <a:lvl3pPr marL="583585" indent="-252109">
              <a:tabLst/>
              <a:defRPr lang="en-US" sz="1618" b="0" kern="1200" spc="0" baseline="0" dirty="0">
                <a:gradFill>
                  <a:gsLst>
                    <a:gs pos="1250">
                      <a:schemeClr val="tx1"/>
                    </a:gs>
                    <a:gs pos="100000">
                      <a:schemeClr val="tx1"/>
                    </a:gs>
                  </a:gsLst>
                  <a:lin ang="5400000" scaled="0"/>
                </a:gradFill>
                <a:latin typeface="+mn-lt"/>
                <a:ea typeface="+mn-ea"/>
                <a:cs typeface="+mn-cs"/>
              </a:defRPr>
            </a:lvl3pPr>
            <a:lvl4pPr marL="731815" indent="-252109">
              <a:defRPr lang="en-US" sz="1618" b="0" kern="1200" spc="0" baseline="0" dirty="0">
                <a:gradFill>
                  <a:gsLst>
                    <a:gs pos="1250">
                      <a:schemeClr val="tx1"/>
                    </a:gs>
                    <a:gs pos="100000">
                      <a:schemeClr val="tx1"/>
                    </a:gs>
                  </a:gsLst>
                  <a:lin ang="5400000" scaled="0"/>
                </a:gradFill>
                <a:latin typeface="+mn-lt"/>
                <a:ea typeface="+mn-ea"/>
                <a:cs typeface="+mn-cs"/>
              </a:defRPr>
            </a:lvl4pPr>
            <a:lvl5pPr marL="880046" indent="-252109">
              <a:tabLst/>
              <a:defRPr lang="en-US" sz="1618" b="0" kern="1200" spc="0" baseline="0" dirty="0">
                <a:gradFill>
                  <a:gsLst>
                    <a:gs pos="1250">
                      <a:schemeClr val="tx1"/>
                    </a:gs>
                    <a:gs pos="100000">
                      <a:schemeClr val="tx1"/>
                    </a:gs>
                  </a:gsLst>
                  <a:lin ang="5400000" scaled="0"/>
                </a:gradFill>
                <a:latin typeface="+mn-lt"/>
                <a:ea typeface="+mn-ea"/>
                <a:cs typeface="+mn-cs"/>
              </a:defRPr>
            </a:lvl5pPr>
          </a:lstStyle>
          <a:p>
            <a:pPr marL="170407" marR="0" lvl="0" indent="-170407" algn="l" defTabSz="685775" rtl="0" eaLnBrk="1" fontAlgn="auto" latinLnBrk="0" hangingPunct="1">
              <a:lnSpc>
                <a:spcPct val="90000"/>
              </a:lnSpc>
              <a:spcBef>
                <a:spcPts val="900"/>
              </a:spcBef>
              <a:spcAft>
                <a:spcPts val="0"/>
              </a:spcAft>
              <a:buClr>
                <a:schemeClr val="tx1"/>
              </a:buClr>
              <a:buSzPct val="90000"/>
              <a:buFont typeface="Wingdings" panose="05000000000000000000" pitchFamily="2" charset="2"/>
              <a:buChar char=""/>
              <a:tabLst/>
            </a:pPr>
            <a:r>
              <a:rPr lang="en-US"/>
              <a:t>Edit Master text styles</a:t>
            </a:r>
          </a:p>
          <a:p>
            <a:pPr marL="170407" marR="0" lvl="1" indent="-170407" algn="l" defTabSz="685775" rtl="0" eaLnBrk="1" fontAlgn="auto" latinLnBrk="0" hangingPunct="1">
              <a:lnSpc>
                <a:spcPct val="90000"/>
              </a:lnSpc>
              <a:spcBef>
                <a:spcPts val="900"/>
              </a:spcBef>
              <a:spcAft>
                <a:spcPts val="0"/>
              </a:spcAft>
              <a:buClr>
                <a:schemeClr val="tx1"/>
              </a:buClr>
              <a:buSzPct val="90000"/>
              <a:buFont typeface="Wingdings" panose="05000000000000000000" pitchFamily="2" charset="2"/>
              <a:buChar char=""/>
              <a:tabLst/>
            </a:pPr>
            <a:r>
              <a:rPr lang="en-US"/>
              <a:t>Second level</a:t>
            </a:r>
          </a:p>
          <a:p>
            <a:pPr marL="170407" marR="0" lvl="2" indent="-170407" algn="l" defTabSz="685775" rtl="0" eaLnBrk="1" fontAlgn="auto" latinLnBrk="0" hangingPunct="1">
              <a:lnSpc>
                <a:spcPct val="90000"/>
              </a:lnSpc>
              <a:spcBef>
                <a:spcPts val="900"/>
              </a:spcBef>
              <a:spcAft>
                <a:spcPts val="0"/>
              </a:spcAft>
              <a:buClr>
                <a:schemeClr val="tx1"/>
              </a:buClr>
              <a:buSzPct val="90000"/>
              <a:buFont typeface="Wingdings" panose="05000000000000000000" pitchFamily="2" charset="2"/>
              <a:buChar char=""/>
              <a:tabLst/>
            </a:pPr>
            <a:r>
              <a:rPr lang="en-US"/>
              <a:t>Third level</a:t>
            </a:r>
          </a:p>
          <a:p>
            <a:pPr marL="170407" marR="0" lvl="3" indent="-170407" algn="l" defTabSz="685775" rtl="0" eaLnBrk="1" fontAlgn="auto" latinLnBrk="0" hangingPunct="1">
              <a:lnSpc>
                <a:spcPct val="90000"/>
              </a:lnSpc>
              <a:spcBef>
                <a:spcPts val="900"/>
              </a:spcBef>
              <a:spcAft>
                <a:spcPts val="0"/>
              </a:spcAft>
              <a:buClr>
                <a:schemeClr val="tx1"/>
              </a:buClr>
              <a:buSzPct val="90000"/>
              <a:buFont typeface="Wingdings" panose="05000000000000000000" pitchFamily="2" charset="2"/>
              <a:buChar char=""/>
              <a:tabLst/>
            </a:pPr>
            <a:r>
              <a:rPr lang="en-US"/>
              <a:t>Fourth level</a:t>
            </a:r>
          </a:p>
          <a:p>
            <a:pPr marL="170407" marR="0" lvl="4" indent="-170407" algn="l" defTabSz="685775" rtl="0" eaLnBrk="1" fontAlgn="auto" latinLnBrk="0" hangingPunct="1">
              <a:lnSpc>
                <a:spcPct val="90000"/>
              </a:lnSpc>
              <a:spcBef>
                <a:spcPts val="900"/>
              </a:spcBef>
              <a:spcAft>
                <a:spcPts val="0"/>
              </a:spcAft>
              <a:buClr>
                <a:schemeClr val="tx1"/>
              </a:buClr>
              <a:buSzPct val="90000"/>
              <a:buFont typeface="Wingdings" panose="05000000000000000000" pitchFamily="2" charset="2"/>
              <a:buChar char=""/>
              <a:tabLst/>
            </a:pPr>
            <a:r>
              <a:rPr lang="en-US"/>
              <a:t>Fifth level</a:t>
            </a:r>
            <a:endParaRPr lang="en-US" dirty="0"/>
          </a:p>
        </p:txBody>
      </p:sp>
    </p:spTree>
    <p:extLst>
      <p:ext uri="{BB962C8B-B14F-4D97-AF65-F5344CB8AC3E}">
        <p14:creationId xmlns:p14="http://schemas.microsoft.com/office/powerpoint/2010/main" val="22629341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94C1D52-F5EA-4B1D-8BA6-224F2EFC9117}"/>
              </a:ext>
            </a:extLst>
          </p:cNvPr>
          <p:cNvGraphicFramePr>
            <a:graphicFrameLocks noChangeAspect="1"/>
          </p:cNvGraphicFramePr>
          <p:nvPr userDrawn="1">
            <p:custDataLst>
              <p:tags r:id="rId2"/>
            </p:custDataLst>
            <p:extLst/>
          </p:nvPr>
        </p:nvGraphicFramePr>
        <p:xfrm>
          <a:off x="1168" y="1558"/>
          <a:ext cx="1167" cy="1556"/>
        </p:xfrm>
        <a:graphic>
          <a:graphicData uri="http://schemas.openxmlformats.org/presentationml/2006/ole">
            <mc:AlternateContent xmlns:mc="http://schemas.openxmlformats.org/markup-compatibility/2006">
              <mc:Choice xmlns:v="urn:schemas-microsoft-com:vml" Requires="v">
                <p:oleObj spid="_x0000_s4098" name="think-cell Slide" r:id="rId4" imgW="425" imgH="424" progId="TCLayout.ActiveDocument.1">
                  <p:embed/>
                </p:oleObj>
              </mc:Choice>
              <mc:Fallback>
                <p:oleObj name="think-cell Slide" r:id="rId4" imgW="425" imgH="424" progId="TCLayout.ActiveDocument.1">
                  <p:embed/>
                  <p:pic>
                    <p:nvPicPr>
                      <p:cNvPr id="3" name="Object 2" hidden="1">
                        <a:extLst>
                          <a:ext uri="{FF2B5EF4-FFF2-40B4-BE49-F238E27FC236}">
                            <a16:creationId xmlns:a16="http://schemas.microsoft.com/office/drawing/2014/main" id="{894C1D52-F5EA-4B1D-8BA6-224F2EFC9117}"/>
                          </a:ext>
                        </a:extLst>
                      </p:cNvPr>
                      <p:cNvPicPr/>
                      <p:nvPr/>
                    </p:nvPicPr>
                    <p:blipFill>
                      <a:blip r:embed="rId5"/>
                      <a:stretch>
                        <a:fillRect/>
                      </a:stretch>
                    </p:blipFill>
                    <p:spPr>
                      <a:xfrm>
                        <a:off x="1168" y="1558"/>
                        <a:ext cx="1167" cy="1556"/>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7203895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graphicFrame>
        <p:nvGraphicFramePr>
          <p:cNvPr id="3" name="Table 2">
            <a:extLst>
              <a:ext uri="{FF2B5EF4-FFF2-40B4-BE49-F238E27FC236}">
                <a16:creationId xmlns:a16="http://schemas.microsoft.com/office/drawing/2014/main" id="{0DA8EFC8-B6A4-4A4B-9EDA-91002B4DFD8C}"/>
              </a:ext>
            </a:extLst>
          </p:cNvPr>
          <p:cNvGraphicFramePr>
            <a:graphicFrameLocks noGrp="1"/>
          </p:cNvGraphicFramePr>
          <p:nvPr userDrawn="1">
            <p:extLst/>
          </p:nvPr>
        </p:nvGraphicFramePr>
        <p:xfrm>
          <a:off x="178159" y="1594041"/>
          <a:ext cx="8798975" cy="915686"/>
        </p:xfrm>
        <a:graphic>
          <a:graphicData uri="http://schemas.openxmlformats.org/drawingml/2006/table">
            <a:tbl>
              <a:tblPr firstRow="1" bandRow="1">
                <a:tableStyleId>{5C22544A-7EE6-4342-B048-85BDC9FD1C3A}</a:tableStyleId>
              </a:tblPr>
              <a:tblGrid>
                <a:gridCol w="247744">
                  <a:extLst>
                    <a:ext uri="{9D8B030D-6E8A-4147-A177-3AD203B41FA5}">
                      <a16:colId xmlns:a16="http://schemas.microsoft.com/office/drawing/2014/main" val="612254498"/>
                    </a:ext>
                  </a:extLst>
                </a:gridCol>
                <a:gridCol w="2696195">
                  <a:extLst>
                    <a:ext uri="{9D8B030D-6E8A-4147-A177-3AD203B41FA5}">
                      <a16:colId xmlns:a16="http://schemas.microsoft.com/office/drawing/2014/main" val="1261049811"/>
                    </a:ext>
                  </a:extLst>
                </a:gridCol>
                <a:gridCol w="241048">
                  <a:extLst>
                    <a:ext uri="{9D8B030D-6E8A-4147-A177-3AD203B41FA5}">
                      <a16:colId xmlns:a16="http://schemas.microsoft.com/office/drawing/2014/main" val="2638922956"/>
                    </a:ext>
                  </a:extLst>
                </a:gridCol>
                <a:gridCol w="2696195">
                  <a:extLst>
                    <a:ext uri="{9D8B030D-6E8A-4147-A177-3AD203B41FA5}">
                      <a16:colId xmlns:a16="http://schemas.microsoft.com/office/drawing/2014/main" val="1530065899"/>
                    </a:ext>
                  </a:extLst>
                </a:gridCol>
                <a:gridCol w="221596">
                  <a:extLst>
                    <a:ext uri="{9D8B030D-6E8A-4147-A177-3AD203B41FA5}">
                      <a16:colId xmlns:a16="http://schemas.microsoft.com/office/drawing/2014/main" val="1628348927"/>
                    </a:ext>
                  </a:extLst>
                </a:gridCol>
                <a:gridCol w="2696195">
                  <a:extLst>
                    <a:ext uri="{9D8B030D-6E8A-4147-A177-3AD203B41FA5}">
                      <a16:colId xmlns:a16="http://schemas.microsoft.com/office/drawing/2014/main" val="3564049150"/>
                    </a:ext>
                  </a:extLst>
                </a:gridCol>
              </a:tblGrid>
              <a:tr h="915686">
                <a:tc>
                  <a:txBody>
                    <a:bodyPr/>
                    <a:lstStyle/>
                    <a:p>
                      <a:pPr algn="ctr"/>
                      <a:r>
                        <a:rPr lang="en-US" sz="1800" dirty="0">
                          <a:solidFill>
                            <a:schemeClr val="bg1"/>
                          </a:solidFill>
                        </a:rPr>
                        <a:t>1</a:t>
                      </a:r>
                    </a:p>
                  </a:txBody>
                  <a:tcPr marL="68570" marR="6857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accent2"/>
                    </a:solidFill>
                  </a:tcPr>
                </a:tc>
                <a:tc>
                  <a:txBody>
                    <a:bodyPr/>
                    <a:lstStyle/>
                    <a:p>
                      <a:pPr marL="0" indent="0" algn="l">
                        <a:buFont typeface="Arial" panose="020B0604020202020204" pitchFamily="34" charset="0"/>
                        <a:buNone/>
                      </a:pPr>
                      <a:endParaRPr lang="en-US" sz="1200" b="0" dirty="0">
                        <a:solidFill>
                          <a:schemeClr val="tx1"/>
                        </a:solidFill>
                        <a:latin typeface="Segoe UI" panose="020B0502040204020203" pitchFamily="34" charset="0"/>
                        <a:cs typeface="Segoe UI" panose="020B0502040204020203" pitchFamily="34" charset="0"/>
                      </a:endParaRPr>
                    </a:p>
                  </a:txBody>
                  <a:tcPr marL="68570" marR="6857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tc>
                  <a:txBody>
                    <a:bodyPr/>
                    <a:lstStyle/>
                    <a:p>
                      <a:pPr algn="ctr"/>
                      <a:r>
                        <a:rPr lang="en-US" sz="1800" dirty="0">
                          <a:solidFill>
                            <a:schemeClr val="bg1"/>
                          </a:solidFill>
                        </a:rPr>
                        <a:t>2</a:t>
                      </a:r>
                    </a:p>
                  </a:txBody>
                  <a:tcPr marL="68570" marR="6857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accent2"/>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a:txBody>
                  <a:tcPr marL="68570" marR="6857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tc>
                  <a:txBody>
                    <a:bodyPr/>
                    <a:lstStyle/>
                    <a:p>
                      <a:pPr algn="ctr"/>
                      <a:r>
                        <a:rPr lang="en-US" sz="1800" dirty="0">
                          <a:solidFill>
                            <a:schemeClr val="bg1"/>
                          </a:solidFill>
                        </a:rPr>
                        <a:t>3</a:t>
                      </a:r>
                    </a:p>
                  </a:txBody>
                  <a:tcPr marL="68570" marR="6857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accent2"/>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a:txBody>
                  <a:tcPr marL="68570" marR="6857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02296024"/>
                  </a:ext>
                </a:extLst>
              </a:tr>
            </a:tbl>
          </a:graphicData>
        </a:graphic>
      </p:graphicFrame>
      <p:sp>
        <p:nvSpPr>
          <p:cNvPr id="4" name="Rectangle 3">
            <a:extLst>
              <a:ext uri="{FF2B5EF4-FFF2-40B4-BE49-F238E27FC236}">
                <a16:creationId xmlns:a16="http://schemas.microsoft.com/office/drawing/2014/main" id="{E0AD6D0A-0B93-4FDA-8794-74E05AF3986D}"/>
              </a:ext>
            </a:extLst>
          </p:cNvPr>
          <p:cNvSpPr/>
          <p:nvPr userDrawn="1"/>
        </p:nvSpPr>
        <p:spPr>
          <a:xfrm>
            <a:off x="4670373" y="2843719"/>
            <a:ext cx="4307306" cy="2266594"/>
          </a:xfrm>
          <a:prstGeom prst="rect">
            <a:avLst/>
          </a:prstGeom>
          <a:solidFill>
            <a:schemeClr val="bg1"/>
          </a:solidFill>
          <a:ln w="317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70" tIns="137141" rIns="68570" bIns="34285" numCol="1" spcCol="0" rtlCol="0" fromWordArt="0" anchor="t" anchorCtr="0" forceAA="0" compatLnSpc="1">
            <a:prstTxWarp prst="textNoShape">
              <a:avLst/>
            </a:prstTxWarp>
            <a:noAutofit/>
          </a:bodyPr>
          <a:lstStyle/>
          <a:p>
            <a:pPr marL="214271" indent="-214271">
              <a:buFont typeface="+mj-lt"/>
              <a:buAutoNum type="arabicPeriod"/>
            </a:pPr>
            <a:endParaRPr lang="en-US" sz="900" dirty="0">
              <a:solidFill>
                <a:schemeClr val="tx1"/>
              </a:solidFill>
              <a:latin typeface="Segoe UI" panose="020B0502040204020203" pitchFamily="34" charset="0"/>
              <a:cs typeface="Segoe UI" panose="020B0502040204020203" pitchFamily="34" charset="0"/>
            </a:endParaRPr>
          </a:p>
        </p:txBody>
      </p:sp>
      <p:sp>
        <p:nvSpPr>
          <p:cNvPr id="5" name="Rectangle 4">
            <a:extLst>
              <a:ext uri="{FF2B5EF4-FFF2-40B4-BE49-F238E27FC236}">
                <a16:creationId xmlns:a16="http://schemas.microsoft.com/office/drawing/2014/main" id="{AE569D99-EA10-4A5E-A210-0C0CFB1784DA}"/>
              </a:ext>
            </a:extLst>
          </p:cNvPr>
          <p:cNvSpPr/>
          <p:nvPr userDrawn="1"/>
        </p:nvSpPr>
        <p:spPr>
          <a:xfrm>
            <a:off x="169904" y="5453547"/>
            <a:ext cx="8798975" cy="1158475"/>
          </a:xfrm>
          <a:prstGeom prst="rect">
            <a:avLst/>
          </a:prstGeom>
          <a:solidFill>
            <a:schemeClr val="bg1"/>
          </a:solidFill>
          <a:ln w="317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70" tIns="137141" rIns="68570" bIns="34285" numCol="1" spcCol="0" rtlCol="0" fromWordArt="0" anchor="t" anchorCtr="0" forceAA="0" compatLnSpc="1">
            <a:prstTxWarp prst="textNoShape">
              <a:avLst/>
            </a:prstTxWarp>
            <a:noAutofit/>
          </a:bodyPr>
          <a:lstStyle/>
          <a:p>
            <a:pPr marL="214271" indent="-214271">
              <a:buFont typeface="+mj-lt"/>
              <a:buAutoNum type="arabicPeriod"/>
            </a:pPr>
            <a:endParaRPr lang="en-US" sz="900" dirty="0">
              <a:solidFill>
                <a:schemeClr val="tx1"/>
              </a:solidFill>
              <a:latin typeface="Segoe UI" panose="020B0502040204020203" pitchFamily="34" charset="0"/>
              <a:cs typeface="Segoe UI" panose="020B0502040204020203" pitchFamily="34" charset="0"/>
            </a:endParaRPr>
          </a:p>
        </p:txBody>
      </p:sp>
      <p:sp>
        <p:nvSpPr>
          <p:cNvPr id="6" name="Rectangle 5">
            <a:extLst>
              <a:ext uri="{FF2B5EF4-FFF2-40B4-BE49-F238E27FC236}">
                <a16:creationId xmlns:a16="http://schemas.microsoft.com/office/drawing/2014/main" id="{25343C9A-BA04-485B-85B2-7C39B7490E88}"/>
              </a:ext>
            </a:extLst>
          </p:cNvPr>
          <p:cNvSpPr/>
          <p:nvPr userDrawn="1"/>
        </p:nvSpPr>
        <p:spPr>
          <a:xfrm>
            <a:off x="169906" y="2843719"/>
            <a:ext cx="4307306" cy="2266594"/>
          </a:xfrm>
          <a:prstGeom prst="rect">
            <a:avLst/>
          </a:prstGeom>
          <a:solidFill>
            <a:schemeClr val="bg1"/>
          </a:solidFill>
          <a:ln w="317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tIns="137141" rtlCol="0" anchor="t"/>
          <a:lstStyle/>
          <a:p>
            <a:pPr marL="214271" indent="-214271">
              <a:buFont typeface="+mj-lt"/>
              <a:buAutoNum type="arabicPeriod"/>
            </a:pPr>
            <a:endParaRPr lang="en-US" sz="900" dirty="0">
              <a:solidFill>
                <a:schemeClr val="tx1"/>
              </a:solidFill>
              <a:latin typeface="Segoe UI" panose="020B0502040204020203" pitchFamily="34" charset="0"/>
              <a:cs typeface="Segoe UI" panose="020B0502040204020203" pitchFamily="34" charset="0"/>
            </a:endParaRPr>
          </a:p>
        </p:txBody>
      </p:sp>
      <p:sp>
        <p:nvSpPr>
          <p:cNvPr id="7" name="TextBox 6">
            <a:extLst>
              <a:ext uri="{FF2B5EF4-FFF2-40B4-BE49-F238E27FC236}">
                <a16:creationId xmlns:a16="http://schemas.microsoft.com/office/drawing/2014/main" id="{92028F83-BC57-46B6-AE4F-F363D917BFB5}"/>
              </a:ext>
            </a:extLst>
          </p:cNvPr>
          <p:cNvSpPr txBox="1"/>
          <p:nvPr userDrawn="1"/>
        </p:nvSpPr>
        <p:spPr>
          <a:xfrm>
            <a:off x="4669826" y="2707892"/>
            <a:ext cx="1568243" cy="271654"/>
          </a:xfrm>
          <a:prstGeom prst="rect">
            <a:avLst/>
          </a:prstGeom>
          <a:solidFill>
            <a:schemeClr val="bg1"/>
          </a:solidFill>
          <a:ln w="12700">
            <a:solidFill>
              <a:schemeClr val="tx1"/>
            </a:solidFill>
          </a:ln>
        </p:spPr>
        <p:txBody>
          <a:bodyPr wrap="square" lIns="68570" tIns="34285" rIns="68570" bIns="34285" rtlCol="0" anchor="ctr">
            <a:noAutofit/>
          </a:bodyPr>
          <a:lstStyle>
            <a:defPPr>
              <a:defRPr lang="en-US"/>
            </a:defPPr>
            <a:lvl1pPr>
              <a:defRPr sz="2400">
                <a:solidFill>
                  <a:srgbClr val="0078D7"/>
                </a:solidFill>
                <a:latin typeface="+mj-lt"/>
              </a:defRPr>
            </a:lvl1pPr>
          </a:lstStyle>
          <a:p>
            <a:pPr defTabSz="685669">
              <a:defRPr/>
            </a:pPr>
            <a:r>
              <a:rPr lang="en-US" sz="1050" b="1" dirty="0">
                <a:solidFill>
                  <a:schemeClr val="accent1"/>
                </a:solidFill>
                <a:latin typeface="Segoe UI Light"/>
              </a:rPr>
              <a:t>Actions to Take</a:t>
            </a:r>
          </a:p>
        </p:txBody>
      </p:sp>
      <p:sp>
        <p:nvSpPr>
          <p:cNvPr id="8" name="TextBox 7">
            <a:extLst>
              <a:ext uri="{FF2B5EF4-FFF2-40B4-BE49-F238E27FC236}">
                <a16:creationId xmlns:a16="http://schemas.microsoft.com/office/drawing/2014/main" id="{1B2D9789-D165-4BDB-A460-2343E7F13D54}"/>
              </a:ext>
            </a:extLst>
          </p:cNvPr>
          <p:cNvSpPr txBox="1"/>
          <p:nvPr userDrawn="1"/>
        </p:nvSpPr>
        <p:spPr>
          <a:xfrm>
            <a:off x="169906" y="5308480"/>
            <a:ext cx="1565352" cy="271654"/>
          </a:xfrm>
          <a:prstGeom prst="rect">
            <a:avLst/>
          </a:prstGeom>
          <a:solidFill>
            <a:schemeClr val="bg1"/>
          </a:solidFill>
          <a:ln w="12700">
            <a:solidFill>
              <a:schemeClr val="tx1"/>
            </a:solidFill>
          </a:ln>
        </p:spPr>
        <p:txBody>
          <a:bodyPr wrap="square" lIns="68570" tIns="34285" rIns="68570" bIns="34285" rtlCol="0" anchor="ctr">
            <a:noAutofit/>
          </a:bodyPr>
          <a:lstStyle>
            <a:defPPr>
              <a:defRPr lang="en-US"/>
            </a:defPPr>
            <a:lvl1pPr>
              <a:defRPr sz="2400">
                <a:solidFill>
                  <a:srgbClr val="0078D7"/>
                </a:solidFill>
                <a:latin typeface="+mj-lt"/>
              </a:defRPr>
            </a:lvl1pPr>
          </a:lstStyle>
          <a:p>
            <a:pPr defTabSz="685669">
              <a:defRPr/>
            </a:pPr>
            <a:r>
              <a:rPr lang="en-US" sz="1050" b="1" dirty="0">
                <a:solidFill>
                  <a:schemeClr val="accent1"/>
                </a:solidFill>
                <a:latin typeface="Segoe UI Light"/>
              </a:rPr>
              <a:t>Resources</a:t>
            </a:r>
          </a:p>
        </p:txBody>
      </p:sp>
      <p:sp>
        <p:nvSpPr>
          <p:cNvPr id="9" name="TextBox 8">
            <a:extLst>
              <a:ext uri="{FF2B5EF4-FFF2-40B4-BE49-F238E27FC236}">
                <a16:creationId xmlns:a16="http://schemas.microsoft.com/office/drawing/2014/main" id="{CCF24501-8757-48AA-B9DD-ED5BECE78DDC}"/>
              </a:ext>
            </a:extLst>
          </p:cNvPr>
          <p:cNvSpPr txBox="1"/>
          <p:nvPr userDrawn="1"/>
        </p:nvSpPr>
        <p:spPr>
          <a:xfrm>
            <a:off x="169906" y="2707892"/>
            <a:ext cx="1568243" cy="271654"/>
          </a:xfrm>
          <a:prstGeom prst="rect">
            <a:avLst/>
          </a:prstGeom>
          <a:solidFill>
            <a:schemeClr val="bg1"/>
          </a:solidFill>
          <a:ln w="12700">
            <a:solidFill>
              <a:schemeClr val="tx1"/>
            </a:solidFill>
          </a:ln>
        </p:spPr>
        <p:txBody>
          <a:bodyPr wrap="square" lIns="68570" tIns="34285" rIns="68570" bIns="34285" rtlCol="0" anchor="ctr">
            <a:noAutofit/>
          </a:bodyPr>
          <a:lstStyle>
            <a:defPPr>
              <a:defRPr lang="en-US"/>
            </a:defPPr>
            <a:lvl1pPr>
              <a:defRPr sz="2400">
                <a:solidFill>
                  <a:srgbClr val="0078D7"/>
                </a:solidFill>
                <a:latin typeface="+mj-lt"/>
              </a:defRPr>
            </a:lvl1pPr>
          </a:lstStyle>
          <a:p>
            <a:pPr defTabSz="685669">
              <a:defRPr/>
            </a:pPr>
            <a:r>
              <a:rPr lang="en-US" sz="1050" b="1" dirty="0">
                <a:solidFill>
                  <a:schemeClr val="accent1"/>
                </a:solidFill>
                <a:latin typeface="Segoe UI Light"/>
              </a:rPr>
              <a:t>Questions to Ask</a:t>
            </a:r>
          </a:p>
        </p:txBody>
      </p:sp>
      <p:sp>
        <p:nvSpPr>
          <p:cNvPr id="10" name="TextBox 9">
            <a:extLst>
              <a:ext uri="{FF2B5EF4-FFF2-40B4-BE49-F238E27FC236}">
                <a16:creationId xmlns:a16="http://schemas.microsoft.com/office/drawing/2014/main" id="{2A40F325-ADB0-41C7-9EF7-7E36EF2381D6}"/>
              </a:ext>
            </a:extLst>
          </p:cNvPr>
          <p:cNvSpPr txBox="1"/>
          <p:nvPr userDrawn="1"/>
        </p:nvSpPr>
        <p:spPr>
          <a:xfrm>
            <a:off x="169904" y="1456607"/>
            <a:ext cx="1568244" cy="271654"/>
          </a:xfrm>
          <a:prstGeom prst="rect">
            <a:avLst/>
          </a:prstGeom>
          <a:solidFill>
            <a:schemeClr val="bg1"/>
          </a:solidFill>
          <a:ln w="12700">
            <a:solidFill>
              <a:schemeClr val="tx1"/>
            </a:solidFill>
          </a:ln>
        </p:spPr>
        <p:txBody>
          <a:bodyPr wrap="square" lIns="68570" tIns="34285" rIns="68570" bIns="34285" rtlCol="0" anchor="ctr">
            <a:noAutofit/>
          </a:bodyPr>
          <a:lstStyle>
            <a:defPPr>
              <a:defRPr lang="en-US"/>
            </a:defPPr>
            <a:lvl1pPr>
              <a:defRPr sz="2400">
                <a:solidFill>
                  <a:srgbClr val="0078D7"/>
                </a:solidFill>
                <a:latin typeface="+mj-lt"/>
              </a:defRPr>
            </a:lvl1pPr>
          </a:lstStyle>
          <a:p>
            <a:pPr defTabSz="685669">
              <a:defRPr/>
            </a:pPr>
            <a:r>
              <a:rPr lang="en-US" sz="1050" b="1" dirty="0">
                <a:solidFill>
                  <a:schemeClr val="accent1"/>
                </a:solidFill>
                <a:latin typeface="Segoe UI Light"/>
              </a:rPr>
              <a:t>Goals</a:t>
            </a:r>
          </a:p>
        </p:txBody>
      </p:sp>
      <p:sp>
        <p:nvSpPr>
          <p:cNvPr id="11" name="Arrow: Down 10">
            <a:extLst>
              <a:ext uri="{FF2B5EF4-FFF2-40B4-BE49-F238E27FC236}">
                <a16:creationId xmlns:a16="http://schemas.microsoft.com/office/drawing/2014/main" id="{F67E61E6-AA38-485B-AE09-CD08BBD8FABF}"/>
              </a:ext>
            </a:extLst>
          </p:cNvPr>
          <p:cNvSpPr/>
          <p:nvPr userDrawn="1"/>
        </p:nvSpPr>
        <p:spPr bwMode="auto">
          <a:xfrm rot="16200000">
            <a:off x="2927137" y="1411179"/>
            <a:ext cx="470385" cy="2854139"/>
          </a:xfrm>
          <a:prstGeom prst="downArrow">
            <a:avLst>
              <a:gd name="adj1" fmla="val 31468"/>
              <a:gd name="adj2" fmla="val 37425"/>
            </a:avLst>
          </a:prstGeom>
          <a:gradFill flip="none" rotWithShape="1">
            <a:gsLst>
              <a:gs pos="0">
                <a:srgbClr val="0078D7">
                  <a:lumMod val="0"/>
                  <a:lumOff val="100000"/>
                  <a:alpha val="0"/>
                </a:srgbClr>
              </a:gs>
              <a:gs pos="100000">
                <a:srgbClr val="0078D7">
                  <a:lumMod val="45000"/>
                  <a:lumOff val="55000"/>
                </a:srgbClr>
              </a:gs>
              <a:gs pos="100000">
                <a:schemeClr val="accent6"/>
              </a:gs>
            </a:gsLst>
            <a:lin ang="5400000" scaled="1"/>
            <a:tileRect/>
          </a:gradFill>
          <a:ln>
            <a:noFill/>
          </a:ln>
          <a:effectLst/>
        </p:spPr>
        <p:txBody>
          <a:bodyPr rot="0" spcFirstLastPara="0" vertOverflow="overflow" horzOverflow="overflow" vert="horz" wrap="square" lIns="137141" tIns="109713" rIns="137141" bIns="109713" numCol="1" spcCol="0" rtlCol="0" fromWordArt="0" anchor="t" anchorCtr="0" forceAA="0" compatLnSpc="1">
            <a:prstTxWarp prst="textNoShape">
              <a:avLst/>
            </a:prstTxWarp>
            <a:noAutofit/>
          </a:bodyPr>
          <a:lstStyle/>
          <a:p>
            <a:pPr algn="ctr" defTabSz="699220" fontAlgn="base">
              <a:lnSpc>
                <a:spcPct val="90000"/>
              </a:lnSpc>
              <a:spcBef>
                <a:spcPct val="0"/>
              </a:spcBef>
              <a:spcAft>
                <a:spcPct val="0"/>
              </a:spcAft>
              <a:defRPr/>
            </a:pPr>
            <a:endParaRPr lang="en-US" sz="18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296075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29" y="2084187"/>
            <a:ext cx="7394337" cy="917880"/>
          </a:xfrm>
          <a:noFill/>
        </p:spPr>
        <p:txBody>
          <a:bodyPr tIns="91440" bIns="91440" anchor="t" anchorCtr="0">
            <a:spAutoFit/>
          </a:bodyPr>
          <a:lstStyle>
            <a:lvl1pPr>
              <a:defRPr sz="5294" spc="-74"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01930" y="3877277"/>
            <a:ext cx="7395506" cy="621324"/>
          </a:xfrm>
          <a:noFill/>
        </p:spPr>
        <p:txBody>
          <a:bodyPr lIns="182880" tIns="146304" rIns="182880" bIns="146304">
            <a:spAutoFit/>
          </a:bodyPr>
          <a:lstStyle>
            <a:lvl1pPr marL="0" indent="0">
              <a:spcBef>
                <a:spcPts val="0"/>
              </a:spcBef>
              <a:buNone/>
              <a:defRPr sz="2353"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42792269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0" y="2084187"/>
            <a:ext cx="7394337" cy="917880"/>
          </a:xfrm>
          <a:noFill/>
        </p:spPr>
        <p:txBody>
          <a:bodyPr tIns="91440" bIns="91440" anchor="t" anchorCtr="0">
            <a:spAutoFit/>
          </a:bodyPr>
          <a:lstStyle>
            <a:lvl1pPr>
              <a:defRPr lang="en-US" sz="5294" b="0" kern="1200" cap="none" spc="-74"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63712615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0" y="2084173"/>
            <a:ext cx="8740142" cy="917880"/>
          </a:xfrm>
          <a:noFill/>
        </p:spPr>
        <p:txBody>
          <a:bodyPr tIns="91440" bIns="91440" anchor="t" anchorCtr="0">
            <a:spAutoFit/>
          </a:bodyPr>
          <a:lstStyle>
            <a:lvl1pPr>
              <a:defRPr sz="5294" spc="-74"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67083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0" y="2084173"/>
            <a:ext cx="8740142" cy="917880"/>
          </a:xfrm>
          <a:noFill/>
        </p:spPr>
        <p:txBody>
          <a:bodyPr tIns="91440" bIns="91440" anchor="t" anchorCtr="0">
            <a:spAutoFit/>
          </a:bodyPr>
          <a:lstStyle>
            <a:lvl1pPr>
              <a:defRPr sz="5294" spc="-74"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1300479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teps">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CCF24501-8757-48AA-B9DD-ED5BECE78DDC}"/>
              </a:ext>
            </a:extLst>
          </p:cNvPr>
          <p:cNvSpPr txBox="1"/>
          <p:nvPr userDrawn="1"/>
        </p:nvSpPr>
        <p:spPr>
          <a:xfrm>
            <a:off x="169906" y="2054745"/>
            <a:ext cx="1568243" cy="271654"/>
          </a:xfrm>
          <a:prstGeom prst="rect">
            <a:avLst/>
          </a:prstGeom>
          <a:solidFill>
            <a:schemeClr val="bg1"/>
          </a:solidFill>
          <a:ln w="12700">
            <a:solidFill>
              <a:schemeClr val="tx1"/>
            </a:solidFill>
          </a:ln>
        </p:spPr>
        <p:txBody>
          <a:bodyPr wrap="square" lIns="68570" tIns="34285" rIns="68570" bIns="34285" rtlCol="0" anchor="ctr">
            <a:noAutofit/>
          </a:bodyPr>
          <a:lstStyle>
            <a:defPPr>
              <a:defRPr lang="en-US"/>
            </a:defPPr>
            <a:lvl1pPr>
              <a:defRPr sz="2400">
                <a:solidFill>
                  <a:srgbClr val="0078D7"/>
                </a:solidFill>
                <a:latin typeface="+mj-lt"/>
              </a:defRPr>
            </a:lvl1pPr>
          </a:lstStyle>
          <a:p>
            <a:pPr defTabSz="685669">
              <a:defRPr/>
            </a:pPr>
            <a:r>
              <a:rPr lang="en-US" sz="1050" b="1" dirty="0">
                <a:solidFill>
                  <a:schemeClr val="tx1">
                    <a:lumMod val="95000"/>
                    <a:lumOff val="5000"/>
                  </a:schemeClr>
                </a:solidFill>
                <a:latin typeface="Segoe UI Light"/>
              </a:rPr>
              <a:t>Observations</a:t>
            </a:r>
          </a:p>
        </p:txBody>
      </p:sp>
      <p:sp>
        <p:nvSpPr>
          <p:cNvPr id="2" name="Title 1"/>
          <p:cNvSpPr>
            <a:spLocks noGrp="1"/>
          </p:cNvSpPr>
          <p:nvPr>
            <p:ph type="title" hasCustomPrompt="1"/>
          </p:nvPr>
        </p:nvSpPr>
        <p:spPr/>
        <p:txBody>
          <a:bodyPr/>
          <a:lstStyle>
            <a:lvl1pPr>
              <a:defRPr/>
            </a:lvl1pPr>
          </a:lstStyle>
          <a:p>
            <a:r>
              <a:rPr lang="en-US" dirty="0"/>
              <a:t>Click to edit Steps Title</a:t>
            </a:r>
          </a:p>
        </p:txBody>
      </p:sp>
      <p:graphicFrame>
        <p:nvGraphicFramePr>
          <p:cNvPr id="3" name="Table 2">
            <a:extLst>
              <a:ext uri="{FF2B5EF4-FFF2-40B4-BE49-F238E27FC236}">
                <a16:creationId xmlns:a16="http://schemas.microsoft.com/office/drawing/2014/main" id="{0DA8EFC8-B6A4-4A4B-9EDA-91002B4DFD8C}"/>
              </a:ext>
            </a:extLst>
          </p:cNvPr>
          <p:cNvGraphicFramePr>
            <a:graphicFrameLocks noGrp="1"/>
          </p:cNvGraphicFramePr>
          <p:nvPr userDrawn="1">
            <p:extLst>
              <p:ext uri="{D42A27DB-BD31-4B8C-83A1-F6EECF244321}">
                <p14:modId xmlns:p14="http://schemas.microsoft.com/office/powerpoint/2010/main" val="69496546"/>
              </p:ext>
            </p:extLst>
          </p:nvPr>
        </p:nvGraphicFramePr>
        <p:xfrm>
          <a:off x="177800" y="987548"/>
          <a:ext cx="8799331" cy="915686"/>
        </p:xfrm>
        <a:graphic>
          <a:graphicData uri="http://schemas.openxmlformats.org/drawingml/2006/table">
            <a:tbl>
              <a:tblPr firstRow="1" bandRow="1">
                <a:tableStyleId>{5C22544A-7EE6-4342-B048-85BDC9FD1C3A}</a:tableStyleId>
              </a:tblPr>
              <a:tblGrid>
                <a:gridCol w="247754">
                  <a:extLst>
                    <a:ext uri="{9D8B030D-6E8A-4147-A177-3AD203B41FA5}">
                      <a16:colId xmlns:a16="http://schemas.microsoft.com/office/drawing/2014/main" val="612254498"/>
                    </a:ext>
                  </a:extLst>
                </a:gridCol>
                <a:gridCol w="2696305">
                  <a:extLst>
                    <a:ext uri="{9D8B030D-6E8A-4147-A177-3AD203B41FA5}">
                      <a16:colId xmlns:a16="http://schemas.microsoft.com/office/drawing/2014/main" val="1261049811"/>
                    </a:ext>
                  </a:extLst>
                </a:gridCol>
                <a:gridCol w="241057">
                  <a:extLst>
                    <a:ext uri="{9D8B030D-6E8A-4147-A177-3AD203B41FA5}">
                      <a16:colId xmlns:a16="http://schemas.microsoft.com/office/drawing/2014/main" val="2638922956"/>
                    </a:ext>
                  </a:extLst>
                </a:gridCol>
                <a:gridCol w="2696305">
                  <a:extLst>
                    <a:ext uri="{9D8B030D-6E8A-4147-A177-3AD203B41FA5}">
                      <a16:colId xmlns:a16="http://schemas.microsoft.com/office/drawing/2014/main" val="1530065899"/>
                    </a:ext>
                  </a:extLst>
                </a:gridCol>
                <a:gridCol w="221605">
                  <a:extLst>
                    <a:ext uri="{9D8B030D-6E8A-4147-A177-3AD203B41FA5}">
                      <a16:colId xmlns:a16="http://schemas.microsoft.com/office/drawing/2014/main" val="1628348927"/>
                    </a:ext>
                  </a:extLst>
                </a:gridCol>
                <a:gridCol w="2696305">
                  <a:extLst>
                    <a:ext uri="{9D8B030D-6E8A-4147-A177-3AD203B41FA5}">
                      <a16:colId xmlns:a16="http://schemas.microsoft.com/office/drawing/2014/main" val="3564049150"/>
                    </a:ext>
                  </a:extLst>
                </a:gridCol>
              </a:tblGrid>
              <a:tr h="915686">
                <a:tc>
                  <a:txBody>
                    <a:bodyPr/>
                    <a:lstStyle/>
                    <a:p>
                      <a:pPr algn="ctr"/>
                      <a:r>
                        <a:rPr lang="en-US" sz="1800" dirty="0">
                          <a:solidFill>
                            <a:schemeClr val="bg1"/>
                          </a:solidFill>
                        </a:rPr>
                        <a:t>1</a:t>
                      </a:r>
                    </a:p>
                  </a:txBody>
                  <a:tcPr marL="68570" marR="6857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accent2"/>
                    </a:solidFill>
                  </a:tcPr>
                </a:tc>
                <a:tc>
                  <a:txBody>
                    <a:bodyPr/>
                    <a:lstStyle/>
                    <a:p>
                      <a:pPr marL="0" indent="0" algn="l">
                        <a:buFont typeface="Arial" panose="020B0604020202020204" pitchFamily="34" charset="0"/>
                        <a:buNone/>
                      </a:pPr>
                      <a:endParaRPr lang="en-US" sz="1200" b="0" dirty="0">
                        <a:solidFill>
                          <a:schemeClr val="tx1"/>
                        </a:solidFill>
                        <a:latin typeface="Segoe UI" panose="020B0502040204020203" pitchFamily="34" charset="0"/>
                        <a:cs typeface="Segoe UI" panose="020B0502040204020203" pitchFamily="34" charset="0"/>
                      </a:endParaRPr>
                    </a:p>
                  </a:txBody>
                  <a:tcPr marL="68570" marR="6857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tc>
                  <a:txBody>
                    <a:bodyPr/>
                    <a:lstStyle/>
                    <a:p>
                      <a:pPr algn="ctr"/>
                      <a:r>
                        <a:rPr lang="en-US" sz="1800" dirty="0">
                          <a:solidFill>
                            <a:schemeClr val="bg1"/>
                          </a:solidFill>
                        </a:rPr>
                        <a:t>2</a:t>
                      </a:r>
                    </a:p>
                  </a:txBody>
                  <a:tcPr marL="68570" marR="6857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accent2"/>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a:txBody>
                  <a:tcPr marL="68570" marR="6857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tc>
                  <a:txBody>
                    <a:bodyPr/>
                    <a:lstStyle/>
                    <a:p>
                      <a:pPr algn="ctr"/>
                      <a:r>
                        <a:rPr lang="en-US" sz="1800" dirty="0">
                          <a:solidFill>
                            <a:schemeClr val="bg1"/>
                          </a:solidFill>
                        </a:rPr>
                        <a:t>3</a:t>
                      </a:r>
                    </a:p>
                  </a:txBody>
                  <a:tcPr marL="68570" marR="6857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accent2"/>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a:txBody>
                  <a:tcPr marL="68570" marR="6857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02296024"/>
                  </a:ext>
                </a:extLst>
              </a:tr>
            </a:tbl>
          </a:graphicData>
        </a:graphic>
      </p:graphicFrame>
      <p:sp>
        <p:nvSpPr>
          <p:cNvPr id="7" name="TextBox 6">
            <a:extLst>
              <a:ext uri="{FF2B5EF4-FFF2-40B4-BE49-F238E27FC236}">
                <a16:creationId xmlns:a16="http://schemas.microsoft.com/office/drawing/2014/main" id="{92028F83-BC57-46B6-AE4F-F363D917BFB5}"/>
              </a:ext>
            </a:extLst>
          </p:cNvPr>
          <p:cNvSpPr txBox="1"/>
          <p:nvPr userDrawn="1"/>
        </p:nvSpPr>
        <p:spPr>
          <a:xfrm>
            <a:off x="4669826" y="2026752"/>
            <a:ext cx="1568243" cy="271654"/>
          </a:xfrm>
          <a:prstGeom prst="rect">
            <a:avLst/>
          </a:prstGeom>
          <a:solidFill>
            <a:schemeClr val="bg1"/>
          </a:solidFill>
          <a:ln w="12700">
            <a:solidFill>
              <a:schemeClr val="tx1"/>
            </a:solidFill>
          </a:ln>
        </p:spPr>
        <p:txBody>
          <a:bodyPr wrap="square" lIns="68570" tIns="34285" rIns="68570" bIns="34285" rtlCol="0" anchor="ctr">
            <a:noAutofit/>
          </a:bodyPr>
          <a:lstStyle>
            <a:defPPr>
              <a:defRPr lang="en-US"/>
            </a:defPPr>
            <a:lvl1pPr>
              <a:defRPr sz="2400">
                <a:solidFill>
                  <a:srgbClr val="0078D7"/>
                </a:solidFill>
                <a:latin typeface="+mj-lt"/>
              </a:defRPr>
            </a:lvl1pPr>
          </a:lstStyle>
          <a:p>
            <a:pPr defTabSz="685669">
              <a:defRPr/>
            </a:pPr>
            <a:r>
              <a:rPr lang="en-US" sz="1050" b="1" dirty="0">
                <a:solidFill>
                  <a:schemeClr val="tx1">
                    <a:lumMod val="95000"/>
                    <a:lumOff val="5000"/>
                  </a:schemeClr>
                </a:solidFill>
                <a:latin typeface="Segoe UI Light"/>
              </a:rPr>
              <a:t>Results</a:t>
            </a:r>
          </a:p>
        </p:txBody>
      </p:sp>
      <p:sp>
        <p:nvSpPr>
          <p:cNvPr id="8" name="TextBox 7">
            <a:extLst>
              <a:ext uri="{FF2B5EF4-FFF2-40B4-BE49-F238E27FC236}">
                <a16:creationId xmlns:a16="http://schemas.microsoft.com/office/drawing/2014/main" id="{1B2D9789-D165-4BDB-A460-2343E7F13D54}"/>
              </a:ext>
            </a:extLst>
          </p:cNvPr>
          <p:cNvSpPr txBox="1"/>
          <p:nvPr userDrawn="1"/>
        </p:nvSpPr>
        <p:spPr>
          <a:xfrm>
            <a:off x="169906" y="5243163"/>
            <a:ext cx="1565352" cy="271654"/>
          </a:xfrm>
          <a:prstGeom prst="rect">
            <a:avLst/>
          </a:prstGeom>
          <a:solidFill>
            <a:schemeClr val="bg1"/>
          </a:solidFill>
          <a:ln w="12700">
            <a:solidFill>
              <a:schemeClr val="tx1"/>
            </a:solidFill>
          </a:ln>
        </p:spPr>
        <p:txBody>
          <a:bodyPr wrap="square" lIns="68570" tIns="34285" rIns="68570" bIns="34285" rtlCol="0" anchor="ctr">
            <a:noAutofit/>
          </a:bodyPr>
          <a:lstStyle>
            <a:defPPr>
              <a:defRPr lang="en-US"/>
            </a:defPPr>
            <a:lvl1pPr>
              <a:defRPr sz="2400">
                <a:solidFill>
                  <a:srgbClr val="0078D7"/>
                </a:solidFill>
                <a:latin typeface="+mj-lt"/>
              </a:defRPr>
            </a:lvl1pPr>
          </a:lstStyle>
          <a:p>
            <a:pPr defTabSz="685669">
              <a:defRPr/>
            </a:pPr>
            <a:r>
              <a:rPr lang="en-US" sz="1050" b="1" dirty="0">
                <a:solidFill>
                  <a:schemeClr val="tx1">
                    <a:lumMod val="95000"/>
                    <a:lumOff val="5000"/>
                  </a:schemeClr>
                </a:solidFill>
                <a:latin typeface="Segoe UI Light"/>
              </a:rPr>
              <a:t>Resources</a:t>
            </a:r>
          </a:p>
        </p:txBody>
      </p:sp>
      <p:sp>
        <p:nvSpPr>
          <p:cNvPr id="10" name="TextBox 9">
            <a:extLst>
              <a:ext uri="{FF2B5EF4-FFF2-40B4-BE49-F238E27FC236}">
                <a16:creationId xmlns:a16="http://schemas.microsoft.com/office/drawing/2014/main" id="{2A40F325-ADB0-41C7-9EF7-7E36EF2381D6}"/>
              </a:ext>
            </a:extLst>
          </p:cNvPr>
          <p:cNvSpPr txBox="1"/>
          <p:nvPr userDrawn="1"/>
        </p:nvSpPr>
        <p:spPr>
          <a:xfrm>
            <a:off x="169904" y="794128"/>
            <a:ext cx="1568244" cy="271654"/>
          </a:xfrm>
          <a:prstGeom prst="rect">
            <a:avLst/>
          </a:prstGeom>
          <a:solidFill>
            <a:schemeClr val="bg1"/>
          </a:solidFill>
          <a:ln w="12700">
            <a:solidFill>
              <a:schemeClr val="tx1"/>
            </a:solidFill>
          </a:ln>
        </p:spPr>
        <p:txBody>
          <a:bodyPr wrap="square" lIns="68570" tIns="34285" rIns="68570" bIns="34285" rtlCol="0" anchor="ctr">
            <a:noAutofit/>
          </a:bodyPr>
          <a:lstStyle>
            <a:defPPr>
              <a:defRPr lang="en-US"/>
            </a:defPPr>
            <a:lvl1pPr>
              <a:defRPr sz="2400">
                <a:solidFill>
                  <a:srgbClr val="0078D7"/>
                </a:solidFill>
                <a:latin typeface="+mj-lt"/>
              </a:defRPr>
            </a:lvl1pPr>
          </a:lstStyle>
          <a:p>
            <a:pPr defTabSz="685669">
              <a:defRPr/>
            </a:pPr>
            <a:r>
              <a:rPr lang="en-US" sz="1050" b="1" dirty="0">
                <a:solidFill>
                  <a:schemeClr val="tx1">
                    <a:lumMod val="95000"/>
                    <a:lumOff val="5000"/>
                  </a:schemeClr>
                </a:solidFill>
                <a:latin typeface="Segoe UI Light"/>
              </a:rPr>
              <a:t>Steps</a:t>
            </a:r>
          </a:p>
        </p:txBody>
      </p:sp>
      <p:sp>
        <p:nvSpPr>
          <p:cNvPr id="19" name="Text Placeholder 18">
            <a:extLst>
              <a:ext uri="{FF2B5EF4-FFF2-40B4-BE49-F238E27FC236}">
                <a16:creationId xmlns:a16="http://schemas.microsoft.com/office/drawing/2014/main" id="{97DBA5D9-8C6D-43D4-A24D-D27248395183}"/>
              </a:ext>
            </a:extLst>
          </p:cNvPr>
          <p:cNvSpPr>
            <a:spLocks noGrp="1"/>
          </p:cNvSpPr>
          <p:nvPr>
            <p:ph type="body" sz="quarter" idx="12" hasCustomPrompt="1"/>
          </p:nvPr>
        </p:nvSpPr>
        <p:spPr>
          <a:xfrm>
            <a:off x="460375" y="1035632"/>
            <a:ext cx="2590800" cy="827088"/>
          </a:xfrm>
        </p:spPr>
        <p:txBody>
          <a:bodyPr/>
          <a:lstStyle>
            <a:lvl1pPr marL="342900" indent="-342900">
              <a:buFont typeface="+mj-lt"/>
              <a:buAutoNum type="arabicParenR"/>
              <a:defRPr sz="1400"/>
            </a:lvl1pPr>
            <a:lvl2pPr marL="517525" indent="-228600">
              <a:buFont typeface="+mj-lt"/>
              <a:buAutoNum type="alphaLcParenR"/>
              <a:defRPr sz="1200"/>
            </a:lvl2pPr>
            <a:lvl3pPr marL="909637" indent="-228600">
              <a:buFont typeface="+mj-lt"/>
              <a:buAutoNum type="romanLcPeriod"/>
              <a:defRPr sz="1100"/>
            </a:lvl3pPr>
            <a:lvl4pPr marL="1317625" indent="-228600">
              <a:buFont typeface="+mj-lt"/>
              <a:buAutoNum type="arabicPeriod"/>
              <a:defRPr sz="1050"/>
            </a:lvl4pPr>
            <a:lvl5pPr marL="1604963" indent="-228600">
              <a:buFont typeface="+mj-lt"/>
              <a:buAutoNum type="alphaLcPeriod"/>
              <a:defRPr sz="1050"/>
            </a:lvl5pPr>
          </a:lstStyle>
          <a:p>
            <a:pPr lvl="0"/>
            <a:r>
              <a:rPr lang="en-US" dirty="0"/>
              <a:t>Click to Add Step 1</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18">
            <a:extLst>
              <a:ext uri="{FF2B5EF4-FFF2-40B4-BE49-F238E27FC236}">
                <a16:creationId xmlns:a16="http://schemas.microsoft.com/office/drawing/2014/main" id="{35DE67FC-9970-40AE-86CC-CDE63AD436CF}"/>
              </a:ext>
            </a:extLst>
          </p:cNvPr>
          <p:cNvSpPr>
            <a:spLocks noGrp="1"/>
          </p:cNvSpPr>
          <p:nvPr>
            <p:ph type="body" sz="quarter" idx="13" hasCustomPrompt="1"/>
          </p:nvPr>
        </p:nvSpPr>
        <p:spPr>
          <a:xfrm>
            <a:off x="3405726" y="1016750"/>
            <a:ext cx="2590800" cy="827088"/>
          </a:xfrm>
        </p:spPr>
        <p:txBody>
          <a:bodyPr/>
          <a:lstStyle>
            <a:lvl1pPr marL="342900" indent="-342900">
              <a:buFont typeface="+mj-lt"/>
              <a:buAutoNum type="arabicParenR"/>
              <a:defRPr sz="1400"/>
            </a:lvl1pPr>
            <a:lvl2pPr marL="517525" indent="-228600">
              <a:buFont typeface="+mj-lt"/>
              <a:buAutoNum type="alphaLcParenR"/>
              <a:defRPr sz="1200"/>
            </a:lvl2pPr>
            <a:lvl3pPr marL="909637" indent="-228600">
              <a:buFont typeface="+mj-lt"/>
              <a:buAutoNum type="romanLcPeriod"/>
              <a:defRPr sz="1100"/>
            </a:lvl3pPr>
            <a:lvl4pPr marL="1317625" indent="-228600">
              <a:buFont typeface="+mj-lt"/>
              <a:buAutoNum type="arabicPeriod"/>
              <a:defRPr sz="1050"/>
            </a:lvl4pPr>
            <a:lvl5pPr marL="1604963" indent="-228600">
              <a:buFont typeface="+mj-lt"/>
              <a:buAutoNum type="alphaLcPeriod"/>
              <a:defRPr sz="1050"/>
            </a:lvl5pPr>
          </a:lstStyle>
          <a:p>
            <a:pPr lvl="0"/>
            <a:r>
              <a:rPr lang="en-US" dirty="0"/>
              <a:t>Click to Add Step 2</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18">
            <a:extLst>
              <a:ext uri="{FF2B5EF4-FFF2-40B4-BE49-F238E27FC236}">
                <a16:creationId xmlns:a16="http://schemas.microsoft.com/office/drawing/2014/main" id="{5DA0B143-17CC-4340-B000-4AB93B418219}"/>
              </a:ext>
            </a:extLst>
          </p:cNvPr>
          <p:cNvSpPr>
            <a:spLocks noGrp="1"/>
          </p:cNvSpPr>
          <p:nvPr>
            <p:ph type="body" sz="quarter" idx="14" hasCustomPrompt="1"/>
          </p:nvPr>
        </p:nvSpPr>
        <p:spPr>
          <a:xfrm>
            <a:off x="6351077" y="1031847"/>
            <a:ext cx="2590800" cy="827088"/>
          </a:xfrm>
        </p:spPr>
        <p:txBody>
          <a:bodyPr/>
          <a:lstStyle>
            <a:lvl1pPr marL="342900" indent="-342900">
              <a:buFont typeface="+mj-lt"/>
              <a:buAutoNum type="arabicParenR"/>
              <a:defRPr sz="1400"/>
            </a:lvl1pPr>
            <a:lvl2pPr marL="517525" indent="-228600">
              <a:buFont typeface="+mj-lt"/>
              <a:buAutoNum type="alphaLcParenR"/>
              <a:defRPr sz="1200"/>
            </a:lvl2pPr>
            <a:lvl3pPr marL="909637" indent="-228600">
              <a:buFont typeface="+mj-lt"/>
              <a:buAutoNum type="romanLcPeriod"/>
              <a:defRPr sz="1100"/>
            </a:lvl3pPr>
            <a:lvl4pPr marL="1317625" indent="-228600">
              <a:buFont typeface="+mj-lt"/>
              <a:buAutoNum type="arabicPeriod"/>
              <a:defRPr sz="1050"/>
            </a:lvl4pPr>
            <a:lvl5pPr marL="1604963" indent="-228600">
              <a:buFont typeface="+mj-lt"/>
              <a:buAutoNum type="alphaLcPeriod"/>
              <a:defRPr sz="1050"/>
            </a:lvl5pPr>
          </a:lstStyle>
          <a:p>
            <a:pPr lvl="0"/>
            <a:r>
              <a:rPr lang="en-US" dirty="0"/>
              <a:t>Click to Add Step 3</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Text Placeholder 18">
            <a:extLst>
              <a:ext uri="{FF2B5EF4-FFF2-40B4-BE49-F238E27FC236}">
                <a16:creationId xmlns:a16="http://schemas.microsoft.com/office/drawing/2014/main" id="{D3A2EF9D-8503-44C9-8C8A-AD3AB6E8B9E7}"/>
              </a:ext>
            </a:extLst>
          </p:cNvPr>
          <p:cNvSpPr>
            <a:spLocks noGrp="1"/>
          </p:cNvSpPr>
          <p:nvPr>
            <p:ph type="body" sz="quarter" idx="17" hasCustomPrompt="1"/>
          </p:nvPr>
        </p:nvSpPr>
        <p:spPr>
          <a:xfrm>
            <a:off x="187194" y="5514817"/>
            <a:ext cx="8799331" cy="1065841"/>
          </a:xfrm>
          <a:solidFill>
            <a:schemeClr val="bg1"/>
          </a:solidFill>
          <a:ln w="22225">
            <a:solidFill>
              <a:srgbClr val="000000"/>
            </a:solidFill>
          </a:ln>
        </p:spPr>
        <p:txBody>
          <a:bodyPr/>
          <a:lstStyle>
            <a:lvl1pPr marL="342900" indent="-342900">
              <a:buFont typeface="+mj-lt"/>
              <a:buAutoNum type="arabicParenR"/>
              <a:defRPr sz="1400"/>
            </a:lvl1pPr>
            <a:lvl2pPr marL="517525" indent="-228600">
              <a:buFont typeface="+mj-lt"/>
              <a:buAutoNum type="alphaLcParenR"/>
              <a:defRPr sz="1200"/>
            </a:lvl2pPr>
            <a:lvl3pPr marL="909637" indent="-228600">
              <a:buFont typeface="+mj-lt"/>
              <a:buAutoNum type="romanLcPeriod"/>
              <a:defRPr sz="1100"/>
            </a:lvl3pPr>
            <a:lvl4pPr marL="1317625" indent="-228600">
              <a:buFont typeface="+mj-lt"/>
              <a:buAutoNum type="arabicPeriod"/>
              <a:defRPr sz="1050"/>
            </a:lvl4pPr>
            <a:lvl5pPr marL="1604963" indent="-228600">
              <a:buFont typeface="+mj-lt"/>
              <a:buAutoNum type="alphaLcPeriod"/>
              <a:defRPr sz="1050"/>
            </a:lvl5pPr>
          </a:lstStyle>
          <a:p>
            <a:pPr lvl="0"/>
            <a:r>
              <a:rPr lang="en-US" dirty="0"/>
              <a:t>Click to add Resourc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3" name="Text Placeholder 18">
            <a:extLst>
              <a:ext uri="{FF2B5EF4-FFF2-40B4-BE49-F238E27FC236}">
                <a16:creationId xmlns:a16="http://schemas.microsoft.com/office/drawing/2014/main" id="{15DBFA86-3281-48C1-B37A-60EAF36BD25D}"/>
              </a:ext>
            </a:extLst>
          </p:cNvPr>
          <p:cNvSpPr>
            <a:spLocks noGrp="1"/>
          </p:cNvSpPr>
          <p:nvPr>
            <p:ph type="body" sz="quarter" idx="16" hasCustomPrompt="1"/>
          </p:nvPr>
        </p:nvSpPr>
        <p:spPr>
          <a:xfrm>
            <a:off x="4678319" y="2265437"/>
            <a:ext cx="4295775" cy="2862989"/>
          </a:xfrm>
          <a:solidFill>
            <a:schemeClr val="bg1"/>
          </a:solidFill>
          <a:ln w="22225">
            <a:solidFill>
              <a:srgbClr val="000000"/>
            </a:solidFill>
          </a:ln>
        </p:spPr>
        <p:txBody>
          <a:bodyPr/>
          <a:lstStyle>
            <a:lvl1pPr marL="342900" indent="-342900">
              <a:buFont typeface="+mj-lt"/>
              <a:buAutoNum type="arabicParenR"/>
              <a:defRPr sz="1400"/>
            </a:lvl1pPr>
            <a:lvl2pPr marL="517525" indent="-228600">
              <a:buFont typeface="+mj-lt"/>
              <a:buAutoNum type="alphaLcParenR"/>
              <a:defRPr sz="1200"/>
            </a:lvl2pPr>
            <a:lvl3pPr marL="909637" indent="-228600">
              <a:buFont typeface="+mj-lt"/>
              <a:buAutoNum type="romanLcPeriod"/>
              <a:defRPr sz="1100"/>
            </a:lvl3pPr>
            <a:lvl4pPr marL="1317625" indent="-228600">
              <a:buFont typeface="+mj-lt"/>
              <a:buAutoNum type="arabicPeriod"/>
              <a:defRPr sz="1050"/>
            </a:lvl4pPr>
            <a:lvl5pPr marL="1604963" indent="-228600">
              <a:buFont typeface="+mj-lt"/>
              <a:buAutoNum type="alphaLcPeriod"/>
              <a:defRPr sz="1050"/>
            </a:lvl5pPr>
          </a:lstStyle>
          <a:p>
            <a:pPr lvl="0"/>
            <a:r>
              <a:rPr lang="en-US" dirty="0"/>
              <a:t>Click to add Result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18">
            <a:extLst>
              <a:ext uri="{FF2B5EF4-FFF2-40B4-BE49-F238E27FC236}">
                <a16:creationId xmlns:a16="http://schemas.microsoft.com/office/drawing/2014/main" id="{2BFCEE7C-1B60-4DD2-A577-07AE5CD0142E}"/>
              </a:ext>
            </a:extLst>
          </p:cNvPr>
          <p:cNvSpPr>
            <a:spLocks noGrp="1"/>
          </p:cNvSpPr>
          <p:nvPr>
            <p:ph type="body" sz="quarter" idx="15" hasCustomPrompt="1"/>
          </p:nvPr>
        </p:nvSpPr>
        <p:spPr>
          <a:xfrm>
            <a:off x="177800" y="2301875"/>
            <a:ext cx="4263572" cy="2826552"/>
          </a:xfrm>
          <a:solidFill>
            <a:schemeClr val="bg1"/>
          </a:solidFill>
          <a:ln w="22225">
            <a:solidFill>
              <a:srgbClr val="000000"/>
            </a:solidFill>
          </a:ln>
        </p:spPr>
        <p:txBody>
          <a:bodyPr/>
          <a:lstStyle>
            <a:lvl1pPr marL="342900" indent="-342900">
              <a:buFont typeface="+mj-lt"/>
              <a:buAutoNum type="arabicParenR"/>
              <a:defRPr sz="1400"/>
            </a:lvl1pPr>
            <a:lvl2pPr marL="517525" indent="-228600">
              <a:buFont typeface="+mj-lt"/>
              <a:buAutoNum type="alphaLcParenR"/>
              <a:defRPr sz="1200"/>
            </a:lvl2pPr>
            <a:lvl3pPr marL="909637" indent="-228600">
              <a:buFont typeface="+mj-lt"/>
              <a:buAutoNum type="romanLcPeriod"/>
              <a:defRPr sz="1100"/>
            </a:lvl3pPr>
            <a:lvl4pPr marL="1317625" indent="-228600">
              <a:buFont typeface="+mj-lt"/>
              <a:buAutoNum type="arabicPeriod"/>
              <a:defRPr sz="1050"/>
            </a:lvl4pPr>
            <a:lvl5pPr marL="1604963" indent="-228600">
              <a:buFont typeface="+mj-lt"/>
              <a:buAutoNum type="alphaLcPeriod"/>
              <a:defRPr sz="1050"/>
            </a:lvl5pPr>
          </a:lstStyle>
          <a:p>
            <a:pPr lvl="0"/>
            <a:r>
              <a:rPr lang="en-US" dirty="0"/>
              <a:t>Click to add Observation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Arrow: Down 10">
            <a:extLst>
              <a:ext uri="{FF2B5EF4-FFF2-40B4-BE49-F238E27FC236}">
                <a16:creationId xmlns:a16="http://schemas.microsoft.com/office/drawing/2014/main" id="{F67E61E6-AA38-485B-AE09-CD08BBD8FABF}"/>
              </a:ext>
            </a:extLst>
          </p:cNvPr>
          <p:cNvSpPr/>
          <p:nvPr userDrawn="1"/>
        </p:nvSpPr>
        <p:spPr bwMode="auto">
          <a:xfrm rot="16200000">
            <a:off x="2927137" y="814018"/>
            <a:ext cx="470385" cy="2854139"/>
          </a:xfrm>
          <a:prstGeom prst="downArrow">
            <a:avLst>
              <a:gd name="adj1" fmla="val 31468"/>
              <a:gd name="adj2" fmla="val 37425"/>
            </a:avLst>
          </a:prstGeom>
          <a:gradFill flip="none" rotWithShape="1">
            <a:gsLst>
              <a:gs pos="0">
                <a:srgbClr val="0078D7">
                  <a:lumMod val="0"/>
                  <a:lumOff val="100000"/>
                  <a:alpha val="0"/>
                </a:srgbClr>
              </a:gs>
              <a:gs pos="100000">
                <a:srgbClr val="0078D7">
                  <a:lumMod val="45000"/>
                  <a:lumOff val="55000"/>
                </a:srgbClr>
              </a:gs>
              <a:gs pos="100000">
                <a:schemeClr val="accent6"/>
              </a:gs>
            </a:gsLst>
            <a:lin ang="5400000" scaled="1"/>
            <a:tileRect/>
          </a:gradFill>
          <a:ln>
            <a:noFill/>
          </a:ln>
          <a:effectLst/>
        </p:spPr>
        <p:txBody>
          <a:bodyPr rot="0" spcFirstLastPara="0" vertOverflow="overflow" horzOverflow="overflow" vert="horz" wrap="square" lIns="137141" tIns="109713" rIns="137141" bIns="109713" numCol="1" spcCol="0" rtlCol="0" fromWordArt="0" anchor="t" anchorCtr="0" forceAA="0" compatLnSpc="1">
            <a:prstTxWarp prst="textNoShape">
              <a:avLst/>
            </a:prstTxWarp>
            <a:noAutofit/>
          </a:bodyPr>
          <a:lstStyle/>
          <a:p>
            <a:pPr algn="ctr" defTabSz="699220" fontAlgn="base">
              <a:lnSpc>
                <a:spcPct val="90000"/>
              </a:lnSpc>
              <a:spcBef>
                <a:spcPct val="0"/>
              </a:spcBef>
              <a:spcAft>
                <a:spcPct val="0"/>
              </a:spcAft>
              <a:defRPr/>
            </a:pPr>
            <a:endParaRPr lang="en-US" sz="18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33454148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0" y="2847879"/>
            <a:ext cx="3596905" cy="1162241"/>
          </a:xfrm>
        </p:spPr>
        <p:txBody>
          <a:bodyPr wrap="square" anchor="ctr">
            <a:spAutoFit/>
          </a:bodyPr>
          <a:lstStyle>
            <a:lvl1pPr>
              <a:defRPr sz="3529"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4000762" y="0"/>
            <a:ext cx="5143238" cy="6856100"/>
          </a:xfrm>
          <a:prstGeom prst="rect">
            <a:avLst/>
          </a:prstGeom>
          <a:blipFill>
            <a:blip r:embed="rId2"/>
            <a:stretch>
              <a:fillRect/>
            </a:stretch>
          </a:blipFill>
        </p:spPr>
        <p:txBody>
          <a:bodyPr tIns="548640" anchor="ctr" anchorCtr="0">
            <a:noAutofit/>
          </a:bodyPr>
          <a:lstStyle>
            <a:lvl1pPr marL="0" indent="0" algn="ctr">
              <a:buNone/>
              <a:defRPr sz="1176"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6634064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176194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1355207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Developer Code Layou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9144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2" tIns="34292" rIns="34292" bIns="34292" numCol="1" spcCol="0" rtlCol="0" fromWordArt="0" anchor="ctr" anchorCtr="0" forceAA="0" compatLnSpc="1">
            <a:prstTxWarp prst="textNoShape">
              <a:avLst/>
            </a:prstTxWarp>
            <a:noAutofit/>
          </a:bodyPr>
          <a:lstStyle/>
          <a:p>
            <a:pPr algn="ctr" defTabSz="685577" fontAlgn="base">
              <a:spcBef>
                <a:spcPct val="0"/>
              </a:spcBef>
              <a:spcAft>
                <a:spcPct val="0"/>
              </a:spcAft>
            </a:pPr>
            <a:endParaRPr lang="en-US" sz="1324"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01929" y="1197322"/>
            <a:ext cx="8740142" cy="1715791"/>
          </a:xfrm>
        </p:spPr>
        <p:txBody>
          <a:bodyPr/>
          <a:lstStyle>
            <a:lvl1pPr marL="0" indent="0">
              <a:buNone/>
              <a:defRPr sz="2426">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254795"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429818"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59888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772719"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2454978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01930" y="6099190"/>
            <a:ext cx="3361593" cy="350807"/>
          </a:xfrm>
          <a:prstGeom prst="rect">
            <a:avLst/>
          </a:prstGeom>
          <a:noFill/>
          <a:ln w="12700">
            <a:noFill/>
            <a:miter lim="800000"/>
            <a:headEnd type="none" w="sm" len="sm"/>
            <a:tailEnd type="none" w="sm" len="sm"/>
          </a:ln>
          <a:effectLst/>
        </p:spPr>
        <p:txBody>
          <a:bodyPr vert="horz" wrap="square" lIns="134464" tIns="134464" rIns="134464" bIns="134464" numCol="1" anchor="t" anchorCtr="0" compatLnSpc="1">
            <a:prstTxWarp prst="textNoShape">
              <a:avLst/>
            </a:prstTxWarp>
            <a:spAutoFit/>
          </a:bodyPr>
          <a:lstStyle/>
          <a:p>
            <a:pPr defTabSz="685443" eaLnBrk="0" hangingPunct="0"/>
            <a:r>
              <a:rPr lang="en-US" sz="515"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338725" y="470067"/>
            <a:ext cx="1067477" cy="304828"/>
          </a:xfrm>
          <a:prstGeom prst="rect">
            <a:avLst/>
          </a:prstGeom>
        </p:spPr>
      </p:pic>
    </p:spTree>
    <p:extLst>
      <p:ext uri="{BB962C8B-B14F-4D97-AF65-F5344CB8AC3E}">
        <p14:creationId xmlns:p14="http://schemas.microsoft.com/office/powerpoint/2010/main" val="254272990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01930" y="1189178"/>
            <a:ext cx="8740142" cy="1845826"/>
          </a:xfrm>
          <a:prstGeom prst="rect">
            <a:avLst/>
          </a:prstGeom>
        </p:spPr>
        <p:txBody>
          <a:bodyPr/>
          <a:lstStyle>
            <a:lvl1pPr marL="213593" indent="-213593">
              <a:buClr>
                <a:schemeClr val="tx1"/>
              </a:buClr>
              <a:buSzPct val="90000"/>
              <a:buFont typeface="Arial" pitchFamily="34" charset="0"/>
              <a:buChar char="•"/>
              <a:defRPr sz="264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420181" indent="-206590">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633773" indent="-213593">
              <a:buClr>
                <a:schemeClr val="tx1"/>
              </a:buClr>
              <a:buSzPct val="90000"/>
              <a:buFont typeface="Arial" pitchFamily="34" charset="0"/>
              <a:buChar char="•"/>
              <a:defRPr sz="2059">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801846" indent="-168073">
              <a:buClr>
                <a:schemeClr val="tx1"/>
              </a:buClr>
              <a:buSzPct val="90000"/>
              <a:buFont typeface="Arial" pitchFamily="34" charset="0"/>
              <a:buChar char="•"/>
              <a:defRPr sz="1765">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969919" indent="-168073">
              <a:buClr>
                <a:schemeClr val="tx1"/>
              </a:buClr>
              <a:buSzPct val="90000"/>
              <a:buFont typeface="Arial" pitchFamily="34" charset="0"/>
              <a:buChar char="•"/>
              <a:defRPr sz="147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7"/>
            <a:ext cx="9144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2720" spc="-3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90181120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Walkin Microsoft Ready - Editable">
    <p:bg>
      <p:bgPr>
        <a:solidFill>
          <a:schemeClr val="accent1"/>
        </a:solidFill>
        <a:effectLst/>
      </p:bgPr>
    </p:bg>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2214E044-D81A-4BC8-8B44-D5B6E72EA6F5}"/>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3355092" y="0"/>
            <a:ext cx="5788909" cy="6862028"/>
          </a:xfrm>
          <a:prstGeom prst="rect">
            <a:avLst/>
          </a:prstGeom>
        </p:spPr>
      </p:pic>
      <p:sp>
        <p:nvSpPr>
          <p:cNvPr id="8" name="Rectangle 7">
            <a:extLst>
              <a:ext uri="{FF2B5EF4-FFF2-40B4-BE49-F238E27FC236}">
                <a16:creationId xmlns:a16="http://schemas.microsoft.com/office/drawing/2014/main" id="{CA6A04B4-1456-490B-8B52-A08A4AF91494}"/>
              </a:ext>
            </a:extLst>
          </p:cNvPr>
          <p:cNvSpPr/>
          <p:nvPr userDrawn="1"/>
        </p:nvSpPr>
        <p:spPr bwMode="auto">
          <a:xfrm>
            <a:off x="0" y="-13453"/>
            <a:ext cx="3429070" cy="687145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pPr>
            <a:endParaRPr lang="en-US" sz="1765" dirty="0" err="1">
              <a:gradFill>
                <a:gsLst>
                  <a:gs pos="0">
                    <a:srgbClr val="FFFFFF"/>
                  </a:gs>
                  <a:gs pos="100000">
                    <a:srgbClr val="FFFFFF"/>
                  </a:gs>
                </a:gsLst>
                <a:lin ang="5400000" scaled="0"/>
              </a:gradFill>
              <a:ea typeface="Segoe UI" pitchFamily="34" charset="0"/>
              <a:cs typeface="Segoe UI" pitchFamily="34" charset="0"/>
            </a:endParaRPr>
          </a:p>
        </p:txBody>
      </p:sp>
      <p:pic>
        <p:nvPicPr>
          <p:cNvPr id="6" name="MS logo white - EMF"/>
          <p:cNvPicPr>
            <a:picLocks noChangeAspect="1"/>
          </p:cNvPicPr>
          <p:nvPr userDrawn="1"/>
        </p:nvPicPr>
        <p:blipFill>
          <a:blip r:embed="rId3"/>
          <a:stretch>
            <a:fillRect/>
          </a:stretch>
        </p:blipFill>
        <p:spPr bwMode="white">
          <a:xfrm>
            <a:off x="338725" y="470067"/>
            <a:ext cx="1067477" cy="304828"/>
          </a:xfrm>
          <a:prstGeom prst="rect">
            <a:avLst/>
          </a:prstGeom>
        </p:spPr>
      </p:pic>
      <p:sp>
        <p:nvSpPr>
          <p:cNvPr id="7" name="TextBox 6"/>
          <p:cNvSpPr txBox="1"/>
          <p:nvPr userDrawn="1"/>
        </p:nvSpPr>
        <p:spPr bwMode="white">
          <a:xfrm>
            <a:off x="201930" y="5588534"/>
            <a:ext cx="2353136" cy="1246243"/>
          </a:xfrm>
          <a:prstGeom prst="rect">
            <a:avLst/>
          </a:prstGeom>
          <a:noFill/>
        </p:spPr>
        <p:txBody>
          <a:bodyPr wrap="square" lIns="134464" tIns="107571" rIns="134464" bIns="107571" rtlCol="0">
            <a:spAutoFit/>
          </a:bodyPr>
          <a:lstStyle/>
          <a:p>
            <a:pPr>
              <a:lnSpc>
                <a:spcPct val="90000"/>
              </a:lnSpc>
              <a:spcAft>
                <a:spcPts val="441"/>
              </a:spcAft>
            </a:pPr>
            <a:r>
              <a:rPr lang="en-US" sz="1765" dirty="0">
                <a:gradFill>
                  <a:gsLst>
                    <a:gs pos="2917">
                      <a:schemeClr val="tx1"/>
                    </a:gs>
                    <a:gs pos="30000">
                      <a:schemeClr val="tx1"/>
                    </a:gs>
                  </a:gsLst>
                  <a:lin ang="5400000" scaled="0"/>
                </a:gradFill>
              </a:rPr>
              <a:t>Las Vegas, Nevada</a:t>
            </a:r>
          </a:p>
          <a:p>
            <a:pPr>
              <a:lnSpc>
                <a:spcPct val="90000"/>
              </a:lnSpc>
              <a:spcAft>
                <a:spcPts val="441"/>
              </a:spcAft>
            </a:pPr>
            <a:r>
              <a:rPr lang="en-US" sz="1765" dirty="0">
                <a:gradFill>
                  <a:gsLst>
                    <a:gs pos="2917">
                      <a:schemeClr val="tx1"/>
                    </a:gs>
                    <a:gs pos="30000">
                      <a:schemeClr val="tx1"/>
                    </a:gs>
                  </a:gsLst>
                  <a:lin ang="5400000" scaled="0"/>
                </a:gradFill>
              </a:rPr>
              <a:t>October 23–26, 2017</a:t>
            </a:r>
          </a:p>
        </p:txBody>
      </p:sp>
      <p:sp>
        <p:nvSpPr>
          <p:cNvPr id="2" name="TextBox 1">
            <a:extLst>
              <a:ext uri="{FF2B5EF4-FFF2-40B4-BE49-F238E27FC236}">
                <a16:creationId xmlns:a16="http://schemas.microsoft.com/office/drawing/2014/main" id="{056C9DEE-6F0F-4952-B2B1-A47AFA7F3DE1}"/>
              </a:ext>
            </a:extLst>
          </p:cNvPr>
          <p:cNvSpPr txBox="1"/>
          <p:nvPr userDrawn="1"/>
        </p:nvSpPr>
        <p:spPr bwMode="white">
          <a:xfrm>
            <a:off x="201929" y="1707465"/>
            <a:ext cx="3153162" cy="1683606"/>
          </a:xfrm>
          <a:prstGeom prst="rect">
            <a:avLst/>
          </a:prstGeom>
          <a:noFill/>
        </p:spPr>
        <p:txBody>
          <a:bodyPr wrap="square" lIns="134464" tIns="107571" rIns="134464" bIns="107571" rtlCol="0">
            <a:spAutoFit/>
          </a:bodyPr>
          <a:lstStyle/>
          <a:p>
            <a:pPr>
              <a:lnSpc>
                <a:spcPct val="90000"/>
              </a:lnSpc>
              <a:spcBef>
                <a:spcPts val="1324"/>
              </a:spcBef>
              <a:spcAft>
                <a:spcPts val="441"/>
              </a:spcAft>
            </a:pPr>
            <a:r>
              <a:rPr lang="en-US" sz="3529" dirty="0">
                <a:gradFill>
                  <a:gsLst>
                    <a:gs pos="2917">
                      <a:schemeClr val="tx1"/>
                    </a:gs>
                    <a:gs pos="30000">
                      <a:schemeClr val="tx1"/>
                    </a:gs>
                  </a:gsLst>
                  <a:lin ang="5400000" scaled="0"/>
                </a:gradFill>
                <a:latin typeface="+mj-lt"/>
              </a:rPr>
              <a:t>Digital</a:t>
            </a:r>
            <a:br>
              <a:rPr lang="en-US" sz="3529" dirty="0">
                <a:gradFill>
                  <a:gsLst>
                    <a:gs pos="2917">
                      <a:schemeClr val="tx1"/>
                    </a:gs>
                    <a:gs pos="30000">
                      <a:schemeClr val="tx1"/>
                    </a:gs>
                  </a:gsLst>
                  <a:lin ang="5400000" scaled="0"/>
                </a:gradFill>
                <a:latin typeface="+mj-lt"/>
              </a:rPr>
            </a:br>
            <a:r>
              <a:rPr lang="en-US" sz="3529" dirty="0">
                <a:gradFill>
                  <a:gsLst>
                    <a:gs pos="2917">
                      <a:schemeClr val="tx1"/>
                    </a:gs>
                    <a:gs pos="30000">
                      <a:schemeClr val="tx1"/>
                    </a:gs>
                  </a:gsLst>
                  <a:lin ang="5400000" scaled="0"/>
                </a:gradFill>
                <a:latin typeface="+mj-lt"/>
              </a:rPr>
              <a:t>Transformation</a:t>
            </a:r>
            <a:br>
              <a:rPr lang="en-US" sz="3529" dirty="0">
                <a:gradFill>
                  <a:gsLst>
                    <a:gs pos="2917">
                      <a:schemeClr val="tx1"/>
                    </a:gs>
                    <a:gs pos="30000">
                      <a:schemeClr val="tx1"/>
                    </a:gs>
                  </a:gsLst>
                  <a:lin ang="5400000" scaled="0"/>
                </a:gradFill>
                <a:latin typeface="+mj-lt"/>
              </a:rPr>
            </a:br>
            <a:r>
              <a:rPr lang="en-US" sz="3529" dirty="0">
                <a:gradFill>
                  <a:gsLst>
                    <a:gs pos="2917">
                      <a:schemeClr val="tx1"/>
                    </a:gs>
                    <a:gs pos="30000">
                      <a:schemeClr val="tx1"/>
                    </a:gs>
                  </a:gsLst>
                  <a:lin ang="5400000" scaled="0"/>
                </a:gradFill>
                <a:latin typeface="+mj-lt"/>
              </a:rPr>
              <a:t>Academy</a:t>
            </a:r>
          </a:p>
        </p:txBody>
      </p:sp>
    </p:spTree>
    <p:extLst>
      <p:ext uri="{BB962C8B-B14F-4D97-AF65-F5344CB8AC3E}">
        <p14:creationId xmlns:p14="http://schemas.microsoft.com/office/powerpoint/2010/main" val="7685700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01977" y="2084187"/>
            <a:ext cx="6723139" cy="1793090"/>
          </a:xfrm>
          <a:noFill/>
        </p:spPr>
        <p:txBody>
          <a:bodyPr lIns="146304" tIns="91440" rIns="146304" bIns="91440" anchor="t" anchorCtr="0"/>
          <a:lstStyle>
            <a:lvl1pPr>
              <a:defRPr sz="3971" spc="-74"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01976" y="3878574"/>
            <a:ext cx="5378503" cy="1792326"/>
          </a:xfrm>
          <a:noFill/>
        </p:spPr>
        <p:txBody>
          <a:bodyPr lIns="164592" tIns="109728" rIns="164592" bIns="109728">
            <a:noAutofit/>
          </a:bodyPr>
          <a:lstStyle>
            <a:lvl1pPr marL="0" indent="0">
              <a:spcBef>
                <a:spcPts val="0"/>
              </a:spcBef>
              <a:buNone/>
              <a:defRPr sz="2353"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6" name="MS logo white - EMF"/>
          <p:cNvPicPr>
            <a:picLocks noChangeAspect="1"/>
          </p:cNvPicPr>
          <p:nvPr userDrawn="1"/>
        </p:nvPicPr>
        <p:blipFill>
          <a:blip r:embed="rId2"/>
          <a:stretch>
            <a:fillRect/>
          </a:stretch>
        </p:blipFill>
        <p:spPr bwMode="black">
          <a:xfrm>
            <a:off x="338725" y="470067"/>
            <a:ext cx="1067477" cy="304828"/>
          </a:xfrm>
          <a:prstGeom prst="rect">
            <a:avLst/>
          </a:prstGeom>
        </p:spPr>
      </p:pic>
      <p:sp>
        <p:nvSpPr>
          <p:cNvPr id="7" name="Text Placeholder 16"/>
          <p:cNvSpPr>
            <a:spLocks noGrp="1"/>
          </p:cNvSpPr>
          <p:nvPr>
            <p:ph type="body" sz="quarter" idx="13" hasCustomPrompt="1"/>
          </p:nvPr>
        </p:nvSpPr>
        <p:spPr>
          <a:xfrm>
            <a:off x="6254758" y="288561"/>
            <a:ext cx="2689274" cy="499176"/>
          </a:xfrm>
        </p:spPr>
        <p:txBody>
          <a:bodyPr lIns="182880" tIns="146304" rIns="182880" bIns="146304"/>
          <a:lstStyle>
            <a:lvl1pPr marL="0" indent="0" algn="r">
              <a:buNone/>
              <a:defRPr sz="1471">
                <a:latin typeface="+mn-lt"/>
              </a:defRPr>
            </a:lvl1pPr>
            <a:lvl2pPr marL="252109" indent="0">
              <a:buNone/>
              <a:defRPr sz="1471"/>
            </a:lvl2pPr>
            <a:lvl3pPr marL="420181" indent="0">
              <a:buNone/>
              <a:defRPr sz="1471"/>
            </a:lvl3pPr>
            <a:lvl4pPr marL="588254" indent="0">
              <a:buNone/>
              <a:defRPr sz="1471"/>
            </a:lvl4pPr>
            <a:lvl5pPr marL="756326" indent="0">
              <a:buNone/>
              <a:defRPr sz="1471"/>
            </a:lvl5pPr>
          </a:lstStyle>
          <a:p>
            <a:pPr lvl="0"/>
            <a:r>
              <a:rPr lang="en-US" dirty="0"/>
              <a:t>Session Code</a:t>
            </a:r>
          </a:p>
        </p:txBody>
      </p:sp>
    </p:spTree>
    <p:extLst>
      <p:ext uri="{BB962C8B-B14F-4D97-AF65-F5344CB8AC3E}">
        <p14:creationId xmlns:p14="http://schemas.microsoft.com/office/powerpoint/2010/main" val="11475384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7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950"/>
                                        <p:tgtEl>
                                          <p:spTgt spid="7"/>
                                        </p:tgtEl>
                                      </p:cBhvr>
                                    </p:animEffect>
                                  </p:childTnLst>
                                </p:cTn>
                              </p:par>
                              <p:par>
                                <p:cTn id="8" presetID="63" presetClass="path" presetSubtype="0" decel="100000" fill="hold" grpId="1" nodeType="withEffect">
                                  <p:stCondLst>
                                    <p:cond delay="700"/>
                                  </p:stCondLst>
                                  <p:childTnLst>
                                    <p:animMotion origin="layout" path="M -0.01455 2.13345E-6 L 1.62369E-6 2.13345E-6 " pathEditMode="relative" rAng="0" ptsTypes="AA">
                                      <p:cBhvr>
                                        <p:cTn id="9" dur="950" fill="hold"/>
                                        <p:tgtEl>
                                          <p:spTgt spid="7"/>
                                        </p:tgtEl>
                                        <p:attrNameLst>
                                          <p:attrName>ppt_x</p:attrName>
                                          <p:attrName>ppt_y</p:attrName>
                                        </p:attrNameLst>
                                      </p:cBhvr>
                                      <p:rCtr x="728" y="0"/>
                                    </p:animMotion>
                                  </p:childTnLst>
                                </p:cTn>
                              </p:par>
                              <p:par>
                                <p:cTn id="10" presetID="6" presetClass="emph" presetSubtype="0" accel="100000" autoRev="1" fill="hold" grpId="2" nodeType="withEffect">
                                  <p:stCondLst>
                                    <p:cond delay="0"/>
                                  </p:stCondLst>
                                  <p:childTnLst>
                                    <p:animScale>
                                      <p:cBhvr>
                                        <p:cTn id="11" dur="500" fill="hold"/>
                                        <p:tgtEl>
                                          <p:spTgt spid="7"/>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tmplLst>
          <p:tmpl>
            <p:tnLst>
              <p:par>
                <p:cTn presetID="10" presetClass="entr" presetSubtype="0" fill="hold" nodeType="withEffect">
                  <p:stCondLst>
                    <p:cond delay="700"/>
                  </p:stCondLst>
                  <p:childTnLst>
                    <p:set>
                      <p:cBhvr>
                        <p:cTn dur="1" fill="hold">
                          <p:stCondLst>
                            <p:cond delay="0"/>
                          </p:stCondLst>
                        </p:cTn>
                        <p:tgtEl>
                          <p:spTgt spid="7"/>
                        </p:tgtEl>
                        <p:attrNameLst>
                          <p:attrName>style.visibility</p:attrName>
                        </p:attrNameLst>
                      </p:cBhvr>
                      <p:to>
                        <p:strVal val="visible"/>
                      </p:to>
                    </p:set>
                    <p:animEffect transition="in" filter="fade">
                      <p:cBhvr>
                        <p:cTn dur="950"/>
                        <p:tgtEl>
                          <p:spTgt spid="7"/>
                        </p:tgtEl>
                      </p:cBhvr>
                    </p:animEffect>
                  </p:childTnLst>
                </p:cTn>
              </p:par>
            </p:tnLst>
          </p:tmpl>
        </p:tmplLst>
      </p:bldP>
      <p:bldP spid="7" grpId="1"/>
      <p:bldP spid="7" grpId="2"/>
    </p:bldLst>
  </p:timing>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0" y="1189177"/>
            <a:ext cx="8741309" cy="1746440"/>
          </a:xfrm>
        </p:spPr>
        <p:txBody>
          <a:bodyPr>
            <a:spAutoFit/>
          </a:bodyPr>
          <a:lstStyle>
            <a:lvl1pPr marL="0" indent="0">
              <a:buNone/>
              <a:defRPr/>
            </a:lvl1pPr>
            <a:lvl2pPr marL="168073" indent="0">
              <a:buNone/>
              <a:defRPr/>
            </a:lvl2pPr>
            <a:lvl3pPr marL="336145" indent="0">
              <a:buNone/>
              <a:defRPr/>
            </a:lvl3pPr>
            <a:lvl4pPr marL="504218"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226508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01977" y="1187645"/>
            <a:ext cx="8741309" cy="174644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699912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Edit Master text styles</a:t>
            </a:r>
          </a:p>
        </p:txBody>
      </p:sp>
      <p:sp>
        <p:nvSpPr>
          <p:cNvPr id="4" name="Text Placeholder 4">
            <a:extLst>
              <a:ext uri="{FF2B5EF4-FFF2-40B4-BE49-F238E27FC236}">
                <a16:creationId xmlns:a16="http://schemas.microsoft.com/office/drawing/2014/main" id="{24211B1E-98C0-42A2-80F7-77814EB2808C}"/>
              </a:ext>
            </a:extLst>
          </p:cNvPr>
          <p:cNvSpPr>
            <a:spLocks noGrp="1"/>
          </p:cNvSpPr>
          <p:nvPr>
            <p:ph type="body" sz="quarter" idx="10" hasCustomPrompt="1"/>
          </p:nvPr>
        </p:nvSpPr>
        <p:spPr>
          <a:xfrm>
            <a:off x="261188" y="6307137"/>
            <a:ext cx="8574837"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2804364859"/>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1" y="1187644"/>
            <a:ext cx="4033911" cy="1610697"/>
          </a:xfrm>
        </p:spPr>
        <p:txBody>
          <a:bodyPr wrap="square">
            <a:spAutoFit/>
          </a:bodyPr>
          <a:lstStyle>
            <a:lvl1pPr marL="0" indent="0">
              <a:spcBef>
                <a:spcPts val="900"/>
              </a:spcBef>
              <a:buClr>
                <a:schemeClr val="tx1"/>
              </a:buClr>
              <a:buFont typeface="Wingdings" panose="05000000000000000000" pitchFamily="2" charset="2"/>
              <a:buNone/>
              <a:defRPr sz="2206" b="0">
                <a:latin typeface="+mn-lt"/>
              </a:defRPr>
            </a:lvl1pPr>
            <a:lvl2pPr marL="187915" indent="0">
              <a:buFont typeface="Wingdings" panose="05000000000000000000" pitchFamily="2" charset="2"/>
              <a:buNone/>
              <a:defRPr sz="1765" b="0"/>
            </a:lvl2pPr>
            <a:lvl3pPr marL="331476" indent="0">
              <a:buFont typeface="Wingdings" panose="05000000000000000000" pitchFamily="2" charset="2"/>
              <a:buNone/>
              <a:tabLst/>
              <a:defRPr sz="1618" b="0"/>
            </a:lvl3pPr>
            <a:lvl4pPr marL="479706" indent="0">
              <a:buFont typeface="Wingdings" panose="05000000000000000000" pitchFamily="2" charset="2"/>
              <a:buNone/>
              <a:defRPr sz="1618" b="0"/>
            </a:lvl4pPr>
            <a:lvl5pPr marL="627938" indent="0">
              <a:buFont typeface="Wingdings" panose="05000000000000000000" pitchFamily="2" charset="2"/>
              <a:buNone/>
              <a:tabLst/>
              <a:defRPr sz="161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4908161" y="1187644"/>
            <a:ext cx="4033911" cy="1868588"/>
          </a:xfrm>
        </p:spPr>
        <p:txBody>
          <a:bodyPr wrap="square">
            <a:spAutoFit/>
          </a:bodyPr>
          <a:lstStyle>
            <a:lvl1pPr marL="0" indent="0">
              <a:spcBef>
                <a:spcPts val="900"/>
              </a:spcBef>
              <a:buClr>
                <a:schemeClr val="tx1"/>
              </a:buClr>
              <a:buFont typeface="Arial" panose="020B0604020202020204" pitchFamily="34" charset="0"/>
              <a:buNone/>
              <a:defRPr lang="en-US" sz="2206" b="0" kern="1200" spc="0" baseline="0" dirty="0">
                <a:gradFill>
                  <a:gsLst>
                    <a:gs pos="1250">
                      <a:schemeClr val="tx1"/>
                    </a:gs>
                    <a:gs pos="100000">
                      <a:schemeClr val="tx1"/>
                    </a:gs>
                  </a:gsLst>
                  <a:lin ang="5400000" scaled="0"/>
                </a:gradFill>
                <a:latin typeface="+mn-lt"/>
                <a:ea typeface="+mn-ea"/>
                <a:cs typeface="+mn-cs"/>
              </a:defRPr>
            </a:lvl1pPr>
            <a:lvl2pPr marL="187915" indent="0">
              <a:buFont typeface="Arial" panose="020B0604020202020204" pitchFamily="34" charset="0"/>
              <a:buNone/>
              <a:defRPr lang="en-US" sz="1765" b="0" kern="1200" spc="0" baseline="0" dirty="0">
                <a:gradFill>
                  <a:gsLst>
                    <a:gs pos="1250">
                      <a:schemeClr val="tx1"/>
                    </a:gs>
                    <a:gs pos="100000">
                      <a:schemeClr val="tx1"/>
                    </a:gs>
                  </a:gsLst>
                  <a:lin ang="5400000" scaled="0"/>
                </a:gradFill>
                <a:latin typeface="+mn-lt"/>
                <a:ea typeface="+mn-ea"/>
                <a:cs typeface="+mn-cs"/>
              </a:defRPr>
            </a:lvl2pPr>
            <a:lvl3pPr marL="331476" indent="0">
              <a:buFont typeface="Arial" panose="020B0604020202020204" pitchFamily="34" charset="0"/>
              <a:buNone/>
              <a:tabLst/>
              <a:defRPr lang="en-US" sz="1618" b="0" kern="1200" spc="0" baseline="0" dirty="0">
                <a:gradFill>
                  <a:gsLst>
                    <a:gs pos="1250">
                      <a:schemeClr val="tx1"/>
                    </a:gs>
                    <a:gs pos="100000">
                      <a:schemeClr val="tx1"/>
                    </a:gs>
                  </a:gsLst>
                  <a:lin ang="5400000" scaled="0"/>
                </a:gradFill>
                <a:latin typeface="+mn-lt"/>
                <a:ea typeface="+mn-ea"/>
                <a:cs typeface="+mn-cs"/>
              </a:defRPr>
            </a:lvl3pPr>
            <a:lvl4pPr marL="479706" indent="0">
              <a:buFont typeface="Arial" panose="020B0604020202020204" pitchFamily="34" charset="0"/>
              <a:buNone/>
              <a:defRPr lang="en-US" sz="1618" b="0" kern="1200" spc="0" baseline="0" dirty="0">
                <a:gradFill>
                  <a:gsLst>
                    <a:gs pos="1250">
                      <a:schemeClr val="tx1"/>
                    </a:gs>
                    <a:gs pos="100000">
                      <a:schemeClr val="tx1"/>
                    </a:gs>
                  </a:gsLst>
                  <a:lin ang="5400000" scaled="0"/>
                </a:gradFill>
                <a:latin typeface="+mn-lt"/>
                <a:ea typeface="+mn-ea"/>
                <a:cs typeface="+mn-cs"/>
              </a:defRPr>
            </a:lvl4pPr>
            <a:lvl5pPr marL="627938" indent="0">
              <a:buFont typeface="Arial" panose="020B0604020202020204" pitchFamily="34" charset="0"/>
              <a:buNone/>
              <a:tabLst/>
              <a:defRPr lang="en-US" sz="1618" b="0" kern="1200" spc="0" baseline="0" dirty="0">
                <a:gradFill>
                  <a:gsLst>
                    <a:gs pos="1250">
                      <a:schemeClr val="tx1"/>
                    </a:gs>
                    <a:gs pos="100000">
                      <a:schemeClr val="tx1"/>
                    </a:gs>
                  </a:gsLst>
                  <a:lin ang="5400000" scaled="0"/>
                </a:gradFill>
                <a:latin typeface="+mn-lt"/>
                <a:ea typeface="+mn-ea"/>
                <a:cs typeface="+mn-cs"/>
              </a:defRPr>
            </a:lvl5pPr>
          </a:lstStyle>
          <a:p>
            <a:pPr marL="378163" marR="0" lvl="0" indent="-378163" algn="l" defTabSz="685775" rtl="0" eaLnBrk="1" fontAlgn="auto" latinLnBrk="0" hangingPunct="1">
              <a:lnSpc>
                <a:spcPct val="90000"/>
              </a:lnSpc>
              <a:spcBef>
                <a:spcPts val="900"/>
              </a:spcBef>
              <a:spcAft>
                <a:spcPts val="0"/>
              </a:spcAft>
              <a:buClr>
                <a:schemeClr val="tx1"/>
              </a:buClr>
              <a:buSzPct val="90000"/>
              <a:tabLst/>
            </a:pPr>
            <a:r>
              <a:rPr lang="en-US"/>
              <a:t>Edit Master text styles</a:t>
            </a:r>
          </a:p>
          <a:p>
            <a:pPr marL="378163" marR="0" lvl="1" indent="-378163" algn="l" defTabSz="685775" rtl="0" eaLnBrk="1" fontAlgn="auto" latinLnBrk="0" hangingPunct="1">
              <a:lnSpc>
                <a:spcPct val="90000"/>
              </a:lnSpc>
              <a:spcBef>
                <a:spcPts val="900"/>
              </a:spcBef>
              <a:spcAft>
                <a:spcPts val="0"/>
              </a:spcAft>
              <a:buClr>
                <a:schemeClr val="tx1"/>
              </a:buClr>
              <a:buSzPct val="90000"/>
              <a:tabLst/>
            </a:pPr>
            <a:r>
              <a:rPr lang="en-US"/>
              <a:t>Second level</a:t>
            </a:r>
          </a:p>
          <a:p>
            <a:pPr marL="378163" marR="0" lvl="2" indent="-378163" algn="l" defTabSz="685775" rtl="0" eaLnBrk="1" fontAlgn="auto" latinLnBrk="0" hangingPunct="1">
              <a:lnSpc>
                <a:spcPct val="90000"/>
              </a:lnSpc>
              <a:spcBef>
                <a:spcPts val="900"/>
              </a:spcBef>
              <a:spcAft>
                <a:spcPts val="0"/>
              </a:spcAft>
              <a:buClr>
                <a:schemeClr val="tx1"/>
              </a:buClr>
              <a:buSzPct val="90000"/>
              <a:tabLst/>
            </a:pPr>
            <a:r>
              <a:rPr lang="en-US"/>
              <a:t>Third level</a:t>
            </a:r>
          </a:p>
          <a:p>
            <a:pPr marL="378163" marR="0" lvl="3" indent="-378163" algn="l" defTabSz="685775" rtl="0" eaLnBrk="1" fontAlgn="auto" latinLnBrk="0" hangingPunct="1">
              <a:lnSpc>
                <a:spcPct val="90000"/>
              </a:lnSpc>
              <a:spcBef>
                <a:spcPts val="900"/>
              </a:spcBef>
              <a:spcAft>
                <a:spcPts val="0"/>
              </a:spcAft>
              <a:buClr>
                <a:schemeClr val="tx1"/>
              </a:buClr>
              <a:buSzPct val="90000"/>
              <a:tabLst/>
            </a:pPr>
            <a:r>
              <a:rPr lang="en-US"/>
              <a:t>Fourth level</a:t>
            </a:r>
          </a:p>
          <a:p>
            <a:pPr marL="378163" marR="0" lvl="4" indent="-378163" algn="l" defTabSz="685775" rtl="0" eaLnBrk="1" fontAlgn="auto" latinLnBrk="0" hangingPunct="1">
              <a:lnSpc>
                <a:spcPct val="90000"/>
              </a:lnSpc>
              <a:spcBef>
                <a:spcPts val="900"/>
              </a:spcBef>
              <a:spcAft>
                <a:spcPts val="0"/>
              </a:spcAft>
              <a:buClr>
                <a:schemeClr val="tx1"/>
              </a:buClr>
              <a:buSzPct val="90000"/>
              <a:tabLst/>
            </a:pPr>
            <a:r>
              <a:rPr lang="en-US"/>
              <a:t>Fifth level</a:t>
            </a:r>
            <a:endParaRPr lang="en-US" dirty="0"/>
          </a:p>
        </p:txBody>
      </p:sp>
    </p:spTree>
    <p:extLst>
      <p:ext uri="{BB962C8B-B14F-4D97-AF65-F5344CB8AC3E}">
        <p14:creationId xmlns:p14="http://schemas.microsoft.com/office/powerpoint/2010/main" val="25323993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1" y="1187644"/>
            <a:ext cx="4033911" cy="1610697"/>
          </a:xfrm>
        </p:spPr>
        <p:txBody>
          <a:bodyPr wrap="square">
            <a:spAutoFit/>
          </a:bodyPr>
          <a:lstStyle>
            <a:lvl1pPr marL="170407" indent="-170407">
              <a:spcBef>
                <a:spcPts val="900"/>
              </a:spcBef>
              <a:buClr>
                <a:schemeClr val="tx1"/>
              </a:buClr>
              <a:buFont typeface="Wingdings" panose="05000000000000000000" pitchFamily="2" charset="2"/>
              <a:buChar char=""/>
              <a:defRPr sz="2206" b="0">
                <a:latin typeface="+mn-lt"/>
              </a:defRPr>
            </a:lvl1pPr>
            <a:lvl2pPr marL="313969" indent="-126054">
              <a:buFont typeface="Wingdings" panose="05000000000000000000" pitchFamily="2" charset="2"/>
              <a:buChar char=""/>
              <a:defRPr sz="1765" b="0"/>
            </a:lvl2pPr>
            <a:lvl3pPr marL="470370" indent="-138893">
              <a:buFont typeface="Wingdings" panose="05000000000000000000" pitchFamily="2" charset="2"/>
              <a:buChar char=""/>
              <a:tabLst/>
              <a:defRPr sz="1618" b="0"/>
            </a:lvl3pPr>
            <a:lvl4pPr marL="609263" indent="-129557">
              <a:buFont typeface="Wingdings" panose="05000000000000000000" pitchFamily="2" charset="2"/>
              <a:buChar char=""/>
              <a:defRPr sz="1618" b="0"/>
            </a:lvl4pPr>
            <a:lvl5pPr marL="752825" indent="-124888">
              <a:buFont typeface="Wingdings" panose="05000000000000000000" pitchFamily="2" charset="2"/>
              <a:buChar char=""/>
              <a:tabLst/>
              <a:defRPr sz="161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4908161" y="1187644"/>
            <a:ext cx="4033911" cy="1868588"/>
          </a:xfrm>
        </p:spPr>
        <p:txBody>
          <a:bodyPr wrap="square">
            <a:spAutoFit/>
          </a:bodyPr>
          <a:lstStyle>
            <a:lvl1pPr marL="211258" indent="-211258">
              <a:spcBef>
                <a:spcPts val="900"/>
              </a:spcBef>
              <a:buClr>
                <a:schemeClr val="tx1"/>
              </a:buClr>
              <a:buFont typeface="Arial" pitchFamily="34" charset="0"/>
              <a:buChar char="•"/>
              <a:defRPr lang="en-US" sz="2206" b="0" kern="1200" spc="0" baseline="0" dirty="0">
                <a:gradFill>
                  <a:gsLst>
                    <a:gs pos="1250">
                      <a:schemeClr val="tx1"/>
                    </a:gs>
                    <a:gs pos="100000">
                      <a:schemeClr val="tx1"/>
                    </a:gs>
                  </a:gsLst>
                  <a:lin ang="5400000" scaled="0"/>
                </a:gradFill>
                <a:latin typeface="+mn-lt"/>
                <a:ea typeface="+mn-ea"/>
                <a:cs typeface="+mn-cs"/>
              </a:defRPr>
            </a:lvl1pPr>
            <a:lvl2pPr marL="440024" indent="-252109">
              <a:defRPr lang="en-US" sz="1765" b="0" kern="1200" spc="0" baseline="0" dirty="0">
                <a:gradFill>
                  <a:gsLst>
                    <a:gs pos="1250">
                      <a:schemeClr val="tx1"/>
                    </a:gs>
                    <a:gs pos="100000">
                      <a:schemeClr val="tx1"/>
                    </a:gs>
                  </a:gsLst>
                  <a:lin ang="5400000" scaled="0"/>
                </a:gradFill>
                <a:latin typeface="+mn-lt"/>
                <a:ea typeface="+mn-ea"/>
                <a:cs typeface="+mn-cs"/>
              </a:defRPr>
            </a:lvl2pPr>
            <a:lvl3pPr marL="583585" indent="-252109">
              <a:tabLst/>
              <a:defRPr lang="en-US" sz="1618" b="0" kern="1200" spc="0" baseline="0" dirty="0">
                <a:gradFill>
                  <a:gsLst>
                    <a:gs pos="1250">
                      <a:schemeClr val="tx1"/>
                    </a:gs>
                    <a:gs pos="100000">
                      <a:schemeClr val="tx1"/>
                    </a:gs>
                  </a:gsLst>
                  <a:lin ang="5400000" scaled="0"/>
                </a:gradFill>
                <a:latin typeface="+mn-lt"/>
                <a:ea typeface="+mn-ea"/>
                <a:cs typeface="+mn-cs"/>
              </a:defRPr>
            </a:lvl3pPr>
            <a:lvl4pPr marL="731815" indent="-252109">
              <a:defRPr lang="en-US" sz="1618" b="0" kern="1200" spc="0" baseline="0" dirty="0">
                <a:gradFill>
                  <a:gsLst>
                    <a:gs pos="1250">
                      <a:schemeClr val="tx1"/>
                    </a:gs>
                    <a:gs pos="100000">
                      <a:schemeClr val="tx1"/>
                    </a:gs>
                  </a:gsLst>
                  <a:lin ang="5400000" scaled="0"/>
                </a:gradFill>
                <a:latin typeface="+mn-lt"/>
                <a:ea typeface="+mn-ea"/>
                <a:cs typeface="+mn-cs"/>
              </a:defRPr>
            </a:lvl4pPr>
            <a:lvl5pPr marL="880046" indent="-252109">
              <a:tabLst/>
              <a:defRPr lang="en-US" sz="1618" b="0" kern="1200" spc="0" baseline="0" dirty="0">
                <a:gradFill>
                  <a:gsLst>
                    <a:gs pos="1250">
                      <a:schemeClr val="tx1"/>
                    </a:gs>
                    <a:gs pos="100000">
                      <a:schemeClr val="tx1"/>
                    </a:gs>
                  </a:gsLst>
                  <a:lin ang="5400000" scaled="0"/>
                </a:gradFill>
                <a:latin typeface="+mn-lt"/>
                <a:ea typeface="+mn-ea"/>
                <a:cs typeface="+mn-cs"/>
              </a:defRPr>
            </a:lvl5pPr>
          </a:lstStyle>
          <a:p>
            <a:pPr marL="170407" marR="0" lvl="0" indent="-170407" algn="l" defTabSz="685775" rtl="0" eaLnBrk="1" fontAlgn="auto" latinLnBrk="0" hangingPunct="1">
              <a:lnSpc>
                <a:spcPct val="90000"/>
              </a:lnSpc>
              <a:spcBef>
                <a:spcPts val="900"/>
              </a:spcBef>
              <a:spcAft>
                <a:spcPts val="0"/>
              </a:spcAft>
              <a:buClr>
                <a:schemeClr val="tx1"/>
              </a:buClr>
              <a:buSzPct val="90000"/>
              <a:buFont typeface="Wingdings" panose="05000000000000000000" pitchFamily="2" charset="2"/>
              <a:buChar char=""/>
              <a:tabLst/>
            </a:pPr>
            <a:r>
              <a:rPr lang="en-US"/>
              <a:t>Edit Master text styles</a:t>
            </a:r>
          </a:p>
          <a:p>
            <a:pPr marL="170407" marR="0" lvl="1" indent="-170407" algn="l" defTabSz="685775" rtl="0" eaLnBrk="1" fontAlgn="auto" latinLnBrk="0" hangingPunct="1">
              <a:lnSpc>
                <a:spcPct val="90000"/>
              </a:lnSpc>
              <a:spcBef>
                <a:spcPts val="900"/>
              </a:spcBef>
              <a:spcAft>
                <a:spcPts val="0"/>
              </a:spcAft>
              <a:buClr>
                <a:schemeClr val="tx1"/>
              </a:buClr>
              <a:buSzPct val="90000"/>
              <a:buFont typeface="Wingdings" panose="05000000000000000000" pitchFamily="2" charset="2"/>
              <a:buChar char=""/>
              <a:tabLst/>
            </a:pPr>
            <a:r>
              <a:rPr lang="en-US"/>
              <a:t>Second level</a:t>
            </a:r>
          </a:p>
          <a:p>
            <a:pPr marL="170407" marR="0" lvl="2" indent="-170407" algn="l" defTabSz="685775" rtl="0" eaLnBrk="1" fontAlgn="auto" latinLnBrk="0" hangingPunct="1">
              <a:lnSpc>
                <a:spcPct val="90000"/>
              </a:lnSpc>
              <a:spcBef>
                <a:spcPts val="900"/>
              </a:spcBef>
              <a:spcAft>
                <a:spcPts val="0"/>
              </a:spcAft>
              <a:buClr>
                <a:schemeClr val="tx1"/>
              </a:buClr>
              <a:buSzPct val="90000"/>
              <a:buFont typeface="Wingdings" panose="05000000000000000000" pitchFamily="2" charset="2"/>
              <a:buChar char=""/>
              <a:tabLst/>
            </a:pPr>
            <a:r>
              <a:rPr lang="en-US"/>
              <a:t>Third level</a:t>
            </a:r>
          </a:p>
          <a:p>
            <a:pPr marL="170407" marR="0" lvl="3" indent="-170407" algn="l" defTabSz="685775" rtl="0" eaLnBrk="1" fontAlgn="auto" latinLnBrk="0" hangingPunct="1">
              <a:lnSpc>
                <a:spcPct val="90000"/>
              </a:lnSpc>
              <a:spcBef>
                <a:spcPts val="900"/>
              </a:spcBef>
              <a:spcAft>
                <a:spcPts val="0"/>
              </a:spcAft>
              <a:buClr>
                <a:schemeClr val="tx1"/>
              </a:buClr>
              <a:buSzPct val="90000"/>
              <a:buFont typeface="Wingdings" panose="05000000000000000000" pitchFamily="2" charset="2"/>
              <a:buChar char=""/>
              <a:tabLst/>
            </a:pPr>
            <a:r>
              <a:rPr lang="en-US"/>
              <a:t>Fourth level</a:t>
            </a:r>
          </a:p>
          <a:p>
            <a:pPr marL="170407" marR="0" lvl="4" indent="-170407" algn="l" defTabSz="685775" rtl="0" eaLnBrk="1" fontAlgn="auto" latinLnBrk="0" hangingPunct="1">
              <a:lnSpc>
                <a:spcPct val="90000"/>
              </a:lnSpc>
              <a:spcBef>
                <a:spcPts val="900"/>
              </a:spcBef>
              <a:spcAft>
                <a:spcPts val="0"/>
              </a:spcAft>
              <a:buClr>
                <a:schemeClr val="tx1"/>
              </a:buClr>
              <a:buSzPct val="90000"/>
              <a:buFont typeface="Wingdings" panose="05000000000000000000" pitchFamily="2" charset="2"/>
              <a:buChar char=""/>
              <a:tabLst/>
            </a:pPr>
            <a:r>
              <a:rPr lang="en-US"/>
              <a:t>Fifth level</a:t>
            </a:r>
            <a:endParaRPr lang="en-US" dirty="0"/>
          </a:p>
        </p:txBody>
      </p:sp>
    </p:spTree>
    <p:extLst>
      <p:ext uri="{BB962C8B-B14F-4D97-AF65-F5344CB8AC3E}">
        <p14:creationId xmlns:p14="http://schemas.microsoft.com/office/powerpoint/2010/main" val="8142475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94C1D52-F5EA-4B1D-8BA6-224F2EFC9117}"/>
              </a:ext>
            </a:extLst>
          </p:cNvPr>
          <p:cNvGraphicFramePr>
            <a:graphicFrameLocks noChangeAspect="1"/>
          </p:cNvGraphicFramePr>
          <p:nvPr userDrawn="1">
            <p:custDataLst>
              <p:tags r:id="rId2"/>
            </p:custDataLst>
            <p:extLst/>
          </p:nvPr>
        </p:nvGraphicFramePr>
        <p:xfrm>
          <a:off x="1168" y="1558"/>
          <a:ext cx="1167" cy="1556"/>
        </p:xfrm>
        <a:graphic>
          <a:graphicData uri="http://schemas.openxmlformats.org/presentationml/2006/ole">
            <mc:AlternateContent xmlns:mc="http://schemas.openxmlformats.org/markup-compatibility/2006">
              <mc:Choice xmlns:v="urn:schemas-microsoft-com:vml" Requires="v">
                <p:oleObj spid="_x0000_s6146" name="think-cell Slide" r:id="rId4" imgW="425" imgH="424" progId="TCLayout.ActiveDocument.1">
                  <p:embed/>
                </p:oleObj>
              </mc:Choice>
              <mc:Fallback>
                <p:oleObj name="think-cell Slide" r:id="rId4" imgW="425" imgH="424" progId="TCLayout.ActiveDocument.1">
                  <p:embed/>
                  <p:pic>
                    <p:nvPicPr>
                      <p:cNvPr id="3" name="Object 2" hidden="1">
                        <a:extLst>
                          <a:ext uri="{FF2B5EF4-FFF2-40B4-BE49-F238E27FC236}">
                            <a16:creationId xmlns:a16="http://schemas.microsoft.com/office/drawing/2014/main" id="{894C1D52-F5EA-4B1D-8BA6-224F2EFC9117}"/>
                          </a:ext>
                        </a:extLst>
                      </p:cNvPr>
                      <p:cNvPicPr/>
                      <p:nvPr/>
                    </p:nvPicPr>
                    <p:blipFill>
                      <a:blip r:embed="rId5"/>
                      <a:stretch>
                        <a:fillRect/>
                      </a:stretch>
                    </p:blipFill>
                    <p:spPr>
                      <a:xfrm>
                        <a:off x="1168" y="1558"/>
                        <a:ext cx="1167" cy="1556"/>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40085678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graphicFrame>
        <p:nvGraphicFramePr>
          <p:cNvPr id="3" name="Table 2">
            <a:extLst>
              <a:ext uri="{FF2B5EF4-FFF2-40B4-BE49-F238E27FC236}">
                <a16:creationId xmlns:a16="http://schemas.microsoft.com/office/drawing/2014/main" id="{0DA8EFC8-B6A4-4A4B-9EDA-91002B4DFD8C}"/>
              </a:ext>
            </a:extLst>
          </p:cNvPr>
          <p:cNvGraphicFramePr>
            <a:graphicFrameLocks noGrp="1"/>
          </p:cNvGraphicFramePr>
          <p:nvPr userDrawn="1">
            <p:extLst/>
          </p:nvPr>
        </p:nvGraphicFramePr>
        <p:xfrm>
          <a:off x="178159" y="1594041"/>
          <a:ext cx="8798975" cy="915686"/>
        </p:xfrm>
        <a:graphic>
          <a:graphicData uri="http://schemas.openxmlformats.org/drawingml/2006/table">
            <a:tbl>
              <a:tblPr firstRow="1" bandRow="1">
                <a:tableStyleId>{5C22544A-7EE6-4342-B048-85BDC9FD1C3A}</a:tableStyleId>
              </a:tblPr>
              <a:tblGrid>
                <a:gridCol w="247744">
                  <a:extLst>
                    <a:ext uri="{9D8B030D-6E8A-4147-A177-3AD203B41FA5}">
                      <a16:colId xmlns:a16="http://schemas.microsoft.com/office/drawing/2014/main" val="612254498"/>
                    </a:ext>
                  </a:extLst>
                </a:gridCol>
                <a:gridCol w="2696195">
                  <a:extLst>
                    <a:ext uri="{9D8B030D-6E8A-4147-A177-3AD203B41FA5}">
                      <a16:colId xmlns:a16="http://schemas.microsoft.com/office/drawing/2014/main" val="1261049811"/>
                    </a:ext>
                  </a:extLst>
                </a:gridCol>
                <a:gridCol w="241048">
                  <a:extLst>
                    <a:ext uri="{9D8B030D-6E8A-4147-A177-3AD203B41FA5}">
                      <a16:colId xmlns:a16="http://schemas.microsoft.com/office/drawing/2014/main" val="2638922956"/>
                    </a:ext>
                  </a:extLst>
                </a:gridCol>
                <a:gridCol w="2696195">
                  <a:extLst>
                    <a:ext uri="{9D8B030D-6E8A-4147-A177-3AD203B41FA5}">
                      <a16:colId xmlns:a16="http://schemas.microsoft.com/office/drawing/2014/main" val="1530065899"/>
                    </a:ext>
                  </a:extLst>
                </a:gridCol>
                <a:gridCol w="221596">
                  <a:extLst>
                    <a:ext uri="{9D8B030D-6E8A-4147-A177-3AD203B41FA5}">
                      <a16:colId xmlns:a16="http://schemas.microsoft.com/office/drawing/2014/main" val="1628348927"/>
                    </a:ext>
                  </a:extLst>
                </a:gridCol>
                <a:gridCol w="2696195">
                  <a:extLst>
                    <a:ext uri="{9D8B030D-6E8A-4147-A177-3AD203B41FA5}">
                      <a16:colId xmlns:a16="http://schemas.microsoft.com/office/drawing/2014/main" val="3564049150"/>
                    </a:ext>
                  </a:extLst>
                </a:gridCol>
              </a:tblGrid>
              <a:tr h="915686">
                <a:tc>
                  <a:txBody>
                    <a:bodyPr/>
                    <a:lstStyle/>
                    <a:p>
                      <a:pPr algn="ctr"/>
                      <a:r>
                        <a:rPr lang="en-US" sz="1800" dirty="0">
                          <a:solidFill>
                            <a:schemeClr val="bg1"/>
                          </a:solidFill>
                        </a:rPr>
                        <a:t>1</a:t>
                      </a:r>
                    </a:p>
                  </a:txBody>
                  <a:tcPr marL="68570" marR="6857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accent2"/>
                    </a:solidFill>
                  </a:tcPr>
                </a:tc>
                <a:tc>
                  <a:txBody>
                    <a:bodyPr/>
                    <a:lstStyle/>
                    <a:p>
                      <a:pPr marL="0" indent="0" algn="l">
                        <a:buFont typeface="Arial" panose="020B0604020202020204" pitchFamily="34" charset="0"/>
                        <a:buNone/>
                      </a:pPr>
                      <a:endParaRPr lang="en-US" sz="1200" b="0" dirty="0">
                        <a:solidFill>
                          <a:schemeClr val="tx1"/>
                        </a:solidFill>
                        <a:latin typeface="Segoe UI" panose="020B0502040204020203" pitchFamily="34" charset="0"/>
                        <a:cs typeface="Segoe UI" panose="020B0502040204020203" pitchFamily="34" charset="0"/>
                      </a:endParaRPr>
                    </a:p>
                  </a:txBody>
                  <a:tcPr marL="68570" marR="6857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tc>
                  <a:txBody>
                    <a:bodyPr/>
                    <a:lstStyle/>
                    <a:p>
                      <a:pPr algn="ctr"/>
                      <a:r>
                        <a:rPr lang="en-US" sz="1800" dirty="0">
                          <a:solidFill>
                            <a:schemeClr val="bg1"/>
                          </a:solidFill>
                        </a:rPr>
                        <a:t>2</a:t>
                      </a:r>
                    </a:p>
                  </a:txBody>
                  <a:tcPr marL="68570" marR="6857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accent2"/>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a:txBody>
                  <a:tcPr marL="68570" marR="6857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tc>
                  <a:txBody>
                    <a:bodyPr/>
                    <a:lstStyle/>
                    <a:p>
                      <a:pPr algn="ctr"/>
                      <a:r>
                        <a:rPr lang="en-US" sz="1800" dirty="0">
                          <a:solidFill>
                            <a:schemeClr val="bg1"/>
                          </a:solidFill>
                        </a:rPr>
                        <a:t>3</a:t>
                      </a:r>
                    </a:p>
                  </a:txBody>
                  <a:tcPr marL="68570" marR="6857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accent2"/>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a:txBody>
                  <a:tcPr marL="68570" marR="6857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02296024"/>
                  </a:ext>
                </a:extLst>
              </a:tr>
            </a:tbl>
          </a:graphicData>
        </a:graphic>
      </p:graphicFrame>
      <p:sp>
        <p:nvSpPr>
          <p:cNvPr id="4" name="Rectangle 3">
            <a:extLst>
              <a:ext uri="{FF2B5EF4-FFF2-40B4-BE49-F238E27FC236}">
                <a16:creationId xmlns:a16="http://schemas.microsoft.com/office/drawing/2014/main" id="{E0AD6D0A-0B93-4FDA-8794-74E05AF3986D}"/>
              </a:ext>
            </a:extLst>
          </p:cNvPr>
          <p:cNvSpPr/>
          <p:nvPr userDrawn="1"/>
        </p:nvSpPr>
        <p:spPr>
          <a:xfrm>
            <a:off x="4670373" y="2843719"/>
            <a:ext cx="4307306" cy="2266594"/>
          </a:xfrm>
          <a:prstGeom prst="rect">
            <a:avLst/>
          </a:prstGeom>
          <a:solidFill>
            <a:schemeClr val="bg1"/>
          </a:solidFill>
          <a:ln w="317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70" tIns="137141" rIns="68570" bIns="34285" numCol="1" spcCol="0" rtlCol="0" fromWordArt="0" anchor="t" anchorCtr="0" forceAA="0" compatLnSpc="1">
            <a:prstTxWarp prst="textNoShape">
              <a:avLst/>
            </a:prstTxWarp>
            <a:noAutofit/>
          </a:bodyPr>
          <a:lstStyle/>
          <a:p>
            <a:pPr marL="214271" indent="-214271">
              <a:buFont typeface="+mj-lt"/>
              <a:buAutoNum type="arabicPeriod"/>
            </a:pPr>
            <a:endParaRPr lang="en-US" sz="900" dirty="0">
              <a:solidFill>
                <a:schemeClr val="tx1"/>
              </a:solidFill>
              <a:latin typeface="Segoe UI" panose="020B0502040204020203" pitchFamily="34" charset="0"/>
              <a:cs typeface="Segoe UI" panose="020B0502040204020203" pitchFamily="34" charset="0"/>
            </a:endParaRPr>
          </a:p>
        </p:txBody>
      </p:sp>
      <p:sp>
        <p:nvSpPr>
          <p:cNvPr id="5" name="Rectangle 4">
            <a:extLst>
              <a:ext uri="{FF2B5EF4-FFF2-40B4-BE49-F238E27FC236}">
                <a16:creationId xmlns:a16="http://schemas.microsoft.com/office/drawing/2014/main" id="{AE569D99-EA10-4A5E-A210-0C0CFB1784DA}"/>
              </a:ext>
            </a:extLst>
          </p:cNvPr>
          <p:cNvSpPr/>
          <p:nvPr userDrawn="1"/>
        </p:nvSpPr>
        <p:spPr>
          <a:xfrm>
            <a:off x="169904" y="5453547"/>
            <a:ext cx="8798975" cy="1158475"/>
          </a:xfrm>
          <a:prstGeom prst="rect">
            <a:avLst/>
          </a:prstGeom>
          <a:solidFill>
            <a:schemeClr val="bg1"/>
          </a:solidFill>
          <a:ln w="317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70" tIns="137141" rIns="68570" bIns="34285" numCol="1" spcCol="0" rtlCol="0" fromWordArt="0" anchor="t" anchorCtr="0" forceAA="0" compatLnSpc="1">
            <a:prstTxWarp prst="textNoShape">
              <a:avLst/>
            </a:prstTxWarp>
            <a:noAutofit/>
          </a:bodyPr>
          <a:lstStyle/>
          <a:p>
            <a:pPr marL="214271" indent="-214271">
              <a:buFont typeface="+mj-lt"/>
              <a:buAutoNum type="arabicPeriod"/>
            </a:pPr>
            <a:endParaRPr lang="en-US" sz="900" dirty="0">
              <a:solidFill>
                <a:schemeClr val="tx1"/>
              </a:solidFill>
              <a:latin typeface="Segoe UI" panose="020B0502040204020203" pitchFamily="34" charset="0"/>
              <a:cs typeface="Segoe UI" panose="020B0502040204020203" pitchFamily="34" charset="0"/>
            </a:endParaRPr>
          </a:p>
        </p:txBody>
      </p:sp>
      <p:sp>
        <p:nvSpPr>
          <p:cNvPr id="6" name="Rectangle 5">
            <a:extLst>
              <a:ext uri="{FF2B5EF4-FFF2-40B4-BE49-F238E27FC236}">
                <a16:creationId xmlns:a16="http://schemas.microsoft.com/office/drawing/2014/main" id="{25343C9A-BA04-485B-85B2-7C39B7490E88}"/>
              </a:ext>
            </a:extLst>
          </p:cNvPr>
          <p:cNvSpPr/>
          <p:nvPr userDrawn="1"/>
        </p:nvSpPr>
        <p:spPr>
          <a:xfrm>
            <a:off x="169906" y="2843719"/>
            <a:ext cx="4307306" cy="2266594"/>
          </a:xfrm>
          <a:prstGeom prst="rect">
            <a:avLst/>
          </a:prstGeom>
          <a:solidFill>
            <a:schemeClr val="bg1"/>
          </a:solidFill>
          <a:ln w="317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tIns="137141" rtlCol="0" anchor="t"/>
          <a:lstStyle/>
          <a:p>
            <a:pPr marL="214271" indent="-214271">
              <a:buFont typeface="+mj-lt"/>
              <a:buAutoNum type="arabicPeriod"/>
            </a:pPr>
            <a:endParaRPr lang="en-US" sz="900" dirty="0">
              <a:solidFill>
                <a:schemeClr val="tx1"/>
              </a:solidFill>
              <a:latin typeface="Segoe UI" panose="020B0502040204020203" pitchFamily="34" charset="0"/>
              <a:cs typeface="Segoe UI" panose="020B0502040204020203" pitchFamily="34" charset="0"/>
            </a:endParaRPr>
          </a:p>
        </p:txBody>
      </p:sp>
      <p:sp>
        <p:nvSpPr>
          <p:cNvPr id="7" name="TextBox 6">
            <a:extLst>
              <a:ext uri="{FF2B5EF4-FFF2-40B4-BE49-F238E27FC236}">
                <a16:creationId xmlns:a16="http://schemas.microsoft.com/office/drawing/2014/main" id="{92028F83-BC57-46B6-AE4F-F363D917BFB5}"/>
              </a:ext>
            </a:extLst>
          </p:cNvPr>
          <p:cNvSpPr txBox="1"/>
          <p:nvPr userDrawn="1"/>
        </p:nvSpPr>
        <p:spPr>
          <a:xfrm>
            <a:off x="4669826" y="2707892"/>
            <a:ext cx="1568243" cy="271654"/>
          </a:xfrm>
          <a:prstGeom prst="rect">
            <a:avLst/>
          </a:prstGeom>
          <a:solidFill>
            <a:schemeClr val="bg1"/>
          </a:solidFill>
          <a:ln w="12700">
            <a:solidFill>
              <a:schemeClr val="tx1"/>
            </a:solidFill>
          </a:ln>
        </p:spPr>
        <p:txBody>
          <a:bodyPr wrap="square" lIns="68570" tIns="34285" rIns="68570" bIns="34285" rtlCol="0" anchor="ctr">
            <a:noAutofit/>
          </a:bodyPr>
          <a:lstStyle>
            <a:defPPr>
              <a:defRPr lang="en-US"/>
            </a:defPPr>
            <a:lvl1pPr>
              <a:defRPr sz="2400">
                <a:solidFill>
                  <a:srgbClr val="0078D7"/>
                </a:solidFill>
                <a:latin typeface="+mj-lt"/>
              </a:defRPr>
            </a:lvl1pPr>
          </a:lstStyle>
          <a:p>
            <a:pPr defTabSz="685669">
              <a:defRPr/>
            </a:pPr>
            <a:r>
              <a:rPr lang="en-US" sz="1050" b="1" dirty="0">
                <a:solidFill>
                  <a:schemeClr val="accent1"/>
                </a:solidFill>
                <a:latin typeface="Segoe UI Light"/>
              </a:rPr>
              <a:t>Actions to Take</a:t>
            </a:r>
          </a:p>
        </p:txBody>
      </p:sp>
      <p:sp>
        <p:nvSpPr>
          <p:cNvPr id="8" name="TextBox 7">
            <a:extLst>
              <a:ext uri="{FF2B5EF4-FFF2-40B4-BE49-F238E27FC236}">
                <a16:creationId xmlns:a16="http://schemas.microsoft.com/office/drawing/2014/main" id="{1B2D9789-D165-4BDB-A460-2343E7F13D54}"/>
              </a:ext>
            </a:extLst>
          </p:cNvPr>
          <p:cNvSpPr txBox="1"/>
          <p:nvPr userDrawn="1"/>
        </p:nvSpPr>
        <p:spPr>
          <a:xfrm>
            <a:off x="169906" y="5308480"/>
            <a:ext cx="1565352" cy="271654"/>
          </a:xfrm>
          <a:prstGeom prst="rect">
            <a:avLst/>
          </a:prstGeom>
          <a:solidFill>
            <a:schemeClr val="bg1"/>
          </a:solidFill>
          <a:ln w="12700">
            <a:solidFill>
              <a:schemeClr val="tx1"/>
            </a:solidFill>
          </a:ln>
        </p:spPr>
        <p:txBody>
          <a:bodyPr wrap="square" lIns="68570" tIns="34285" rIns="68570" bIns="34285" rtlCol="0" anchor="ctr">
            <a:noAutofit/>
          </a:bodyPr>
          <a:lstStyle>
            <a:defPPr>
              <a:defRPr lang="en-US"/>
            </a:defPPr>
            <a:lvl1pPr>
              <a:defRPr sz="2400">
                <a:solidFill>
                  <a:srgbClr val="0078D7"/>
                </a:solidFill>
                <a:latin typeface="+mj-lt"/>
              </a:defRPr>
            </a:lvl1pPr>
          </a:lstStyle>
          <a:p>
            <a:pPr defTabSz="685669">
              <a:defRPr/>
            </a:pPr>
            <a:r>
              <a:rPr lang="en-US" sz="1050" b="1" dirty="0">
                <a:solidFill>
                  <a:schemeClr val="accent1"/>
                </a:solidFill>
                <a:latin typeface="Segoe UI Light"/>
              </a:rPr>
              <a:t>Resources</a:t>
            </a:r>
          </a:p>
        </p:txBody>
      </p:sp>
      <p:sp>
        <p:nvSpPr>
          <p:cNvPr id="9" name="TextBox 8">
            <a:extLst>
              <a:ext uri="{FF2B5EF4-FFF2-40B4-BE49-F238E27FC236}">
                <a16:creationId xmlns:a16="http://schemas.microsoft.com/office/drawing/2014/main" id="{CCF24501-8757-48AA-B9DD-ED5BECE78DDC}"/>
              </a:ext>
            </a:extLst>
          </p:cNvPr>
          <p:cNvSpPr txBox="1"/>
          <p:nvPr userDrawn="1"/>
        </p:nvSpPr>
        <p:spPr>
          <a:xfrm>
            <a:off x="169906" y="2707892"/>
            <a:ext cx="1568243" cy="271654"/>
          </a:xfrm>
          <a:prstGeom prst="rect">
            <a:avLst/>
          </a:prstGeom>
          <a:solidFill>
            <a:schemeClr val="bg1"/>
          </a:solidFill>
          <a:ln w="12700">
            <a:solidFill>
              <a:schemeClr val="tx1"/>
            </a:solidFill>
          </a:ln>
        </p:spPr>
        <p:txBody>
          <a:bodyPr wrap="square" lIns="68570" tIns="34285" rIns="68570" bIns="34285" rtlCol="0" anchor="ctr">
            <a:noAutofit/>
          </a:bodyPr>
          <a:lstStyle>
            <a:defPPr>
              <a:defRPr lang="en-US"/>
            </a:defPPr>
            <a:lvl1pPr>
              <a:defRPr sz="2400">
                <a:solidFill>
                  <a:srgbClr val="0078D7"/>
                </a:solidFill>
                <a:latin typeface="+mj-lt"/>
              </a:defRPr>
            </a:lvl1pPr>
          </a:lstStyle>
          <a:p>
            <a:pPr defTabSz="685669">
              <a:defRPr/>
            </a:pPr>
            <a:r>
              <a:rPr lang="en-US" sz="1050" b="1" dirty="0">
                <a:solidFill>
                  <a:schemeClr val="accent1"/>
                </a:solidFill>
                <a:latin typeface="Segoe UI Light"/>
              </a:rPr>
              <a:t>Questions to Ask</a:t>
            </a:r>
          </a:p>
        </p:txBody>
      </p:sp>
      <p:sp>
        <p:nvSpPr>
          <p:cNvPr id="10" name="TextBox 9">
            <a:extLst>
              <a:ext uri="{FF2B5EF4-FFF2-40B4-BE49-F238E27FC236}">
                <a16:creationId xmlns:a16="http://schemas.microsoft.com/office/drawing/2014/main" id="{2A40F325-ADB0-41C7-9EF7-7E36EF2381D6}"/>
              </a:ext>
            </a:extLst>
          </p:cNvPr>
          <p:cNvSpPr txBox="1"/>
          <p:nvPr userDrawn="1"/>
        </p:nvSpPr>
        <p:spPr>
          <a:xfrm>
            <a:off x="169904" y="1456607"/>
            <a:ext cx="1568244" cy="271654"/>
          </a:xfrm>
          <a:prstGeom prst="rect">
            <a:avLst/>
          </a:prstGeom>
          <a:solidFill>
            <a:schemeClr val="bg1"/>
          </a:solidFill>
          <a:ln w="12700">
            <a:solidFill>
              <a:schemeClr val="tx1"/>
            </a:solidFill>
          </a:ln>
        </p:spPr>
        <p:txBody>
          <a:bodyPr wrap="square" lIns="68570" tIns="34285" rIns="68570" bIns="34285" rtlCol="0" anchor="ctr">
            <a:noAutofit/>
          </a:bodyPr>
          <a:lstStyle>
            <a:defPPr>
              <a:defRPr lang="en-US"/>
            </a:defPPr>
            <a:lvl1pPr>
              <a:defRPr sz="2400">
                <a:solidFill>
                  <a:srgbClr val="0078D7"/>
                </a:solidFill>
                <a:latin typeface="+mj-lt"/>
              </a:defRPr>
            </a:lvl1pPr>
          </a:lstStyle>
          <a:p>
            <a:pPr defTabSz="685669">
              <a:defRPr/>
            </a:pPr>
            <a:r>
              <a:rPr lang="en-US" sz="1050" b="1" dirty="0">
                <a:solidFill>
                  <a:schemeClr val="accent1"/>
                </a:solidFill>
                <a:latin typeface="Segoe UI Light"/>
              </a:rPr>
              <a:t>Goals</a:t>
            </a:r>
          </a:p>
        </p:txBody>
      </p:sp>
      <p:sp>
        <p:nvSpPr>
          <p:cNvPr id="11" name="Arrow: Down 10">
            <a:extLst>
              <a:ext uri="{FF2B5EF4-FFF2-40B4-BE49-F238E27FC236}">
                <a16:creationId xmlns:a16="http://schemas.microsoft.com/office/drawing/2014/main" id="{F67E61E6-AA38-485B-AE09-CD08BBD8FABF}"/>
              </a:ext>
            </a:extLst>
          </p:cNvPr>
          <p:cNvSpPr/>
          <p:nvPr userDrawn="1"/>
        </p:nvSpPr>
        <p:spPr bwMode="auto">
          <a:xfrm rot="16200000">
            <a:off x="2927137" y="1411179"/>
            <a:ext cx="470385" cy="2854139"/>
          </a:xfrm>
          <a:prstGeom prst="downArrow">
            <a:avLst>
              <a:gd name="adj1" fmla="val 31468"/>
              <a:gd name="adj2" fmla="val 37425"/>
            </a:avLst>
          </a:prstGeom>
          <a:gradFill flip="none" rotWithShape="1">
            <a:gsLst>
              <a:gs pos="0">
                <a:srgbClr val="0078D7">
                  <a:lumMod val="0"/>
                  <a:lumOff val="100000"/>
                  <a:alpha val="0"/>
                </a:srgbClr>
              </a:gs>
              <a:gs pos="100000">
                <a:srgbClr val="0078D7">
                  <a:lumMod val="45000"/>
                  <a:lumOff val="55000"/>
                </a:srgbClr>
              </a:gs>
              <a:gs pos="100000">
                <a:schemeClr val="accent6"/>
              </a:gs>
            </a:gsLst>
            <a:lin ang="5400000" scaled="1"/>
            <a:tileRect/>
          </a:gradFill>
          <a:ln>
            <a:noFill/>
          </a:ln>
          <a:effectLst/>
        </p:spPr>
        <p:txBody>
          <a:bodyPr rot="0" spcFirstLastPara="0" vertOverflow="overflow" horzOverflow="overflow" vert="horz" wrap="square" lIns="137141" tIns="109713" rIns="137141" bIns="109713" numCol="1" spcCol="0" rtlCol="0" fromWordArt="0" anchor="t" anchorCtr="0" forceAA="0" compatLnSpc="1">
            <a:prstTxWarp prst="textNoShape">
              <a:avLst/>
            </a:prstTxWarp>
            <a:noAutofit/>
          </a:bodyPr>
          <a:lstStyle/>
          <a:p>
            <a:pPr algn="ctr" defTabSz="699220" fontAlgn="base">
              <a:lnSpc>
                <a:spcPct val="90000"/>
              </a:lnSpc>
              <a:spcBef>
                <a:spcPct val="0"/>
              </a:spcBef>
              <a:spcAft>
                <a:spcPct val="0"/>
              </a:spcAft>
              <a:defRPr/>
            </a:pPr>
            <a:endParaRPr lang="en-US" sz="18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14164340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29" y="2084187"/>
            <a:ext cx="7394337" cy="917880"/>
          </a:xfrm>
          <a:noFill/>
        </p:spPr>
        <p:txBody>
          <a:bodyPr tIns="91440" bIns="91440" anchor="t" anchorCtr="0">
            <a:spAutoFit/>
          </a:bodyPr>
          <a:lstStyle>
            <a:lvl1pPr>
              <a:defRPr sz="5294" spc="-74"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01930" y="3877277"/>
            <a:ext cx="7395506" cy="621324"/>
          </a:xfrm>
          <a:noFill/>
        </p:spPr>
        <p:txBody>
          <a:bodyPr lIns="182880" tIns="146304" rIns="182880" bIns="146304">
            <a:spAutoFit/>
          </a:bodyPr>
          <a:lstStyle>
            <a:lvl1pPr marL="0" indent="0">
              <a:spcBef>
                <a:spcPts val="0"/>
              </a:spcBef>
              <a:buNone/>
              <a:defRPr sz="2353"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412492552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0" y="2084187"/>
            <a:ext cx="7394337" cy="917880"/>
          </a:xfrm>
          <a:noFill/>
        </p:spPr>
        <p:txBody>
          <a:bodyPr tIns="91440" bIns="91440" anchor="t" anchorCtr="0">
            <a:spAutoFit/>
          </a:bodyPr>
          <a:lstStyle>
            <a:lvl1pPr>
              <a:defRPr lang="en-US" sz="5294" b="0" kern="1200" cap="none" spc="-74"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17028761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0" y="2084173"/>
            <a:ext cx="8740142" cy="917880"/>
          </a:xfrm>
          <a:noFill/>
        </p:spPr>
        <p:txBody>
          <a:bodyPr tIns="91440" bIns="91440" anchor="t" anchorCtr="0">
            <a:spAutoFit/>
          </a:bodyPr>
          <a:lstStyle>
            <a:lvl1pPr>
              <a:defRPr sz="5294" spc="-74"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1788210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0" y="2084173"/>
            <a:ext cx="8740142" cy="917880"/>
          </a:xfrm>
          <a:noFill/>
        </p:spPr>
        <p:txBody>
          <a:bodyPr tIns="91440" bIns="91440" anchor="t" anchorCtr="0">
            <a:spAutoFit/>
          </a:bodyPr>
          <a:lstStyle>
            <a:lvl1pPr>
              <a:defRPr sz="5294" spc="-74"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6778982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0" y="2847879"/>
            <a:ext cx="3596905" cy="1162241"/>
          </a:xfrm>
        </p:spPr>
        <p:txBody>
          <a:bodyPr wrap="square" anchor="ctr">
            <a:spAutoFit/>
          </a:bodyPr>
          <a:lstStyle>
            <a:lvl1pPr>
              <a:defRPr sz="3529"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4000762" y="0"/>
            <a:ext cx="5143238" cy="6856100"/>
          </a:xfrm>
          <a:prstGeom prst="rect">
            <a:avLst/>
          </a:prstGeom>
          <a:blipFill>
            <a:blip r:embed="rId2"/>
            <a:stretch>
              <a:fillRect/>
            </a:stretch>
          </a:blipFill>
        </p:spPr>
        <p:txBody>
          <a:bodyPr tIns="548640" anchor="ctr" anchorCtr="0">
            <a:noAutofit/>
          </a:bodyPr>
          <a:lstStyle>
            <a:lvl1pPr marL="0" indent="0" algn="ctr">
              <a:buNone/>
              <a:defRPr sz="1176"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5449939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03111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458788" y="1018564"/>
            <a:ext cx="3798887" cy="43862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410075" y="1018564"/>
            <a:ext cx="3800475" cy="43862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a:extLst>
              <a:ext uri="{FF2B5EF4-FFF2-40B4-BE49-F238E27FC236}">
                <a16:creationId xmlns:a16="http://schemas.microsoft.com/office/drawing/2014/main" id="{17FADCA2-DA60-489B-A501-CF188B651DDA}"/>
              </a:ext>
            </a:extLst>
          </p:cNvPr>
          <p:cNvSpPr>
            <a:spLocks noGrp="1"/>
          </p:cNvSpPr>
          <p:nvPr>
            <p:ph type="body" sz="quarter" idx="10" hasCustomPrompt="1"/>
          </p:nvPr>
        </p:nvSpPr>
        <p:spPr>
          <a:xfrm>
            <a:off x="261188" y="6307137"/>
            <a:ext cx="8574837"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921153351"/>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6476596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Developer Code Layou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9144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2" tIns="34292" rIns="34292" bIns="34292" numCol="1" spcCol="0" rtlCol="0" fromWordArt="0" anchor="ctr" anchorCtr="0" forceAA="0" compatLnSpc="1">
            <a:prstTxWarp prst="textNoShape">
              <a:avLst/>
            </a:prstTxWarp>
            <a:noAutofit/>
          </a:bodyPr>
          <a:lstStyle/>
          <a:p>
            <a:pPr algn="ctr" defTabSz="685577" fontAlgn="base">
              <a:spcBef>
                <a:spcPct val="0"/>
              </a:spcBef>
              <a:spcAft>
                <a:spcPct val="0"/>
              </a:spcAft>
            </a:pPr>
            <a:endParaRPr lang="en-US" sz="1324"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01929" y="1197322"/>
            <a:ext cx="8740142" cy="1715791"/>
          </a:xfrm>
        </p:spPr>
        <p:txBody>
          <a:bodyPr/>
          <a:lstStyle>
            <a:lvl1pPr marL="0" indent="0">
              <a:buNone/>
              <a:defRPr sz="2426">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254795"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429818"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59888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772719"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7091906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01930" y="6099190"/>
            <a:ext cx="3361593" cy="350807"/>
          </a:xfrm>
          <a:prstGeom prst="rect">
            <a:avLst/>
          </a:prstGeom>
          <a:noFill/>
          <a:ln w="12700">
            <a:noFill/>
            <a:miter lim="800000"/>
            <a:headEnd type="none" w="sm" len="sm"/>
            <a:tailEnd type="none" w="sm" len="sm"/>
          </a:ln>
          <a:effectLst/>
        </p:spPr>
        <p:txBody>
          <a:bodyPr vert="horz" wrap="square" lIns="134464" tIns="134464" rIns="134464" bIns="134464" numCol="1" anchor="t" anchorCtr="0" compatLnSpc="1">
            <a:prstTxWarp prst="textNoShape">
              <a:avLst/>
            </a:prstTxWarp>
            <a:spAutoFit/>
          </a:bodyPr>
          <a:lstStyle/>
          <a:p>
            <a:pPr defTabSz="685443" eaLnBrk="0" hangingPunct="0"/>
            <a:r>
              <a:rPr lang="en-US" sz="515"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338725" y="470067"/>
            <a:ext cx="1067477" cy="304828"/>
          </a:xfrm>
          <a:prstGeom prst="rect">
            <a:avLst/>
          </a:prstGeom>
        </p:spPr>
      </p:pic>
    </p:spTree>
    <p:extLst>
      <p:ext uri="{BB962C8B-B14F-4D97-AF65-F5344CB8AC3E}">
        <p14:creationId xmlns:p14="http://schemas.microsoft.com/office/powerpoint/2010/main" val="17968953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01930" y="1189178"/>
            <a:ext cx="8740142" cy="1845826"/>
          </a:xfrm>
          <a:prstGeom prst="rect">
            <a:avLst/>
          </a:prstGeom>
        </p:spPr>
        <p:txBody>
          <a:bodyPr/>
          <a:lstStyle>
            <a:lvl1pPr marL="213593" indent="-213593">
              <a:buClr>
                <a:schemeClr val="tx1"/>
              </a:buClr>
              <a:buSzPct val="90000"/>
              <a:buFont typeface="Arial" pitchFamily="34" charset="0"/>
              <a:buChar char="•"/>
              <a:defRPr sz="264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420181" indent="-206590">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633773" indent="-213593">
              <a:buClr>
                <a:schemeClr val="tx1"/>
              </a:buClr>
              <a:buSzPct val="90000"/>
              <a:buFont typeface="Arial" pitchFamily="34" charset="0"/>
              <a:buChar char="•"/>
              <a:defRPr sz="2059">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801846" indent="-168073">
              <a:buClr>
                <a:schemeClr val="tx1"/>
              </a:buClr>
              <a:buSzPct val="90000"/>
              <a:buFont typeface="Arial" pitchFamily="34" charset="0"/>
              <a:buChar char="•"/>
              <a:defRPr sz="1765">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969919" indent="-168073">
              <a:buClr>
                <a:schemeClr val="tx1"/>
              </a:buClr>
              <a:buSzPct val="90000"/>
              <a:buFont typeface="Arial" pitchFamily="34" charset="0"/>
              <a:buChar char="•"/>
              <a:defRPr sz="147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7"/>
            <a:ext cx="9144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2720" spc="-3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20495038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E83EBD-AA5D-4B95-ADFE-6F4D80C7A6EB}"/>
              </a:ext>
            </a:extLst>
          </p:cNvPr>
          <p:cNvSpPr>
            <a:spLocks noGrp="1"/>
          </p:cNvSpPr>
          <p:nvPr>
            <p:ph type="ctrTitle"/>
          </p:nvPr>
        </p:nvSpPr>
        <p:spPr>
          <a:xfrm>
            <a:off x="1143000" y="1122363"/>
            <a:ext cx="6858000" cy="2387600"/>
          </a:xfrm>
        </p:spPr>
        <p:txBody>
          <a:bodyPr anchor="b"/>
          <a:lstStyle>
            <a:lvl1pPr algn="ctr">
              <a:defRPr sz="4499"/>
            </a:lvl1pPr>
          </a:lstStyle>
          <a:p>
            <a:r>
              <a:rPr lang="en-US"/>
              <a:t>Click to edit Master title style</a:t>
            </a:r>
          </a:p>
        </p:txBody>
      </p:sp>
      <p:sp>
        <p:nvSpPr>
          <p:cNvPr id="3" name="Subtitle 2">
            <a:extLst>
              <a:ext uri="{FF2B5EF4-FFF2-40B4-BE49-F238E27FC236}">
                <a16:creationId xmlns:a16="http://schemas.microsoft.com/office/drawing/2014/main" id="{A66EEB47-89D1-4997-B0F6-7627320E8126}"/>
              </a:ext>
            </a:extLst>
          </p:cNvPr>
          <p:cNvSpPr>
            <a:spLocks noGrp="1"/>
          </p:cNvSpPr>
          <p:nvPr>
            <p:ph type="subTitle" idx="1"/>
          </p:nvPr>
        </p:nvSpPr>
        <p:spPr>
          <a:xfrm>
            <a:off x="1143000" y="3602038"/>
            <a:ext cx="6858000" cy="1655762"/>
          </a:xfrm>
        </p:spPr>
        <p:txBody>
          <a:bodyPr/>
          <a:lstStyle>
            <a:lvl1pPr marL="0" indent="0" algn="ctr">
              <a:buNone/>
              <a:defRPr sz="1800"/>
            </a:lvl1pPr>
            <a:lvl2pPr marL="342834" indent="0" algn="ctr">
              <a:buNone/>
              <a:defRPr sz="1500"/>
            </a:lvl2pPr>
            <a:lvl3pPr marL="685669" indent="0" algn="ctr">
              <a:buNone/>
              <a:defRPr sz="1350"/>
            </a:lvl3pPr>
            <a:lvl4pPr marL="1028503" indent="0" algn="ctr">
              <a:buNone/>
              <a:defRPr sz="1200"/>
            </a:lvl4pPr>
            <a:lvl5pPr marL="1371337" indent="0" algn="ctr">
              <a:buNone/>
              <a:defRPr sz="1200"/>
            </a:lvl5pPr>
            <a:lvl6pPr marL="1714171" indent="0" algn="ctr">
              <a:buNone/>
              <a:defRPr sz="1200"/>
            </a:lvl6pPr>
            <a:lvl7pPr marL="2057006" indent="0" algn="ctr">
              <a:buNone/>
              <a:defRPr sz="1200"/>
            </a:lvl7pPr>
            <a:lvl8pPr marL="2399839" indent="0" algn="ctr">
              <a:buNone/>
              <a:defRPr sz="1200"/>
            </a:lvl8pPr>
            <a:lvl9pPr marL="2742673" indent="0" algn="ctr">
              <a:buNone/>
              <a:defRPr sz="1200"/>
            </a:lvl9pPr>
          </a:lstStyle>
          <a:p>
            <a:r>
              <a:rPr lang="en-US"/>
              <a:t>Click to edit Master subtitle style</a:t>
            </a:r>
          </a:p>
        </p:txBody>
      </p:sp>
      <p:sp>
        <p:nvSpPr>
          <p:cNvPr id="4" name="Date Placeholder 3">
            <a:extLst>
              <a:ext uri="{FF2B5EF4-FFF2-40B4-BE49-F238E27FC236}">
                <a16:creationId xmlns:a16="http://schemas.microsoft.com/office/drawing/2014/main" id="{8BA15958-3869-418B-9F4A-817A3FEEB4D9}"/>
              </a:ext>
            </a:extLst>
          </p:cNvPr>
          <p:cNvSpPr>
            <a:spLocks noGrp="1"/>
          </p:cNvSpPr>
          <p:nvPr>
            <p:ph type="dt" sz="half" idx="10"/>
          </p:nvPr>
        </p:nvSpPr>
        <p:spPr/>
        <p:txBody>
          <a:bodyPr/>
          <a:lstStyle/>
          <a:p>
            <a:fld id="{9DCC949A-05BE-4541-92AD-7990D71AE3DB}" type="datetimeFigureOut">
              <a:rPr lang="en-US" smtClean="0"/>
              <a:t>6/5/2018</a:t>
            </a:fld>
            <a:endParaRPr lang="en-US"/>
          </a:p>
        </p:txBody>
      </p:sp>
      <p:sp>
        <p:nvSpPr>
          <p:cNvPr id="5" name="Footer Placeholder 4">
            <a:extLst>
              <a:ext uri="{FF2B5EF4-FFF2-40B4-BE49-F238E27FC236}">
                <a16:creationId xmlns:a16="http://schemas.microsoft.com/office/drawing/2014/main" id="{C6008EC4-33F1-4B25-BC14-4D0A03BFECF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E31EE91-42B3-4614-8595-61659208F2E6}"/>
              </a:ext>
            </a:extLst>
          </p:cNvPr>
          <p:cNvSpPr>
            <a:spLocks noGrp="1"/>
          </p:cNvSpPr>
          <p:nvPr>
            <p:ph type="sldNum" sz="quarter" idx="12"/>
          </p:nvPr>
        </p:nvSpPr>
        <p:spPr/>
        <p:txBody>
          <a:bodyPr/>
          <a:lstStyle/>
          <a:p>
            <a:fld id="{8930DC99-17F8-465A-96BE-55A7CC3ABF9A}" type="slidenum">
              <a:rPr lang="en-US" smtClean="0"/>
              <a:t>‹#›</a:t>
            </a:fld>
            <a:endParaRPr lang="en-US"/>
          </a:p>
        </p:txBody>
      </p:sp>
    </p:spTree>
    <p:extLst>
      <p:ext uri="{BB962C8B-B14F-4D97-AF65-F5344CB8AC3E}">
        <p14:creationId xmlns:p14="http://schemas.microsoft.com/office/powerpoint/2010/main" val="3928506323"/>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AEBEF0-3F9A-4666-8E1B-879470BCB0E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75A7A54-9F97-4934-8A5F-DF71F56ABE7E}"/>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64D9FB3-198B-4DA4-A7F8-4C7693E44218}"/>
              </a:ext>
            </a:extLst>
          </p:cNvPr>
          <p:cNvSpPr>
            <a:spLocks noGrp="1"/>
          </p:cNvSpPr>
          <p:nvPr>
            <p:ph type="dt" sz="half" idx="10"/>
          </p:nvPr>
        </p:nvSpPr>
        <p:spPr/>
        <p:txBody>
          <a:bodyPr/>
          <a:lstStyle/>
          <a:p>
            <a:fld id="{9DCC949A-05BE-4541-92AD-7990D71AE3DB}" type="datetimeFigureOut">
              <a:rPr lang="en-US" smtClean="0"/>
              <a:t>6/5/2018</a:t>
            </a:fld>
            <a:endParaRPr lang="en-US"/>
          </a:p>
        </p:txBody>
      </p:sp>
      <p:sp>
        <p:nvSpPr>
          <p:cNvPr id="5" name="Footer Placeholder 4">
            <a:extLst>
              <a:ext uri="{FF2B5EF4-FFF2-40B4-BE49-F238E27FC236}">
                <a16:creationId xmlns:a16="http://schemas.microsoft.com/office/drawing/2014/main" id="{B7FDE053-A6C2-4281-8645-797726E1D5C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2F3B0C7-66C7-4C5C-A1C9-39AFFC29BA5F}"/>
              </a:ext>
            </a:extLst>
          </p:cNvPr>
          <p:cNvSpPr>
            <a:spLocks noGrp="1"/>
          </p:cNvSpPr>
          <p:nvPr>
            <p:ph type="sldNum" sz="quarter" idx="12"/>
          </p:nvPr>
        </p:nvSpPr>
        <p:spPr/>
        <p:txBody>
          <a:bodyPr/>
          <a:lstStyle/>
          <a:p>
            <a:fld id="{8930DC99-17F8-465A-96BE-55A7CC3ABF9A}" type="slidenum">
              <a:rPr lang="en-US" smtClean="0"/>
              <a:t>‹#›</a:t>
            </a:fld>
            <a:endParaRPr lang="en-US"/>
          </a:p>
        </p:txBody>
      </p:sp>
    </p:spTree>
    <p:extLst>
      <p:ext uri="{BB962C8B-B14F-4D97-AF65-F5344CB8AC3E}">
        <p14:creationId xmlns:p14="http://schemas.microsoft.com/office/powerpoint/2010/main" val="2364057639"/>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14F536-C4BC-4722-BF03-27A6C5B0CB75}"/>
              </a:ext>
            </a:extLst>
          </p:cNvPr>
          <p:cNvSpPr>
            <a:spLocks noGrp="1"/>
          </p:cNvSpPr>
          <p:nvPr>
            <p:ph type="title"/>
          </p:nvPr>
        </p:nvSpPr>
        <p:spPr>
          <a:xfrm>
            <a:off x="623888" y="1709740"/>
            <a:ext cx="7886700" cy="2852737"/>
          </a:xfrm>
        </p:spPr>
        <p:txBody>
          <a:bodyPr anchor="b"/>
          <a:lstStyle>
            <a:lvl1pPr>
              <a:defRPr sz="4499"/>
            </a:lvl1pPr>
          </a:lstStyle>
          <a:p>
            <a:r>
              <a:rPr lang="en-US"/>
              <a:t>Click to edit Master title style</a:t>
            </a:r>
          </a:p>
        </p:txBody>
      </p:sp>
      <p:sp>
        <p:nvSpPr>
          <p:cNvPr id="3" name="Text Placeholder 2">
            <a:extLst>
              <a:ext uri="{FF2B5EF4-FFF2-40B4-BE49-F238E27FC236}">
                <a16:creationId xmlns:a16="http://schemas.microsoft.com/office/drawing/2014/main" id="{DF39802C-A2B9-4C1D-8BD2-830FD437C56B}"/>
              </a:ext>
            </a:extLst>
          </p:cNvPr>
          <p:cNvSpPr>
            <a:spLocks noGrp="1"/>
          </p:cNvSpPr>
          <p:nvPr>
            <p:ph type="body" idx="1"/>
          </p:nvPr>
        </p:nvSpPr>
        <p:spPr>
          <a:xfrm>
            <a:off x="623888" y="4589465"/>
            <a:ext cx="7886700" cy="1500187"/>
          </a:xfrm>
        </p:spPr>
        <p:txBody>
          <a:bodyPr/>
          <a:lstStyle>
            <a:lvl1pPr marL="0" indent="0">
              <a:buNone/>
              <a:defRPr sz="1800">
                <a:solidFill>
                  <a:schemeClr val="tx1">
                    <a:tint val="75000"/>
                  </a:schemeClr>
                </a:solidFill>
              </a:defRPr>
            </a:lvl1pPr>
            <a:lvl2pPr marL="342834" indent="0">
              <a:buNone/>
              <a:defRPr sz="1500">
                <a:solidFill>
                  <a:schemeClr val="tx1">
                    <a:tint val="75000"/>
                  </a:schemeClr>
                </a:solidFill>
              </a:defRPr>
            </a:lvl2pPr>
            <a:lvl3pPr marL="685669" indent="0">
              <a:buNone/>
              <a:defRPr sz="1350">
                <a:solidFill>
                  <a:schemeClr val="tx1">
                    <a:tint val="75000"/>
                  </a:schemeClr>
                </a:solidFill>
              </a:defRPr>
            </a:lvl3pPr>
            <a:lvl4pPr marL="1028503" indent="0">
              <a:buNone/>
              <a:defRPr sz="1200">
                <a:solidFill>
                  <a:schemeClr val="tx1">
                    <a:tint val="75000"/>
                  </a:schemeClr>
                </a:solidFill>
              </a:defRPr>
            </a:lvl4pPr>
            <a:lvl5pPr marL="1371337" indent="0">
              <a:buNone/>
              <a:defRPr sz="1200">
                <a:solidFill>
                  <a:schemeClr val="tx1">
                    <a:tint val="75000"/>
                  </a:schemeClr>
                </a:solidFill>
              </a:defRPr>
            </a:lvl5pPr>
            <a:lvl6pPr marL="1714171" indent="0">
              <a:buNone/>
              <a:defRPr sz="1200">
                <a:solidFill>
                  <a:schemeClr val="tx1">
                    <a:tint val="75000"/>
                  </a:schemeClr>
                </a:solidFill>
              </a:defRPr>
            </a:lvl6pPr>
            <a:lvl7pPr marL="2057006" indent="0">
              <a:buNone/>
              <a:defRPr sz="1200">
                <a:solidFill>
                  <a:schemeClr val="tx1">
                    <a:tint val="75000"/>
                  </a:schemeClr>
                </a:solidFill>
              </a:defRPr>
            </a:lvl7pPr>
            <a:lvl8pPr marL="2399839" indent="0">
              <a:buNone/>
              <a:defRPr sz="1200">
                <a:solidFill>
                  <a:schemeClr val="tx1">
                    <a:tint val="75000"/>
                  </a:schemeClr>
                </a:solidFill>
              </a:defRPr>
            </a:lvl8pPr>
            <a:lvl9pPr marL="2742673" indent="0">
              <a:buNone/>
              <a:defRPr sz="12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4A64D1E6-3AA2-453F-B541-84228A65DC1E}"/>
              </a:ext>
            </a:extLst>
          </p:cNvPr>
          <p:cNvSpPr>
            <a:spLocks noGrp="1"/>
          </p:cNvSpPr>
          <p:nvPr>
            <p:ph type="dt" sz="half" idx="10"/>
          </p:nvPr>
        </p:nvSpPr>
        <p:spPr/>
        <p:txBody>
          <a:bodyPr/>
          <a:lstStyle/>
          <a:p>
            <a:fld id="{9DCC949A-05BE-4541-92AD-7990D71AE3DB}" type="datetimeFigureOut">
              <a:rPr lang="en-US" smtClean="0"/>
              <a:t>6/5/2018</a:t>
            </a:fld>
            <a:endParaRPr lang="en-US"/>
          </a:p>
        </p:txBody>
      </p:sp>
      <p:sp>
        <p:nvSpPr>
          <p:cNvPr id="5" name="Footer Placeholder 4">
            <a:extLst>
              <a:ext uri="{FF2B5EF4-FFF2-40B4-BE49-F238E27FC236}">
                <a16:creationId xmlns:a16="http://schemas.microsoft.com/office/drawing/2014/main" id="{4A845A51-6FB3-46A9-9AAE-5F4F9954E00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D228EFD-D765-4938-9E64-2F5AB57987C3}"/>
              </a:ext>
            </a:extLst>
          </p:cNvPr>
          <p:cNvSpPr>
            <a:spLocks noGrp="1"/>
          </p:cNvSpPr>
          <p:nvPr>
            <p:ph type="sldNum" sz="quarter" idx="12"/>
          </p:nvPr>
        </p:nvSpPr>
        <p:spPr/>
        <p:txBody>
          <a:bodyPr/>
          <a:lstStyle/>
          <a:p>
            <a:fld id="{8930DC99-17F8-465A-96BE-55A7CC3ABF9A}" type="slidenum">
              <a:rPr lang="en-US" smtClean="0"/>
              <a:t>‹#›</a:t>
            </a:fld>
            <a:endParaRPr lang="en-US"/>
          </a:p>
        </p:txBody>
      </p:sp>
    </p:spTree>
    <p:extLst>
      <p:ext uri="{BB962C8B-B14F-4D97-AF65-F5344CB8AC3E}">
        <p14:creationId xmlns:p14="http://schemas.microsoft.com/office/powerpoint/2010/main" val="2850717217"/>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E5F957-E865-4B94-BEBB-719CF29D8DC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804E71E-0124-44DC-A043-5D3668C9E904}"/>
              </a:ext>
            </a:extLst>
          </p:cNvPr>
          <p:cNvSpPr>
            <a:spLocks noGrp="1"/>
          </p:cNvSpPr>
          <p:nvPr>
            <p:ph sz="half" idx="1"/>
          </p:nvPr>
        </p:nvSpPr>
        <p:spPr>
          <a:xfrm>
            <a:off x="628650" y="1825625"/>
            <a:ext cx="38862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B0501EA0-3112-4CB4-B3A6-35FB20EE452E}"/>
              </a:ext>
            </a:extLst>
          </p:cNvPr>
          <p:cNvSpPr>
            <a:spLocks noGrp="1"/>
          </p:cNvSpPr>
          <p:nvPr>
            <p:ph sz="half" idx="2"/>
          </p:nvPr>
        </p:nvSpPr>
        <p:spPr>
          <a:xfrm>
            <a:off x="4629150" y="1825625"/>
            <a:ext cx="38862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534EF496-73D3-4035-9490-D5FB1D1B532F}"/>
              </a:ext>
            </a:extLst>
          </p:cNvPr>
          <p:cNvSpPr>
            <a:spLocks noGrp="1"/>
          </p:cNvSpPr>
          <p:nvPr>
            <p:ph type="dt" sz="half" idx="10"/>
          </p:nvPr>
        </p:nvSpPr>
        <p:spPr/>
        <p:txBody>
          <a:bodyPr/>
          <a:lstStyle/>
          <a:p>
            <a:fld id="{9DCC949A-05BE-4541-92AD-7990D71AE3DB}" type="datetimeFigureOut">
              <a:rPr lang="en-US" smtClean="0"/>
              <a:t>6/5/2018</a:t>
            </a:fld>
            <a:endParaRPr lang="en-US"/>
          </a:p>
        </p:txBody>
      </p:sp>
      <p:sp>
        <p:nvSpPr>
          <p:cNvPr id="6" name="Footer Placeholder 5">
            <a:extLst>
              <a:ext uri="{FF2B5EF4-FFF2-40B4-BE49-F238E27FC236}">
                <a16:creationId xmlns:a16="http://schemas.microsoft.com/office/drawing/2014/main" id="{2ED16CA1-D111-46F3-B2F0-F8F35AFE8D0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4D0565E-6A67-4A6C-A22C-395ADE903420}"/>
              </a:ext>
            </a:extLst>
          </p:cNvPr>
          <p:cNvSpPr>
            <a:spLocks noGrp="1"/>
          </p:cNvSpPr>
          <p:nvPr>
            <p:ph type="sldNum" sz="quarter" idx="12"/>
          </p:nvPr>
        </p:nvSpPr>
        <p:spPr/>
        <p:txBody>
          <a:bodyPr/>
          <a:lstStyle/>
          <a:p>
            <a:fld id="{8930DC99-17F8-465A-96BE-55A7CC3ABF9A}" type="slidenum">
              <a:rPr lang="en-US" smtClean="0"/>
              <a:t>‹#›</a:t>
            </a:fld>
            <a:endParaRPr lang="en-US"/>
          </a:p>
        </p:txBody>
      </p:sp>
    </p:spTree>
    <p:extLst>
      <p:ext uri="{BB962C8B-B14F-4D97-AF65-F5344CB8AC3E}">
        <p14:creationId xmlns:p14="http://schemas.microsoft.com/office/powerpoint/2010/main" val="3261683849"/>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0DAF92-3BEE-4B84-8569-743C4A827B37}"/>
              </a:ext>
            </a:extLst>
          </p:cNvPr>
          <p:cNvSpPr>
            <a:spLocks noGrp="1"/>
          </p:cNvSpPr>
          <p:nvPr>
            <p:ph type="title"/>
          </p:nvPr>
        </p:nvSpPr>
        <p:spPr>
          <a:xfrm>
            <a:off x="629841" y="365127"/>
            <a:ext cx="78867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822891BC-B881-4A56-BA25-35B1EF248EA9}"/>
              </a:ext>
            </a:extLst>
          </p:cNvPr>
          <p:cNvSpPr>
            <a:spLocks noGrp="1"/>
          </p:cNvSpPr>
          <p:nvPr>
            <p:ph type="body" idx="1"/>
          </p:nvPr>
        </p:nvSpPr>
        <p:spPr>
          <a:xfrm>
            <a:off x="629842" y="1681163"/>
            <a:ext cx="3868340" cy="823912"/>
          </a:xfrm>
        </p:spPr>
        <p:txBody>
          <a:bodyPr anchor="b"/>
          <a:lstStyle>
            <a:lvl1pPr marL="0" indent="0">
              <a:buNone/>
              <a:defRPr sz="1800" b="1"/>
            </a:lvl1pPr>
            <a:lvl2pPr marL="342834" indent="0">
              <a:buNone/>
              <a:defRPr sz="1500" b="1"/>
            </a:lvl2pPr>
            <a:lvl3pPr marL="685669" indent="0">
              <a:buNone/>
              <a:defRPr sz="1350" b="1"/>
            </a:lvl3pPr>
            <a:lvl4pPr marL="1028503" indent="0">
              <a:buNone/>
              <a:defRPr sz="1200" b="1"/>
            </a:lvl4pPr>
            <a:lvl5pPr marL="1371337" indent="0">
              <a:buNone/>
              <a:defRPr sz="1200" b="1"/>
            </a:lvl5pPr>
            <a:lvl6pPr marL="1714171" indent="0">
              <a:buNone/>
              <a:defRPr sz="1200" b="1"/>
            </a:lvl6pPr>
            <a:lvl7pPr marL="2057006" indent="0">
              <a:buNone/>
              <a:defRPr sz="1200" b="1"/>
            </a:lvl7pPr>
            <a:lvl8pPr marL="2399839" indent="0">
              <a:buNone/>
              <a:defRPr sz="1200" b="1"/>
            </a:lvl8pPr>
            <a:lvl9pPr marL="2742673" indent="0">
              <a:buNone/>
              <a:defRPr sz="1200" b="1"/>
            </a:lvl9pPr>
          </a:lstStyle>
          <a:p>
            <a:pPr lvl="0"/>
            <a:r>
              <a:rPr lang="en-US"/>
              <a:t>Edit Master text styles</a:t>
            </a:r>
          </a:p>
        </p:txBody>
      </p:sp>
      <p:sp>
        <p:nvSpPr>
          <p:cNvPr id="4" name="Content Placeholder 3">
            <a:extLst>
              <a:ext uri="{FF2B5EF4-FFF2-40B4-BE49-F238E27FC236}">
                <a16:creationId xmlns:a16="http://schemas.microsoft.com/office/drawing/2014/main" id="{5A8E20DB-1564-4D87-9C36-29A468137B72}"/>
              </a:ext>
            </a:extLst>
          </p:cNvPr>
          <p:cNvSpPr>
            <a:spLocks noGrp="1"/>
          </p:cNvSpPr>
          <p:nvPr>
            <p:ph sz="half" idx="2"/>
          </p:nvPr>
        </p:nvSpPr>
        <p:spPr>
          <a:xfrm>
            <a:off x="629842" y="2505075"/>
            <a:ext cx="3868340"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BC0AB832-C98E-40A3-9A26-52DC8C53BE8D}"/>
              </a:ext>
            </a:extLst>
          </p:cNvPr>
          <p:cNvSpPr>
            <a:spLocks noGrp="1"/>
          </p:cNvSpPr>
          <p:nvPr>
            <p:ph type="body" sz="quarter" idx="3"/>
          </p:nvPr>
        </p:nvSpPr>
        <p:spPr>
          <a:xfrm>
            <a:off x="4629150" y="1681163"/>
            <a:ext cx="3887391" cy="823912"/>
          </a:xfrm>
        </p:spPr>
        <p:txBody>
          <a:bodyPr anchor="b"/>
          <a:lstStyle>
            <a:lvl1pPr marL="0" indent="0">
              <a:buNone/>
              <a:defRPr sz="1800" b="1"/>
            </a:lvl1pPr>
            <a:lvl2pPr marL="342834" indent="0">
              <a:buNone/>
              <a:defRPr sz="1500" b="1"/>
            </a:lvl2pPr>
            <a:lvl3pPr marL="685669" indent="0">
              <a:buNone/>
              <a:defRPr sz="1350" b="1"/>
            </a:lvl3pPr>
            <a:lvl4pPr marL="1028503" indent="0">
              <a:buNone/>
              <a:defRPr sz="1200" b="1"/>
            </a:lvl4pPr>
            <a:lvl5pPr marL="1371337" indent="0">
              <a:buNone/>
              <a:defRPr sz="1200" b="1"/>
            </a:lvl5pPr>
            <a:lvl6pPr marL="1714171" indent="0">
              <a:buNone/>
              <a:defRPr sz="1200" b="1"/>
            </a:lvl6pPr>
            <a:lvl7pPr marL="2057006" indent="0">
              <a:buNone/>
              <a:defRPr sz="1200" b="1"/>
            </a:lvl7pPr>
            <a:lvl8pPr marL="2399839" indent="0">
              <a:buNone/>
              <a:defRPr sz="1200" b="1"/>
            </a:lvl8pPr>
            <a:lvl9pPr marL="2742673" indent="0">
              <a:buNone/>
              <a:defRPr sz="1200" b="1"/>
            </a:lvl9pPr>
          </a:lstStyle>
          <a:p>
            <a:pPr lvl="0"/>
            <a:r>
              <a:rPr lang="en-US"/>
              <a:t>Edit Master text styles</a:t>
            </a:r>
          </a:p>
        </p:txBody>
      </p:sp>
      <p:sp>
        <p:nvSpPr>
          <p:cNvPr id="6" name="Content Placeholder 5">
            <a:extLst>
              <a:ext uri="{FF2B5EF4-FFF2-40B4-BE49-F238E27FC236}">
                <a16:creationId xmlns:a16="http://schemas.microsoft.com/office/drawing/2014/main" id="{084D6912-6542-4D69-89A7-53264C2DA876}"/>
              </a:ext>
            </a:extLst>
          </p:cNvPr>
          <p:cNvSpPr>
            <a:spLocks noGrp="1"/>
          </p:cNvSpPr>
          <p:nvPr>
            <p:ph sz="quarter" idx="4"/>
          </p:nvPr>
        </p:nvSpPr>
        <p:spPr>
          <a:xfrm>
            <a:off x="4629150" y="2505075"/>
            <a:ext cx="3887391"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48C64C2E-D9A7-4B40-9A7C-FC2C26A341F2}"/>
              </a:ext>
            </a:extLst>
          </p:cNvPr>
          <p:cNvSpPr>
            <a:spLocks noGrp="1"/>
          </p:cNvSpPr>
          <p:nvPr>
            <p:ph type="dt" sz="half" idx="10"/>
          </p:nvPr>
        </p:nvSpPr>
        <p:spPr/>
        <p:txBody>
          <a:bodyPr/>
          <a:lstStyle/>
          <a:p>
            <a:fld id="{9DCC949A-05BE-4541-92AD-7990D71AE3DB}" type="datetimeFigureOut">
              <a:rPr lang="en-US" smtClean="0"/>
              <a:t>6/5/2018</a:t>
            </a:fld>
            <a:endParaRPr lang="en-US"/>
          </a:p>
        </p:txBody>
      </p:sp>
      <p:sp>
        <p:nvSpPr>
          <p:cNvPr id="8" name="Footer Placeholder 7">
            <a:extLst>
              <a:ext uri="{FF2B5EF4-FFF2-40B4-BE49-F238E27FC236}">
                <a16:creationId xmlns:a16="http://schemas.microsoft.com/office/drawing/2014/main" id="{84005381-1DF1-498C-BEA4-64EED7BA41F3}"/>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BA924499-DCF1-4CCE-A91A-8D3873057B2C}"/>
              </a:ext>
            </a:extLst>
          </p:cNvPr>
          <p:cNvSpPr>
            <a:spLocks noGrp="1"/>
          </p:cNvSpPr>
          <p:nvPr>
            <p:ph type="sldNum" sz="quarter" idx="12"/>
          </p:nvPr>
        </p:nvSpPr>
        <p:spPr/>
        <p:txBody>
          <a:bodyPr/>
          <a:lstStyle/>
          <a:p>
            <a:fld id="{8930DC99-17F8-465A-96BE-55A7CC3ABF9A}" type="slidenum">
              <a:rPr lang="en-US" smtClean="0"/>
              <a:t>‹#›</a:t>
            </a:fld>
            <a:endParaRPr lang="en-US"/>
          </a:p>
        </p:txBody>
      </p:sp>
    </p:spTree>
    <p:extLst>
      <p:ext uri="{BB962C8B-B14F-4D97-AF65-F5344CB8AC3E}">
        <p14:creationId xmlns:p14="http://schemas.microsoft.com/office/powerpoint/2010/main" val="354801047"/>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CFC599-9673-4E6F-9E8E-E8762C1567F5}"/>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5D4B5728-C55F-4EAC-86E4-492DDBF4EFDC}"/>
              </a:ext>
            </a:extLst>
          </p:cNvPr>
          <p:cNvSpPr>
            <a:spLocks noGrp="1"/>
          </p:cNvSpPr>
          <p:nvPr>
            <p:ph type="dt" sz="half" idx="10"/>
          </p:nvPr>
        </p:nvSpPr>
        <p:spPr/>
        <p:txBody>
          <a:bodyPr/>
          <a:lstStyle/>
          <a:p>
            <a:fld id="{9DCC949A-05BE-4541-92AD-7990D71AE3DB}" type="datetimeFigureOut">
              <a:rPr lang="en-US" smtClean="0"/>
              <a:t>6/5/2018</a:t>
            </a:fld>
            <a:endParaRPr lang="en-US"/>
          </a:p>
        </p:txBody>
      </p:sp>
      <p:sp>
        <p:nvSpPr>
          <p:cNvPr id="4" name="Footer Placeholder 3">
            <a:extLst>
              <a:ext uri="{FF2B5EF4-FFF2-40B4-BE49-F238E27FC236}">
                <a16:creationId xmlns:a16="http://schemas.microsoft.com/office/drawing/2014/main" id="{23E45855-BB72-4630-9ABD-284082C598E1}"/>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3B3AD53D-A9ED-432F-8FD2-78DBF67F8ECF}"/>
              </a:ext>
            </a:extLst>
          </p:cNvPr>
          <p:cNvSpPr>
            <a:spLocks noGrp="1"/>
          </p:cNvSpPr>
          <p:nvPr>
            <p:ph type="sldNum" sz="quarter" idx="12"/>
          </p:nvPr>
        </p:nvSpPr>
        <p:spPr/>
        <p:txBody>
          <a:bodyPr/>
          <a:lstStyle/>
          <a:p>
            <a:fld id="{8930DC99-17F8-465A-96BE-55A7CC3ABF9A}" type="slidenum">
              <a:rPr lang="en-US" smtClean="0"/>
              <a:t>‹#›</a:t>
            </a:fld>
            <a:endParaRPr lang="en-US"/>
          </a:p>
        </p:txBody>
      </p:sp>
    </p:spTree>
    <p:extLst>
      <p:ext uri="{BB962C8B-B14F-4D97-AF65-F5344CB8AC3E}">
        <p14:creationId xmlns:p14="http://schemas.microsoft.com/office/powerpoint/2010/main" val="367088111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123092" y="0"/>
            <a:ext cx="8563708" cy="80772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086704"/>
            <a:ext cx="4040188" cy="639762"/>
          </a:xfrm>
        </p:spPr>
        <p:txBody>
          <a:bodyPr anchor="t"/>
          <a:lstStyle>
            <a:lvl1pPr marL="0" indent="0">
              <a:buNone/>
              <a:defRPr sz="2400" b="0">
                <a:solidFill>
                  <a:srgbClr val="0070C0"/>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457200" y="1726466"/>
            <a:ext cx="4040188" cy="439298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4645025" y="1086704"/>
            <a:ext cx="4041775" cy="639762"/>
          </a:xfrm>
        </p:spPr>
        <p:txBody>
          <a:bodyPr anchor="t"/>
          <a:lstStyle>
            <a:lvl1pPr marL="0" indent="0">
              <a:buNone/>
              <a:defRPr sz="2400" b="0">
                <a:solidFill>
                  <a:srgbClr val="0070C0"/>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4645025" y="1726466"/>
            <a:ext cx="4041775" cy="439298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4">
            <a:extLst>
              <a:ext uri="{FF2B5EF4-FFF2-40B4-BE49-F238E27FC236}">
                <a16:creationId xmlns:a16="http://schemas.microsoft.com/office/drawing/2014/main" id="{D037460C-05C3-42DE-B703-45DCB074BAFD}"/>
              </a:ext>
            </a:extLst>
          </p:cNvPr>
          <p:cNvSpPr>
            <a:spLocks noGrp="1"/>
          </p:cNvSpPr>
          <p:nvPr>
            <p:ph type="body" sz="quarter" idx="10" hasCustomPrompt="1"/>
          </p:nvPr>
        </p:nvSpPr>
        <p:spPr>
          <a:xfrm>
            <a:off x="261188" y="6307137"/>
            <a:ext cx="8574837"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3672895617"/>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5677E0A5-866C-4CBA-9125-EA958F863CB6}"/>
              </a:ext>
            </a:extLst>
          </p:cNvPr>
          <p:cNvSpPr>
            <a:spLocks noGrp="1"/>
          </p:cNvSpPr>
          <p:nvPr>
            <p:ph type="dt" sz="half" idx="10"/>
          </p:nvPr>
        </p:nvSpPr>
        <p:spPr/>
        <p:txBody>
          <a:bodyPr/>
          <a:lstStyle/>
          <a:p>
            <a:fld id="{9DCC949A-05BE-4541-92AD-7990D71AE3DB}" type="datetimeFigureOut">
              <a:rPr lang="en-US" smtClean="0"/>
              <a:t>6/5/2018</a:t>
            </a:fld>
            <a:endParaRPr lang="en-US"/>
          </a:p>
        </p:txBody>
      </p:sp>
      <p:sp>
        <p:nvSpPr>
          <p:cNvPr id="3" name="Footer Placeholder 2">
            <a:extLst>
              <a:ext uri="{FF2B5EF4-FFF2-40B4-BE49-F238E27FC236}">
                <a16:creationId xmlns:a16="http://schemas.microsoft.com/office/drawing/2014/main" id="{7EB01C9C-FA78-4368-8A78-3331166840DA}"/>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280725B3-792C-468F-9127-FC970448699A}"/>
              </a:ext>
            </a:extLst>
          </p:cNvPr>
          <p:cNvSpPr>
            <a:spLocks noGrp="1"/>
          </p:cNvSpPr>
          <p:nvPr>
            <p:ph type="sldNum" sz="quarter" idx="12"/>
          </p:nvPr>
        </p:nvSpPr>
        <p:spPr/>
        <p:txBody>
          <a:bodyPr/>
          <a:lstStyle/>
          <a:p>
            <a:fld id="{8930DC99-17F8-465A-96BE-55A7CC3ABF9A}" type="slidenum">
              <a:rPr lang="en-US" smtClean="0"/>
              <a:t>‹#›</a:t>
            </a:fld>
            <a:endParaRPr lang="en-US"/>
          </a:p>
        </p:txBody>
      </p:sp>
    </p:spTree>
    <p:extLst>
      <p:ext uri="{BB962C8B-B14F-4D97-AF65-F5344CB8AC3E}">
        <p14:creationId xmlns:p14="http://schemas.microsoft.com/office/powerpoint/2010/main" val="1829207654"/>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A67A1A-0EE2-43BC-A350-12D0A2662189}"/>
              </a:ext>
            </a:extLst>
          </p:cNvPr>
          <p:cNvSpPr>
            <a:spLocks noGrp="1"/>
          </p:cNvSpPr>
          <p:nvPr>
            <p:ph type="title"/>
          </p:nvPr>
        </p:nvSpPr>
        <p:spPr>
          <a:xfrm>
            <a:off x="629842" y="457200"/>
            <a:ext cx="2949178" cy="1600200"/>
          </a:xfrm>
        </p:spPr>
        <p:txBody>
          <a:bodyPr anchor="b"/>
          <a:lstStyle>
            <a:lvl1pPr>
              <a:defRPr sz="2400"/>
            </a:lvl1pPr>
          </a:lstStyle>
          <a:p>
            <a:r>
              <a:rPr lang="en-US"/>
              <a:t>Click to edit Master title style</a:t>
            </a:r>
          </a:p>
        </p:txBody>
      </p:sp>
      <p:sp>
        <p:nvSpPr>
          <p:cNvPr id="3" name="Content Placeholder 2">
            <a:extLst>
              <a:ext uri="{FF2B5EF4-FFF2-40B4-BE49-F238E27FC236}">
                <a16:creationId xmlns:a16="http://schemas.microsoft.com/office/drawing/2014/main" id="{D8633B4E-1BA1-4106-ADCA-65EB4AA83938}"/>
              </a:ext>
            </a:extLst>
          </p:cNvPr>
          <p:cNvSpPr>
            <a:spLocks noGrp="1"/>
          </p:cNvSpPr>
          <p:nvPr>
            <p:ph idx="1"/>
          </p:nvPr>
        </p:nvSpPr>
        <p:spPr>
          <a:xfrm>
            <a:off x="3887392" y="987427"/>
            <a:ext cx="4629150" cy="4873625"/>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B6D0442D-DC2C-4F31-BF5F-4A8E0D9BB425}"/>
              </a:ext>
            </a:extLst>
          </p:cNvPr>
          <p:cNvSpPr>
            <a:spLocks noGrp="1"/>
          </p:cNvSpPr>
          <p:nvPr>
            <p:ph type="body" sz="half" idx="2"/>
          </p:nvPr>
        </p:nvSpPr>
        <p:spPr>
          <a:xfrm>
            <a:off x="629842" y="2057400"/>
            <a:ext cx="2949178" cy="3811588"/>
          </a:xfrm>
        </p:spPr>
        <p:txBody>
          <a:bodyPr/>
          <a:lstStyle>
            <a:lvl1pPr marL="0" indent="0">
              <a:buNone/>
              <a:defRPr sz="1200"/>
            </a:lvl1pPr>
            <a:lvl2pPr marL="342834" indent="0">
              <a:buNone/>
              <a:defRPr sz="1050"/>
            </a:lvl2pPr>
            <a:lvl3pPr marL="685669" indent="0">
              <a:buNone/>
              <a:defRPr sz="900"/>
            </a:lvl3pPr>
            <a:lvl4pPr marL="1028503" indent="0">
              <a:buNone/>
              <a:defRPr sz="750"/>
            </a:lvl4pPr>
            <a:lvl5pPr marL="1371337" indent="0">
              <a:buNone/>
              <a:defRPr sz="750"/>
            </a:lvl5pPr>
            <a:lvl6pPr marL="1714171" indent="0">
              <a:buNone/>
              <a:defRPr sz="750"/>
            </a:lvl6pPr>
            <a:lvl7pPr marL="2057006" indent="0">
              <a:buNone/>
              <a:defRPr sz="750"/>
            </a:lvl7pPr>
            <a:lvl8pPr marL="2399839" indent="0">
              <a:buNone/>
              <a:defRPr sz="750"/>
            </a:lvl8pPr>
            <a:lvl9pPr marL="2742673" indent="0">
              <a:buNone/>
              <a:defRPr sz="750"/>
            </a:lvl9pPr>
          </a:lstStyle>
          <a:p>
            <a:pPr lvl="0"/>
            <a:r>
              <a:rPr lang="en-US"/>
              <a:t>Edit Master text styles</a:t>
            </a:r>
          </a:p>
        </p:txBody>
      </p:sp>
      <p:sp>
        <p:nvSpPr>
          <p:cNvPr id="5" name="Date Placeholder 4">
            <a:extLst>
              <a:ext uri="{FF2B5EF4-FFF2-40B4-BE49-F238E27FC236}">
                <a16:creationId xmlns:a16="http://schemas.microsoft.com/office/drawing/2014/main" id="{4D41D47F-F3BF-4194-8127-90E0400B1502}"/>
              </a:ext>
            </a:extLst>
          </p:cNvPr>
          <p:cNvSpPr>
            <a:spLocks noGrp="1"/>
          </p:cNvSpPr>
          <p:nvPr>
            <p:ph type="dt" sz="half" idx="10"/>
          </p:nvPr>
        </p:nvSpPr>
        <p:spPr/>
        <p:txBody>
          <a:bodyPr/>
          <a:lstStyle/>
          <a:p>
            <a:fld id="{9DCC949A-05BE-4541-92AD-7990D71AE3DB}" type="datetimeFigureOut">
              <a:rPr lang="en-US" smtClean="0"/>
              <a:t>6/5/2018</a:t>
            </a:fld>
            <a:endParaRPr lang="en-US"/>
          </a:p>
        </p:txBody>
      </p:sp>
      <p:sp>
        <p:nvSpPr>
          <p:cNvPr id="6" name="Footer Placeholder 5">
            <a:extLst>
              <a:ext uri="{FF2B5EF4-FFF2-40B4-BE49-F238E27FC236}">
                <a16:creationId xmlns:a16="http://schemas.microsoft.com/office/drawing/2014/main" id="{D22F9A4B-9BB7-421E-BCE8-90233BAE186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A842A0FD-FB68-4D39-943F-0EC16CBD080C}"/>
              </a:ext>
            </a:extLst>
          </p:cNvPr>
          <p:cNvSpPr>
            <a:spLocks noGrp="1"/>
          </p:cNvSpPr>
          <p:nvPr>
            <p:ph type="sldNum" sz="quarter" idx="12"/>
          </p:nvPr>
        </p:nvSpPr>
        <p:spPr/>
        <p:txBody>
          <a:bodyPr/>
          <a:lstStyle/>
          <a:p>
            <a:fld id="{8930DC99-17F8-465A-96BE-55A7CC3ABF9A}" type="slidenum">
              <a:rPr lang="en-US" smtClean="0"/>
              <a:t>‹#›</a:t>
            </a:fld>
            <a:endParaRPr lang="en-US"/>
          </a:p>
        </p:txBody>
      </p:sp>
    </p:spTree>
    <p:extLst>
      <p:ext uri="{BB962C8B-B14F-4D97-AF65-F5344CB8AC3E}">
        <p14:creationId xmlns:p14="http://schemas.microsoft.com/office/powerpoint/2010/main" val="2978408765"/>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D97A62-05F9-49B3-BC3A-40F538CC6317}"/>
              </a:ext>
            </a:extLst>
          </p:cNvPr>
          <p:cNvSpPr>
            <a:spLocks noGrp="1"/>
          </p:cNvSpPr>
          <p:nvPr>
            <p:ph type="title"/>
          </p:nvPr>
        </p:nvSpPr>
        <p:spPr>
          <a:xfrm>
            <a:off x="629842" y="457200"/>
            <a:ext cx="2949178" cy="1600200"/>
          </a:xfrm>
        </p:spPr>
        <p:txBody>
          <a:bodyPr anchor="b"/>
          <a:lstStyle>
            <a:lvl1pPr>
              <a:defRPr sz="2400"/>
            </a:lvl1pPr>
          </a:lstStyle>
          <a:p>
            <a:r>
              <a:rPr lang="en-US"/>
              <a:t>Click to edit Master title style</a:t>
            </a:r>
          </a:p>
        </p:txBody>
      </p:sp>
      <p:sp>
        <p:nvSpPr>
          <p:cNvPr id="3" name="Picture Placeholder 2">
            <a:extLst>
              <a:ext uri="{FF2B5EF4-FFF2-40B4-BE49-F238E27FC236}">
                <a16:creationId xmlns:a16="http://schemas.microsoft.com/office/drawing/2014/main" id="{FD6FDB31-588F-43B3-B2D8-A2CAA110036E}"/>
              </a:ext>
            </a:extLst>
          </p:cNvPr>
          <p:cNvSpPr>
            <a:spLocks noGrp="1"/>
          </p:cNvSpPr>
          <p:nvPr>
            <p:ph type="pic" idx="1"/>
          </p:nvPr>
        </p:nvSpPr>
        <p:spPr>
          <a:xfrm>
            <a:off x="3887392" y="987427"/>
            <a:ext cx="4629150" cy="4873625"/>
          </a:xfrm>
        </p:spPr>
        <p:txBody>
          <a:bodyPr/>
          <a:lstStyle>
            <a:lvl1pPr marL="0" indent="0">
              <a:buNone/>
              <a:defRPr sz="2400"/>
            </a:lvl1pPr>
            <a:lvl2pPr marL="342834" indent="0">
              <a:buNone/>
              <a:defRPr sz="2100"/>
            </a:lvl2pPr>
            <a:lvl3pPr marL="685669" indent="0">
              <a:buNone/>
              <a:defRPr sz="1800"/>
            </a:lvl3pPr>
            <a:lvl4pPr marL="1028503" indent="0">
              <a:buNone/>
              <a:defRPr sz="1500"/>
            </a:lvl4pPr>
            <a:lvl5pPr marL="1371337" indent="0">
              <a:buNone/>
              <a:defRPr sz="1500"/>
            </a:lvl5pPr>
            <a:lvl6pPr marL="1714171" indent="0">
              <a:buNone/>
              <a:defRPr sz="1500"/>
            </a:lvl6pPr>
            <a:lvl7pPr marL="2057006" indent="0">
              <a:buNone/>
              <a:defRPr sz="1500"/>
            </a:lvl7pPr>
            <a:lvl8pPr marL="2399839" indent="0">
              <a:buNone/>
              <a:defRPr sz="1500"/>
            </a:lvl8pPr>
            <a:lvl9pPr marL="2742673" indent="0">
              <a:buNone/>
              <a:defRPr sz="1500"/>
            </a:lvl9pPr>
          </a:lstStyle>
          <a:p>
            <a:endParaRPr lang="en-US"/>
          </a:p>
        </p:txBody>
      </p:sp>
      <p:sp>
        <p:nvSpPr>
          <p:cNvPr id="4" name="Text Placeholder 3">
            <a:extLst>
              <a:ext uri="{FF2B5EF4-FFF2-40B4-BE49-F238E27FC236}">
                <a16:creationId xmlns:a16="http://schemas.microsoft.com/office/drawing/2014/main" id="{DA06525D-43BD-4B47-9DC9-D2AF496F1FF2}"/>
              </a:ext>
            </a:extLst>
          </p:cNvPr>
          <p:cNvSpPr>
            <a:spLocks noGrp="1"/>
          </p:cNvSpPr>
          <p:nvPr>
            <p:ph type="body" sz="half" idx="2"/>
          </p:nvPr>
        </p:nvSpPr>
        <p:spPr>
          <a:xfrm>
            <a:off x="629842" y="2057400"/>
            <a:ext cx="2949178" cy="3811588"/>
          </a:xfrm>
        </p:spPr>
        <p:txBody>
          <a:bodyPr/>
          <a:lstStyle>
            <a:lvl1pPr marL="0" indent="0">
              <a:buNone/>
              <a:defRPr sz="1200"/>
            </a:lvl1pPr>
            <a:lvl2pPr marL="342834" indent="0">
              <a:buNone/>
              <a:defRPr sz="1050"/>
            </a:lvl2pPr>
            <a:lvl3pPr marL="685669" indent="0">
              <a:buNone/>
              <a:defRPr sz="900"/>
            </a:lvl3pPr>
            <a:lvl4pPr marL="1028503" indent="0">
              <a:buNone/>
              <a:defRPr sz="750"/>
            </a:lvl4pPr>
            <a:lvl5pPr marL="1371337" indent="0">
              <a:buNone/>
              <a:defRPr sz="750"/>
            </a:lvl5pPr>
            <a:lvl6pPr marL="1714171" indent="0">
              <a:buNone/>
              <a:defRPr sz="750"/>
            </a:lvl6pPr>
            <a:lvl7pPr marL="2057006" indent="0">
              <a:buNone/>
              <a:defRPr sz="750"/>
            </a:lvl7pPr>
            <a:lvl8pPr marL="2399839" indent="0">
              <a:buNone/>
              <a:defRPr sz="750"/>
            </a:lvl8pPr>
            <a:lvl9pPr marL="2742673" indent="0">
              <a:buNone/>
              <a:defRPr sz="750"/>
            </a:lvl9pPr>
          </a:lstStyle>
          <a:p>
            <a:pPr lvl="0"/>
            <a:r>
              <a:rPr lang="en-US"/>
              <a:t>Edit Master text styles</a:t>
            </a:r>
          </a:p>
        </p:txBody>
      </p:sp>
      <p:sp>
        <p:nvSpPr>
          <p:cNvPr id="5" name="Date Placeholder 4">
            <a:extLst>
              <a:ext uri="{FF2B5EF4-FFF2-40B4-BE49-F238E27FC236}">
                <a16:creationId xmlns:a16="http://schemas.microsoft.com/office/drawing/2014/main" id="{9CC9E83E-767C-4DCD-80EA-4A3ADC3AF6F4}"/>
              </a:ext>
            </a:extLst>
          </p:cNvPr>
          <p:cNvSpPr>
            <a:spLocks noGrp="1"/>
          </p:cNvSpPr>
          <p:nvPr>
            <p:ph type="dt" sz="half" idx="10"/>
          </p:nvPr>
        </p:nvSpPr>
        <p:spPr/>
        <p:txBody>
          <a:bodyPr/>
          <a:lstStyle/>
          <a:p>
            <a:fld id="{9DCC949A-05BE-4541-92AD-7990D71AE3DB}" type="datetimeFigureOut">
              <a:rPr lang="en-US" smtClean="0"/>
              <a:t>6/5/2018</a:t>
            </a:fld>
            <a:endParaRPr lang="en-US"/>
          </a:p>
        </p:txBody>
      </p:sp>
      <p:sp>
        <p:nvSpPr>
          <p:cNvPr id="6" name="Footer Placeholder 5">
            <a:extLst>
              <a:ext uri="{FF2B5EF4-FFF2-40B4-BE49-F238E27FC236}">
                <a16:creationId xmlns:a16="http://schemas.microsoft.com/office/drawing/2014/main" id="{039DB6DB-88B4-4AA8-BD3F-E080E876453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062F145-5A01-4526-BEBA-84390C84E42C}"/>
              </a:ext>
            </a:extLst>
          </p:cNvPr>
          <p:cNvSpPr>
            <a:spLocks noGrp="1"/>
          </p:cNvSpPr>
          <p:nvPr>
            <p:ph type="sldNum" sz="quarter" idx="12"/>
          </p:nvPr>
        </p:nvSpPr>
        <p:spPr/>
        <p:txBody>
          <a:bodyPr/>
          <a:lstStyle/>
          <a:p>
            <a:fld id="{8930DC99-17F8-465A-96BE-55A7CC3ABF9A}" type="slidenum">
              <a:rPr lang="en-US" smtClean="0"/>
              <a:t>‹#›</a:t>
            </a:fld>
            <a:endParaRPr lang="en-US"/>
          </a:p>
        </p:txBody>
      </p:sp>
    </p:spTree>
    <p:extLst>
      <p:ext uri="{BB962C8B-B14F-4D97-AF65-F5344CB8AC3E}">
        <p14:creationId xmlns:p14="http://schemas.microsoft.com/office/powerpoint/2010/main" val="2468472145"/>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3D8189-C745-43FC-B255-15EEE65CBCC9}"/>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7DAE2DAA-0107-4DCF-BD6F-7F63E03DA684}"/>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345AF27-662F-46AE-B3B5-3148A7019A9E}"/>
              </a:ext>
            </a:extLst>
          </p:cNvPr>
          <p:cNvSpPr>
            <a:spLocks noGrp="1"/>
          </p:cNvSpPr>
          <p:nvPr>
            <p:ph type="dt" sz="half" idx="10"/>
          </p:nvPr>
        </p:nvSpPr>
        <p:spPr/>
        <p:txBody>
          <a:bodyPr/>
          <a:lstStyle/>
          <a:p>
            <a:fld id="{9DCC949A-05BE-4541-92AD-7990D71AE3DB}" type="datetimeFigureOut">
              <a:rPr lang="en-US" smtClean="0"/>
              <a:t>6/5/2018</a:t>
            </a:fld>
            <a:endParaRPr lang="en-US"/>
          </a:p>
        </p:txBody>
      </p:sp>
      <p:sp>
        <p:nvSpPr>
          <p:cNvPr id="5" name="Footer Placeholder 4">
            <a:extLst>
              <a:ext uri="{FF2B5EF4-FFF2-40B4-BE49-F238E27FC236}">
                <a16:creationId xmlns:a16="http://schemas.microsoft.com/office/drawing/2014/main" id="{18B60F3E-1448-4A7E-AADC-14D0BD47922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1D6C746-5AB1-472D-A548-32EE95D254A3}"/>
              </a:ext>
            </a:extLst>
          </p:cNvPr>
          <p:cNvSpPr>
            <a:spLocks noGrp="1"/>
          </p:cNvSpPr>
          <p:nvPr>
            <p:ph type="sldNum" sz="quarter" idx="12"/>
          </p:nvPr>
        </p:nvSpPr>
        <p:spPr/>
        <p:txBody>
          <a:bodyPr/>
          <a:lstStyle/>
          <a:p>
            <a:fld id="{8930DC99-17F8-465A-96BE-55A7CC3ABF9A}" type="slidenum">
              <a:rPr lang="en-US" smtClean="0"/>
              <a:t>‹#›</a:t>
            </a:fld>
            <a:endParaRPr lang="en-US"/>
          </a:p>
        </p:txBody>
      </p:sp>
    </p:spTree>
    <p:extLst>
      <p:ext uri="{BB962C8B-B14F-4D97-AF65-F5344CB8AC3E}">
        <p14:creationId xmlns:p14="http://schemas.microsoft.com/office/powerpoint/2010/main" val="1010153798"/>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98719C05-F4AA-46C6-8E71-B9994037DD85}"/>
              </a:ext>
            </a:extLst>
          </p:cNvPr>
          <p:cNvSpPr>
            <a:spLocks noGrp="1"/>
          </p:cNvSpPr>
          <p:nvPr>
            <p:ph type="title" orient="vert"/>
          </p:nvPr>
        </p:nvSpPr>
        <p:spPr>
          <a:xfrm>
            <a:off x="6543675" y="365126"/>
            <a:ext cx="1971675"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716CF2FC-82E5-4AC0-90A3-7685B92809A9}"/>
              </a:ext>
            </a:extLst>
          </p:cNvPr>
          <p:cNvSpPr>
            <a:spLocks noGrp="1"/>
          </p:cNvSpPr>
          <p:nvPr>
            <p:ph type="body" orient="vert" idx="1"/>
          </p:nvPr>
        </p:nvSpPr>
        <p:spPr>
          <a:xfrm>
            <a:off x="628651" y="365126"/>
            <a:ext cx="5800725"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5482B9C-FD3C-436A-A003-05D95DF7EE00}"/>
              </a:ext>
            </a:extLst>
          </p:cNvPr>
          <p:cNvSpPr>
            <a:spLocks noGrp="1"/>
          </p:cNvSpPr>
          <p:nvPr>
            <p:ph type="dt" sz="half" idx="10"/>
          </p:nvPr>
        </p:nvSpPr>
        <p:spPr/>
        <p:txBody>
          <a:bodyPr/>
          <a:lstStyle/>
          <a:p>
            <a:fld id="{9DCC949A-05BE-4541-92AD-7990D71AE3DB}" type="datetimeFigureOut">
              <a:rPr lang="en-US" smtClean="0"/>
              <a:t>6/5/2018</a:t>
            </a:fld>
            <a:endParaRPr lang="en-US"/>
          </a:p>
        </p:txBody>
      </p:sp>
      <p:sp>
        <p:nvSpPr>
          <p:cNvPr id="5" name="Footer Placeholder 4">
            <a:extLst>
              <a:ext uri="{FF2B5EF4-FFF2-40B4-BE49-F238E27FC236}">
                <a16:creationId xmlns:a16="http://schemas.microsoft.com/office/drawing/2014/main" id="{5418E497-FBC3-4367-B820-A624DAC952F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62D7F74-B1D9-4213-B564-4C68DB9928CE}"/>
              </a:ext>
            </a:extLst>
          </p:cNvPr>
          <p:cNvSpPr>
            <a:spLocks noGrp="1"/>
          </p:cNvSpPr>
          <p:nvPr>
            <p:ph type="sldNum" sz="quarter" idx="12"/>
          </p:nvPr>
        </p:nvSpPr>
        <p:spPr/>
        <p:txBody>
          <a:bodyPr/>
          <a:lstStyle/>
          <a:p>
            <a:fld id="{8930DC99-17F8-465A-96BE-55A7CC3ABF9A}" type="slidenum">
              <a:rPr lang="en-US" smtClean="0"/>
              <a:t>‹#›</a:t>
            </a:fld>
            <a:endParaRPr lang="en-US"/>
          </a:p>
        </p:txBody>
      </p:sp>
    </p:spTree>
    <p:extLst>
      <p:ext uri="{BB962C8B-B14F-4D97-AF65-F5344CB8AC3E}">
        <p14:creationId xmlns:p14="http://schemas.microsoft.com/office/powerpoint/2010/main" val="250602702"/>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Walkin Microsoft Ready - Editable">
    <p:bg>
      <p:bgPr>
        <a:solidFill>
          <a:schemeClr val="accent1"/>
        </a:solidFill>
        <a:effectLst/>
      </p:bgPr>
    </p:bg>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2214E044-D81A-4BC8-8B44-D5B6E72EA6F5}"/>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3355092" y="0"/>
            <a:ext cx="5788909" cy="6862028"/>
          </a:xfrm>
          <a:prstGeom prst="rect">
            <a:avLst/>
          </a:prstGeom>
        </p:spPr>
      </p:pic>
      <p:sp>
        <p:nvSpPr>
          <p:cNvPr id="8" name="Rectangle 7">
            <a:extLst>
              <a:ext uri="{FF2B5EF4-FFF2-40B4-BE49-F238E27FC236}">
                <a16:creationId xmlns:a16="http://schemas.microsoft.com/office/drawing/2014/main" id="{CA6A04B4-1456-490B-8B52-A08A4AF91494}"/>
              </a:ext>
            </a:extLst>
          </p:cNvPr>
          <p:cNvSpPr/>
          <p:nvPr userDrawn="1"/>
        </p:nvSpPr>
        <p:spPr bwMode="auto">
          <a:xfrm>
            <a:off x="0" y="-13453"/>
            <a:ext cx="3429070" cy="687145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pPr>
            <a:endParaRPr lang="en-US" sz="1765" dirty="0" err="1">
              <a:gradFill>
                <a:gsLst>
                  <a:gs pos="0">
                    <a:srgbClr val="FFFFFF"/>
                  </a:gs>
                  <a:gs pos="100000">
                    <a:srgbClr val="FFFFFF"/>
                  </a:gs>
                </a:gsLst>
                <a:lin ang="5400000" scaled="0"/>
              </a:gradFill>
              <a:ea typeface="Segoe UI" pitchFamily="34" charset="0"/>
              <a:cs typeface="Segoe UI" pitchFamily="34" charset="0"/>
            </a:endParaRPr>
          </a:p>
        </p:txBody>
      </p:sp>
      <p:pic>
        <p:nvPicPr>
          <p:cNvPr id="6" name="MS logo white - EMF"/>
          <p:cNvPicPr>
            <a:picLocks noChangeAspect="1"/>
          </p:cNvPicPr>
          <p:nvPr userDrawn="1"/>
        </p:nvPicPr>
        <p:blipFill>
          <a:blip r:embed="rId3"/>
          <a:stretch>
            <a:fillRect/>
          </a:stretch>
        </p:blipFill>
        <p:spPr bwMode="white">
          <a:xfrm>
            <a:off x="338725" y="470067"/>
            <a:ext cx="1067477" cy="304828"/>
          </a:xfrm>
          <a:prstGeom prst="rect">
            <a:avLst/>
          </a:prstGeom>
        </p:spPr>
      </p:pic>
      <p:sp>
        <p:nvSpPr>
          <p:cNvPr id="7" name="TextBox 6"/>
          <p:cNvSpPr txBox="1"/>
          <p:nvPr userDrawn="1"/>
        </p:nvSpPr>
        <p:spPr bwMode="white">
          <a:xfrm>
            <a:off x="201930" y="5588534"/>
            <a:ext cx="2353136" cy="1246243"/>
          </a:xfrm>
          <a:prstGeom prst="rect">
            <a:avLst/>
          </a:prstGeom>
          <a:noFill/>
        </p:spPr>
        <p:txBody>
          <a:bodyPr wrap="square" lIns="134464" tIns="107571" rIns="134464" bIns="107571" rtlCol="0">
            <a:spAutoFit/>
          </a:bodyPr>
          <a:lstStyle/>
          <a:p>
            <a:pPr>
              <a:lnSpc>
                <a:spcPct val="90000"/>
              </a:lnSpc>
              <a:spcAft>
                <a:spcPts val="441"/>
              </a:spcAft>
            </a:pPr>
            <a:r>
              <a:rPr lang="en-US" sz="1765" dirty="0">
                <a:gradFill>
                  <a:gsLst>
                    <a:gs pos="2917">
                      <a:schemeClr val="tx1"/>
                    </a:gs>
                    <a:gs pos="30000">
                      <a:schemeClr val="tx1"/>
                    </a:gs>
                  </a:gsLst>
                  <a:lin ang="5400000" scaled="0"/>
                </a:gradFill>
              </a:rPr>
              <a:t>Las Vegas, Nevada</a:t>
            </a:r>
          </a:p>
          <a:p>
            <a:pPr>
              <a:lnSpc>
                <a:spcPct val="90000"/>
              </a:lnSpc>
              <a:spcAft>
                <a:spcPts val="441"/>
              </a:spcAft>
            </a:pPr>
            <a:r>
              <a:rPr lang="en-US" sz="1765" dirty="0">
                <a:gradFill>
                  <a:gsLst>
                    <a:gs pos="2917">
                      <a:schemeClr val="tx1"/>
                    </a:gs>
                    <a:gs pos="30000">
                      <a:schemeClr val="tx1"/>
                    </a:gs>
                  </a:gsLst>
                  <a:lin ang="5400000" scaled="0"/>
                </a:gradFill>
              </a:rPr>
              <a:t>October 23–26, 2017</a:t>
            </a:r>
          </a:p>
        </p:txBody>
      </p:sp>
      <p:sp>
        <p:nvSpPr>
          <p:cNvPr id="2" name="TextBox 1">
            <a:extLst>
              <a:ext uri="{FF2B5EF4-FFF2-40B4-BE49-F238E27FC236}">
                <a16:creationId xmlns:a16="http://schemas.microsoft.com/office/drawing/2014/main" id="{056C9DEE-6F0F-4952-B2B1-A47AFA7F3DE1}"/>
              </a:ext>
            </a:extLst>
          </p:cNvPr>
          <p:cNvSpPr txBox="1"/>
          <p:nvPr userDrawn="1"/>
        </p:nvSpPr>
        <p:spPr bwMode="white">
          <a:xfrm>
            <a:off x="201929" y="1707465"/>
            <a:ext cx="3153162" cy="1683606"/>
          </a:xfrm>
          <a:prstGeom prst="rect">
            <a:avLst/>
          </a:prstGeom>
          <a:noFill/>
        </p:spPr>
        <p:txBody>
          <a:bodyPr wrap="square" lIns="134464" tIns="107571" rIns="134464" bIns="107571" rtlCol="0">
            <a:spAutoFit/>
          </a:bodyPr>
          <a:lstStyle/>
          <a:p>
            <a:pPr>
              <a:lnSpc>
                <a:spcPct val="90000"/>
              </a:lnSpc>
              <a:spcBef>
                <a:spcPts val="1324"/>
              </a:spcBef>
              <a:spcAft>
                <a:spcPts val="441"/>
              </a:spcAft>
            </a:pPr>
            <a:r>
              <a:rPr lang="en-US" sz="3529" dirty="0">
                <a:gradFill>
                  <a:gsLst>
                    <a:gs pos="2917">
                      <a:schemeClr val="tx1"/>
                    </a:gs>
                    <a:gs pos="30000">
                      <a:schemeClr val="tx1"/>
                    </a:gs>
                  </a:gsLst>
                  <a:lin ang="5400000" scaled="0"/>
                </a:gradFill>
                <a:latin typeface="+mj-lt"/>
              </a:rPr>
              <a:t>Digital</a:t>
            </a:r>
            <a:br>
              <a:rPr lang="en-US" sz="3529" dirty="0">
                <a:gradFill>
                  <a:gsLst>
                    <a:gs pos="2917">
                      <a:schemeClr val="tx1"/>
                    </a:gs>
                    <a:gs pos="30000">
                      <a:schemeClr val="tx1"/>
                    </a:gs>
                  </a:gsLst>
                  <a:lin ang="5400000" scaled="0"/>
                </a:gradFill>
                <a:latin typeface="+mj-lt"/>
              </a:rPr>
            </a:br>
            <a:r>
              <a:rPr lang="en-US" sz="3529" dirty="0">
                <a:gradFill>
                  <a:gsLst>
                    <a:gs pos="2917">
                      <a:schemeClr val="tx1"/>
                    </a:gs>
                    <a:gs pos="30000">
                      <a:schemeClr val="tx1"/>
                    </a:gs>
                  </a:gsLst>
                  <a:lin ang="5400000" scaled="0"/>
                </a:gradFill>
                <a:latin typeface="+mj-lt"/>
              </a:rPr>
              <a:t>Transformation</a:t>
            </a:r>
            <a:br>
              <a:rPr lang="en-US" sz="3529" dirty="0">
                <a:gradFill>
                  <a:gsLst>
                    <a:gs pos="2917">
                      <a:schemeClr val="tx1"/>
                    </a:gs>
                    <a:gs pos="30000">
                      <a:schemeClr val="tx1"/>
                    </a:gs>
                  </a:gsLst>
                  <a:lin ang="5400000" scaled="0"/>
                </a:gradFill>
                <a:latin typeface="+mj-lt"/>
              </a:rPr>
            </a:br>
            <a:r>
              <a:rPr lang="en-US" sz="3529" dirty="0">
                <a:gradFill>
                  <a:gsLst>
                    <a:gs pos="2917">
                      <a:schemeClr val="tx1"/>
                    </a:gs>
                    <a:gs pos="30000">
                      <a:schemeClr val="tx1"/>
                    </a:gs>
                  </a:gsLst>
                  <a:lin ang="5400000" scaled="0"/>
                </a:gradFill>
                <a:latin typeface="+mj-lt"/>
              </a:rPr>
              <a:t>Academy</a:t>
            </a:r>
          </a:p>
        </p:txBody>
      </p:sp>
    </p:spTree>
    <p:extLst>
      <p:ext uri="{BB962C8B-B14F-4D97-AF65-F5344CB8AC3E}">
        <p14:creationId xmlns:p14="http://schemas.microsoft.com/office/powerpoint/2010/main" val="354814831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01977" y="2084187"/>
            <a:ext cx="6723139" cy="1793090"/>
          </a:xfrm>
          <a:noFill/>
        </p:spPr>
        <p:txBody>
          <a:bodyPr lIns="146304" tIns="91440" rIns="146304" bIns="91440" anchor="t" anchorCtr="0"/>
          <a:lstStyle>
            <a:lvl1pPr>
              <a:defRPr sz="3971" spc="-74"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01976" y="3878574"/>
            <a:ext cx="5378503" cy="1792326"/>
          </a:xfrm>
          <a:noFill/>
        </p:spPr>
        <p:txBody>
          <a:bodyPr lIns="164592" tIns="109728" rIns="164592" bIns="109728">
            <a:noAutofit/>
          </a:bodyPr>
          <a:lstStyle>
            <a:lvl1pPr marL="0" indent="0">
              <a:spcBef>
                <a:spcPts val="0"/>
              </a:spcBef>
              <a:buNone/>
              <a:defRPr sz="2353"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6" name="MS logo white - EMF"/>
          <p:cNvPicPr>
            <a:picLocks noChangeAspect="1"/>
          </p:cNvPicPr>
          <p:nvPr userDrawn="1"/>
        </p:nvPicPr>
        <p:blipFill>
          <a:blip r:embed="rId2"/>
          <a:stretch>
            <a:fillRect/>
          </a:stretch>
        </p:blipFill>
        <p:spPr bwMode="black">
          <a:xfrm>
            <a:off x="338725" y="470067"/>
            <a:ext cx="1067477" cy="304828"/>
          </a:xfrm>
          <a:prstGeom prst="rect">
            <a:avLst/>
          </a:prstGeom>
        </p:spPr>
      </p:pic>
      <p:sp>
        <p:nvSpPr>
          <p:cNvPr id="7" name="Text Placeholder 16"/>
          <p:cNvSpPr>
            <a:spLocks noGrp="1"/>
          </p:cNvSpPr>
          <p:nvPr>
            <p:ph type="body" sz="quarter" idx="13" hasCustomPrompt="1"/>
          </p:nvPr>
        </p:nvSpPr>
        <p:spPr>
          <a:xfrm>
            <a:off x="6254758" y="288561"/>
            <a:ext cx="2689274" cy="499176"/>
          </a:xfrm>
        </p:spPr>
        <p:txBody>
          <a:bodyPr lIns="182880" tIns="146304" rIns="182880" bIns="146304"/>
          <a:lstStyle>
            <a:lvl1pPr marL="0" indent="0" algn="r">
              <a:buNone/>
              <a:defRPr sz="1471">
                <a:latin typeface="+mn-lt"/>
              </a:defRPr>
            </a:lvl1pPr>
            <a:lvl2pPr marL="252109" indent="0">
              <a:buNone/>
              <a:defRPr sz="1471"/>
            </a:lvl2pPr>
            <a:lvl3pPr marL="420181" indent="0">
              <a:buNone/>
              <a:defRPr sz="1471"/>
            </a:lvl3pPr>
            <a:lvl4pPr marL="588254" indent="0">
              <a:buNone/>
              <a:defRPr sz="1471"/>
            </a:lvl4pPr>
            <a:lvl5pPr marL="756326" indent="0">
              <a:buNone/>
              <a:defRPr sz="1471"/>
            </a:lvl5pPr>
          </a:lstStyle>
          <a:p>
            <a:pPr lvl="0"/>
            <a:r>
              <a:rPr lang="en-US" dirty="0"/>
              <a:t>Session Code</a:t>
            </a:r>
          </a:p>
        </p:txBody>
      </p:sp>
    </p:spTree>
    <p:extLst>
      <p:ext uri="{BB962C8B-B14F-4D97-AF65-F5344CB8AC3E}">
        <p14:creationId xmlns:p14="http://schemas.microsoft.com/office/powerpoint/2010/main" val="209467719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7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950"/>
                                        <p:tgtEl>
                                          <p:spTgt spid="7"/>
                                        </p:tgtEl>
                                      </p:cBhvr>
                                    </p:animEffect>
                                  </p:childTnLst>
                                </p:cTn>
                              </p:par>
                              <p:par>
                                <p:cTn id="8" presetID="63" presetClass="path" presetSubtype="0" decel="100000" fill="hold" grpId="1" nodeType="withEffect">
                                  <p:stCondLst>
                                    <p:cond delay="700"/>
                                  </p:stCondLst>
                                  <p:childTnLst>
                                    <p:animMotion origin="layout" path="M -0.01455 2.13345E-6 L 1.62369E-6 2.13345E-6 " pathEditMode="relative" rAng="0" ptsTypes="AA">
                                      <p:cBhvr>
                                        <p:cTn id="9" dur="950" fill="hold"/>
                                        <p:tgtEl>
                                          <p:spTgt spid="7"/>
                                        </p:tgtEl>
                                        <p:attrNameLst>
                                          <p:attrName>ppt_x</p:attrName>
                                          <p:attrName>ppt_y</p:attrName>
                                        </p:attrNameLst>
                                      </p:cBhvr>
                                      <p:rCtr x="728" y="0"/>
                                    </p:animMotion>
                                  </p:childTnLst>
                                </p:cTn>
                              </p:par>
                              <p:par>
                                <p:cTn id="10" presetID="6" presetClass="emph" presetSubtype="0" accel="100000" autoRev="1" fill="hold" grpId="2" nodeType="withEffect">
                                  <p:stCondLst>
                                    <p:cond delay="0"/>
                                  </p:stCondLst>
                                  <p:childTnLst>
                                    <p:animScale>
                                      <p:cBhvr>
                                        <p:cTn id="11" dur="500" fill="hold"/>
                                        <p:tgtEl>
                                          <p:spTgt spid="7"/>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tmplLst>
          <p:tmpl>
            <p:tnLst>
              <p:par>
                <p:cTn presetID="10" presetClass="entr" presetSubtype="0" fill="hold" nodeType="withEffect">
                  <p:stCondLst>
                    <p:cond delay="700"/>
                  </p:stCondLst>
                  <p:childTnLst>
                    <p:set>
                      <p:cBhvr>
                        <p:cTn dur="1" fill="hold">
                          <p:stCondLst>
                            <p:cond delay="0"/>
                          </p:stCondLst>
                        </p:cTn>
                        <p:tgtEl>
                          <p:spTgt spid="7"/>
                        </p:tgtEl>
                        <p:attrNameLst>
                          <p:attrName>style.visibility</p:attrName>
                        </p:attrNameLst>
                      </p:cBhvr>
                      <p:to>
                        <p:strVal val="visible"/>
                      </p:to>
                    </p:set>
                    <p:animEffect transition="in" filter="fade">
                      <p:cBhvr>
                        <p:cTn dur="950"/>
                        <p:tgtEl>
                          <p:spTgt spid="7"/>
                        </p:tgtEl>
                      </p:cBhvr>
                    </p:animEffect>
                  </p:childTnLst>
                </p:cTn>
              </p:par>
            </p:tnLst>
          </p:tmpl>
        </p:tmplLst>
      </p:bldP>
      <p:bldP spid="7" grpId="1"/>
      <p:bldP spid="7" grpId="2"/>
    </p:bldLst>
  </p:timing>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0" y="1189177"/>
            <a:ext cx="8741309" cy="1746440"/>
          </a:xfrm>
        </p:spPr>
        <p:txBody>
          <a:bodyPr>
            <a:spAutoFit/>
          </a:bodyPr>
          <a:lstStyle>
            <a:lvl1pPr marL="0" indent="0">
              <a:buNone/>
              <a:defRPr/>
            </a:lvl1pPr>
            <a:lvl2pPr marL="168073" indent="0">
              <a:buNone/>
              <a:defRPr/>
            </a:lvl2pPr>
            <a:lvl3pPr marL="336145" indent="0">
              <a:buNone/>
              <a:defRPr/>
            </a:lvl3pPr>
            <a:lvl4pPr marL="504218"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636355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01977" y="1187645"/>
            <a:ext cx="8741309" cy="174644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916548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1" y="1187644"/>
            <a:ext cx="4033911" cy="1610697"/>
          </a:xfrm>
        </p:spPr>
        <p:txBody>
          <a:bodyPr wrap="square">
            <a:spAutoFit/>
          </a:bodyPr>
          <a:lstStyle>
            <a:lvl1pPr marL="0" indent="0">
              <a:spcBef>
                <a:spcPts val="900"/>
              </a:spcBef>
              <a:buClr>
                <a:schemeClr val="tx1"/>
              </a:buClr>
              <a:buFont typeface="Wingdings" panose="05000000000000000000" pitchFamily="2" charset="2"/>
              <a:buNone/>
              <a:defRPr sz="2206" b="0">
                <a:latin typeface="+mn-lt"/>
              </a:defRPr>
            </a:lvl1pPr>
            <a:lvl2pPr marL="187915" indent="0">
              <a:buFont typeface="Wingdings" panose="05000000000000000000" pitchFamily="2" charset="2"/>
              <a:buNone/>
              <a:defRPr sz="1765" b="0"/>
            </a:lvl2pPr>
            <a:lvl3pPr marL="331476" indent="0">
              <a:buFont typeface="Wingdings" panose="05000000000000000000" pitchFamily="2" charset="2"/>
              <a:buNone/>
              <a:tabLst/>
              <a:defRPr sz="1618" b="0"/>
            </a:lvl3pPr>
            <a:lvl4pPr marL="479706" indent="0">
              <a:buFont typeface="Wingdings" panose="05000000000000000000" pitchFamily="2" charset="2"/>
              <a:buNone/>
              <a:defRPr sz="1618" b="0"/>
            </a:lvl4pPr>
            <a:lvl5pPr marL="627938" indent="0">
              <a:buFont typeface="Wingdings" panose="05000000000000000000" pitchFamily="2" charset="2"/>
              <a:buNone/>
              <a:tabLst/>
              <a:defRPr sz="161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4908161" y="1187644"/>
            <a:ext cx="4033911" cy="1868588"/>
          </a:xfrm>
        </p:spPr>
        <p:txBody>
          <a:bodyPr wrap="square">
            <a:spAutoFit/>
          </a:bodyPr>
          <a:lstStyle>
            <a:lvl1pPr marL="0" indent="0">
              <a:spcBef>
                <a:spcPts val="900"/>
              </a:spcBef>
              <a:buClr>
                <a:schemeClr val="tx1"/>
              </a:buClr>
              <a:buFont typeface="Arial" panose="020B0604020202020204" pitchFamily="34" charset="0"/>
              <a:buNone/>
              <a:defRPr lang="en-US" sz="2206" b="0" kern="1200" spc="0" baseline="0" dirty="0">
                <a:gradFill>
                  <a:gsLst>
                    <a:gs pos="1250">
                      <a:schemeClr val="tx1"/>
                    </a:gs>
                    <a:gs pos="100000">
                      <a:schemeClr val="tx1"/>
                    </a:gs>
                  </a:gsLst>
                  <a:lin ang="5400000" scaled="0"/>
                </a:gradFill>
                <a:latin typeface="+mn-lt"/>
                <a:ea typeface="+mn-ea"/>
                <a:cs typeface="+mn-cs"/>
              </a:defRPr>
            </a:lvl1pPr>
            <a:lvl2pPr marL="187915" indent="0">
              <a:buFont typeface="Arial" panose="020B0604020202020204" pitchFamily="34" charset="0"/>
              <a:buNone/>
              <a:defRPr lang="en-US" sz="1765" b="0" kern="1200" spc="0" baseline="0" dirty="0">
                <a:gradFill>
                  <a:gsLst>
                    <a:gs pos="1250">
                      <a:schemeClr val="tx1"/>
                    </a:gs>
                    <a:gs pos="100000">
                      <a:schemeClr val="tx1"/>
                    </a:gs>
                  </a:gsLst>
                  <a:lin ang="5400000" scaled="0"/>
                </a:gradFill>
                <a:latin typeface="+mn-lt"/>
                <a:ea typeface="+mn-ea"/>
                <a:cs typeface="+mn-cs"/>
              </a:defRPr>
            </a:lvl2pPr>
            <a:lvl3pPr marL="331476" indent="0">
              <a:buFont typeface="Arial" panose="020B0604020202020204" pitchFamily="34" charset="0"/>
              <a:buNone/>
              <a:tabLst/>
              <a:defRPr lang="en-US" sz="1618" b="0" kern="1200" spc="0" baseline="0" dirty="0">
                <a:gradFill>
                  <a:gsLst>
                    <a:gs pos="1250">
                      <a:schemeClr val="tx1"/>
                    </a:gs>
                    <a:gs pos="100000">
                      <a:schemeClr val="tx1"/>
                    </a:gs>
                  </a:gsLst>
                  <a:lin ang="5400000" scaled="0"/>
                </a:gradFill>
                <a:latin typeface="+mn-lt"/>
                <a:ea typeface="+mn-ea"/>
                <a:cs typeface="+mn-cs"/>
              </a:defRPr>
            </a:lvl3pPr>
            <a:lvl4pPr marL="479706" indent="0">
              <a:buFont typeface="Arial" panose="020B0604020202020204" pitchFamily="34" charset="0"/>
              <a:buNone/>
              <a:defRPr lang="en-US" sz="1618" b="0" kern="1200" spc="0" baseline="0" dirty="0">
                <a:gradFill>
                  <a:gsLst>
                    <a:gs pos="1250">
                      <a:schemeClr val="tx1"/>
                    </a:gs>
                    <a:gs pos="100000">
                      <a:schemeClr val="tx1"/>
                    </a:gs>
                  </a:gsLst>
                  <a:lin ang="5400000" scaled="0"/>
                </a:gradFill>
                <a:latin typeface="+mn-lt"/>
                <a:ea typeface="+mn-ea"/>
                <a:cs typeface="+mn-cs"/>
              </a:defRPr>
            </a:lvl4pPr>
            <a:lvl5pPr marL="627938" indent="0">
              <a:buFont typeface="Arial" panose="020B0604020202020204" pitchFamily="34" charset="0"/>
              <a:buNone/>
              <a:tabLst/>
              <a:defRPr lang="en-US" sz="1618" b="0" kern="1200" spc="0" baseline="0" dirty="0">
                <a:gradFill>
                  <a:gsLst>
                    <a:gs pos="1250">
                      <a:schemeClr val="tx1"/>
                    </a:gs>
                    <a:gs pos="100000">
                      <a:schemeClr val="tx1"/>
                    </a:gs>
                  </a:gsLst>
                  <a:lin ang="5400000" scaled="0"/>
                </a:gradFill>
                <a:latin typeface="+mn-lt"/>
                <a:ea typeface="+mn-ea"/>
                <a:cs typeface="+mn-cs"/>
              </a:defRPr>
            </a:lvl5pPr>
          </a:lstStyle>
          <a:p>
            <a:pPr marL="378163" marR="0" lvl="0" indent="-378163" algn="l" defTabSz="685775" rtl="0" eaLnBrk="1" fontAlgn="auto" latinLnBrk="0" hangingPunct="1">
              <a:lnSpc>
                <a:spcPct val="90000"/>
              </a:lnSpc>
              <a:spcBef>
                <a:spcPts val="900"/>
              </a:spcBef>
              <a:spcAft>
                <a:spcPts val="0"/>
              </a:spcAft>
              <a:buClr>
                <a:schemeClr val="tx1"/>
              </a:buClr>
              <a:buSzPct val="90000"/>
              <a:tabLst/>
            </a:pPr>
            <a:r>
              <a:rPr lang="en-US"/>
              <a:t>Edit Master text styles</a:t>
            </a:r>
          </a:p>
          <a:p>
            <a:pPr marL="378163" marR="0" lvl="1" indent="-378163" algn="l" defTabSz="685775" rtl="0" eaLnBrk="1" fontAlgn="auto" latinLnBrk="0" hangingPunct="1">
              <a:lnSpc>
                <a:spcPct val="90000"/>
              </a:lnSpc>
              <a:spcBef>
                <a:spcPts val="900"/>
              </a:spcBef>
              <a:spcAft>
                <a:spcPts val="0"/>
              </a:spcAft>
              <a:buClr>
                <a:schemeClr val="tx1"/>
              </a:buClr>
              <a:buSzPct val="90000"/>
              <a:tabLst/>
            </a:pPr>
            <a:r>
              <a:rPr lang="en-US"/>
              <a:t>Second level</a:t>
            </a:r>
          </a:p>
          <a:p>
            <a:pPr marL="378163" marR="0" lvl="2" indent="-378163" algn="l" defTabSz="685775" rtl="0" eaLnBrk="1" fontAlgn="auto" latinLnBrk="0" hangingPunct="1">
              <a:lnSpc>
                <a:spcPct val="90000"/>
              </a:lnSpc>
              <a:spcBef>
                <a:spcPts val="900"/>
              </a:spcBef>
              <a:spcAft>
                <a:spcPts val="0"/>
              </a:spcAft>
              <a:buClr>
                <a:schemeClr val="tx1"/>
              </a:buClr>
              <a:buSzPct val="90000"/>
              <a:tabLst/>
            </a:pPr>
            <a:r>
              <a:rPr lang="en-US"/>
              <a:t>Third level</a:t>
            </a:r>
          </a:p>
          <a:p>
            <a:pPr marL="378163" marR="0" lvl="3" indent="-378163" algn="l" defTabSz="685775" rtl="0" eaLnBrk="1" fontAlgn="auto" latinLnBrk="0" hangingPunct="1">
              <a:lnSpc>
                <a:spcPct val="90000"/>
              </a:lnSpc>
              <a:spcBef>
                <a:spcPts val="900"/>
              </a:spcBef>
              <a:spcAft>
                <a:spcPts val="0"/>
              </a:spcAft>
              <a:buClr>
                <a:schemeClr val="tx1"/>
              </a:buClr>
              <a:buSzPct val="90000"/>
              <a:tabLst/>
            </a:pPr>
            <a:r>
              <a:rPr lang="en-US"/>
              <a:t>Fourth level</a:t>
            </a:r>
          </a:p>
          <a:p>
            <a:pPr marL="378163" marR="0" lvl="4" indent="-378163" algn="l" defTabSz="685775" rtl="0" eaLnBrk="1" fontAlgn="auto" latinLnBrk="0" hangingPunct="1">
              <a:lnSpc>
                <a:spcPct val="90000"/>
              </a:lnSpc>
              <a:spcBef>
                <a:spcPts val="900"/>
              </a:spcBef>
              <a:spcAft>
                <a:spcPts val="0"/>
              </a:spcAft>
              <a:buClr>
                <a:schemeClr val="tx1"/>
              </a:buClr>
              <a:buSzPct val="90000"/>
              <a:tabLst/>
            </a:pPr>
            <a:r>
              <a:rPr lang="en-US"/>
              <a:t>Fifth level</a:t>
            </a:r>
            <a:endParaRPr lang="en-US" dirty="0"/>
          </a:p>
        </p:txBody>
      </p:sp>
    </p:spTree>
    <p:extLst>
      <p:ext uri="{BB962C8B-B14F-4D97-AF65-F5344CB8AC3E}">
        <p14:creationId xmlns:p14="http://schemas.microsoft.com/office/powerpoint/2010/main" val="20230173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 Placeholder 4">
            <a:extLst>
              <a:ext uri="{FF2B5EF4-FFF2-40B4-BE49-F238E27FC236}">
                <a16:creationId xmlns:a16="http://schemas.microsoft.com/office/drawing/2014/main" id="{8C7EC5AE-0525-48F7-B435-5B9653415066}"/>
              </a:ext>
            </a:extLst>
          </p:cNvPr>
          <p:cNvSpPr>
            <a:spLocks noGrp="1"/>
          </p:cNvSpPr>
          <p:nvPr>
            <p:ph type="body" sz="quarter" idx="10" hasCustomPrompt="1"/>
          </p:nvPr>
        </p:nvSpPr>
        <p:spPr>
          <a:xfrm>
            <a:off x="261188" y="6307137"/>
            <a:ext cx="8574837"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483153834"/>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1" y="1187644"/>
            <a:ext cx="4033911" cy="1610697"/>
          </a:xfrm>
        </p:spPr>
        <p:txBody>
          <a:bodyPr wrap="square">
            <a:spAutoFit/>
          </a:bodyPr>
          <a:lstStyle>
            <a:lvl1pPr marL="170407" indent="-170407">
              <a:spcBef>
                <a:spcPts val="900"/>
              </a:spcBef>
              <a:buClr>
                <a:schemeClr val="tx1"/>
              </a:buClr>
              <a:buFont typeface="Wingdings" panose="05000000000000000000" pitchFamily="2" charset="2"/>
              <a:buChar char=""/>
              <a:defRPr sz="2206" b="0">
                <a:latin typeface="+mn-lt"/>
              </a:defRPr>
            </a:lvl1pPr>
            <a:lvl2pPr marL="313969" indent="-126054">
              <a:buFont typeface="Wingdings" panose="05000000000000000000" pitchFamily="2" charset="2"/>
              <a:buChar char=""/>
              <a:defRPr sz="1765" b="0"/>
            </a:lvl2pPr>
            <a:lvl3pPr marL="470370" indent="-138893">
              <a:buFont typeface="Wingdings" panose="05000000000000000000" pitchFamily="2" charset="2"/>
              <a:buChar char=""/>
              <a:tabLst/>
              <a:defRPr sz="1618" b="0"/>
            </a:lvl3pPr>
            <a:lvl4pPr marL="609263" indent="-129557">
              <a:buFont typeface="Wingdings" panose="05000000000000000000" pitchFamily="2" charset="2"/>
              <a:buChar char=""/>
              <a:defRPr sz="1618" b="0"/>
            </a:lvl4pPr>
            <a:lvl5pPr marL="752825" indent="-124888">
              <a:buFont typeface="Wingdings" panose="05000000000000000000" pitchFamily="2" charset="2"/>
              <a:buChar char=""/>
              <a:tabLst/>
              <a:defRPr sz="161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4908161" y="1187644"/>
            <a:ext cx="4033911" cy="1868588"/>
          </a:xfrm>
        </p:spPr>
        <p:txBody>
          <a:bodyPr wrap="square">
            <a:spAutoFit/>
          </a:bodyPr>
          <a:lstStyle>
            <a:lvl1pPr marL="211258" indent="-211258">
              <a:spcBef>
                <a:spcPts val="900"/>
              </a:spcBef>
              <a:buClr>
                <a:schemeClr val="tx1"/>
              </a:buClr>
              <a:buFont typeface="Arial" pitchFamily="34" charset="0"/>
              <a:buChar char="•"/>
              <a:defRPr lang="en-US" sz="2206" b="0" kern="1200" spc="0" baseline="0" dirty="0">
                <a:gradFill>
                  <a:gsLst>
                    <a:gs pos="1250">
                      <a:schemeClr val="tx1"/>
                    </a:gs>
                    <a:gs pos="100000">
                      <a:schemeClr val="tx1"/>
                    </a:gs>
                  </a:gsLst>
                  <a:lin ang="5400000" scaled="0"/>
                </a:gradFill>
                <a:latin typeface="+mn-lt"/>
                <a:ea typeface="+mn-ea"/>
                <a:cs typeface="+mn-cs"/>
              </a:defRPr>
            </a:lvl1pPr>
            <a:lvl2pPr marL="440024" indent="-252109">
              <a:defRPr lang="en-US" sz="1765" b="0" kern="1200" spc="0" baseline="0" dirty="0">
                <a:gradFill>
                  <a:gsLst>
                    <a:gs pos="1250">
                      <a:schemeClr val="tx1"/>
                    </a:gs>
                    <a:gs pos="100000">
                      <a:schemeClr val="tx1"/>
                    </a:gs>
                  </a:gsLst>
                  <a:lin ang="5400000" scaled="0"/>
                </a:gradFill>
                <a:latin typeface="+mn-lt"/>
                <a:ea typeface="+mn-ea"/>
                <a:cs typeface="+mn-cs"/>
              </a:defRPr>
            </a:lvl2pPr>
            <a:lvl3pPr marL="583585" indent="-252109">
              <a:tabLst/>
              <a:defRPr lang="en-US" sz="1618" b="0" kern="1200" spc="0" baseline="0" dirty="0">
                <a:gradFill>
                  <a:gsLst>
                    <a:gs pos="1250">
                      <a:schemeClr val="tx1"/>
                    </a:gs>
                    <a:gs pos="100000">
                      <a:schemeClr val="tx1"/>
                    </a:gs>
                  </a:gsLst>
                  <a:lin ang="5400000" scaled="0"/>
                </a:gradFill>
                <a:latin typeface="+mn-lt"/>
                <a:ea typeface="+mn-ea"/>
                <a:cs typeface="+mn-cs"/>
              </a:defRPr>
            </a:lvl3pPr>
            <a:lvl4pPr marL="731815" indent="-252109">
              <a:defRPr lang="en-US" sz="1618" b="0" kern="1200" spc="0" baseline="0" dirty="0">
                <a:gradFill>
                  <a:gsLst>
                    <a:gs pos="1250">
                      <a:schemeClr val="tx1"/>
                    </a:gs>
                    <a:gs pos="100000">
                      <a:schemeClr val="tx1"/>
                    </a:gs>
                  </a:gsLst>
                  <a:lin ang="5400000" scaled="0"/>
                </a:gradFill>
                <a:latin typeface="+mn-lt"/>
                <a:ea typeface="+mn-ea"/>
                <a:cs typeface="+mn-cs"/>
              </a:defRPr>
            </a:lvl4pPr>
            <a:lvl5pPr marL="880046" indent="-252109">
              <a:tabLst/>
              <a:defRPr lang="en-US" sz="1618" b="0" kern="1200" spc="0" baseline="0" dirty="0">
                <a:gradFill>
                  <a:gsLst>
                    <a:gs pos="1250">
                      <a:schemeClr val="tx1"/>
                    </a:gs>
                    <a:gs pos="100000">
                      <a:schemeClr val="tx1"/>
                    </a:gs>
                  </a:gsLst>
                  <a:lin ang="5400000" scaled="0"/>
                </a:gradFill>
                <a:latin typeface="+mn-lt"/>
                <a:ea typeface="+mn-ea"/>
                <a:cs typeface="+mn-cs"/>
              </a:defRPr>
            </a:lvl5pPr>
          </a:lstStyle>
          <a:p>
            <a:pPr marL="170407" marR="0" lvl="0" indent="-170407" algn="l" defTabSz="685775" rtl="0" eaLnBrk="1" fontAlgn="auto" latinLnBrk="0" hangingPunct="1">
              <a:lnSpc>
                <a:spcPct val="90000"/>
              </a:lnSpc>
              <a:spcBef>
                <a:spcPts val="900"/>
              </a:spcBef>
              <a:spcAft>
                <a:spcPts val="0"/>
              </a:spcAft>
              <a:buClr>
                <a:schemeClr val="tx1"/>
              </a:buClr>
              <a:buSzPct val="90000"/>
              <a:buFont typeface="Wingdings" panose="05000000000000000000" pitchFamily="2" charset="2"/>
              <a:buChar char=""/>
              <a:tabLst/>
            </a:pPr>
            <a:r>
              <a:rPr lang="en-US"/>
              <a:t>Edit Master text styles</a:t>
            </a:r>
          </a:p>
          <a:p>
            <a:pPr marL="170407" marR="0" lvl="1" indent="-170407" algn="l" defTabSz="685775" rtl="0" eaLnBrk="1" fontAlgn="auto" latinLnBrk="0" hangingPunct="1">
              <a:lnSpc>
                <a:spcPct val="90000"/>
              </a:lnSpc>
              <a:spcBef>
                <a:spcPts val="900"/>
              </a:spcBef>
              <a:spcAft>
                <a:spcPts val="0"/>
              </a:spcAft>
              <a:buClr>
                <a:schemeClr val="tx1"/>
              </a:buClr>
              <a:buSzPct val="90000"/>
              <a:buFont typeface="Wingdings" panose="05000000000000000000" pitchFamily="2" charset="2"/>
              <a:buChar char=""/>
              <a:tabLst/>
            </a:pPr>
            <a:r>
              <a:rPr lang="en-US"/>
              <a:t>Second level</a:t>
            </a:r>
          </a:p>
          <a:p>
            <a:pPr marL="170407" marR="0" lvl="2" indent="-170407" algn="l" defTabSz="685775" rtl="0" eaLnBrk="1" fontAlgn="auto" latinLnBrk="0" hangingPunct="1">
              <a:lnSpc>
                <a:spcPct val="90000"/>
              </a:lnSpc>
              <a:spcBef>
                <a:spcPts val="900"/>
              </a:spcBef>
              <a:spcAft>
                <a:spcPts val="0"/>
              </a:spcAft>
              <a:buClr>
                <a:schemeClr val="tx1"/>
              </a:buClr>
              <a:buSzPct val="90000"/>
              <a:buFont typeface="Wingdings" panose="05000000000000000000" pitchFamily="2" charset="2"/>
              <a:buChar char=""/>
              <a:tabLst/>
            </a:pPr>
            <a:r>
              <a:rPr lang="en-US"/>
              <a:t>Third level</a:t>
            </a:r>
          </a:p>
          <a:p>
            <a:pPr marL="170407" marR="0" lvl="3" indent="-170407" algn="l" defTabSz="685775" rtl="0" eaLnBrk="1" fontAlgn="auto" latinLnBrk="0" hangingPunct="1">
              <a:lnSpc>
                <a:spcPct val="90000"/>
              </a:lnSpc>
              <a:spcBef>
                <a:spcPts val="900"/>
              </a:spcBef>
              <a:spcAft>
                <a:spcPts val="0"/>
              </a:spcAft>
              <a:buClr>
                <a:schemeClr val="tx1"/>
              </a:buClr>
              <a:buSzPct val="90000"/>
              <a:buFont typeface="Wingdings" panose="05000000000000000000" pitchFamily="2" charset="2"/>
              <a:buChar char=""/>
              <a:tabLst/>
            </a:pPr>
            <a:r>
              <a:rPr lang="en-US"/>
              <a:t>Fourth level</a:t>
            </a:r>
          </a:p>
          <a:p>
            <a:pPr marL="170407" marR="0" lvl="4" indent="-170407" algn="l" defTabSz="685775" rtl="0" eaLnBrk="1" fontAlgn="auto" latinLnBrk="0" hangingPunct="1">
              <a:lnSpc>
                <a:spcPct val="90000"/>
              </a:lnSpc>
              <a:spcBef>
                <a:spcPts val="900"/>
              </a:spcBef>
              <a:spcAft>
                <a:spcPts val="0"/>
              </a:spcAft>
              <a:buClr>
                <a:schemeClr val="tx1"/>
              </a:buClr>
              <a:buSzPct val="90000"/>
              <a:buFont typeface="Wingdings" panose="05000000000000000000" pitchFamily="2" charset="2"/>
              <a:buChar char=""/>
              <a:tabLst/>
            </a:pPr>
            <a:r>
              <a:rPr lang="en-US"/>
              <a:t>Fifth level</a:t>
            </a:r>
            <a:endParaRPr lang="en-US" dirty="0"/>
          </a:p>
        </p:txBody>
      </p:sp>
    </p:spTree>
    <p:extLst>
      <p:ext uri="{BB962C8B-B14F-4D97-AF65-F5344CB8AC3E}">
        <p14:creationId xmlns:p14="http://schemas.microsoft.com/office/powerpoint/2010/main" val="34157896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94C1D52-F5EA-4B1D-8BA6-224F2EFC9117}"/>
              </a:ext>
            </a:extLst>
          </p:cNvPr>
          <p:cNvGraphicFramePr>
            <a:graphicFrameLocks noChangeAspect="1"/>
          </p:cNvGraphicFramePr>
          <p:nvPr userDrawn="1">
            <p:custDataLst>
              <p:tags r:id="rId2"/>
            </p:custDataLst>
            <p:extLst/>
          </p:nvPr>
        </p:nvGraphicFramePr>
        <p:xfrm>
          <a:off x="1168" y="1558"/>
          <a:ext cx="1167" cy="1556"/>
        </p:xfrm>
        <a:graphic>
          <a:graphicData uri="http://schemas.openxmlformats.org/presentationml/2006/ole">
            <mc:AlternateContent xmlns:mc="http://schemas.openxmlformats.org/markup-compatibility/2006">
              <mc:Choice xmlns:v="urn:schemas-microsoft-com:vml" Requires="v">
                <p:oleObj spid="_x0000_s8194" name="think-cell Slide" r:id="rId4" imgW="425" imgH="424" progId="TCLayout.ActiveDocument.1">
                  <p:embed/>
                </p:oleObj>
              </mc:Choice>
              <mc:Fallback>
                <p:oleObj name="think-cell Slide" r:id="rId4" imgW="425" imgH="424" progId="TCLayout.ActiveDocument.1">
                  <p:embed/>
                  <p:pic>
                    <p:nvPicPr>
                      <p:cNvPr id="3" name="Object 2" hidden="1">
                        <a:extLst>
                          <a:ext uri="{FF2B5EF4-FFF2-40B4-BE49-F238E27FC236}">
                            <a16:creationId xmlns:a16="http://schemas.microsoft.com/office/drawing/2014/main" id="{894C1D52-F5EA-4B1D-8BA6-224F2EFC9117}"/>
                          </a:ext>
                        </a:extLst>
                      </p:cNvPr>
                      <p:cNvPicPr/>
                      <p:nvPr/>
                    </p:nvPicPr>
                    <p:blipFill>
                      <a:blip r:embed="rId5"/>
                      <a:stretch>
                        <a:fillRect/>
                      </a:stretch>
                    </p:blipFill>
                    <p:spPr>
                      <a:xfrm>
                        <a:off x="1168" y="1558"/>
                        <a:ext cx="1167" cy="1556"/>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3494872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graphicFrame>
        <p:nvGraphicFramePr>
          <p:cNvPr id="3" name="Table 2">
            <a:extLst>
              <a:ext uri="{FF2B5EF4-FFF2-40B4-BE49-F238E27FC236}">
                <a16:creationId xmlns:a16="http://schemas.microsoft.com/office/drawing/2014/main" id="{0DA8EFC8-B6A4-4A4B-9EDA-91002B4DFD8C}"/>
              </a:ext>
            </a:extLst>
          </p:cNvPr>
          <p:cNvGraphicFramePr>
            <a:graphicFrameLocks noGrp="1"/>
          </p:cNvGraphicFramePr>
          <p:nvPr userDrawn="1">
            <p:extLst/>
          </p:nvPr>
        </p:nvGraphicFramePr>
        <p:xfrm>
          <a:off x="178159" y="1594041"/>
          <a:ext cx="8798975" cy="915686"/>
        </p:xfrm>
        <a:graphic>
          <a:graphicData uri="http://schemas.openxmlformats.org/drawingml/2006/table">
            <a:tbl>
              <a:tblPr firstRow="1" bandRow="1">
                <a:tableStyleId>{5C22544A-7EE6-4342-B048-85BDC9FD1C3A}</a:tableStyleId>
              </a:tblPr>
              <a:tblGrid>
                <a:gridCol w="247744">
                  <a:extLst>
                    <a:ext uri="{9D8B030D-6E8A-4147-A177-3AD203B41FA5}">
                      <a16:colId xmlns:a16="http://schemas.microsoft.com/office/drawing/2014/main" val="612254498"/>
                    </a:ext>
                  </a:extLst>
                </a:gridCol>
                <a:gridCol w="2696195">
                  <a:extLst>
                    <a:ext uri="{9D8B030D-6E8A-4147-A177-3AD203B41FA5}">
                      <a16:colId xmlns:a16="http://schemas.microsoft.com/office/drawing/2014/main" val="1261049811"/>
                    </a:ext>
                  </a:extLst>
                </a:gridCol>
                <a:gridCol w="241048">
                  <a:extLst>
                    <a:ext uri="{9D8B030D-6E8A-4147-A177-3AD203B41FA5}">
                      <a16:colId xmlns:a16="http://schemas.microsoft.com/office/drawing/2014/main" val="2638922956"/>
                    </a:ext>
                  </a:extLst>
                </a:gridCol>
                <a:gridCol w="2696195">
                  <a:extLst>
                    <a:ext uri="{9D8B030D-6E8A-4147-A177-3AD203B41FA5}">
                      <a16:colId xmlns:a16="http://schemas.microsoft.com/office/drawing/2014/main" val="1530065899"/>
                    </a:ext>
                  </a:extLst>
                </a:gridCol>
                <a:gridCol w="221596">
                  <a:extLst>
                    <a:ext uri="{9D8B030D-6E8A-4147-A177-3AD203B41FA5}">
                      <a16:colId xmlns:a16="http://schemas.microsoft.com/office/drawing/2014/main" val="1628348927"/>
                    </a:ext>
                  </a:extLst>
                </a:gridCol>
                <a:gridCol w="2696195">
                  <a:extLst>
                    <a:ext uri="{9D8B030D-6E8A-4147-A177-3AD203B41FA5}">
                      <a16:colId xmlns:a16="http://schemas.microsoft.com/office/drawing/2014/main" val="3564049150"/>
                    </a:ext>
                  </a:extLst>
                </a:gridCol>
              </a:tblGrid>
              <a:tr h="915686">
                <a:tc>
                  <a:txBody>
                    <a:bodyPr/>
                    <a:lstStyle/>
                    <a:p>
                      <a:pPr algn="ctr"/>
                      <a:r>
                        <a:rPr lang="en-US" sz="1800" dirty="0">
                          <a:solidFill>
                            <a:schemeClr val="bg1"/>
                          </a:solidFill>
                        </a:rPr>
                        <a:t>1</a:t>
                      </a:r>
                    </a:p>
                  </a:txBody>
                  <a:tcPr marL="68570" marR="6857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accent2"/>
                    </a:solidFill>
                  </a:tcPr>
                </a:tc>
                <a:tc>
                  <a:txBody>
                    <a:bodyPr/>
                    <a:lstStyle/>
                    <a:p>
                      <a:pPr marL="0" indent="0" algn="l">
                        <a:buFont typeface="Arial" panose="020B0604020202020204" pitchFamily="34" charset="0"/>
                        <a:buNone/>
                      </a:pPr>
                      <a:endParaRPr lang="en-US" sz="1200" b="0" dirty="0">
                        <a:solidFill>
                          <a:schemeClr val="tx1"/>
                        </a:solidFill>
                        <a:latin typeface="Segoe UI" panose="020B0502040204020203" pitchFamily="34" charset="0"/>
                        <a:cs typeface="Segoe UI" panose="020B0502040204020203" pitchFamily="34" charset="0"/>
                      </a:endParaRPr>
                    </a:p>
                  </a:txBody>
                  <a:tcPr marL="68570" marR="6857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tc>
                  <a:txBody>
                    <a:bodyPr/>
                    <a:lstStyle/>
                    <a:p>
                      <a:pPr algn="ctr"/>
                      <a:r>
                        <a:rPr lang="en-US" sz="1800" dirty="0">
                          <a:solidFill>
                            <a:schemeClr val="bg1"/>
                          </a:solidFill>
                        </a:rPr>
                        <a:t>2</a:t>
                      </a:r>
                    </a:p>
                  </a:txBody>
                  <a:tcPr marL="68570" marR="6857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accent2"/>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a:txBody>
                  <a:tcPr marL="68570" marR="6857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tc>
                  <a:txBody>
                    <a:bodyPr/>
                    <a:lstStyle/>
                    <a:p>
                      <a:pPr algn="ctr"/>
                      <a:r>
                        <a:rPr lang="en-US" sz="1800" dirty="0">
                          <a:solidFill>
                            <a:schemeClr val="bg1"/>
                          </a:solidFill>
                        </a:rPr>
                        <a:t>3</a:t>
                      </a:r>
                    </a:p>
                  </a:txBody>
                  <a:tcPr marL="68570" marR="6857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accent2"/>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a:txBody>
                  <a:tcPr marL="68570" marR="6857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02296024"/>
                  </a:ext>
                </a:extLst>
              </a:tr>
            </a:tbl>
          </a:graphicData>
        </a:graphic>
      </p:graphicFrame>
      <p:sp>
        <p:nvSpPr>
          <p:cNvPr id="4" name="Rectangle 3">
            <a:extLst>
              <a:ext uri="{FF2B5EF4-FFF2-40B4-BE49-F238E27FC236}">
                <a16:creationId xmlns:a16="http://schemas.microsoft.com/office/drawing/2014/main" id="{E0AD6D0A-0B93-4FDA-8794-74E05AF3986D}"/>
              </a:ext>
            </a:extLst>
          </p:cNvPr>
          <p:cNvSpPr/>
          <p:nvPr userDrawn="1"/>
        </p:nvSpPr>
        <p:spPr>
          <a:xfrm>
            <a:off x="4670373" y="2843719"/>
            <a:ext cx="4307306" cy="2266594"/>
          </a:xfrm>
          <a:prstGeom prst="rect">
            <a:avLst/>
          </a:prstGeom>
          <a:solidFill>
            <a:schemeClr val="bg1"/>
          </a:solidFill>
          <a:ln w="317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70" tIns="137141" rIns="68570" bIns="34285" numCol="1" spcCol="0" rtlCol="0" fromWordArt="0" anchor="t" anchorCtr="0" forceAA="0" compatLnSpc="1">
            <a:prstTxWarp prst="textNoShape">
              <a:avLst/>
            </a:prstTxWarp>
            <a:noAutofit/>
          </a:bodyPr>
          <a:lstStyle/>
          <a:p>
            <a:pPr marL="214271" indent="-214271">
              <a:buFont typeface="+mj-lt"/>
              <a:buAutoNum type="arabicPeriod"/>
            </a:pPr>
            <a:endParaRPr lang="en-US" sz="900" dirty="0">
              <a:solidFill>
                <a:schemeClr val="tx1"/>
              </a:solidFill>
              <a:latin typeface="Segoe UI" panose="020B0502040204020203" pitchFamily="34" charset="0"/>
              <a:cs typeface="Segoe UI" panose="020B0502040204020203" pitchFamily="34" charset="0"/>
            </a:endParaRPr>
          </a:p>
        </p:txBody>
      </p:sp>
      <p:sp>
        <p:nvSpPr>
          <p:cNvPr id="5" name="Rectangle 4">
            <a:extLst>
              <a:ext uri="{FF2B5EF4-FFF2-40B4-BE49-F238E27FC236}">
                <a16:creationId xmlns:a16="http://schemas.microsoft.com/office/drawing/2014/main" id="{AE569D99-EA10-4A5E-A210-0C0CFB1784DA}"/>
              </a:ext>
            </a:extLst>
          </p:cNvPr>
          <p:cNvSpPr/>
          <p:nvPr userDrawn="1"/>
        </p:nvSpPr>
        <p:spPr>
          <a:xfrm>
            <a:off x="169904" y="5453547"/>
            <a:ext cx="8798975" cy="1158475"/>
          </a:xfrm>
          <a:prstGeom prst="rect">
            <a:avLst/>
          </a:prstGeom>
          <a:solidFill>
            <a:schemeClr val="bg1"/>
          </a:solidFill>
          <a:ln w="317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70" tIns="137141" rIns="68570" bIns="34285" numCol="1" spcCol="0" rtlCol="0" fromWordArt="0" anchor="t" anchorCtr="0" forceAA="0" compatLnSpc="1">
            <a:prstTxWarp prst="textNoShape">
              <a:avLst/>
            </a:prstTxWarp>
            <a:noAutofit/>
          </a:bodyPr>
          <a:lstStyle/>
          <a:p>
            <a:pPr marL="214271" indent="-214271">
              <a:buFont typeface="+mj-lt"/>
              <a:buAutoNum type="arabicPeriod"/>
            </a:pPr>
            <a:endParaRPr lang="en-US" sz="900" dirty="0">
              <a:solidFill>
                <a:schemeClr val="tx1"/>
              </a:solidFill>
              <a:latin typeface="Segoe UI" panose="020B0502040204020203" pitchFamily="34" charset="0"/>
              <a:cs typeface="Segoe UI" panose="020B0502040204020203" pitchFamily="34" charset="0"/>
            </a:endParaRPr>
          </a:p>
        </p:txBody>
      </p:sp>
      <p:sp>
        <p:nvSpPr>
          <p:cNvPr id="6" name="Rectangle 5">
            <a:extLst>
              <a:ext uri="{FF2B5EF4-FFF2-40B4-BE49-F238E27FC236}">
                <a16:creationId xmlns:a16="http://schemas.microsoft.com/office/drawing/2014/main" id="{25343C9A-BA04-485B-85B2-7C39B7490E88}"/>
              </a:ext>
            </a:extLst>
          </p:cNvPr>
          <p:cNvSpPr/>
          <p:nvPr userDrawn="1"/>
        </p:nvSpPr>
        <p:spPr>
          <a:xfrm>
            <a:off x="169906" y="2843719"/>
            <a:ext cx="4307306" cy="2266594"/>
          </a:xfrm>
          <a:prstGeom prst="rect">
            <a:avLst/>
          </a:prstGeom>
          <a:solidFill>
            <a:schemeClr val="bg1"/>
          </a:solidFill>
          <a:ln w="317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tIns="137141" rtlCol="0" anchor="t"/>
          <a:lstStyle/>
          <a:p>
            <a:pPr marL="214271" indent="-214271">
              <a:buFont typeface="+mj-lt"/>
              <a:buAutoNum type="arabicPeriod"/>
            </a:pPr>
            <a:endParaRPr lang="en-US" sz="900" dirty="0">
              <a:solidFill>
                <a:schemeClr val="tx1"/>
              </a:solidFill>
              <a:latin typeface="Segoe UI" panose="020B0502040204020203" pitchFamily="34" charset="0"/>
              <a:cs typeface="Segoe UI" panose="020B0502040204020203" pitchFamily="34" charset="0"/>
            </a:endParaRPr>
          </a:p>
        </p:txBody>
      </p:sp>
      <p:sp>
        <p:nvSpPr>
          <p:cNvPr id="7" name="TextBox 6">
            <a:extLst>
              <a:ext uri="{FF2B5EF4-FFF2-40B4-BE49-F238E27FC236}">
                <a16:creationId xmlns:a16="http://schemas.microsoft.com/office/drawing/2014/main" id="{92028F83-BC57-46B6-AE4F-F363D917BFB5}"/>
              </a:ext>
            </a:extLst>
          </p:cNvPr>
          <p:cNvSpPr txBox="1"/>
          <p:nvPr userDrawn="1"/>
        </p:nvSpPr>
        <p:spPr>
          <a:xfrm>
            <a:off x="4669826" y="2707892"/>
            <a:ext cx="1568243" cy="271654"/>
          </a:xfrm>
          <a:prstGeom prst="rect">
            <a:avLst/>
          </a:prstGeom>
          <a:solidFill>
            <a:schemeClr val="bg1"/>
          </a:solidFill>
          <a:ln w="12700">
            <a:solidFill>
              <a:schemeClr val="tx1"/>
            </a:solidFill>
          </a:ln>
        </p:spPr>
        <p:txBody>
          <a:bodyPr wrap="square" lIns="68570" tIns="34285" rIns="68570" bIns="34285" rtlCol="0" anchor="ctr">
            <a:noAutofit/>
          </a:bodyPr>
          <a:lstStyle>
            <a:defPPr>
              <a:defRPr lang="en-US"/>
            </a:defPPr>
            <a:lvl1pPr>
              <a:defRPr sz="2400">
                <a:solidFill>
                  <a:srgbClr val="0078D7"/>
                </a:solidFill>
                <a:latin typeface="+mj-lt"/>
              </a:defRPr>
            </a:lvl1pPr>
          </a:lstStyle>
          <a:p>
            <a:pPr defTabSz="685669">
              <a:defRPr/>
            </a:pPr>
            <a:r>
              <a:rPr lang="en-US" sz="1050" b="1" dirty="0">
                <a:solidFill>
                  <a:schemeClr val="accent1"/>
                </a:solidFill>
                <a:latin typeface="Segoe UI Light"/>
              </a:rPr>
              <a:t>Actions to Take</a:t>
            </a:r>
          </a:p>
        </p:txBody>
      </p:sp>
      <p:sp>
        <p:nvSpPr>
          <p:cNvPr id="8" name="TextBox 7">
            <a:extLst>
              <a:ext uri="{FF2B5EF4-FFF2-40B4-BE49-F238E27FC236}">
                <a16:creationId xmlns:a16="http://schemas.microsoft.com/office/drawing/2014/main" id="{1B2D9789-D165-4BDB-A460-2343E7F13D54}"/>
              </a:ext>
            </a:extLst>
          </p:cNvPr>
          <p:cNvSpPr txBox="1"/>
          <p:nvPr userDrawn="1"/>
        </p:nvSpPr>
        <p:spPr>
          <a:xfrm>
            <a:off x="169906" y="5308480"/>
            <a:ext cx="1565352" cy="271654"/>
          </a:xfrm>
          <a:prstGeom prst="rect">
            <a:avLst/>
          </a:prstGeom>
          <a:solidFill>
            <a:schemeClr val="bg1"/>
          </a:solidFill>
          <a:ln w="12700">
            <a:solidFill>
              <a:schemeClr val="tx1"/>
            </a:solidFill>
          </a:ln>
        </p:spPr>
        <p:txBody>
          <a:bodyPr wrap="square" lIns="68570" tIns="34285" rIns="68570" bIns="34285" rtlCol="0" anchor="ctr">
            <a:noAutofit/>
          </a:bodyPr>
          <a:lstStyle>
            <a:defPPr>
              <a:defRPr lang="en-US"/>
            </a:defPPr>
            <a:lvl1pPr>
              <a:defRPr sz="2400">
                <a:solidFill>
                  <a:srgbClr val="0078D7"/>
                </a:solidFill>
                <a:latin typeface="+mj-lt"/>
              </a:defRPr>
            </a:lvl1pPr>
          </a:lstStyle>
          <a:p>
            <a:pPr defTabSz="685669">
              <a:defRPr/>
            </a:pPr>
            <a:r>
              <a:rPr lang="en-US" sz="1050" b="1" dirty="0">
                <a:solidFill>
                  <a:schemeClr val="accent1"/>
                </a:solidFill>
                <a:latin typeface="Segoe UI Light"/>
              </a:rPr>
              <a:t>Resources</a:t>
            </a:r>
          </a:p>
        </p:txBody>
      </p:sp>
      <p:sp>
        <p:nvSpPr>
          <p:cNvPr id="9" name="TextBox 8">
            <a:extLst>
              <a:ext uri="{FF2B5EF4-FFF2-40B4-BE49-F238E27FC236}">
                <a16:creationId xmlns:a16="http://schemas.microsoft.com/office/drawing/2014/main" id="{CCF24501-8757-48AA-B9DD-ED5BECE78DDC}"/>
              </a:ext>
            </a:extLst>
          </p:cNvPr>
          <p:cNvSpPr txBox="1"/>
          <p:nvPr userDrawn="1"/>
        </p:nvSpPr>
        <p:spPr>
          <a:xfrm>
            <a:off x="169906" y="2707892"/>
            <a:ext cx="1568243" cy="271654"/>
          </a:xfrm>
          <a:prstGeom prst="rect">
            <a:avLst/>
          </a:prstGeom>
          <a:solidFill>
            <a:schemeClr val="bg1"/>
          </a:solidFill>
          <a:ln w="12700">
            <a:solidFill>
              <a:schemeClr val="tx1"/>
            </a:solidFill>
          </a:ln>
        </p:spPr>
        <p:txBody>
          <a:bodyPr wrap="square" lIns="68570" tIns="34285" rIns="68570" bIns="34285" rtlCol="0" anchor="ctr">
            <a:noAutofit/>
          </a:bodyPr>
          <a:lstStyle>
            <a:defPPr>
              <a:defRPr lang="en-US"/>
            </a:defPPr>
            <a:lvl1pPr>
              <a:defRPr sz="2400">
                <a:solidFill>
                  <a:srgbClr val="0078D7"/>
                </a:solidFill>
                <a:latin typeface="+mj-lt"/>
              </a:defRPr>
            </a:lvl1pPr>
          </a:lstStyle>
          <a:p>
            <a:pPr defTabSz="685669">
              <a:defRPr/>
            </a:pPr>
            <a:r>
              <a:rPr lang="en-US" sz="1050" b="1" dirty="0">
                <a:solidFill>
                  <a:schemeClr val="accent1"/>
                </a:solidFill>
                <a:latin typeface="Segoe UI Light"/>
              </a:rPr>
              <a:t>Questions to Ask</a:t>
            </a:r>
          </a:p>
        </p:txBody>
      </p:sp>
      <p:sp>
        <p:nvSpPr>
          <p:cNvPr id="10" name="TextBox 9">
            <a:extLst>
              <a:ext uri="{FF2B5EF4-FFF2-40B4-BE49-F238E27FC236}">
                <a16:creationId xmlns:a16="http://schemas.microsoft.com/office/drawing/2014/main" id="{2A40F325-ADB0-41C7-9EF7-7E36EF2381D6}"/>
              </a:ext>
            </a:extLst>
          </p:cNvPr>
          <p:cNvSpPr txBox="1"/>
          <p:nvPr userDrawn="1"/>
        </p:nvSpPr>
        <p:spPr>
          <a:xfrm>
            <a:off x="169904" y="1456607"/>
            <a:ext cx="1568244" cy="271654"/>
          </a:xfrm>
          <a:prstGeom prst="rect">
            <a:avLst/>
          </a:prstGeom>
          <a:solidFill>
            <a:schemeClr val="bg1"/>
          </a:solidFill>
          <a:ln w="12700">
            <a:solidFill>
              <a:schemeClr val="tx1"/>
            </a:solidFill>
          </a:ln>
        </p:spPr>
        <p:txBody>
          <a:bodyPr wrap="square" lIns="68570" tIns="34285" rIns="68570" bIns="34285" rtlCol="0" anchor="ctr">
            <a:noAutofit/>
          </a:bodyPr>
          <a:lstStyle>
            <a:defPPr>
              <a:defRPr lang="en-US"/>
            </a:defPPr>
            <a:lvl1pPr>
              <a:defRPr sz="2400">
                <a:solidFill>
                  <a:srgbClr val="0078D7"/>
                </a:solidFill>
                <a:latin typeface="+mj-lt"/>
              </a:defRPr>
            </a:lvl1pPr>
          </a:lstStyle>
          <a:p>
            <a:pPr defTabSz="685669">
              <a:defRPr/>
            </a:pPr>
            <a:r>
              <a:rPr lang="en-US" sz="1050" b="1" dirty="0">
                <a:solidFill>
                  <a:schemeClr val="accent1"/>
                </a:solidFill>
                <a:latin typeface="Segoe UI Light"/>
              </a:rPr>
              <a:t>Goals</a:t>
            </a:r>
          </a:p>
        </p:txBody>
      </p:sp>
      <p:sp>
        <p:nvSpPr>
          <p:cNvPr id="11" name="Arrow: Down 10">
            <a:extLst>
              <a:ext uri="{FF2B5EF4-FFF2-40B4-BE49-F238E27FC236}">
                <a16:creationId xmlns:a16="http://schemas.microsoft.com/office/drawing/2014/main" id="{F67E61E6-AA38-485B-AE09-CD08BBD8FABF}"/>
              </a:ext>
            </a:extLst>
          </p:cNvPr>
          <p:cNvSpPr/>
          <p:nvPr userDrawn="1"/>
        </p:nvSpPr>
        <p:spPr bwMode="auto">
          <a:xfrm rot="16200000">
            <a:off x="2927137" y="1411179"/>
            <a:ext cx="470385" cy="2854139"/>
          </a:xfrm>
          <a:prstGeom prst="downArrow">
            <a:avLst>
              <a:gd name="adj1" fmla="val 31468"/>
              <a:gd name="adj2" fmla="val 37425"/>
            </a:avLst>
          </a:prstGeom>
          <a:gradFill flip="none" rotWithShape="1">
            <a:gsLst>
              <a:gs pos="0">
                <a:srgbClr val="0078D7">
                  <a:lumMod val="0"/>
                  <a:lumOff val="100000"/>
                  <a:alpha val="0"/>
                </a:srgbClr>
              </a:gs>
              <a:gs pos="100000">
                <a:srgbClr val="0078D7">
                  <a:lumMod val="45000"/>
                  <a:lumOff val="55000"/>
                </a:srgbClr>
              </a:gs>
              <a:gs pos="100000">
                <a:schemeClr val="accent6"/>
              </a:gs>
            </a:gsLst>
            <a:lin ang="5400000" scaled="1"/>
            <a:tileRect/>
          </a:gradFill>
          <a:ln>
            <a:noFill/>
          </a:ln>
          <a:effectLst/>
        </p:spPr>
        <p:txBody>
          <a:bodyPr rot="0" spcFirstLastPara="0" vertOverflow="overflow" horzOverflow="overflow" vert="horz" wrap="square" lIns="137141" tIns="109713" rIns="137141" bIns="109713" numCol="1" spcCol="0" rtlCol="0" fromWordArt="0" anchor="t" anchorCtr="0" forceAA="0" compatLnSpc="1">
            <a:prstTxWarp prst="textNoShape">
              <a:avLst/>
            </a:prstTxWarp>
            <a:noAutofit/>
          </a:bodyPr>
          <a:lstStyle/>
          <a:p>
            <a:pPr algn="ctr" defTabSz="699220" fontAlgn="base">
              <a:lnSpc>
                <a:spcPct val="90000"/>
              </a:lnSpc>
              <a:spcBef>
                <a:spcPct val="0"/>
              </a:spcBef>
              <a:spcAft>
                <a:spcPct val="0"/>
              </a:spcAft>
              <a:defRPr/>
            </a:pPr>
            <a:endParaRPr lang="en-US" sz="18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28926594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29" y="2084187"/>
            <a:ext cx="7394337" cy="917880"/>
          </a:xfrm>
          <a:noFill/>
        </p:spPr>
        <p:txBody>
          <a:bodyPr tIns="91440" bIns="91440" anchor="t" anchorCtr="0">
            <a:spAutoFit/>
          </a:bodyPr>
          <a:lstStyle>
            <a:lvl1pPr>
              <a:defRPr sz="5294" spc="-74"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01930" y="3877277"/>
            <a:ext cx="7395506" cy="621324"/>
          </a:xfrm>
          <a:noFill/>
        </p:spPr>
        <p:txBody>
          <a:bodyPr lIns="182880" tIns="146304" rIns="182880" bIns="146304">
            <a:spAutoFit/>
          </a:bodyPr>
          <a:lstStyle>
            <a:lvl1pPr marL="0" indent="0">
              <a:spcBef>
                <a:spcPts val="0"/>
              </a:spcBef>
              <a:buNone/>
              <a:defRPr sz="2353"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26954807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0" y="2084187"/>
            <a:ext cx="7394337" cy="917880"/>
          </a:xfrm>
          <a:noFill/>
        </p:spPr>
        <p:txBody>
          <a:bodyPr tIns="91440" bIns="91440" anchor="t" anchorCtr="0">
            <a:spAutoFit/>
          </a:bodyPr>
          <a:lstStyle>
            <a:lvl1pPr>
              <a:defRPr lang="en-US" sz="5294" b="0" kern="1200" cap="none" spc="-74"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21193339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0" y="2084173"/>
            <a:ext cx="8740142" cy="917880"/>
          </a:xfrm>
          <a:noFill/>
        </p:spPr>
        <p:txBody>
          <a:bodyPr tIns="91440" bIns="91440" anchor="t" anchorCtr="0">
            <a:spAutoFit/>
          </a:bodyPr>
          <a:lstStyle>
            <a:lvl1pPr>
              <a:defRPr sz="5294" spc="-74"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8910976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0" y="2084173"/>
            <a:ext cx="8740142" cy="917880"/>
          </a:xfrm>
          <a:noFill/>
        </p:spPr>
        <p:txBody>
          <a:bodyPr tIns="91440" bIns="91440" anchor="t" anchorCtr="0">
            <a:spAutoFit/>
          </a:bodyPr>
          <a:lstStyle>
            <a:lvl1pPr>
              <a:defRPr sz="5294" spc="-74"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98552498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0" y="2847879"/>
            <a:ext cx="3596905" cy="1162241"/>
          </a:xfrm>
        </p:spPr>
        <p:txBody>
          <a:bodyPr wrap="square" anchor="ctr">
            <a:spAutoFit/>
          </a:bodyPr>
          <a:lstStyle>
            <a:lvl1pPr>
              <a:defRPr sz="3529"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4000762" y="0"/>
            <a:ext cx="5143238" cy="6856100"/>
          </a:xfrm>
          <a:prstGeom prst="rect">
            <a:avLst/>
          </a:prstGeom>
          <a:blipFill>
            <a:blip r:embed="rId2"/>
            <a:stretch>
              <a:fillRect/>
            </a:stretch>
          </a:blipFill>
        </p:spPr>
        <p:txBody>
          <a:bodyPr tIns="548640" anchor="ctr" anchorCtr="0">
            <a:noAutofit/>
          </a:bodyPr>
          <a:lstStyle>
            <a:lvl1pPr marL="0" indent="0" algn="ctr">
              <a:buNone/>
              <a:defRPr sz="1176"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750267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863943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3142702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Speaker Intro">
    <p:bg>
      <p:bgPr>
        <a:solidFill>
          <a:srgbClr val="0070C0"/>
        </a:solidFill>
        <a:effectLst/>
      </p:bgPr>
    </p:bg>
    <p:spTree>
      <p:nvGrpSpPr>
        <p:cNvPr id="1" name=""/>
        <p:cNvGrpSpPr/>
        <p:nvPr/>
      </p:nvGrpSpPr>
      <p:grpSpPr>
        <a:xfrm>
          <a:off x="0" y="0"/>
          <a:ext cx="0" cy="0"/>
          <a:chOff x="0" y="0"/>
          <a:chExt cx="0" cy="0"/>
        </a:xfrm>
      </p:grpSpPr>
      <p:sp>
        <p:nvSpPr>
          <p:cNvPr id="726019" name="Rectangle 3"/>
          <p:cNvSpPr>
            <a:spLocks noGrp="1" noChangeArrowheads="1"/>
          </p:cNvSpPr>
          <p:nvPr>
            <p:ph type="ctrTitle" sz="quarter" hasCustomPrompt="1"/>
          </p:nvPr>
        </p:nvSpPr>
        <p:spPr>
          <a:xfrm>
            <a:off x="597160" y="508962"/>
            <a:ext cx="8379200" cy="1011928"/>
          </a:xfrm>
          <a:solidFill>
            <a:srgbClr val="3399FF"/>
          </a:solidFill>
          <a:ln algn="ctr"/>
        </p:spPr>
        <p:txBody>
          <a:bodyPr wrap="square" tIns="0" rIns="0" bIns="0" anchor="t" anchorCtr="0">
            <a:noAutofit/>
          </a:bodyPr>
          <a:lstStyle>
            <a:lvl1pPr algn="l">
              <a:spcBef>
                <a:spcPct val="60000"/>
              </a:spcBef>
              <a:buClr>
                <a:schemeClr val="hlink"/>
              </a:buClr>
              <a:buSzPct val="90000"/>
              <a:buFontTx/>
              <a:buNone/>
              <a:defRPr sz="3800" baseline="0">
                <a:solidFill>
                  <a:schemeClr val="bg1"/>
                </a:solidFill>
                <a:latin typeface="Segoe UI" pitchFamily="34" charset="0"/>
                <a:ea typeface="Segoe UI" pitchFamily="34" charset="0"/>
                <a:cs typeface="Segoe UI" pitchFamily="34" charset="0"/>
              </a:defRPr>
            </a:lvl1pPr>
          </a:lstStyle>
          <a:p>
            <a:r>
              <a:rPr lang="en-US" dirty="0"/>
              <a:t>Topic</a:t>
            </a:r>
          </a:p>
        </p:txBody>
      </p:sp>
      <p:sp>
        <p:nvSpPr>
          <p:cNvPr id="726020" name="Rectangle 4"/>
          <p:cNvSpPr>
            <a:spLocks noGrp="1" noChangeArrowheads="1"/>
          </p:cNvSpPr>
          <p:nvPr>
            <p:ph type="subTitle" sz="quarter" idx="1" hasCustomPrompt="1"/>
          </p:nvPr>
        </p:nvSpPr>
        <p:spPr>
          <a:xfrm>
            <a:off x="3685592" y="2595282"/>
            <a:ext cx="5290768" cy="3237592"/>
          </a:xfrm>
        </p:spPr>
        <p:txBody>
          <a:bodyPr lIns="91440" tIns="45720" rIns="91440" bIns="45720"/>
          <a:lstStyle>
            <a:lvl1pPr marL="285750" indent="-285750" algn="l">
              <a:lnSpc>
                <a:spcPct val="95000"/>
              </a:lnSpc>
              <a:spcBef>
                <a:spcPct val="60000"/>
              </a:spcBef>
              <a:buClr>
                <a:schemeClr val="bg1"/>
              </a:buClr>
              <a:buFont typeface="Wingdings" panose="05000000000000000000" pitchFamily="2" charset="2"/>
              <a:buChar char="Ø"/>
              <a:defRPr sz="1800">
                <a:solidFill>
                  <a:schemeClr val="bg1"/>
                </a:solidFill>
                <a:latin typeface="Segoe UI" pitchFamily="34" charset="0"/>
                <a:ea typeface="Segoe UI" pitchFamily="34" charset="0"/>
                <a:cs typeface="Segoe UI" pitchFamily="34" charset="0"/>
              </a:defRPr>
            </a:lvl1pPr>
          </a:lstStyle>
          <a:p>
            <a:r>
              <a:rPr lang="en-US" dirty="0"/>
              <a:t>Topic Description</a:t>
            </a:r>
          </a:p>
          <a:p>
            <a:endParaRPr lang="en-US" dirty="0"/>
          </a:p>
        </p:txBody>
      </p:sp>
      <p:sp>
        <p:nvSpPr>
          <p:cNvPr id="7" name="Text Placeholder 6">
            <a:extLst>
              <a:ext uri="{FF2B5EF4-FFF2-40B4-BE49-F238E27FC236}">
                <a16:creationId xmlns:a16="http://schemas.microsoft.com/office/drawing/2014/main" id="{05E1913A-614D-4F38-AB69-5348B29CCD5D}"/>
              </a:ext>
            </a:extLst>
          </p:cNvPr>
          <p:cNvSpPr>
            <a:spLocks noGrp="1"/>
          </p:cNvSpPr>
          <p:nvPr>
            <p:ph type="body" sz="quarter" idx="10" hasCustomPrompt="1"/>
          </p:nvPr>
        </p:nvSpPr>
        <p:spPr>
          <a:xfrm>
            <a:off x="261938" y="2756542"/>
            <a:ext cx="3241675" cy="2851150"/>
          </a:xfrm>
          <a:solidFill>
            <a:schemeClr val="bg1"/>
          </a:solidFill>
        </p:spPr>
        <p:txBody>
          <a:bodyPr/>
          <a:lstStyle>
            <a:lvl1pPr marL="0" indent="0">
              <a:buNone/>
              <a:defRPr sz="2000" baseline="0">
                <a:solidFill>
                  <a:srgbClr val="0070C0"/>
                </a:solidFill>
              </a:defRPr>
            </a:lvl1pPr>
          </a:lstStyle>
          <a:p>
            <a:pPr lvl="0"/>
            <a:r>
              <a:rPr lang="en-US" dirty="0"/>
              <a:t>Speaker Information:</a:t>
            </a:r>
          </a:p>
        </p:txBody>
      </p:sp>
      <p:sp>
        <p:nvSpPr>
          <p:cNvPr id="11" name="Text Placeholder 10">
            <a:extLst>
              <a:ext uri="{FF2B5EF4-FFF2-40B4-BE49-F238E27FC236}">
                <a16:creationId xmlns:a16="http://schemas.microsoft.com/office/drawing/2014/main" id="{6A2AE784-2CA5-4194-B30C-8D50C676A59B}"/>
              </a:ext>
            </a:extLst>
          </p:cNvPr>
          <p:cNvSpPr>
            <a:spLocks noGrp="1"/>
          </p:cNvSpPr>
          <p:nvPr>
            <p:ph type="body" sz="quarter" idx="11" hasCustomPrompt="1"/>
          </p:nvPr>
        </p:nvSpPr>
        <p:spPr>
          <a:xfrm>
            <a:off x="261938" y="6018240"/>
            <a:ext cx="8714421" cy="391882"/>
          </a:xfrm>
          <a:solidFill>
            <a:schemeClr val="bg1"/>
          </a:solidFill>
        </p:spPr>
        <p:txBody>
          <a:bodyPr/>
          <a:lstStyle>
            <a:lvl1pPr marL="0" indent="0">
              <a:buNone/>
              <a:defRPr sz="1400">
                <a:solidFill>
                  <a:srgbClr val="3399FF"/>
                </a:solidFill>
              </a:defRPr>
            </a:lvl1pPr>
            <a:lvl2pPr>
              <a:defRPr>
                <a:solidFill>
                  <a:schemeClr val="bg1">
                    <a:lumMod val="75000"/>
                  </a:schemeClr>
                </a:solidFill>
              </a:defRPr>
            </a:lvl2pPr>
            <a:lvl3pPr>
              <a:defRPr>
                <a:solidFill>
                  <a:schemeClr val="bg1">
                    <a:lumMod val="75000"/>
                  </a:schemeClr>
                </a:solidFill>
              </a:defRPr>
            </a:lvl3pPr>
            <a:lvl4pPr>
              <a:defRPr>
                <a:solidFill>
                  <a:schemeClr val="bg1">
                    <a:lumMod val="75000"/>
                  </a:schemeClr>
                </a:solidFill>
              </a:defRPr>
            </a:lvl4pPr>
            <a:lvl5pPr>
              <a:defRPr>
                <a:solidFill>
                  <a:schemeClr val="bg1">
                    <a:lumMod val="75000"/>
                  </a:schemeClr>
                </a:solidFill>
              </a:defRPr>
            </a:lvl5pPr>
          </a:lstStyle>
          <a:p>
            <a:pPr lvl="0"/>
            <a:r>
              <a:rPr lang="en-US" dirty="0"/>
              <a:t>URL</a:t>
            </a:r>
          </a:p>
        </p:txBody>
      </p:sp>
      <p:sp>
        <p:nvSpPr>
          <p:cNvPr id="12" name="TextBox 11">
            <a:extLst>
              <a:ext uri="{FF2B5EF4-FFF2-40B4-BE49-F238E27FC236}">
                <a16:creationId xmlns:a16="http://schemas.microsoft.com/office/drawing/2014/main" id="{E1C05B86-1160-4370-A04A-9508198B968C}"/>
              </a:ext>
            </a:extLst>
          </p:cNvPr>
          <p:cNvSpPr txBox="1"/>
          <p:nvPr userDrawn="1"/>
        </p:nvSpPr>
        <p:spPr>
          <a:xfrm>
            <a:off x="6208643" y="6512893"/>
            <a:ext cx="2842055" cy="307777"/>
          </a:xfrm>
          <a:prstGeom prst="rect">
            <a:avLst/>
          </a:prstGeom>
          <a:noFill/>
        </p:spPr>
        <p:txBody>
          <a:bodyPr wrap="square" rtlCol="0">
            <a:spAutoFit/>
          </a:bodyPr>
          <a:lstStyle/>
          <a:p>
            <a:r>
              <a:rPr lang="en-US" sz="1400" dirty="0"/>
              <a:t>#</a:t>
            </a:r>
            <a:r>
              <a:rPr lang="en-US" sz="1400" dirty="0" err="1"/>
              <a:t>AzureArch</a:t>
            </a:r>
            <a:r>
              <a:rPr lang="en-US" sz="1400" dirty="0"/>
              <a:t>  @</a:t>
            </a:r>
            <a:r>
              <a:rPr lang="en-US" sz="1400" dirty="0" err="1"/>
              <a:t>stilldrey</a:t>
            </a:r>
            <a:endParaRPr lang="en-US" sz="1400" dirty="0"/>
          </a:p>
        </p:txBody>
      </p:sp>
      <p:sp>
        <p:nvSpPr>
          <p:cNvPr id="8" name="Text Placeholder 6">
            <a:extLst>
              <a:ext uri="{FF2B5EF4-FFF2-40B4-BE49-F238E27FC236}">
                <a16:creationId xmlns:a16="http://schemas.microsoft.com/office/drawing/2014/main" id="{02AE59D8-F91B-4102-844E-46CD5A0795C5}"/>
              </a:ext>
            </a:extLst>
          </p:cNvPr>
          <p:cNvSpPr>
            <a:spLocks noGrp="1"/>
          </p:cNvSpPr>
          <p:nvPr>
            <p:ph type="body" sz="quarter" idx="12" hasCustomPrompt="1"/>
          </p:nvPr>
        </p:nvSpPr>
        <p:spPr>
          <a:xfrm>
            <a:off x="275386" y="1689742"/>
            <a:ext cx="8595190" cy="780034"/>
          </a:xfrm>
          <a:noFill/>
        </p:spPr>
        <p:txBody>
          <a:bodyPr/>
          <a:lstStyle>
            <a:lvl1pPr marL="0" indent="0">
              <a:buNone/>
              <a:defRPr sz="2000" baseline="0">
                <a:solidFill>
                  <a:schemeClr val="bg1"/>
                </a:solidFill>
              </a:defRPr>
            </a:lvl1pPr>
          </a:lstStyle>
          <a:p>
            <a:pPr lvl="0"/>
            <a:r>
              <a:rPr lang="en-US" dirty="0" err="1"/>
              <a:t>WiFi</a:t>
            </a:r>
            <a:r>
              <a:rPr lang="en-US" dirty="0"/>
              <a:t>: </a:t>
            </a:r>
            <a:r>
              <a:rPr lang="en-US" dirty="0" err="1"/>
              <a:t>msftguest</a:t>
            </a:r>
            <a:r>
              <a:rPr lang="en-US" dirty="0"/>
              <a:t> =&gt; event code: msevent11lz</a:t>
            </a:r>
          </a:p>
          <a:p>
            <a:pPr lvl="0"/>
            <a:r>
              <a:rPr lang="en-US" dirty="0"/>
              <a:t>Content &amp; Labs: http://github.com/guruskill/70-533</a:t>
            </a:r>
          </a:p>
          <a:p>
            <a:pPr lvl="0"/>
            <a:endParaRPr lang="en-US" dirty="0"/>
          </a:p>
        </p:txBody>
      </p:sp>
    </p:spTree>
    <p:extLst>
      <p:ext uri="{BB962C8B-B14F-4D97-AF65-F5344CB8AC3E}">
        <p14:creationId xmlns:p14="http://schemas.microsoft.com/office/powerpoint/2010/main" val="137221811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6AF9706F-69F9-4C5B-878A-257B9A487E19}"/>
              </a:ext>
            </a:extLst>
          </p:cNvPr>
          <p:cNvSpPr/>
          <p:nvPr userDrawn="1"/>
        </p:nvSpPr>
        <p:spPr bwMode="auto">
          <a:xfrm>
            <a:off x="3546230" y="0"/>
            <a:ext cx="5597769" cy="1424354"/>
          </a:xfrm>
          <a:prstGeom prst="rect">
            <a:avLst/>
          </a:prstGeom>
          <a:solidFill>
            <a:schemeClr val="bg1"/>
          </a:solidFill>
          <a:ln w="9525" cap="flat" cmpd="sng" algn="ctr">
            <a:noFill/>
            <a:prstDash val="solid"/>
            <a:round/>
            <a:headEnd type="none" w="med" len="med"/>
            <a:tailEnd type="none" w="med" len="med"/>
          </a:ln>
          <a:effectLst/>
        </p:spPr>
        <p:txBody>
          <a:bodyPr vert="horz" wrap="square" lIns="182880" tIns="45720" rIns="18288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800" b="1" i="0" u="none" strike="noStrike" cap="none" normalizeH="0" baseline="0">
              <a:ln>
                <a:noFill/>
              </a:ln>
              <a:solidFill>
                <a:schemeClr val="tx1"/>
              </a:solidFill>
              <a:effectLst/>
              <a:latin typeface="Verdana" pitchFamily="34" charset="0"/>
            </a:endParaRPr>
          </a:p>
        </p:txBody>
      </p:sp>
      <p:sp>
        <p:nvSpPr>
          <p:cNvPr id="6" name="Rectangle 5">
            <a:extLst>
              <a:ext uri="{FF2B5EF4-FFF2-40B4-BE49-F238E27FC236}">
                <a16:creationId xmlns:a16="http://schemas.microsoft.com/office/drawing/2014/main" id="{D4E7A39D-4325-4D40-AA41-B4787F9B32F3}"/>
              </a:ext>
            </a:extLst>
          </p:cNvPr>
          <p:cNvSpPr/>
          <p:nvPr userDrawn="1"/>
        </p:nvSpPr>
        <p:spPr bwMode="auto">
          <a:xfrm>
            <a:off x="0" y="0"/>
            <a:ext cx="3534508" cy="1424354"/>
          </a:xfrm>
          <a:prstGeom prst="rect">
            <a:avLst/>
          </a:prstGeom>
          <a:solidFill>
            <a:srgbClr val="0070C0"/>
          </a:solidFill>
          <a:ln w="9525" cap="flat" cmpd="sng" algn="ctr">
            <a:noFill/>
            <a:prstDash val="solid"/>
            <a:round/>
            <a:headEnd type="none" w="med" len="med"/>
            <a:tailEnd type="none" w="med" len="med"/>
          </a:ln>
          <a:effectLst>
            <a:outerShdw dist="35921" dir="2700000" algn="ctr" rotWithShape="0">
              <a:srgbClr val="AFAFAF"/>
            </a:outerShdw>
          </a:effectLst>
        </p:spPr>
        <p:txBody>
          <a:bodyPr vert="horz" wrap="square" lIns="182880" tIns="45720" rIns="18288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800" b="1" i="0" u="none" strike="noStrike" cap="none" normalizeH="0" baseline="0">
              <a:ln>
                <a:noFill/>
              </a:ln>
              <a:solidFill>
                <a:schemeClr val="tx1"/>
              </a:solidFill>
              <a:effectLst/>
              <a:latin typeface="Verdana" pitchFamily="34" charset="0"/>
            </a:endParaRPr>
          </a:p>
        </p:txBody>
      </p:sp>
      <p:sp>
        <p:nvSpPr>
          <p:cNvPr id="2" name="Title 1"/>
          <p:cNvSpPr>
            <a:spLocks noGrp="1"/>
          </p:cNvSpPr>
          <p:nvPr>
            <p:ph type="title"/>
          </p:nvPr>
        </p:nvSpPr>
        <p:spPr>
          <a:xfrm>
            <a:off x="246186" y="273050"/>
            <a:ext cx="3219328" cy="1162050"/>
          </a:xfrm>
        </p:spPr>
        <p:txBody>
          <a:bodyPr anchor="t"/>
          <a:lstStyle>
            <a:lvl1pPr algn="l">
              <a:defRPr sz="2000" b="0"/>
            </a:lvl1pPr>
          </a:lstStyle>
          <a:p>
            <a:r>
              <a:rPr lang="en-US" dirty="0"/>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solidFill>
                  <a:schemeClr val="tx1"/>
                </a:solidFill>
              </a:defRPr>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half" idx="2"/>
          </p:nvPr>
        </p:nvSpPr>
        <p:spPr>
          <a:xfrm>
            <a:off x="263770" y="1435100"/>
            <a:ext cx="320174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Edit Master text styles</a:t>
            </a:r>
          </a:p>
        </p:txBody>
      </p:sp>
      <p:sp>
        <p:nvSpPr>
          <p:cNvPr id="5" name="Text Placeholder 4">
            <a:extLst>
              <a:ext uri="{FF2B5EF4-FFF2-40B4-BE49-F238E27FC236}">
                <a16:creationId xmlns:a16="http://schemas.microsoft.com/office/drawing/2014/main" id="{90A4200F-D9E6-4624-905A-FC78FABE78C8}"/>
              </a:ext>
            </a:extLst>
          </p:cNvPr>
          <p:cNvSpPr>
            <a:spLocks noGrp="1"/>
          </p:cNvSpPr>
          <p:nvPr>
            <p:ph type="body" sz="quarter" idx="10" hasCustomPrompt="1"/>
          </p:nvPr>
        </p:nvSpPr>
        <p:spPr>
          <a:xfrm>
            <a:off x="261188" y="6307137"/>
            <a:ext cx="8574837"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3332487751"/>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Developer Code Layou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9144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2" tIns="34292" rIns="34292" bIns="34292" numCol="1" spcCol="0" rtlCol="0" fromWordArt="0" anchor="ctr" anchorCtr="0" forceAA="0" compatLnSpc="1">
            <a:prstTxWarp prst="textNoShape">
              <a:avLst/>
            </a:prstTxWarp>
            <a:noAutofit/>
          </a:bodyPr>
          <a:lstStyle/>
          <a:p>
            <a:pPr algn="ctr" defTabSz="685577" fontAlgn="base">
              <a:spcBef>
                <a:spcPct val="0"/>
              </a:spcBef>
              <a:spcAft>
                <a:spcPct val="0"/>
              </a:spcAft>
            </a:pPr>
            <a:endParaRPr lang="en-US" sz="1324"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01929" y="1197322"/>
            <a:ext cx="8740142" cy="1715791"/>
          </a:xfrm>
        </p:spPr>
        <p:txBody>
          <a:bodyPr/>
          <a:lstStyle>
            <a:lvl1pPr marL="0" indent="0">
              <a:buNone/>
              <a:defRPr sz="2426">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254795"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429818"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59888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772719"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667300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01930" y="6099190"/>
            <a:ext cx="3361593" cy="350807"/>
          </a:xfrm>
          <a:prstGeom prst="rect">
            <a:avLst/>
          </a:prstGeom>
          <a:noFill/>
          <a:ln w="12700">
            <a:noFill/>
            <a:miter lim="800000"/>
            <a:headEnd type="none" w="sm" len="sm"/>
            <a:tailEnd type="none" w="sm" len="sm"/>
          </a:ln>
          <a:effectLst/>
        </p:spPr>
        <p:txBody>
          <a:bodyPr vert="horz" wrap="square" lIns="134464" tIns="134464" rIns="134464" bIns="134464" numCol="1" anchor="t" anchorCtr="0" compatLnSpc="1">
            <a:prstTxWarp prst="textNoShape">
              <a:avLst/>
            </a:prstTxWarp>
            <a:spAutoFit/>
          </a:bodyPr>
          <a:lstStyle/>
          <a:p>
            <a:pPr defTabSz="685443" eaLnBrk="0" hangingPunct="0"/>
            <a:r>
              <a:rPr lang="en-US" sz="515"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338725" y="470067"/>
            <a:ext cx="1067477" cy="304828"/>
          </a:xfrm>
          <a:prstGeom prst="rect">
            <a:avLst/>
          </a:prstGeom>
        </p:spPr>
      </p:pic>
    </p:spTree>
    <p:extLst>
      <p:ext uri="{BB962C8B-B14F-4D97-AF65-F5344CB8AC3E}">
        <p14:creationId xmlns:p14="http://schemas.microsoft.com/office/powerpoint/2010/main" val="305674407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01930" y="1189178"/>
            <a:ext cx="8740142" cy="1845826"/>
          </a:xfrm>
          <a:prstGeom prst="rect">
            <a:avLst/>
          </a:prstGeom>
        </p:spPr>
        <p:txBody>
          <a:bodyPr/>
          <a:lstStyle>
            <a:lvl1pPr marL="213593" indent="-213593">
              <a:buClr>
                <a:schemeClr val="tx1"/>
              </a:buClr>
              <a:buSzPct val="90000"/>
              <a:buFont typeface="Arial" pitchFamily="34" charset="0"/>
              <a:buChar char="•"/>
              <a:defRPr sz="264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420181" indent="-206590">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633773" indent="-213593">
              <a:buClr>
                <a:schemeClr val="tx1"/>
              </a:buClr>
              <a:buSzPct val="90000"/>
              <a:buFont typeface="Arial" pitchFamily="34" charset="0"/>
              <a:buChar char="•"/>
              <a:defRPr sz="2059">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801846" indent="-168073">
              <a:buClr>
                <a:schemeClr val="tx1"/>
              </a:buClr>
              <a:buSzPct val="90000"/>
              <a:buFont typeface="Arial" pitchFamily="34" charset="0"/>
              <a:buChar char="•"/>
              <a:defRPr sz="1765">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969919" indent="-168073">
              <a:buClr>
                <a:schemeClr val="tx1"/>
              </a:buClr>
              <a:buSzPct val="90000"/>
              <a:buFont typeface="Arial" pitchFamily="34" charset="0"/>
              <a:buChar char="•"/>
              <a:defRPr sz="147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7"/>
            <a:ext cx="9144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2720" spc="-3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58001224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1116623"/>
            <a:ext cx="5486400" cy="3610952"/>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a:t>Click icon to add picture</a:t>
            </a:r>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5" name="Text Placeholder 4">
            <a:extLst>
              <a:ext uri="{FF2B5EF4-FFF2-40B4-BE49-F238E27FC236}">
                <a16:creationId xmlns:a16="http://schemas.microsoft.com/office/drawing/2014/main" id="{7064F4CD-50E4-4810-A21F-C7BB8E8F2CF0}"/>
              </a:ext>
            </a:extLst>
          </p:cNvPr>
          <p:cNvSpPr>
            <a:spLocks noGrp="1"/>
          </p:cNvSpPr>
          <p:nvPr>
            <p:ph type="body" sz="quarter" idx="10" hasCustomPrompt="1"/>
          </p:nvPr>
        </p:nvSpPr>
        <p:spPr>
          <a:xfrm>
            <a:off x="261188" y="6307137"/>
            <a:ext cx="8574837"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6566032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7151860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291263" y="1002321"/>
            <a:ext cx="1943100" cy="5378450"/>
          </a:xfrm>
        </p:spPr>
        <p:txBody>
          <a:bodyPr vert="eaVert"/>
          <a:lstStyle>
            <a:lvl1pPr>
              <a:defRPr>
                <a:solidFill>
                  <a:schemeClr val="tx1"/>
                </a:solidFill>
              </a:defRPr>
            </a:lvl1pPr>
          </a:lstStyle>
          <a:p>
            <a:r>
              <a:rPr lang="en-US" dirty="0"/>
              <a:t>Click to edit Master title style</a:t>
            </a:r>
          </a:p>
        </p:txBody>
      </p:sp>
      <p:sp>
        <p:nvSpPr>
          <p:cNvPr id="3" name="Vertical Text Placeholder 2"/>
          <p:cNvSpPr>
            <a:spLocks noGrp="1"/>
          </p:cNvSpPr>
          <p:nvPr>
            <p:ph type="body" orient="vert" idx="1"/>
          </p:nvPr>
        </p:nvSpPr>
        <p:spPr>
          <a:xfrm>
            <a:off x="458788" y="1002321"/>
            <a:ext cx="5680075" cy="5378450"/>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1648578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68406B1-5395-4EAD-BD16-C032EA563FF8}" type="datetimeFigureOut">
              <a:rPr lang="en-US" smtClean="0"/>
              <a:t>6/5/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2AD9E620-94DA-46AD-A290-2756EFB5EED5}" type="slidenum">
              <a:rPr lang="en-US" smtClean="0"/>
              <a:t>‹#›</a:t>
            </a:fld>
            <a:endParaRPr lang="en-US" dirty="0"/>
          </a:p>
        </p:txBody>
      </p:sp>
    </p:spTree>
    <p:extLst>
      <p:ext uri="{BB962C8B-B14F-4D97-AF65-F5344CB8AC3E}">
        <p14:creationId xmlns:p14="http://schemas.microsoft.com/office/powerpoint/2010/main" val="313959071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01977" y="2084187"/>
            <a:ext cx="6723139" cy="1793090"/>
          </a:xfrm>
          <a:noFill/>
        </p:spPr>
        <p:txBody>
          <a:bodyPr lIns="146304" tIns="91440" rIns="146304" bIns="91440" anchor="t" anchorCtr="0"/>
          <a:lstStyle>
            <a:lvl1pPr>
              <a:defRPr sz="3971" spc="-74"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01976" y="3878574"/>
            <a:ext cx="5378503" cy="1792326"/>
          </a:xfrm>
          <a:noFill/>
        </p:spPr>
        <p:txBody>
          <a:bodyPr lIns="146304" tIns="109728" rIns="146304" bIns="109728">
            <a:noAutofit/>
          </a:bodyPr>
          <a:lstStyle>
            <a:lvl1pPr marL="0" indent="0">
              <a:spcBef>
                <a:spcPts val="0"/>
              </a:spcBef>
              <a:buNone/>
              <a:defRPr sz="2353" spc="0" baseline="0">
                <a:gradFill>
                  <a:gsLst>
                    <a:gs pos="91000">
                      <a:schemeClr val="tx1"/>
                    </a:gs>
                    <a:gs pos="0">
                      <a:schemeClr val="tx1"/>
                    </a:gs>
                  </a:gsLst>
                  <a:lin ang="5400000" scaled="0"/>
                </a:gradFill>
                <a:latin typeface="+mj-lt"/>
              </a:defRPr>
            </a:lvl1pPr>
          </a:lstStyle>
          <a:p>
            <a:pPr lvl="0"/>
            <a:r>
              <a:rPr lang="en-US" dirty="0"/>
              <a:t>Speaker Name</a:t>
            </a:r>
          </a:p>
        </p:txBody>
      </p:sp>
      <p:sp>
        <p:nvSpPr>
          <p:cNvPr id="8" name="Rectangle 7"/>
          <p:cNvSpPr/>
          <p:nvPr userDrawn="1"/>
        </p:nvSpPr>
        <p:spPr bwMode="auto">
          <a:xfrm>
            <a:off x="336159" y="470069"/>
            <a:ext cx="1545494" cy="393703"/>
          </a:xfrm>
          <a:prstGeom prst="rect">
            <a:avLst/>
          </a:prstGeom>
          <a:noFill/>
          <a:ln w="6350" cap="sq">
            <a:solidFill>
              <a:schemeClr val="tx1"/>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685577" rtl="0" eaLnBrk="1" fontAlgn="base" latinLnBrk="0" hangingPunct="1">
              <a:lnSpc>
                <a:spcPct val="90000"/>
              </a:lnSpc>
              <a:spcBef>
                <a:spcPct val="0"/>
              </a:spcBef>
              <a:spcAft>
                <a:spcPct val="0"/>
              </a:spcAft>
              <a:buClrTx/>
              <a:buSzTx/>
              <a:buFontTx/>
              <a:buNone/>
              <a:tabLst/>
              <a:defRPr/>
            </a:pPr>
            <a:r>
              <a:rPr kumimoji="0" lang="en-US" sz="2059" b="0" i="0" u="none" strike="noStrike" kern="1200" cap="none" spc="0" normalizeH="0" baseline="0" noProof="0" dirty="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Product logo</a:t>
            </a:r>
          </a:p>
        </p:txBody>
      </p:sp>
      <p:sp>
        <p:nvSpPr>
          <p:cNvPr id="10" name="Rectangle 9"/>
          <p:cNvSpPr/>
          <p:nvPr userDrawn="1"/>
        </p:nvSpPr>
        <p:spPr bwMode="auto">
          <a:xfrm>
            <a:off x="336159" y="863773"/>
            <a:ext cx="1545494" cy="271689"/>
          </a:xfrm>
          <a:prstGeom prst="rect">
            <a:avLst/>
          </a:prstGeom>
          <a:noFill/>
          <a:ln w="6350" cap="sq">
            <a:noFill/>
            <a:prstDash val="sysDot"/>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685577" rtl="0" eaLnBrk="1" fontAlgn="base" latinLnBrk="0" hangingPunct="1">
              <a:lnSpc>
                <a:spcPct val="90000"/>
              </a:lnSpc>
              <a:spcBef>
                <a:spcPct val="0"/>
              </a:spcBef>
              <a:spcAft>
                <a:spcPct val="0"/>
              </a:spcAft>
              <a:buClrTx/>
              <a:buSzTx/>
              <a:buFontTx/>
              <a:buNone/>
              <a:tabLst/>
              <a:defRPr/>
            </a:pPr>
            <a:r>
              <a:rPr kumimoji="0" lang="en-US" sz="1029" b="0" i="0" u="none" strike="noStrike" kern="1200" cap="none" spc="0" normalizeH="0" baseline="0" noProof="0" dirty="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Update on slide master</a:t>
            </a:r>
          </a:p>
        </p:txBody>
      </p:sp>
    </p:spTree>
    <p:extLst>
      <p:ext uri="{BB962C8B-B14F-4D97-AF65-F5344CB8AC3E}">
        <p14:creationId xmlns:p14="http://schemas.microsoft.com/office/powerpoint/2010/main" val="390940750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01930" y="1189178"/>
            <a:ext cx="8740142" cy="1442383"/>
          </a:xfrm>
        </p:spPr>
        <p:txBody>
          <a:bodyPr/>
          <a:lstStyle>
            <a:lvl1pPr marL="0" indent="0">
              <a:buNone/>
              <a:defRPr>
                <a:gradFill>
                  <a:gsLst>
                    <a:gs pos="1250">
                      <a:schemeClr val="tx1"/>
                    </a:gs>
                    <a:gs pos="99000">
                      <a:schemeClr val="tx1"/>
                    </a:gs>
                  </a:gsLst>
                  <a:lin ang="5400000" scaled="0"/>
                </a:gradFill>
              </a:defRPr>
            </a:lvl1pPr>
            <a:lvl2pPr marL="0" indent="0">
              <a:buFontTx/>
              <a:buNone/>
              <a:defRPr sz="1471"/>
            </a:lvl2pPr>
            <a:lvl3pPr marL="168073" indent="0">
              <a:buNone/>
              <a:defRPr/>
            </a:lvl3pPr>
            <a:lvl4pPr marL="336145" indent="0">
              <a:buNone/>
              <a:defRPr/>
            </a:lvl4pPr>
            <a:lvl5pPr marL="504218"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28776219"/>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Title &amp; Non-bulleted text White Backgroun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300">
                <a:solidFill>
                  <a:schemeClr val="bg1"/>
                </a:solidFill>
              </a:defRPr>
            </a:lvl1pPr>
          </a:lstStyle>
          <a:p>
            <a:r>
              <a:rPr lang="en-US" dirty="0"/>
              <a:t>Click to edit Master title style</a:t>
            </a:r>
          </a:p>
        </p:txBody>
      </p:sp>
      <p:sp>
        <p:nvSpPr>
          <p:cNvPr id="6" name="Text Placeholder 5"/>
          <p:cNvSpPr>
            <a:spLocks noGrp="1"/>
          </p:cNvSpPr>
          <p:nvPr>
            <p:ph type="body" sz="quarter" idx="10"/>
          </p:nvPr>
        </p:nvSpPr>
        <p:spPr>
          <a:xfrm>
            <a:off x="201930" y="1189178"/>
            <a:ext cx="8740142" cy="1421928"/>
          </a:xfrm>
        </p:spPr>
        <p:txBody>
          <a:bodyPr/>
          <a:lstStyle>
            <a:lvl1pPr marL="0" indent="0">
              <a:buNone/>
              <a:defRPr sz="2700">
                <a:solidFill>
                  <a:schemeClr val="bg1"/>
                </a:solidFill>
              </a:defRPr>
            </a:lvl1pPr>
            <a:lvl2pPr marL="0" indent="0">
              <a:buFontTx/>
              <a:buNone/>
              <a:defRPr sz="1350">
                <a:solidFill>
                  <a:schemeClr val="bg1"/>
                </a:solidFill>
              </a:defRPr>
            </a:lvl2pPr>
            <a:lvl3pPr marL="168073" indent="0">
              <a:buNone/>
              <a:defRPr sz="1350">
                <a:solidFill>
                  <a:schemeClr val="bg1"/>
                </a:solidFill>
              </a:defRPr>
            </a:lvl3pPr>
            <a:lvl4pPr marL="336145" indent="0">
              <a:buNone/>
              <a:defRPr sz="1200">
                <a:solidFill>
                  <a:schemeClr val="bg1"/>
                </a:solidFill>
              </a:defRPr>
            </a:lvl4pPr>
            <a:lvl5pPr marL="504218" indent="0">
              <a:buNone/>
              <a:defRPr sz="12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55183399"/>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3_Title Only white backgroun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3221475471"/>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01930" y="1189178"/>
            <a:ext cx="8740142" cy="1440010"/>
          </a:xfrm>
        </p:spPr>
        <p:txBody>
          <a:bodyPr>
            <a:spAutoFit/>
          </a:bodyPr>
          <a:lstStyle>
            <a:lvl1pPr>
              <a:defRPr sz="2647"/>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3443990510"/>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rgbClr val="0070C0"/>
        </a:solidFill>
        <a:effectLst/>
      </p:bgPr>
    </p:bg>
    <p:spTree>
      <p:nvGrpSpPr>
        <p:cNvPr id="1" name=""/>
        <p:cNvGrpSpPr/>
        <p:nvPr/>
      </p:nvGrpSpPr>
      <p:grpSpPr>
        <a:xfrm>
          <a:off x="0" y="0"/>
          <a:ext cx="0" cy="0"/>
          <a:chOff x="0" y="0"/>
          <a:chExt cx="0" cy="0"/>
        </a:xfrm>
      </p:grpSpPr>
      <p:sp>
        <p:nvSpPr>
          <p:cNvPr id="726019" name="Rectangle 3"/>
          <p:cNvSpPr>
            <a:spLocks noGrp="1" noChangeArrowheads="1"/>
          </p:cNvSpPr>
          <p:nvPr>
            <p:ph type="ctrTitle" sz="quarter" hasCustomPrompt="1"/>
          </p:nvPr>
        </p:nvSpPr>
        <p:spPr>
          <a:xfrm>
            <a:off x="597160" y="508962"/>
            <a:ext cx="8379200" cy="1011928"/>
          </a:xfrm>
          <a:solidFill>
            <a:srgbClr val="3399FF"/>
          </a:solidFill>
          <a:ln algn="ctr"/>
        </p:spPr>
        <p:txBody>
          <a:bodyPr wrap="square" tIns="0" rIns="0" bIns="0" anchor="t" anchorCtr="0">
            <a:noAutofit/>
          </a:bodyPr>
          <a:lstStyle>
            <a:lvl1pPr algn="l">
              <a:spcBef>
                <a:spcPct val="60000"/>
              </a:spcBef>
              <a:buClr>
                <a:schemeClr val="hlink"/>
              </a:buClr>
              <a:buSzPct val="90000"/>
              <a:buFontTx/>
              <a:buNone/>
              <a:defRPr sz="3800" baseline="0">
                <a:solidFill>
                  <a:schemeClr val="bg1"/>
                </a:solidFill>
                <a:latin typeface="Segoe UI" pitchFamily="34" charset="0"/>
                <a:ea typeface="Segoe UI" pitchFamily="34" charset="0"/>
                <a:cs typeface="Segoe UI" pitchFamily="34" charset="0"/>
              </a:defRPr>
            </a:lvl1pPr>
          </a:lstStyle>
          <a:p>
            <a:r>
              <a:rPr lang="en-US" dirty="0"/>
              <a:t>Topic</a:t>
            </a:r>
          </a:p>
        </p:txBody>
      </p:sp>
      <p:sp>
        <p:nvSpPr>
          <p:cNvPr id="726020" name="Rectangle 4"/>
          <p:cNvSpPr>
            <a:spLocks noGrp="1" noChangeArrowheads="1"/>
          </p:cNvSpPr>
          <p:nvPr>
            <p:ph type="subTitle" sz="quarter" idx="1" hasCustomPrompt="1"/>
          </p:nvPr>
        </p:nvSpPr>
        <p:spPr>
          <a:xfrm>
            <a:off x="3685592" y="2110581"/>
            <a:ext cx="5290768" cy="3722293"/>
          </a:xfrm>
        </p:spPr>
        <p:txBody>
          <a:bodyPr lIns="91440" tIns="45720" rIns="91440" bIns="45720"/>
          <a:lstStyle>
            <a:lvl1pPr marL="285750" indent="-285750" algn="l">
              <a:lnSpc>
                <a:spcPct val="95000"/>
              </a:lnSpc>
              <a:spcBef>
                <a:spcPct val="60000"/>
              </a:spcBef>
              <a:buClr>
                <a:schemeClr val="bg1"/>
              </a:buClr>
              <a:buFont typeface="Wingdings" panose="05000000000000000000" pitchFamily="2" charset="2"/>
              <a:buChar char="Ø"/>
              <a:defRPr sz="1800">
                <a:solidFill>
                  <a:schemeClr val="bg1"/>
                </a:solidFill>
                <a:latin typeface="Segoe UI" pitchFamily="34" charset="0"/>
                <a:ea typeface="Segoe UI" pitchFamily="34" charset="0"/>
                <a:cs typeface="Segoe UI" pitchFamily="34" charset="0"/>
              </a:defRPr>
            </a:lvl1pPr>
          </a:lstStyle>
          <a:p>
            <a:r>
              <a:rPr lang="en-US" dirty="0"/>
              <a:t>Topic Description</a:t>
            </a:r>
          </a:p>
          <a:p>
            <a:endParaRPr lang="en-US" dirty="0"/>
          </a:p>
        </p:txBody>
      </p:sp>
      <p:sp>
        <p:nvSpPr>
          <p:cNvPr id="7" name="Text Placeholder 6">
            <a:extLst>
              <a:ext uri="{FF2B5EF4-FFF2-40B4-BE49-F238E27FC236}">
                <a16:creationId xmlns:a16="http://schemas.microsoft.com/office/drawing/2014/main" id="{05E1913A-614D-4F38-AB69-5348B29CCD5D}"/>
              </a:ext>
            </a:extLst>
          </p:cNvPr>
          <p:cNvSpPr>
            <a:spLocks noGrp="1"/>
          </p:cNvSpPr>
          <p:nvPr>
            <p:ph type="body" sz="quarter" idx="10"/>
          </p:nvPr>
        </p:nvSpPr>
        <p:spPr>
          <a:xfrm>
            <a:off x="261938" y="2756542"/>
            <a:ext cx="3241675" cy="2851150"/>
          </a:xfrm>
        </p:spPr>
        <p:txBody>
          <a:bodyPr/>
          <a:lstStyle>
            <a:lvl1pPr>
              <a:defRPr sz="2000">
                <a:solidFill>
                  <a:schemeClr val="bg1"/>
                </a:solidFill>
              </a:defRPr>
            </a:lvl1pPr>
          </a:lstStyle>
          <a:p>
            <a:pPr lvl="0"/>
            <a:r>
              <a:rPr lang="en-US" dirty="0"/>
              <a:t>Edit Master text</a:t>
            </a:r>
          </a:p>
        </p:txBody>
      </p:sp>
      <p:sp>
        <p:nvSpPr>
          <p:cNvPr id="11" name="Text Placeholder 10">
            <a:extLst>
              <a:ext uri="{FF2B5EF4-FFF2-40B4-BE49-F238E27FC236}">
                <a16:creationId xmlns:a16="http://schemas.microsoft.com/office/drawing/2014/main" id="{6A2AE784-2CA5-4194-B30C-8D50C676A59B}"/>
              </a:ext>
            </a:extLst>
          </p:cNvPr>
          <p:cNvSpPr>
            <a:spLocks noGrp="1"/>
          </p:cNvSpPr>
          <p:nvPr>
            <p:ph type="body" sz="quarter" idx="11" hasCustomPrompt="1"/>
          </p:nvPr>
        </p:nvSpPr>
        <p:spPr>
          <a:xfrm>
            <a:off x="261938" y="6018240"/>
            <a:ext cx="8714421" cy="391882"/>
          </a:xfrm>
          <a:solidFill>
            <a:schemeClr val="bg1"/>
          </a:solidFill>
        </p:spPr>
        <p:txBody>
          <a:bodyPr/>
          <a:lstStyle>
            <a:lvl1pPr marL="0" indent="0">
              <a:buNone/>
              <a:defRPr sz="1400">
                <a:solidFill>
                  <a:srgbClr val="3399FF"/>
                </a:solidFill>
              </a:defRPr>
            </a:lvl1pPr>
            <a:lvl2pPr>
              <a:defRPr>
                <a:solidFill>
                  <a:schemeClr val="bg1">
                    <a:lumMod val="75000"/>
                  </a:schemeClr>
                </a:solidFill>
              </a:defRPr>
            </a:lvl2pPr>
            <a:lvl3pPr>
              <a:defRPr>
                <a:solidFill>
                  <a:schemeClr val="bg1">
                    <a:lumMod val="75000"/>
                  </a:schemeClr>
                </a:solidFill>
              </a:defRPr>
            </a:lvl3pPr>
            <a:lvl4pPr>
              <a:defRPr>
                <a:solidFill>
                  <a:schemeClr val="bg1">
                    <a:lumMod val="75000"/>
                  </a:schemeClr>
                </a:solidFill>
              </a:defRPr>
            </a:lvl4pPr>
            <a:lvl5pPr>
              <a:defRPr>
                <a:solidFill>
                  <a:schemeClr val="bg1">
                    <a:lumMod val="75000"/>
                  </a:schemeClr>
                </a:solidFill>
              </a:defRPr>
            </a:lvl5pPr>
          </a:lstStyle>
          <a:p>
            <a:pPr lvl="0"/>
            <a:r>
              <a:rPr lang="en-US" dirty="0"/>
              <a:t>URL</a:t>
            </a:r>
          </a:p>
        </p:txBody>
      </p:sp>
      <p:sp>
        <p:nvSpPr>
          <p:cNvPr id="8" name="TextBox 7">
            <a:extLst>
              <a:ext uri="{FF2B5EF4-FFF2-40B4-BE49-F238E27FC236}">
                <a16:creationId xmlns:a16="http://schemas.microsoft.com/office/drawing/2014/main" id="{D4614177-BBD8-49FC-B8FB-449297FBBE0B}"/>
              </a:ext>
            </a:extLst>
          </p:cNvPr>
          <p:cNvSpPr txBox="1"/>
          <p:nvPr userDrawn="1"/>
        </p:nvSpPr>
        <p:spPr>
          <a:xfrm>
            <a:off x="6208643" y="6512893"/>
            <a:ext cx="2842055" cy="307777"/>
          </a:xfrm>
          <a:prstGeom prst="rect">
            <a:avLst/>
          </a:prstGeom>
          <a:noFill/>
        </p:spPr>
        <p:txBody>
          <a:bodyPr wrap="square" rtlCol="0">
            <a:spAutoFit/>
          </a:bodyPr>
          <a:lstStyle/>
          <a:p>
            <a:r>
              <a:rPr lang="en-US" sz="1400" dirty="0"/>
              <a:t>#</a:t>
            </a:r>
            <a:r>
              <a:rPr lang="en-US" sz="1400" dirty="0" err="1"/>
              <a:t>AzureArch</a:t>
            </a:r>
            <a:r>
              <a:rPr lang="en-US" sz="1400" dirty="0"/>
              <a:t>  @</a:t>
            </a:r>
            <a:r>
              <a:rPr lang="en-US" sz="1400" dirty="0" err="1"/>
              <a:t>stilldrey</a:t>
            </a:r>
            <a:endParaRPr lang="en-US" sz="1400" dirty="0"/>
          </a:p>
        </p:txBody>
      </p:sp>
    </p:spTree>
    <p:extLst>
      <p:ext uri="{BB962C8B-B14F-4D97-AF65-F5344CB8AC3E}">
        <p14:creationId xmlns:p14="http://schemas.microsoft.com/office/powerpoint/2010/main" val="341429297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1" y="1189175"/>
            <a:ext cx="4033911" cy="1414746"/>
          </a:xfrm>
        </p:spPr>
        <p:txBody>
          <a:bodyPr wrap="square">
            <a:spAutoFit/>
          </a:bodyPr>
          <a:lstStyle>
            <a:lvl1pPr marL="0" indent="0">
              <a:spcBef>
                <a:spcPts val="900"/>
              </a:spcBef>
              <a:buClr>
                <a:schemeClr val="tx1"/>
              </a:buClr>
              <a:buFont typeface="Wingdings" pitchFamily="2" charset="2"/>
              <a:buNone/>
              <a:defRPr sz="2353"/>
            </a:lvl1pPr>
            <a:lvl2pPr marL="0" indent="0">
              <a:buNone/>
              <a:defRPr sz="1471"/>
            </a:lvl2pPr>
            <a:lvl3pPr marL="170407" indent="0">
              <a:buNone/>
              <a:tabLst/>
              <a:defRPr sz="1471"/>
            </a:lvl3pPr>
            <a:lvl4pPr marL="338480" indent="0">
              <a:buNone/>
              <a:defRPr/>
            </a:lvl4pPr>
            <a:lvl5pPr marL="504218"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4908161" y="1189175"/>
            <a:ext cx="4033911" cy="1414746"/>
          </a:xfrm>
        </p:spPr>
        <p:txBody>
          <a:bodyPr wrap="square">
            <a:spAutoFit/>
          </a:bodyPr>
          <a:lstStyle>
            <a:lvl1pPr marL="0" indent="0">
              <a:spcBef>
                <a:spcPts val="900"/>
              </a:spcBef>
              <a:buClr>
                <a:schemeClr val="tx1"/>
              </a:buClr>
              <a:buFont typeface="Wingdings" pitchFamily="2" charset="2"/>
              <a:buNone/>
              <a:defRPr sz="2353"/>
            </a:lvl1pPr>
            <a:lvl2pPr marL="0" indent="0">
              <a:buNone/>
              <a:defRPr sz="1471"/>
            </a:lvl2pPr>
            <a:lvl3pPr marL="170407" indent="0">
              <a:buNone/>
              <a:tabLst/>
              <a:defRPr sz="1471"/>
            </a:lvl3pPr>
            <a:lvl4pPr marL="338480" indent="0">
              <a:buNone/>
              <a:defRPr/>
            </a:lvl4pPr>
            <a:lvl5pPr marL="504218"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79938986"/>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1" y="1189176"/>
            <a:ext cx="4033911" cy="1790362"/>
          </a:xfrm>
        </p:spPr>
        <p:txBody>
          <a:bodyPr wrap="square">
            <a:spAutoFit/>
          </a:bodyPr>
          <a:lstStyle>
            <a:lvl1pPr marL="211258" indent="-211258">
              <a:spcBef>
                <a:spcPts val="900"/>
              </a:spcBef>
              <a:buClr>
                <a:schemeClr val="tx1"/>
              </a:buClr>
              <a:buFont typeface="Arial" pitchFamily="34" charset="0"/>
              <a:buChar char="•"/>
              <a:defRPr sz="2353"/>
            </a:lvl1pPr>
            <a:lvl2pPr marL="390527" indent="-171451">
              <a:defRPr sz="1765"/>
            </a:lvl2pPr>
            <a:lvl3pPr marL="514352" indent="-123826">
              <a:tabLst/>
              <a:defRPr sz="1471"/>
            </a:lvl3pPr>
            <a:lvl4pPr marL="647702" indent="-133351">
              <a:defRPr/>
            </a:lvl4pPr>
            <a:lvl5pPr marL="771528" indent="-123826">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4908161" y="1189176"/>
            <a:ext cx="4033911" cy="1790362"/>
          </a:xfrm>
        </p:spPr>
        <p:txBody>
          <a:bodyPr wrap="square">
            <a:spAutoFit/>
          </a:bodyPr>
          <a:lstStyle>
            <a:lvl1pPr marL="211258" indent="-211258">
              <a:spcBef>
                <a:spcPts val="900"/>
              </a:spcBef>
              <a:buClr>
                <a:schemeClr val="tx1"/>
              </a:buClr>
              <a:buFont typeface="Arial" pitchFamily="34" charset="0"/>
              <a:buChar char="•"/>
              <a:defRPr sz="2353"/>
            </a:lvl1pPr>
            <a:lvl2pPr marL="390527" indent="-171451">
              <a:defRPr sz="1765"/>
            </a:lvl2pPr>
            <a:lvl3pPr marL="514352" indent="-123826">
              <a:tabLst/>
              <a:defRPr sz="1471"/>
            </a:lvl3pPr>
            <a:lvl4pPr marL="647702" indent="-133351">
              <a:defRPr/>
            </a:lvl4pPr>
            <a:lvl5pPr marL="771528" indent="-123826">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35180151"/>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587101526"/>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5" name="Content Placeholder 4"/>
          <p:cNvSpPr>
            <a:spLocks noGrp="1"/>
          </p:cNvSpPr>
          <p:nvPr>
            <p:ph sz="quarter" idx="10"/>
          </p:nvPr>
        </p:nvSpPr>
        <p:spPr>
          <a:xfrm>
            <a:off x="201931" y="964751"/>
            <a:ext cx="8741880" cy="558614"/>
          </a:xfrm>
        </p:spPr>
        <p:txBody>
          <a:bodyPr/>
          <a:lstStyle>
            <a:lvl1pPr marL="0" indent="0" algn="l" defTabSz="685775" rtl="0" eaLnBrk="1" latinLnBrk="0" hangingPunct="1">
              <a:lnSpc>
                <a:spcPct val="90000"/>
              </a:lnSpc>
              <a:spcBef>
                <a:spcPct val="0"/>
              </a:spcBef>
              <a:buNone/>
              <a:defRPr kumimoji="0" lang="en-US" sz="2700" b="0" i="1" u="none" strike="noStrike" kern="1200" cap="none" spc="-75" normalizeH="0" baseline="0" dirty="0" smtClean="0">
                <a:ln w="3175">
                  <a:noFill/>
                </a:ln>
                <a:solidFill>
                  <a:srgbClr val="0078D7"/>
                </a:solidFill>
                <a:effectLst/>
                <a:uLnTx/>
                <a:uFillTx/>
                <a:latin typeface="+mj-lt"/>
                <a:ea typeface="+mn-ea"/>
                <a:cs typeface="Segoe UI" pitchFamily="34" charset="0"/>
              </a:defRPr>
            </a:lvl1pPr>
          </a:lstStyle>
          <a:p>
            <a:pPr lvl="0"/>
            <a:r>
              <a:rPr lang="en-US" dirty="0"/>
              <a:t>Click to edit Master text styles</a:t>
            </a:r>
          </a:p>
        </p:txBody>
      </p:sp>
    </p:spTree>
    <p:extLst>
      <p:ext uri="{BB962C8B-B14F-4D97-AF65-F5344CB8AC3E}">
        <p14:creationId xmlns:p14="http://schemas.microsoft.com/office/powerpoint/2010/main" val="2748498142"/>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endParaRPr lang="en-US" dirty="0"/>
          </a:p>
        </p:txBody>
      </p:sp>
      <p:sp>
        <p:nvSpPr>
          <p:cNvPr id="5" name="Content Placeholder 4"/>
          <p:cNvSpPr>
            <a:spLocks noGrp="1"/>
          </p:cNvSpPr>
          <p:nvPr>
            <p:ph sz="quarter" idx="10"/>
          </p:nvPr>
        </p:nvSpPr>
        <p:spPr>
          <a:xfrm>
            <a:off x="201931" y="1625151"/>
            <a:ext cx="8741880" cy="558614"/>
          </a:xfrm>
        </p:spPr>
        <p:txBody>
          <a:bodyPr/>
          <a:lstStyle>
            <a:lvl1pPr marL="0" indent="0" algn="l" defTabSz="685775" rtl="0" eaLnBrk="1" latinLnBrk="0" hangingPunct="1">
              <a:lnSpc>
                <a:spcPct val="90000"/>
              </a:lnSpc>
              <a:spcBef>
                <a:spcPct val="0"/>
              </a:spcBef>
              <a:buNone/>
              <a:defRPr kumimoji="0" lang="en-US" sz="2700" b="0" i="1" u="none" strike="noStrike" kern="1200" cap="none" spc="-75" normalizeH="0" baseline="0" dirty="0" smtClean="0">
                <a:ln w="3175">
                  <a:noFill/>
                </a:ln>
                <a:solidFill>
                  <a:srgbClr val="0078D7"/>
                </a:solidFill>
                <a:effectLst/>
                <a:uLnTx/>
                <a:uFillTx/>
                <a:latin typeface="+mj-lt"/>
                <a:ea typeface="+mn-ea"/>
                <a:cs typeface="Segoe UI" pitchFamily="34" charset="0"/>
              </a:defRPr>
            </a:lvl1pPr>
          </a:lstStyle>
          <a:p>
            <a:pPr lvl="0"/>
            <a:r>
              <a:rPr lang="en-US" dirty="0"/>
              <a:t>Click to edit Master text styles</a:t>
            </a:r>
          </a:p>
        </p:txBody>
      </p:sp>
    </p:spTree>
    <p:extLst>
      <p:ext uri="{BB962C8B-B14F-4D97-AF65-F5344CB8AC3E}">
        <p14:creationId xmlns:p14="http://schemas.microsoft.com/office/powerpoint/2010/main" val="4010390815"/>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0" y="1186357"/>
            <a:ext cx="7394337" cy="917880"/>
          </a:xfrm>
          <a:noFill/>
        </p:spPr>
        <p:txBody>
          <a:bodyPr tIns="91440" bIns="91440" anchor="t" anchorCtr="0">
            <a:spAutoFit/>
          </a:bodyPr>
          <a:lstStyle>
            <a:lvl1pPr>
              <a:defRPr sz="5294" spc="-74"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01930" y="3877277"/>
            <a:ext cx="7395506" cy="662104"/>
          </a:xfrm>
          <a:noFill/>
        </p:spPr>
        <p:txBody>
          <a:bodyPr lIns="182880" tIns="146304" rIns="182880" bIns="146304">
            <a:spAutoFit/>
          </a:bodyPr>
          <a:lstStyle>
            <a:lvl1pPr marL="0" indent="0">
              <a:spcBef>
                <a:spcPts val="0"/>
              </a:spcBef>
              <a:buNone/>
              <a:defRPr sz="264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70648187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0" y="1186357"/>
            <a:ext cx="7394337" cy="917880"/>
          </a:xfrm>
          <a:noFill/>
        </p:spPr>
        <p:txBody>
          <a:bodyPr tIns="91440" bIns="91440" anchor="t" anchorCtr="0">
            <a:spAutoFit/>
          </a:bodyPr>
          <a:lstStyle>
            <a:lvl1pPr>
              <a:defRPr lang="en-US" sz="5294" b="0" kern="1200" cap="none" spc="-74"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173089005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0" y="2084173"/>
            <a:ext cx="8740142" cy="917880"/>
          </a:xfrm>
          <a:noFill/>
        </p:spPr>
        <p:txBody>
          <a:bodyPr tIns="91440" bIns="91440" anchor="t" anchorCtr="0">
            <a:spAutoFit/>
          </a:bodyPr>
          <a:lstStyle>
            <a:lvl1pPr>
              <a:defRPr sz="5294" spc="-74"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917868515"/>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0" y="2084173"/>
            <a:ext cx="8740142" cy="917880"/>
          </a:xfrm>
          <a:noFill/>
        </p:spPr>
        <p:txBody>
          <a:bodyPr tIns="91440" bIns="91440" anchor="t" anchorCtr="0">
            <a:spAutoFit/>
          </a:bodyPr>
          <a:lstStyle>
            <a:lvl1pPr>
              <a:defRPr sz="5294" spc="-74"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958420706"/>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0" y="2084173"/>
            <a:ext cx="8740142" cy="917880"/>
          </a:xfrm>
          <a:noFill/>
        </p:spPr>
        <p:txBody>
          <a:bodyPr tIns="91440" bIns="91440" anchor="t" anchorCtr="0">
            <a:spAutoFit/>
          </a:bodyPr>
          <a:lstStyle>
            <a:lvl1pPr>
              <a:defRPr sz="5294" spc="-74"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559379713"/>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Text Placeholder 2"/>
          <p:cNvSpPr>
            <a:spLocks noGrp="1"/>
          </p:cNvSpPr>
          <p:nvPr>
            <p:ph type="body" idx="1"/>
          </p:nvPr>
        </p:nvSpPr>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4">
            <a:extLst>
              <a:ext uri="{FF2B5EF4-FFF2-40B4-BE49-F238E27FC236}">
                <a16:creationId xmlns:a16="http://schemas.microsoft.com/office/drawing/2014/main" id="{1E308FE5-C3CD-4C2B-84FD-DAE006C3200F}"/>
              </a:ext>
            </a:extLst>
          </p:cNvPr>
          <p:cNvSpPr>
            <a:spLocks noGrp="1"/>
          </p:cNvSpPr>
          <p:nvPr>
            <p:ph type="body" sz="quarter" idx="10" hasCustomPrompt="1"/>
          </p:nvPr>
        </p:nvSpPr>
        <p:spPr>
          <a:xfrm>
            <a:off x="261188" y="6307137"/>
            <a:ext cx="8574837"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256941573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0" y="2084173"/>
            <a:ext cx="8740142" cy="917880"/>
          </a:xfrm>
          <a:noFill/>
        </p:spPr>
        <p:txBody>
          <a:bodyPr tIns="91440" bIns="91440" anchor="t" anchorCtr="0">
            <a:spAutoFit/>
          </a:bodyPr>
          <a:lstStyle>
            <a:lvl1pPr>
              <a:defRPr sz="5294" spc="-74"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952182289"/>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09130680"/>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26056723"/>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24910082"/>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93736608"/>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9144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2" tIns="34292" rIns="34292" bIns="34292" numCol="1" spcCol="0" rtlCol="0" fromWordArt="0" anchor="ctr" anchorCtr="0" forceAA="0" compatLnSpc="1">
            <a:prstTxWarp prst="textNoShape">
              <a:avLst/>
            </a:prstTxWarp>
            <a:noAutofit/>
          </a:bodyPr>
          <a:lstStyle/>
          <a:p>
            <a:pPr algn="ctr" defTabSz="685577" fontAlgn="base">
              <a:spcBef>
                <a:spcPct val="0"/>
              </a:spcBef>
              <a:spcAft>
                <a:spcPct val="0"/>
              </a:spcAft>
            </a:pPr>
            <a:endParaRPr lang="en-US" sz="1324"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01929" y="1197323"/>
            <a:ext cx="8740142" cy="1409360"/>
          </a:xfrm>
        </p:spPr>
        <p:txBody>
          <a:bodyPr/>
          <a:lstStyle>
            <a:lvl1pPr marL="0" indent="0">
              <a:buNone/>
              <a:defRPr sz="2426">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254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42981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5988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77271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61796567"/>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01931" y="6170059"/>
            <a:ext cx="8717498" cy="296495"/>
          </a:xfrm>
          <a:prstGeom prst="rect">
            <a:avLst/>
          </a:prstGeom>
          <a:noFill/>
          <a:ln w="12700">
            <a:noFill/>
            <a:miter lim="800000"/>
            <a:headEnd type="none" w="sm" len="sm"/>
            <a:tailEnd type="none" w="sm" len="sm"/>
          </a:ln>
          <a:effectLst/>
        </p:spPr>
        <p:txBody>
          <a:bodyPr vert="horz" wrap="square" lIns="134464" tIns="107571" rIns="134464" bIns="107571" numCol="1" anchor="t" anchorCtr="0" compatLnSpc="1">
            <a:prstTxWarp prst="textNoShape">
              <a:avLst/>
            </a:prstTxWarp>
            <a:spAutoFit/>
          </a:bodyPr>
          <a:lstStyle/>
          <a:p>
            <a:pPr defTabSz="685443" eaLnBrk="0" hangingPunct="0"/>
            <a:r>
              <a:rPr lang="en-US" sz="515" dirty="0">
                <a:gradFill>
                  <a:gsLst>
                    <a:gs pos="0">
                      <a:schemeClr val="tx1"/>
                    </a:gs>
                    <a:gs pos="100000">
                      <a:schemeClr val="tx1"/>
                    </a:gs>
                  </a:gsLst>
                  <a:lin ang="5400000" scaled="0"/>
                </a:gradFill>
                <a:cs typeface="Segoe UI" pitchFamily="34" charset="0"/>
              </a:rPr>
              <a:t>© 2015 Microsoft Corporation. All rights reserved. </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337652" y="3083654"/>
            <a:ext cx="2417896" cy="690695"/>
          </a:xfrm>
          <a:prstGeom prst="rect">
            <a:avLst/>
          </a:prstGeom>
        </p:spPr>
      </p:pic>
    </p:spTree>
    <p:extLst>
      <p:ext uri="{BB962C8B-B14F-4D97-AF65-F5344CB8AC3E}">
        <p14:creationId xmlns:p14="http://schemas.microsoft.com/office/powerpoint/2010/main" val="2102606736"/>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01930" y="1189178"/>
            <a:ext cx="8740142" cy="1845826"/>
          </a:xfrm>
          <a:prstGeom prst="rect">
            <a:avLst/>
          </a:prstGeom>
        </p:spPr>
        <p:txBody>
          <a:bodyPr/>
          <a:lstStyle>
            <a:lvl1pPr marL="213593" indent="-213593">
              <a:buClr>
                <a:schemeClr val="tx1"/>
              </a:buClr>
              <a:buSzPct val="90000"/>
              <a:buFont typeface="Arial" pitchFamily="34" charset="0"/>
              <a:buChar char="•"/>
              <a:defRPr sz="264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420181" indent="-206590">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633773" indent="-213593">
              <a:buClr>
                <a:schemeClr val="tx1"/>
              </a:buClr>
              <a:buSzPct val="90000"/>
              <a:buFont typeface="Arial" pitchFamily="34" charset="0"/>
              <a:buChar char="•"/>
              <a:defRPr sz="2059">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801846" indent="-168073">
              <a:buClr>
                <a:schemeClr val="tx1"/>
              </a:buClr>
              <a:buSzPct val="90000"/>
              <a:buFont typeface="Arial" pitchFamily="34" charset="0"/>
              <a:buChar char="•"/>
              <a:defRPr sz="1765">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969919" indent="-168073">
              <a:buClr>
                <a:schemeClr val="tx1"/>
              </a:buClr>
              <a:buSzPct val="90000"/>
              <a:buFont typeface="Arial" pitchFamily="34" charset="0"/>
              <a:buChar char="•"/>
              <a:defRPr sz="147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7"/>
            <a:ext cx="9144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2720" spc="-3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806361963"/>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11_Title Only white backgroun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
        <p:nvSpPr>
          <p:cNvPr id="36" name="Rectangle 35"/>
          <p:cNvSpPr/>
          <p:nvPr userDrawn="1"/>
        </p:nvSpPr>
        <p:spPr bwMode="auto">
          <a:xfrm>
            <a:off x="0" y="6325187"/>
            <a:ext cx="9144000" cy="532814"/>
          </a:xfrm>
          <a:prstGeom prst="rect">
            <a:avLst/>
          </a:prstGeom>
          <a:solidFill>
            <a:srgbClr val="409AE1"/>
          </a:solidFill>
          <a:ln w="28575">
            <a:noFill/>
          </a:ln>
        </p:spPr>
        <p:txBody>
          <a:bodyPr vert="horz" wrap="square" lIns="68570" tIns="34285" rIns="68570" bIns="34285" numCol="1" anchor="t" anchorCtr="0" compatLnSpc="1">
            <a:prstTxWarp prst="textNoShape">
              <a:avLst/>
            </a:prstTxWarp>
          </a:bodyPr>
          <a:lstStyle/>
          <a:p>
            <a:pPr marR="0" lvl="0" indent="0" defTabSz="699422" fontAlgn="auto">
              <a:lnSpc>
                <a:spcPct val="100000"/>
              </a:lnSpc>
              <a:spcBef>
                <a:spcPts val="0"/>
              </a:spcBef>
              <a:spcAft>
                <a:spcPts val="0"/>
              </a:spcAft>
              <a:buClrTx/>
              <a:buSzTx/>
              <a:buFontTx/>
              <a:buNone/>
              <a:tabLst/>
            </a:pPr>
            <a:endParaRPr kumimoji="0" lang="en-US" sz="788" b="0" i="0" u="none" strike="noStrike" kern="0" cap="none" spc="0" normalizeH="0" baseline="0">
              <a:ln>
                <a:noFill/>
              </a:ln>
              <a:solidFill>
                <a:srgbClr val="333333"/>
              </a:solidFill>
              <a:effectLst/>
              <a:uLnTx/>
              <a:uFillTx/>
            </a:endParaRPr>
          </a:p>
        </p:txBody>
      </p:sp>
      <p:sp>
        <p:nvSpPr>
          <p:cNvPr id="6" name="Freeform 539"/>
          <p:cNvSpPr>
            <a:spLocks noChangeAspect="1"/>
          </p:cNvSpPr>
          <p:nvPr userDrawn="1"/>
        </p:nvSpPr>
        <p:spPr bwMode="auto">
          <a:xfrm>
            <a:off x="6977847" y="5959092"/>
            <a:ext cx="1476041" cy="1082010"/>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rgbClr val="409AE1"/>
          </a:solidFill>
          <a:ln w="28575">
            <a:noFill/>
          </a:ln>
          <a:extLst/>
        </p:spPr>
        <p:txBody>
          <a:bodyPr vert="horz" wrap="square" lIns="68570" tIns="34285" rIns="68570" bIns="34285" numCol="1" anchor="t" anchorCtr="0" compatLnSpc="1">
            <a:prstTxWarp prst="textNoShape">
              <a:avLst/>
            </a:prstTxWarp>
          </a:bodyPr>
          <a:lstStyle/>
          <a:p>
            <a:pPr marL="0" marR="0" lvl="0" indent="0" defTabSz="699422" eaLnBrk="1" fontAlgn="auto" latinLnBrk="0" hangingPunct="1">
              <a:lnSpc>
                <a:spcPct val="100000"/>
              </a:lnSpc>
              <a:spcBef>
                <a:spcPts val="0"/>
              </a:spcBef>
              <a:spcAft>
                <a:spcPts val="0"/>
              </a:spcAft>
              <a:buClrTx/>
              <a:buSzTx/>
              <a:buFontTx/>
              <a:buNone/>
              <a:tabLst/>
              <a:defRPr/>
            </a:pPr>
            <a:endParaRPr kumimoji="0" lang="en-US" sz="788" b="0" i="0" u="none" strike="noStrike" kern="0" cap="none" spc="0" normalizeH="0" baseline="0" noProof="0" dirty="0">
              <a:ln>
                <a:noFill/>
              </a:ln>
              <a:solidFill>
                <a:srgbClr val="333333"/>
              </a:solidFill>
              <a:effectLst/>
              <a:uLnTx/>
              <a:uFillTx/>
            </a:endParaRPr>
          </a:p>
        </p:txBody>
      </p:sp>
      <p:grpSp>
        <p:nvGrpSpPr>
          <p:cNvPr id="9" name="Group 8"/>
          <p:cNvGrpSpPr/>
          <p:nvPr userDrawn="1"/>
        </p:nvGrpSpPr>
        <p:grpSpPr>
          <a:xfrm>
            <a:off x="7003931" y="6216163"/>
            <a:ext cx="1368470" cy="773723"/>
            <a:chOff x="4494770" y="2621197"/>
            <a:chExt cx="3127126" cy="1326043"/>
          </a:xfrm>
        </p:grpSpPr>
        <p:sp>
          <p:nvSpPr>
            <p:cNvPr id="10" name="Freeform 12"/>
            <p:cNvSpPr>
              <a:spLocks/>
            </p:cNvSpPr>
            <p:nvPr/>
          </p:nvSpPr>
          <p:spPr bwMode="auto">
            <a:xfrm>
              <a:off x="4494770" y="3400845"/>
              <a:ext cx="457856" cy="62986"/>
            </a:xfrm>
            <a:custGeom>
              <a:avLst/>
              <a:gdLst>
                <a:gd name="T0" fmla="*/ 704 w 756"/>
                <a:gd name="T1" fmla="*/ 104 h 104"/>
                <a:gd name="T2" fmla="*/ 52 w 756"/>
                <a:gd name="T3" fmla="*/ 104 h 104"/>
                <a:gd name="T4" fmla="*/ 52 w 756"/>
                <a:gd name="T5" fmla="*/ 104 h 104"/>
                <a:gd name="T6" fmla="*/ 42 w 756"/>
                <a:gd name="T7" fmla="*/ 104 h 104"/>
                <a:gd name="T8" fmla="*/ 32 w 756"/>
                <a:gd name="T9" fmla="*/ 100 h 104"/>
                <a:gd name="T10" fmla="*/ 22 w 756"/>
                <a:gd name="T11" fmla="*/ 96 h 104"/>
                <a:gd name="T12" fmla="*/ 14 w 756"/>
                <a:gd name="T13" fmla="*/ 90 h 104"/>
                <a:gd name="T14" fmla="*/ 8 w 756"/>
                <a:gd name="T15" fmla="*/ 82 h 104"/>
                <a:gd name="T16" fmla="*/ 4 w 756"/>
                <a:gd name="T17" fmla="*/ 72 h 104"/>
                <a:gd name="T18" fmla="*/ 0 w 756"/>
                <a:gd name="T19" fmla="*/ 62 h 104"/>
                <a:gd name="T20" fmla="*/ 0 w 756"/>
                <a:gd name="T21" fmla="*/ 52 h 104"/>
                <a:gd name="T22" fmla="*/ 0 w 756"/>
                <a:gd name="T23" fmla="*/ 52 h 104"/>
                <a:gd name="T24" fmla="*/ 0 w 756"/>
                <a:gd name="T25" fmla="*/ 42 h 104"/>
                <a:gd name="T26" fmla="*/ 4 w 756"/>
                <a:gd name="T27" fmla="*/ 32 h 104"/>
                <a:gd name="T28" fmla="*/ 8 w 756"/>
                <a:gd name="T29" fmla="*/ 22 h 104"/>
                <a:gd name="T30" fmla="*/ 14 w 756"/>
                <a:gd name="T31" fmla="*/ 16 h 104"/>
                <a:gd name="T32" fmla="*/ 22 w 756"/>
                <a:gd name="T33" fmla="*/ 8 h 104"/>
                <a:gd name="T34" fmla="*/ 32 w 756"/>
                <a:gd name="T35" fmla="*/ 4 h 104"/>
                <a:gd name="T36" fmla="*/ 42 w 756"/>
                <a:gd name="T37" fmla="*/ 0 h 104"/>
                <a:gd name="T38" fmla="*/ 52 w 756"/>
                <a:gd name="T39" fmla="*/ 0 h 104"/>
                <a:gd name="T40" fmla="*/ 704 w 756"/>
                <a:gd name="T41" fmla="*/ 0 h 104"/>
                <a:gd name="T42" fmla="*/ 704 w 756"/>
                <a:gd name="T43" fmla="*/ 0 h 104"/>
                <a:gd name="T44" fmla="*/ 714 w 756"/>
                <a:gd name="T45" fmla="*/ 0 h 104"/>
                <a:gd name="T46" fmla="*/ 724 w 756"/>
                <a:gd name="T47" fmla="*/ 4 h 104"/>
                <a:gd name="T48" fmla="*/ 732 w 756"/>
                <a:gd name="T49" fmla="*/ 8 h 104"/>
                <a:gd name="T50" fmla="*/ 740 w 756"/>
                <a:gd name="T51" fmla="*/ 16 h 104"/>
                <a:gd name="T52" fmla="*/ 748 w 756"/>
                <a:gd name="T53" fmla="*/ 22 h 104"/>
                <a:gd name="T54" fmla="*/ 752 w 756"/>
                <a:gd name="T55" fmla="*/ 32 h 104"/>
                <a:gd name="T56" fmla="*/ 756 w 756"/>
                <a:gd name="T57" fmla="*/ 42 h 104"/>
                <a:gd name="T58" fmla="*/ 756 w 756"/>
                <a:gd name="T59" fmla="*/ 52 h 104"/>
                <a:gd name="T60" fmla="*/ 756 w 756"/>
                <a:gd name="T61" fmla="*/ 52 h 104"/>
                <a:gd name="T62" fmla="*/ 756 w 756"/>
                <a:gd name="T63" fmla="*/ 62 h 104"/>
                <a:gd name="T64" fmla="*/ 752 w 756"/>
                <a:gd name="T65" fmla="*/ 72 h 104"/>
                <a:gd name="T66" fmla="*/ 748 w 756"/>
                <a:gd name="T67" fmla="*/ 82 h 104"/>
                <a:gd name="T68" fmla="*/ 740 w 756"/>
                <a:gd name="T69" fmla="*/ 90 h 104"/>
                <a:gd name="T70" fmla="*/ 732 w 756"/>
                <a:gd name="T71" fmla="*/ 96 h 104"/>
                <a:gd name="T72" fmla="*/ 724 w 756"/>
                <a:gd name="T73" fmla="*/ 100 h 104"/>
                <a:gd name="T74" fmla="*/ 714 w 756"/>
                <a:gd name="T75" fmla="*/ 104 h 104"/>
                <a:gd name="T76" fmla="*/ 704 w 756"/>
                <a:gd name="T77" fmla="*/ 104 h 104"/>
                <a:gd name="T78" fmla="*/ 704 w 756"/>
                <a:gd name="T79"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56" h="104">
                  <a:moveTo>
                    <a:pt x="704" y="104"/>
                  </a:moveTo>
                  <a:lnTo>
                    <a:pt x="52" y="104"/>
                  </a:lnTo>
                  <a:lnTo>
                    <a:pt x="52" y="104"/>
                  </a:lnTo>
                  <a:lnTo>
                    <a:pt x="42" y="104"/>
                  </a:lnTo>
                  <a:lnTo>
                    <a:pt x="32" y="100"/>
                  </a:lnTo>
                  <a:lnTo>
                    <a:pt x="22" y="96"/>
                  </a:lnTo>
                  <a:lnTo>
                    <a:pt x="14" y="90"/>
                  </a:lnTo>
                  <a:lnTo>
                    <a:pt x="8" y="82"/>
                  </a:lnTo>
                  <a:lnTo>
                    <a:pt x="4" y="72"/>
                  </a:lnTo>
                  <a:lnTo>
                    <a:pt x="0" y="62"/>
                  </a:lnTo>
                  <a:lnTo>
                    <a:pt x="0" y="52"/>
                  </a:lnTo>
                  <a:lnTo>
                    <a:pt x="0" y="52"/>
                  </a:lnTo>
                  <a:lnTo>
                    <a:pt x="0" y="42"/>
                  </a:lnTo>
                  <a:lnTo>
                    <a:pt x="4" y="32"/>
                  </a:lnTo>
                  <a:lnTo>
                    <a:pt x="8" y="22"/>
                  </a:lnTo>
                  <a:lnTo>
                    <a:pt x="14" y="16"/>
                  </a:lnTo>
                  <a:lnTo>
                    <a:pt x="22" y="8"/>
                  </a:lnTo>
                  <a:lnTo>
                    <a:pt x="32" y="4"/>
                  </a:lnTo>
                  <a:lnTo>
                    <a:pt x="42" y="0"/>
                  </a:lnTo>
                  <a:lnTo>
                    <a:pt x="52" y="0"/>
                  </a:lnTo>
                  <a:lnTo>
                    <a:pt x="704" y="0"/>
                  </a:lnTo>
                  <a:lnTo>
                    <a:pt x="704" y="0"/>
                  </a:lnTo>
                  <a:lnTo>
                    <a:pt x="714" y="0"/>
                  </a:lnTo>
                  <a:lnTo>
                    <a:pt x="724" y="4"/>
                  </a:lnTo>
                  <a:lnTo>
                    <a:pt x="732" y="8"/>
                  </a:lnTo>
                  <a:lnTo>
                    <a:pt x="740" y="16"/>
                  </a:lnTo>
                  <a:lnTo>
                    <a:pt x="748" y="22"/>
                  </a:lnTo>
                  <a:lnTo>
                    <a:pt x="752" y="32"/>
                  </a:lnTo>
                  <a:lnTo>
                    <a:pt x="756" y="42"/>
                  </a:lnTo>
                  <a:lnTo>
                    <a:pt x="756" y="52"/>
                  </a:lnTo>
                  <a:lnTo>
                    <a:pt x="756" y="52"/>
                  </a:lnTo>
                  <a:lnTo>
                    <a:pt x="756" y="62"/>
                  </a:lnTo>
                  <a:lnTo>
                    <a:pt x="752" y="72"/>
                  </a:lnTo>
                  <a:lnTo>
                    <a:pt x="748" y="82"/>
                  </a:lnTo>
                  <a:lnTo>
                    <a:pt x="740" y="90"/>
                  </a:lnTo>
                  <a:lnTo>
                    <a:pt x="732" y="96"/>
                  </a:lnTo>
                  <a:lnTo>
                    <a:pt x="724" y="100"/>
                  </a:lnTo>
                  <a:lnTo>
                    <a:pt x="714" y="104"/>
                  </a:lnTo>
                  <a:lnTo>
                    <a:pt x="704" y="104"/>
                  </a:lnTo>
                  <a:lnTo>
                    <a:pt x="70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endParaRPr>
            </a:p>
          </p:txBody>
        </p:sp>
        <p:sp>
          <p:nvSpPr>
            <p:cNvPr id="11" name="Freeform 13"/>
            <p:cNvSpPr>
              <a:spLocks/>
            </p:cNvSpPr>
            <p:nvPr/>
          </p:nvSpPr>
          <p:spPr bwMode="auto">
            <a:xfrm>
              <a:off x="4889641" y="3331803"/>
              <a:ext cx="540222" cy="245886"/>
            </a:xfrm>
            <a:custGeom>
              <a:avLst/>
              <a:gdLst>
                <a:gd name="T0" fmla="*/ 456 w 892"/>
                <a:gd name="T1" fmla="*/ 406 h 406"/>
                <a:gd name="T2" fmla="*/ 436 w 892"/>
                <a:gd name="T3" fmla="*/ 402 h 406"/>
                <a:gd name="T4" fmla="*/ 418 w 892"/>
                <a:gd name="T5" fmla="*/ 390 h 406"/>
                <a:gd name="T6" fmla="*/ 408 w 892"/>
                <a:gd name="T7" fmla="*/ 374 h 406"/>
                <a:gd name="T8" fmla="*/ 404 w 892"/>
                <a:gd name="T9" fmla="*/ 354 h 406"/>
                <a:gd name="T10" fmla="*/ 402 w 892"/>
                <a:gd name="T11" fmla="*/ 346 h 406"/>
                <a:gd name="T12" fmla="*/ 396 w 892"/>
                <a:gd name="T13" fmla="*/ 344 h 406"/>
                <a:gd name="T14" fmla="*/ 164 w 892"/>
                <a:gd name="T15" fmla="*/ 344 h 406"/>
                <a:gd name="T16" fmla="*/ 138 w 892"/>
                <a:gd name="T17" fmla="*/ 344 h 406"/>
                <a:gd name="T18" fmla="*/ 104 w 892"/>
                <a:gd name="T19" fmla="*/ 336 h 406"/>
                <a:gd name="T20" fmla="*/ 66 w 892"/>
                <a:gd name="T21" fmla="*/ 318 h 406"/>
                <a:gd name="T22" fmla="*/ 46 w 892"/>
                <a:gd name="T23" fmla="*/ 302 h 406"/>
                <a:gd name="T24" fmla="*/ 30 w 892"/>
                <a:gd name="T25" fmla="*/ 284 h 406"/>
                <a:gd name="T26" fmla="*/ 14 w 892"/>
                <a:gd name="T27" fmla="*/ 258 h 406"/>
                <a:gd name="T28" fmla="*/ 4 w 892"/>
                <a:gd name="T29" fmla="*/ 224 h 406"/>
                <a:gd name="T30" fmla="*/ 0 w 892"/>
                <a:gd name="T31" fmla="*/ 180 h 406"/>
                <a:gd name="T32" fmla="*/ 0 w 892"/>
                <a:gd name="T33" fmla="*/ 156 h 406"/>
                <a:gd name="T34" fmla="*/ 10 w 892"/>
                <a:gd name="T35" fmla="*/ 114 h 406"/>
                <a:gd name="T36" fmla="*/ 28 w 892"/>
                <a:gd name="T37" fmla="*/ 80 h 406"/>
                <a:gd name="T38" fmla="*/ 52 w 892"/>
                <a:gd name="T39" fmla="*/ 54 h 406"/>
                <a:gd name="T40" fmla="*/ 78 w 892"/>
                <a:gd name="T41" fmla="*/ 32 h 406"/>
                <a:gd name="T42" fmla="*/ 108 w 892"/>
                <a:gd name="T43" fmla="*/ 18 h 406"/>
                <a:gd name="T44" fmla="*/ 150 w 892"/>
                <a:gd name="T45" fmla="*/ 4 h 406"/>
                <a:gd name="T46" fmla="*/ 840 w 892"/>
                <a:gd name="T47" fmla="*/ 0 h 406"/>
                <a:gd name="T48" fmla="*/ 852 w 892"/>
                <a:gd name="T49" fmla="*/ 2 h 406"/>
                <a:gd name="T50" fmla="*/ 870 w 892"/>
                <a:gd name="T51" fmla="*/ 10 h 406"/>
                <a:gd name="T52" fmla="*/ 884 w 892"/>
                <a:gd name="T53" fmla="*/ 24 h 406"/>
                <a:gd name="T54" fmla="*/ 892 w 892"/>
                <a:gd name="T55" fmla="*/ 42 h 406"/>
                <a:gd name="T56" fmla="*/ 892 w 892"/>
                <a:gd name="T57" fmla="*/ 52 h 406"/>
                <a:gd name="T58" fmla="*/ 888 w 892"/>
                <a:gd name="T59" fmla="*/ 74 h 406"/>
                <a:gd name="T60" fmla="*/ 878 w 892"/>
                <a:gd name="T61" fmla="*/ 90 h 406"/>
                <a:gd name="T62" fmla="*/ 860 w 892"/>
                <a:gd name="T63" fmla="*/ 102 h 406"/>
                <a:gd name="T64" fmla="*/ 840 w 892"/>
                <a:gd name="T65" fmla="*/ 106 h 406"/>
                <a:gd name="T66" fmla="*/ 180 w 892"/>
                <a:gd name="T67" fmla="*/ 106 h 406"/>
                <a:gd name="T68" fmla="*/ 148 w 892"/>
                <a:gd name="T69" fmla="*/ 114 h 406"/>
                <a:gd name="T70" fmla="*/ 124 w 892"/>
                <a:gd name="T71" fmla="*/ 130 h 406"/>
                <a:gd name="T72" fmla="*/ 110 w 892"/>
                <a:gd name="T73" fmla="*/ 150 h 406"/>
                <a:gd name="T74" fmla="*/ 104 w 892"/>
                <a:gd name="T75" fmla="*/ 170 h 406"/>
                <a:gd name="T76" fmla="*/ 104 w 892"/>
                <a:gd name="T77" fmla="*/ 180 h 406"/>
                <a:gd name="T78" fmla="*/ 108 w 892"/>
                <a:gd name="T79" fmla="*/ 208 h 406"/>
                <a:gd name="T80" fmla="*/ 118 w 892"/>
                <a:gd name="T81" fmla="*/ 226 h 406"/>
                <a:gd name="T82" fmla="*/ 130 w 892"/>
                <a:gd name="T83" fmla="*/ 234 h 406"/>
                <a:gd name="T84" fmla="*/ 152 w 892"/>
                <a:gd name="T85" fmla="*/ 240 h 406"/>
                <a:gd name="T86" fmla="*/ 394 w 892"/>
                <a:gd name="T87" fmla="*/ 240 h 406"/>
                <a:gd name="T88" fmla="*/ 406 w 892"/>
                <a:gd name="T89" fmla="*/ 240 h 406"/>
                <a:gd name="T90" fmla="*/ 438 w 892"/>
                <a:gd name="T91" fmla="*/ 248 h 406"/>
                <a:gd name="T92" fmla="*/ 464 w 892"/>
                <a:gd name="T93" fmla="*/ 260 h 406"/>
                <a:gd name="T94" fmla="*/ 476 w 892"/>
                <a:gd name="T95" fmla="*/ 270 h 406"/>
                <a:gd name="T96" fmla="*/ 498 w 892"/>
                <a:gd name="T97" fmla="*/ 302 h 406"/>
                <a:gd name="T98" fmla="*/ 506 w 892"/>
                <a:gd name="T99" fmla="*/ 324 h 406"/>
                <a:gd name="T100" fmla="*/ 508 w 892"/>
                <a:gd name="T101" fmla="*/ 354 h 406"/>
                <a:gd name="T102" fmla="*/ 508 w 892"/>
                <a:gd name="T103" fmla="*/ 364 h 406"/>
                <a:gd name="T104" fmla="*/ 500 w 892"/>
                <a:gd name="T105" fmla="*/ 384 h 406"/>
                <a:gd name="T106" fmla="*/ 486 w 892"/>
                <a:gd name="T107" fmla="*/ 398 h 406"/>
                <a:gd name="T108" fmla="*/ 466 w 892"/>
                <a:gd name="T109" fmla="*/ 406 h 406"/>
                <a:gd name="T110" fmla="*/ 456 w 892"/>
                <a:gd name="T111"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92" h="406">
                  <a:moveTo>
                    <a:pt x="456" y="406"/>
                  </a:moveTo>
                  <a:lnTo>
                    <a:pt x="456" y="406"/>
                  </a:lnTo>
                  <a:lnTo>
                    <a:pt x="446" y="406"/>
                  </a:lnTo>
                  <a:lnTo>
                    <a:pt x="436" y="402"/>
                  </a:lnTo>
                  <a:lnTo>
                    <a:pt x="426" y="398"/>
                  </a:lnTo>
                  <a:lnTo>
                    <a:pt x="418" y="390"/>
                  </a:lnTo>
                  <a:lnTo>
                    <a:pt x="412" y="384"/>
                  </a:lnTo>
                  <a:lnTo>
                    <a:pt x="408" y="374"/>
                  </a:lnTo>
                  <a:lnTo>
                    <a:pt x="404" y="364"/>
                  </a:lnTo>
                  <a:lnTo>
                    <a:pt x="404" y="354"/>
                  </a:lnTo>
                  <a:lnTo>
                    <a:pt x="404" y="354"/>
                  </a:lnTo>
                  <a:lnTo>
                    <a:pt x="402" y="346"/>
                  </a:lnTo>
                  <a:lnTo>
                    <a:pt x="402" y="346"/>
                  </a:lnTo>
                  <a:lnTo>
                    <a:pt x="396" y="344"/>
                  </a:lnTo>
                  <a:lnTo>
                    <a:pt x="164" y="344"/>
                  </a:lnTo>
                  <a:lnTo>
                    <a:pt x="164" y="344"/>
                  </a:lnTo>
                  <a:lnTo>
                    <a:pt x="150" y="344"/>
                  </a:lnTo>
                  <a:lnTo>
                    <a:pt x="138" y="344"/>
                  </a:lnTo>
                  <a:lnTo>
                    <a:pt x="122" y="340"/>
                  </a:lnTo>
                  <a:lnTo>
                    <a:pt x="104" y="336"/>
                  </a:lnTo>
                  <a:lnTo>
                    <a:pt x="84" y="328"/>
                  </a:lnTo>
                  <a:lnTo>
                    <a:pt x="66" y="318"/>
                  </a:lnTo>
                  <a:lnTo>
                    <a:pt x="46" y="302"/>
                  </a:lnTo>
                  <a:lnTo>
                    <a:pt x="46" y="302"/>
                  </a:lnTo>
                  <a:lnTo>
                    <a:pt x="38" y="294"/>
                  </a:lnTo>
                  <a:lnTo>
                    <a:pt x="30" y="284"/>
                  </a:lnTo>
                  <a:lnTo>
                    <a:pt x="22" y="272"/>
                  </a:lnTo>
                  <a:lnTo>
                    <a:pt x="14" y="258"/>
                  </a:lnTo>
                  <a:lnTo>
                    <a:pt x="8" y="242"/>
                  </a:lnTo>
                  <a:lnTo>
                    <a:pt x="4" y="224"/>
                  </a:lnTo>
                  <a:lnTo>
                    <a:pt x="0" y="204"/>
                  </a:lnTo>
                  <a:lnTo>
                    <a:pt x="0" y="180"/>
                  </a:lnTo>
                  <a:lnTo>
                    <a:pt x="0" y="180"/>
                  </a:lnTo>
                  <a:lnTo>
                    <a:pt x="0" y="156"/>
                  </a:lnTo>
                  <a:lnTo>
                    <a:pt x="4" y="134"/>
                  </a:lnTo>
                  <a:lnTo>
                    <a:pt x="10" y="114"/>
                  </a:lnTo>
                  <a:lnTo>
                    <a:pt x="18" y="96"/>
                  </a:lnTo>
                  <a:lnTo>
                    <a:pt x="28" y="80"/>
                  </a:lnTo>
                  <a:lnTo>
                    <a:pt x="38" y="66"/>
                  </a:lnTo>
                  <a:lnTo>
                    <a:pt x="52" y="54"/>
                  </a:lnTo>
                  <a:lnTo>
                    <a:pt x="64" y="42"/>
                  </a:lnTo>
                  <a:lnTo>
                    <a:pt x="78" y="32"/>
                  </a:lnTo>
                  <a:lnTo>
                    <a:pt x="92" y="24"/>
                  </a:lnTo>
                  <a:lnTo>
                    <a:pt x="108" y="18"/>
                  </a:lnTo>
                  <a:lnTo>
                    <a:pt x="122" y="12"/>
                  </a:lnTo>
                  <a:lnTo>
                    <a:pt x="150" y="4"/>
                  </a:lnTo>
                  <a:lnTo>
                    <a:pt x="176" y="0"/>
                  </a:lnTo>
                  <a:lnTo>
                    <a:pt x="840" y="0"/>
                  </a:lnTo>
                  <a:lnTo>
                    <a:pt x="840" y="0"/>
                  </a:lnTo>
                  <a:lnTo>
                    <a:pt x="852" y="2"/>
                  </a:lnTo>
                  <a:lnTo>
                    <a:pt x="860" y="4"/>
                  </a:lnTo>
                  <a:lnTo>
                    <a:pt x="870" y="10"/>
                  </a:lnTo>
                  <a:lnTo>
                    <a:pt x="878" y="16"/>
                  </a:lnTo>
                  <a:lnTo>
                    <a:pt x="884" y="24"/>
                  </a:lnTo>
                  <a:lnTo>
                    <a:pt x="888" y="32"/>
                  </a:lnTo>
                  <a:lnTo>
                    <a:pt x="892" y="42"/>
                  </a:lnTo>
                  <a:lnTo>
                    <a:pt x="892" y="52"/>
                  </a:lnTo>
                  <a:lnTo>
                    <a:pt x="892" y="52"/>
                  </a:lnTo>
                  <a:lnTo>
                    <a:pt x="892" y="64"/>
                  </a:lnTo>
                  <a:lnTo>
                    <a:pt x="888" y="74"/>
                  </a:lnTo>
                  <a:lnTo>
                    <a:pt x="884" y="82"/>
                  </a:lnTo>
                  <a:lnTo>
                    <a:pt x="878" y="90"/>
                  </a:lnTo>
                  <a:lnTo>
                    <a:pt x="870" y="96"/>
                  </a:lnTo>
                  <a:lnTo>
                    <a:pt x="860" y="102"/>
                  </a:lnTo>
                  <a:lnTo>
                    <a:pt x="852" y="104"/>
                  </a:lnTo>
                  <a:lnTo>
                    <a:pt x="840" y="106"/>
                  </a:lnTo>
                  <a:lnTo>
                    <a:pt x="180" y="106"/>
                  </a:lnTo>
                  <a:lnTo>
                    <a:pt x="180" y="106"/>
                  </a:lnTo>
                  <a:lnTo>
                    <a:pt x="162" y="108"/>
                  </a:lnTo>
                  <a:lnTo>
                    <a:pt x="148" y="114"/>
                  </a:lnTo>
                  <a:lnTo>
                    <a:pt x="136" y="120"/>
                  </a:lnTo>
                  <a:lnTo>
                    <a:pt x="124" y="130"/>
                  </a:lnTo>
                  <a:lnTo>
                    <a:pt x="114" y="142"/>
                  </a:lnTo>
                  <a:lnTo>
                    <a:pt x="110" y="150"/>
                  </a:lnTo>
                  <a:lnTo>
                    <a:pt x="106" y="158"/>
                  </a:lnTo>
                  <a:lnTo>
                    <a:pt x="104" y="170"/>
                  </a:lnTo>
                  <a:lnTo>
                    <a:pt x="104" y="180"/>
                  </a:lnTo>
                  <a:lnTo>
                    <a:pt x="104" y="180"/>
                  </a:lnTo>
                  <a:lnTo>
                    <a:pt x="106" y="196"/>
                  </a:lnTo>
                  <a:lnTo>
                    <a:pt x="108" y="208"/>
                  </a:lnTo>
                  <a:lnTo>
                    <a:pt x="112" y="218"/>
                  </a:lnTo>
                  <a:lnTo>
                    <a:pt x="118" y="226"/>
                  </a:lnTo>
                  <a:lnTo>
                    <a:pt x="118" y="226"/>
                  </a:lnTo>
                  <a:lnTo>
                    <a:pt x="130" y="234"/>
                  </a:lnTo>
                  <a:lnTo>
                    <a:pt x="142" y="238"/>
                  </a:lnTo>
                  <a:lnTo>
                    <a:pt x="152" y="240"/>
                  </a:lnTo>
                  <a:lnTo>
                    <a:pt x="160" y="240"/>
                  </a:lnTo>
                  <a:lnTo>
                    <a:pt x="394" y="240"/>
                  </a:lnTo>
                  <a:lnTo>
                    <a:pt x="394" y="240"/>
                  </a:lnTo>
                  <a:lnTo>
                    <a:pt x="406" y="240"/>
                  </a:lnTo>
                  <a:lnTo>
                    <a:pt x="426" y="244"/>
                  </a:lnTo>
                  <a:lnTo>
                    <a:pt x="438" y="248"/>
                  </a:lnTo>
                  <a:lnTo>
                    <a:pt x="450" y="252"/>
                  </a:lnTo>
                  <a:lnTo>
                    <a:pt x="464" y="260"/>
                  </a:lnTo>
                  <a:lnTo>
                    <a:pt x="476" y="270"/>
                  </a:lnTo>
                  <a:lnTo>
                    <a:pt x="476" y="270"/>
                  </a:lnTo>
                  <a:lnTo>
                    <a:pt x="488" y="284"/>
                  </a:lnTo>
                  <a:lnTo>
                    <a:pt x="498" y="302"/>
                  </a:lnTo>
                  <a:lnTo>
                    <a:pt x="502" y="312"/>
                  </a:lnTo>
                  <a:lnTo>
                    <a:pt x="506" y="324"/>
                  </a:lnTo>
                  <a:lnTo>
                    <a:pt x="508" y="338"/>
                  </a:lnTo>
                  <a:lnTo>
                    <a:pt x="508" y="354"/>
                  </a:lnTo>
                  <a:lnTo>
                    <a:pt x="508" y="354"/>
                  </a:lnTo>
                  <a:lnTo>
                    <a:pt x="508" y="364"/>
                  </a:lnTo>
                  <a:lnTo>
                    <a:pt x="504" y="374"/>
                  </a:lnTo>
                  <a:lnTo>
                    <a:pt x="500" y="384"/>
                  </a:lnTo>
                  <a:lnTo>
                    <a:pt x="494" y="390"/>
                  </a:lnTo>
                  <a:lnTo>
                    <a:pt x="486" y="398"/>
                  </a:lnTo>
                  <a:lnTo>
                    <a:pt x="476" y="402"/>
                  </a:lnTo>
                  <a:lnTo>
                    <a:pt x="466" y="406"/>
                  </a:lnTo>
                  <a:lnTo>
                    <a:pt x="456" y="406"/>
                  </a:lnTo>
                  <a:lnTo>
                    <a:pt x="456" y="4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endParaRPr>
            </a:p>
          </p:txBody>
        </p:sp>
        <p:sp>
          <p:nvSpPr>
            <p:cNvPr id="12" name="Freeform 14"/>
            <p:cNvSpPr>
              <a:spLocks/>
            </p:cNvSpPr>
            <p:nvPr/>
          </p:nvSpPr>
          <p:spPr bwMode="auto">
            <a:xfrm>
              <a:off x="6726775" y="3077438"/>
              <a:ext cx="895121" cy="245886"/>
            </a:xfrm>
            <a:custGeom>
              <a:avLst/>
              <a:gdLst>
                <a:gd name="T0" fmla="*/ 52 w 1478"/>
                <a:gd name="T1" fmla="*/ 406 h 406"/>
                <a:gd name="T2" fmla="*/ 32 w 1478"/>
                <a:gd name="T3" fmla="*/ 402 h 406"/>
                <a:gd name="T4" fmla="*/ 14 w 1478"/>
                <a:gd name="T5" fmla="*/ 390 h 406"/>
                <a:gd name="T6" fmla="*/ 4 w 1478"/>
                <a:gd name="T7" fmla="*/ 374 h 406"/>
                <a:gd name="T8" fmla="*/ 0 w 1478"/>
                <a:gd name="T9" fmla="*/ 352 h 406"/>
                <a:gd name="T10" fmla="*/ 0 w 1478"/>
                <a:gd name="T11" fmla="*/ 342 h 406"/>
                <a:gd name="T12" fmla="*/ 8 w 1478"/>
                <a:gd name="T13" fmla="*/ 324 h 406"/>
                <a:gd name="T14" fmla="*/ 22 w 1478"/>
                <a:gd name="T15" fmla="*/ 310 h 406"/>
                <a:gd name="T16" fmla="*/ 42 w 1478"/>
                <a:gd name="T17" fmla="*/ 302 h 406"/>
                <a:gd name="T18" fmla="*/ 1300 w 1478"/>
                <a:gd name="T19" fmla="*/ 300 h 406"/>
                <a:gd name="T20" fmla="*/ 1316 w 1478"/>
                <a:gd name="T21" fmla="*/ 296 h 406"/>
                <a:gd name="T22" fmla="*/ 1342 w 1478"/>
                <a:gd name="T23" fmla="*/ 286 h 406"/>
                <a:gd name="T24" fmla="*/ 1364 w 1478"/>
                <a:gd name="T25" fmla="*/ 264 h 406"/>
                <a:gd name="T26" fmla="*/ 1372 w 1478"/>
                <a:gd name="T27" fmla="*/ 246 h 406"/>
                <a:gd name="T28" fmla="*/ 1374 w 1478"/>
                <a:gd name="T29" fmla="*/ 226 h 406"/>
                <a:gd name="T30" fmla="*/ 1374 w 1478"/>
                <a:gd name="T31" fmla="*/ 210 h 406"/>
                <a:gd name="T32" fmla="*/ 1366 w 1478"/>
                <a:gd name="T33" fmla="*/ 188 h 406"/>
                <a:gd name="T34" fmla="*/ 1360 w 1478"/>
                <a:gd name="T35" fmla="*/ 180 h 406"/>
                <a:gd name="T36" fmla="*/ 1336 w 1478"/>
                <a:gd name="T37" fmla="*/ 168 h 406"/>
                <a:gd name="T38" fmla="*/ 1318 w 1478"/>
                <a:gd name="T39" fmla="*/ 166 h 406"/>
                <a:gd name="T40" fmla="*/ 1084 w 1478"/>
                <a:gd name="T41" fmla="*/ 166 h 406"/>
                <a:gd name="T42" fmla="*/ 1052 w 1478"/>
                <a:gd name="T43" fmla="*/ 162 h 406"/>
                <a:gd name="T44" fmla="*/ 1028 w 1478"/>
                <a:gd name="T45" fmla="*/ 152 h 406"/>
                <a:gd name="T46" fmla="*/ 1002 w 1478"/>
                <a:gd name="T47" fmla="*/ 134 h 406"/>
                <a:gd name="T48" fmla="*/ 990 w 1478"/>
                <a:gd name="T49" fmla="*/ 122 h 406"/>
                <a:gd name="T50" fmla="*/ 976 w 1478"/>
                <a:gd name="T51" fmla="*/ 94 h 406"/>
                <a:gd name="T52" fmla="*/ 970 w 1478"/>
                <a:gd name="T53" fmla="*/ 68 h 406"/>
                <a:gd name="T54" fmla="*/ 970 w 1478"/>
                <a:gd name="T55" fmla="*/ 52 h 406"/>
                <a:gd name="T56" fmla="*/ 974 w 1478"/>
                <a:gd name="T57" fmla="*/ 32 h 406"/>
                <a:gd name="T58" fmla="*/ 984 w 1478"/>
                <a:gd name="T59" fmla="*/ 14 h 406"/>
                <a:gd name="T60" fmla="*/ 1002 w 1478"/>
                <a:gd name="T61" fmla="*/ 4 h 406"/>
                <a:gd name="T62" fmla="*/ 1022 w 1478"/>
                <a:gd name="T63" fmla="*/ 0 h 406"/>
                <a:gd name="T64" fmla="*/ 1032 w 1478"/>
                <a:gd name="T65" fmla="*/ 0 h 406"/>
                <a:gd name="T66" fmla="*/ 1052 w 1478"/>
                <a:gd name="T67" fmla="*/ 8 h 406"/>
                <a:gd name="T68" fmla="*/ 1066 w 1478"/>
                <a:gd name="T69" fmla="*/ 22 h 406"/>
                <a:gd name="T70" fmla="*/ 1074 w 1478"/>
                <a:gd name="T71" fmla="*/ 42 h 406"/>
                <a:gd name="T72" fmla="*/ 1074 w 1478"/>
                <a:gd name="T73" fmla="*/ 52 h 406"/>
                <a:gd name="T74" fmla="*/ 1076 w 1478"/>
                <a:gd name="T75" fmla="*/ 60 h 406"/>
                <a:gd name="T76" fmla="*/ 1314 w 1478"/>
                <a:gd name="T77" fmla="*/ 60 h 406"/>
                <a:gd name="T78" fmla="*/ 1328 w 1478"/>
                <a:gd name="T79" fmla="*/ 60 h 406"/>
                <a:gd name="T80" fmla="*/ 1356 w 1478"/>
                <a:gd name="T81" fmla="*/ 64 h 406"/>
                <a:gd name="T82" fmla="*/ 1394 w 1478"/>
                <a:gd name="T83" fmla="*/ 78 h 406"/>
                <a:gd name="T84" fmla="*/ 1432 w 1478"/>
                <a:gd name="T85" fmla="*/ 104 h 406"/>
                <a:gd name="T86" fmla="*/ 1440 w 1478"/>
                <a:gd name="T87" fmla="*/ 112 h 406"/>
                <a:gd name="T88" fmla="*/ 1456 w 1478"/>
                <a:gd name="T89" fmla="*/ 134 h 406"/>
                <a:gd name="T90" fmla="*/ 1470 w 1478"/>
                <a:gd name="T91" fmla="*/ 164 h 406"/>
                <a:gd name="T92" fmla="*/ 1478 w 1478"/>
                <a:gd name="T93" fmla="*/ 202 h 406"/>
                <a:gd name="T94" fmla="*/ 1478 w 1478"/>
                <a:gd name="T95" fmla="*/ 226 h 406"/>
                <a:gd name="T96" fmla="*/ 1474 w 1478"/>
                <a:gd name="T97" fmla="*/ 272 h 406"/>
                <a:gd name="T98" fmla="*/ 1460 w 1478"/>
                <a:gd name="T99" fmla="*/ 310 h 406"/>
                <a:gd name="T100" fmla="*/ 1440 w 1478"/>
                <a:gd name="T101" fmla="*/ 340 h 406"/>
                <a:gd name="T102" fmla="*/ 1414 w 1478"/>
                <a:gd name="T103" fmla="*/ 364 h 406"/>
                <a:gd name="T104" fmla="*/ 1386 w 1478"/>
                <a:gd name="T105" fmla="*/ 382 h 406"/>
                <a:gd name="T106" fmla="*/ 1356 w 1478"/>
                <a:gd name="T107" fmla="*/ 394 h 406"/>
                <a:gd name="T108" fmla="*/ 1302 w 1478"/>
                <a:gd name="T109"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78" h="406">
                  <a:moveTo>
                    <a:pt x="52" y="406"/>
                  </a:moveTo>
                  <a:lnTo>
                    <a:pt x="52" y="406"/>
                  </a:lnTo>
                  <a:lnTo>
                    <a:pt x="42" y="404"/>
                  </a:lnTo>
                  <a:lnTo>
                    <a:pt x="32" y="402"/>
                  </a:lnTo>
                  <a:lnTo>
                    <a:pt x="22" y="396"/>
                  </a:lnTo>
                  <a:lnTo>
                    <a:pt x="14" y="390"/>
                  </a:lnTo>
                  <a:lnTo>
                    <a:pt x="8" y="382"/>
                  </a:lnTo>
                  <a:lnTo>
                    <a:pt x="4" y="374"/>
                  </a:lnTo>
                  <a:lnTo>
                    <a:pt x="0" y="364"/>
                  </a:lnTo>
                  <a:lnTo>
                    <a:pt x="0" y="352"/>
                  </a:lnTo>
                  <a:lnTo>
                    <a:pt x="0" y="352"/>
                  </a:lnTo>
                  <a:lnTo>
                    <a:pt x="0" y="342"/>
                  </a:lnTo>
                  <a:lnTo>
                    <a:pt x="4" y="332"/>
                  </a:lnTo>
                  <a:lnTo>
                    <a:pt x="8" y="324"/>
                  </a:lnTo>
                  <a:lnTo>
                    <a:pt x="14" y="316"/>
                  </a:lnTo>
                  <a:lnTo>
                    <a:pt x="22" y="310"/>
                  </a:lnTo>
                  <a:lnTo>
                    <a:pt x="32" y="304"/>
                  </a:lnTo>
                  <a:lnTo>
                    <a:pt x="42" y="302"/>
                  </a:lnTo>
                  <a:lnTo>
                    <a:pt x="52" y="300"/>
                  </a:lnTo>
                  <a:lnTo>
                    <a:pt x="1300" y="300"/>
                  </a:lnTo>
                  <a:lnTo>
                    <a:pt x="1300" y="300"/>
                  </a:lnTo>
                  <a:lnTo>
                    <a:pt x="1316" y="296"/>
                  </a:lnTo>
                  <a:lnTo>
                    <a:pt x="1330" y="292"/>
                  </a:lnTo>
                  <a:lnTo>
                    <a:pt x="1342" y="286"/>
                  </a:lnTo>
                  <a:lnTo>
                    <a:pt x="1354" y="276"/>
                  </a:lnTo>
                  <a:lnTo>
                    <a:pt x="1364" y="264"/>
                  </a:lnTo>
                  <a:lnTo>
                    <a:pt x="1368" y="256"/>
                  </a:lnTo>
                  <a:lnTo>
                    <a:pt x="1372" y="246"/>
                  </a:lnTo>
                  <a:lnTo>
                    <a:pt x="1374" y="236"/>
                  </a:lnTo>
                  <a:lnTo>
                    <a:pt x="1374" y="226"/>
                  </a:lnTo>
                  <a:lnTo>
                    <a:pt x="1374" y="226"/>
                  </a:lnTo>
                  <a:lnTo>
                    <a:pt x="1374" y="210"/>
                  </a:lnTo>
                  <a:lnTo>
                    <a:pt x="1370" y="198"/>
                  </a:lnTo>
                  <a:lnTo>
                    <a:pt x="1366" y="188"/>
                  </a:lnTo>
                  <a:lnTo>
                    <a:pt x="1360" y="180"/>
                  </a:lnTo>
                  <a:lnTo>
                    <a:pt x="1360" y="180"/>
                  </a:lnTo>
                  <a:lnTo>
                    <a:pt x="1348" y="172"/>
                  </a:lnTo>
                  <a:lnTo>
                    <a:pt x="1336" y="168"/>
                  </a:lnTo>
                  <a:lnTo>
                    <a:pt x="1326" y="166"/>
                  </a:lnTo>
                  <a:lnTo>
                    <a:pt x="1318" y="166"/>
                  </a:lnTo>
                  <a:lnTo>
                    <a:pt x="1084" y="166"/>
                  </a:lnTo>
                  <a:lnTo>
                    <a:pt x="1084" y="166"/>
                  </a:lnTo>
                  <a:lnTo>
                    <a:pt x="1072" y="166"/>
                  </a:lnTo>
                  <a:lnTo>
                    <a:pt x="1052" y="162"/>
                  </a:lnTo>
                  <a:lnTo>
                    <a:pt x="1040" y="158"/>
                  </a:lnTo>
                  <a:lnTo>
                    <a:pt x="1028" y="152"/>
                  </a:lnTo>
                  <a:lnTo>
                    <a:pt x="1014" y="146"/>
                  </a:lnTo>
                  <a:lnTo>
                    <a:pt x="1002" y="134"/>
                  </a:lnTo>
                  <a:lnTo>
                    <a:pt x="1002" y="134"/>
                  </a:lnTo>
                  <a:lnTo>
                    <a:pt x="990" y="122"/>
                  </a:lnTo>
                  <a:lnTo>
                    <a:pt x="980" y="104"/>
                  </a:lnTo>
                  <a:lnTo>
                    <a:pt x="976" y="94"/>
                  </a:lnTo>
                  <a:lnTo>
                    <a:pt x="972" y="80"/>
                  </a:lnTo>
                  <a:lnTo>
                    <a:pt x="970" y="68"/>
                  </a:lnTo>
                  <a:lnTo>
                    <a:pt x="970" y="52"/>
                  </a:lnTo>
                  <a:lnTo>
                    <a:pt x="970" y="52"/>
                  </a:lnTo>
                  <a:lnTo>
                    <a:pt x="970" y="42"/>
                  </a:lnTo>
                  <a:lnTo>
                    <a:pt x="974" y="32"/>
                  </a:lnTo>
                  <a:lnTo>
                    <a:pt x="978" y="22"/>
                  </a:lnTo>
                  <a:lnTo>
                    <a:pt x="984" y="14"/>
                  </a:lnTo>
                  <a:lnTo>
                    <a:pt x="992" y="8"/>
                  </a:lnTo>
                  <a:lnTo>
                    <a:pt x="1002" y="4"/>
                  </a:lnTo>
                  <a:lnTo>
                    <a:pt x="1012" y="0"/>
                  </a:lnTo>
                  <a:lnTo>
                    <a:pt x="1022" y="0"/>
                  </a:lnTo>
                  <a:lnTo>
                    <a:pt x="1022" y="0"/>
                  </a:lnTo>
                  <a:lnTo>
                    <a:pt x="1032" y="0"/>
                  </a:lnTo>
                  <a:lnTo>
                    <a:pt x="1042" y="4"/>
                  </a:lnTo>
                  <a:lnTo>
                    <a:pt x="1052" y="8"/>
                  </a:lnTo>
                  <a:lnTo>
                    <a:pt x="1060" y="14"/>
                  </a:lnTo>
                  <a:lnTo>
                    <a:pt x="1066" y="22"/>
                  </a:lnTo>
                  <a:lnTo>
                    <a:pt x="1070" y="32"/>
                  </a:lnTo>
                  <a:lnTo>
                    <a:pt x="1074" y="42"/>
                  </a:lnTo>
                  <a:lnTo>
                    <a:pt x="1074" y="52"/>
                  </a:lnTo>
                  <a:lnTo>
                    <a:pt x="1074" y="52"/>
                  </a:lnTo>
                  <a:lnTo>
                    <a:pt x="1076" y="60"/>
                  </a:lnTo>
                  <a:lnTo>
                    <a:pt x="1076" y="60"/>
                  </a:lnTo>
                  <a:lnTo>
                    <a:pt x="1082" y="60"/>
                  </a:lnTo>
                  <a:lnTo>
                    <a:pt x="1314" y="60"/>
                  </a:lnTo>
                  <a:lnTo>
                    <a:pt x="1314" y="60"/>
                  </a:lnTo>
                  <a:lnTo>
                    <a:pt x="1328" y="60"/>
                  </a:lnTo>
                  <a:lnTo>
                    <a:pt x="1340" y="62"/>
                  </a:lnTo>
                  <a:lnTo>
                    <a:pt x="1356" y="64"/>
                  </a:lnTo>
                  <a:lnTo>
                    <a:pt x="1374" y="70"/>
                  </a:lnTo>
                  <a:lnTo>
                    <a:pt x="1394" y="78"/>
                  </a:lnTo>
                  <a:lnTo>
                    <a:pt x="1412" y="88"/>
                  </a:lnTo>
                  <a:lnTo>
                    <a:pt x="1432" y="104"/>
                  </a:lnTo>
                  <a:lnTo>
                    <a:pt x="1432" y="104"/>
                  </a:lnTo>
                  <a:lnTo>
                    <a:pt x="1440" y="112"/>
                  </a:lnTo>
                  <a:lnTo>
                    <a:pt x="1448" y="122"/>
                  </a:lnTo>
                  <a:lnTo>
                    <a:pt x="1456" y="134"/>
                  </a:lnTo>
                  <a:lnTo>
                    <a:pt x="1464" y="148"/>
                  </a:lnTo>
                  <a:lnTo>
                    <a:pt x="1470" y="164"/>
                  </a:lnTo>
                  <a:lnTo>
                    <a:pt x="1474" y="182"/>
                  </a:lnTo>
                  <a:lnTo>
                    <a:pt x="1478" y="202"/>
                  </a:lnTo>
                  <a:lnTo>
                    <a:pt x="1478" y="226"/>
                  </a:lnTo>
                  <a:lnTo>
                    <a:pt x="1478" y="226"/>
                  </a:lnTo>
                  <a:lnTo>
                    <a:pt x="1478" y="250"/>
                  </a:lnTo>
                  <a:lnTo>
                    <a:pt x="1474" y="272"/>
                  </a:lnTo>
                  <a:lnTo>
                    <a:pt x="1468" y="292"/>
                  </a:lnTo>
                  <a:lnTo>
                    <a:pt x="1460" y="310"/>
                  </a:lnTo>
                  <a:lnTo>
                    <a:pt x="1450" y="326"/>
                  </a:lnTo>
                  <a:lnTo>
                    <a:pt x="1440" y="340"/>
                  </a:lnTo>
                  <a:lnTo>
                    <a:pt x="1426" y="352"/>
                  </a:lnTo>
                  <a:lnTo>
                    <a:pt x="1414" y="364"/>
                  </a:lnTo>
                  <a:lnTo>
                    <a:pt x="1400" y="374"/>
                  </a:lnTo>
                  <a:lnTo>
                    <a:pt x="1386" y="382"/>
                  </a:lnTo>
                  <a:lnTo>
                    <a:pt x="1370" y="388"/>
                  </a:lnTo>
                  <a:lnTo>
                    <a:pt x="1356" y="394"/>
                  </a:lnTo>
                  <a:lnTo>
                    <a:pt x="1328" y="402"/>
                  </a:lnTo>
                  <a:lnTo>
                    <a:pt x="1302" y="406"/>
                  </a:lnTo>
                  <a:lnTo>
                    <a:pt x="52" y="4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endParaRPr>
            </a:p>
          </p:txBody>
        </p:sp>
        <p:sp>
          <p:nvSpPr>
            <p:cNvPr id="13" name="Freeform 15"/>
            <p:cNvSpPr>
              <a:spLocks noEditPoints="1"/>
            </p:cNvSpPr>
            <p:nvPr/>
          </p:nvSpPr>
          <p:spPr bwMode="auto">
            <a:xfrm>
              <a:off x="6892717" y="3505013"/>
              <a:ext cx="208337" cy="208337"/>
            </a:xfrm>
            <a:custGeom>
              <a:avLst/>
              <a:gdLst>
                <a:gd name="T0" fmla="*/ 172 w 344"/>
                <a:gd name="T1" fmla="*/ 344 h 344"/>
                <a:gd name="T2" fmla="*/ 172 w 344"/>
                <a:gd name="T3" fmla="*/ 344 h 344"/>
                <a:gd name="T4" fmla="*/ 142 w 344"/>
                <a:gd name="T5" fmla="*/ 334 h 344"/>
                <a:gd name="T6" fmla="*/ 124 w 344"/>
                <a:gd name="T7" fmla="*/ 312 h 344"/>
                <a:gd name="T8" fmla="*/ 118 w 344"/>
                <a:gd name="T9" fmla="*/ 300 h 344"/>
                <a:gd name="T10" fmla="*/ 102 w 344"/>
                <a:gd name="T11" fmla="*/ 278 h 344"/>
                <a:gd name="T12" fmla="*/ 72 w 344"/>
                <a:gd name="T13" fmla="*/ 248 h 344"/>
                <a:gd name="T14" fmla="*/ 28 w 344"/>
                <a:gd name="T15" fmla="*/ 218 h 344"/>
                <a:gd name="T16" fmla="*/ 16 w 344"/>
                <a:gd name="T17" fmla="*/ 210 h 344"/>
                <a:gd name="T18" fmla="*/ 2 w 344"/>
                <a:gd name="T19" fmla="*/ 186 h 344"/>
                <a:gd name="T20" fmla="*/ 0 w 344"/>
                <a:gd name="T21" fmla="*/ 172 h 344"/>
                <a:gd name="T22" fmla="*/ 8 w 344"/>
                <a:gd name="T23" fmla="*/ 144 h 344"/>
                <a:gd name="T24" fmla="*/ 30 w 344"/>
                <a:gd name="T25" fmla="*/ 124 h 344"/>
                <a:gd name="T26" fmla="*/ 54 w 344"/>
                <a:gd name="T27" fmla="*/ 112 h 344"/>
                <a:gd name="T28" fmla="*/ 90 w 344"/>
                <a:gd name="T29" fmla="*/ 82 h 344"/>
                <a:gd name="T30" fmla="*/ 112 w 344"/>
                <a:gd name="T31" fmla="*/ 54 h 344"/>
                <a:gd name="T32" fmla="*/ 124 w 344"/>
                <a:gd name="T33" fmla="*/ 34 h 344"/>
                <a:gd name="T34" fmla="*/ 126 w 344"/>
                <a:gd name="T35" fmla="*/ 26 h 344"/>
                <a:gd name="T36" fmla="*/ 142 w 344"/>
                <a:gd name="T37" fmla="*/ 10 h 344"/>
                <a:gd name="T38" fmla="*/ 164 w 344"/>
                <a:gd name="T39" fmla="*/ 2 h 344"/>
                <a:gd name="T40" fmla="*/ 172 w 344"/>
                <a:gd name="T41" fmla="*/ 0 h 344"/>
                <a:gd name="T42" fmla="*/ 172 w 344"/>
                <a:gd name="T43" fmla="*/ 0 h 344"/>
                <a:gd name="T44" fmla="*/ 188 w 344"/>
                <a:gd name="T45" fmla="*/ 2 h 344"/>
                <a:gd name="T46" fmla="*/ 214 w 344"/>
                <a:gd name="T47" fmla="*/ 20 h 344"/>
                <a:gd name="T48" fmla="*/ 222 w 344"/>
                <a:gd name="T49" fmla="*/ 34 h 344"/>
                <a:gd name="T50" fmla="*/ 226 w 344"/>
                <a:gd name="T51" fmla="*/ 44 h 344"/>
                <a:gd name="T52" fmla="*/ 242 w 344"/>
                <a:gd name="T53" fmla="*/ 68 h 344"/>
                <a:gd name="T54" fmla="*/ 270 w 344"/>
                <a:gd name="T55" fmla="*/ 96 h 344"/>
                <a:gd name="T56" fmla="*/ 314 w 344"/>
                <a:gd name="T57" fmla="*/ 124 h 344"/>
                <a:gd name="T58" fmla="*/ 328 w 344"/>
                <a:gd name="T59" fmla="*/ 134 h 344"/>
                <a:gd name="T60" fmla="*/ 342 w 344"/>
                <a:gd name="T61" fmla="*/ 160 h 344"/>
                <a:gd name="T62" fmla="*/ 344 w 344"/>
                <a:gd name="T63" fmla="*/ 176 h 344"/>
                <a:gd name="T64" fmla="*/ 340 w 344"/>
                <a:gd name="T65" fmla="*/ 190 h 344"/>
                <a:gd name="T66" fmla="*/ 322 w 344"/>
                <a:gd name="T67" fmla="*/ 214 h 344"/>
                <a:gd name="T68" fmla="*/ 308 w 344"/>
                <a:gd name="T69" fmla="*/ 222 h 344"/>
                <a:gd name="T70" fmla="*/ 276 w 344"/>
                <a:gd name="T71" fmla="*/ 240 h 344"/>
                <a:gd name="T72" fmla="*/ 250 w 344"/>
                <a:gd name="T73" fmla="*/ 266 h 344"/>
                <a:gd name="T74" fmla="*/ 232 w 344"/>
                <a:gd name="T75" fmla="*/ 292 h 344"/>
                <a:gd name="T76" fmla="*/ 220 w 344"/>
                <a:gd name="T77" fmla="*/ 312 h 344"/>
                <a:gd name="T78" fmla="*/ 200 w 344"/>
                <a:gd name="T79" fmla="*/ 336 h 344"/>
                <a:gd name="T80" fmla="*/ 172 w 344"/>
                <a:gd name="T81" fmla="*/ 344 h 344"/>
                <a:gd name="T82" fmla="*/ 146 w 344"/>
                <a:gd name="T83" fmla="*/ 172 h 344"/>
                <a:gd name="T84" fmla="*/ 170 w 344"/>
                <a:gd name="T85" fmla="*/ 196 h 344"/>
                <a:gd name="T86" fmla="*/ 196 w 344"/>
                <a:gd name="T87" fmla="*/ 170 h 344"/>
                <a:gd name="T88" fmla="*/ 172 w 344"/>
                <a:gd name="T89" fmla="*/ 148 h 344"/>
                <a:gd name="T90" fmla="*/ 146 w 344"/>
                <a:gd name="T91"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4" h="344">
                  <a:moveTo>
                    <a:pt x="172" y="344"/>
                  </a:moveTo>
                  <a:lnTo>
                    <a:pt x="172" y="344"/>
                  </a:lnTo>
                  <a:lnTo>
                    <a:pt x="172" y="344"/>
                  </a:lnTo>
                  <a:lnTo>
                    <a:pt x="172" y="344"/>
                  </a:lnTo>
                  <a:lnTo>
                    <a:pt x="156" y="342"/>
                  </a:lnTo>
                  <a:lnTo>
                    <a:pt x="142" y="334"/>
                  </a:lnTo>
                  <a:lnTo>
                    <a:pt x="132" y="324"/>
                  </a:lnTo>
                  <a:lnTo>
                    <a:pt x="124" y="312"/>
                  </a:lnTo>
                  <a:lnTo>
                    <a:pt x="124" y="312"/>
                  </a:lnTo>
                  <a:lnTo>
                    <a:pt x="118" y="300"/>
                  </a:lnTo>
                  <a:lnTo>
                    <a:pt x="112" y="290"/>
                  </a:lnTo>
                  <a:lnTo>
                    <a:pt x="102" y="278"/>
                  </a:lnTo>
                  <a:lnTo>
                    <a:pt x="90" y="264"/>
                  </a:lnTo>
                  <a:lnTo>
                    <a:pt x="72" y="248"/>
                  </a:lnTo>
                  <a:lnTo>
                    <a:pt x="52" y="232"/>
                  </a:lnTo>
                  <a:lnTo>
                    <a:pt x="28" y="218"/>
                  </a:lnTo>
                  <a:lnTo>
                    <a:pt x="28" y="218"/>
                  </a:lnTo>
                  <a:lnTo>
                    <a:pt x="16" y="210"/>
                  </a:lnTo>
                  <a:lnTo>
                    <a:pt x="8" y="198"/>
                  </a:lnTo>
                  <a:lnTo>
                    <a:pt x="2" y="186"/>
                  </a:lnTo>
                  <a:lnTo>
                    <a:pt x="0" y="172"/>
                  </a:lnTo>
                  <a:lnTo>
                    <a:pt x="0" y="172"/>
                  </a:lnTo>
                  <a:lnTo>
                    <a:pt x="2" y="156"/>
                  </a:lnTo>
                  <a:lnTo>
                    <a:pt x="8" y="144"/>
                  </a:lnTo>
                  <a:lnTo>
                    <a:pt x="18" y="132"/>
                  </a:lnTo>
                  <a:lnTo>
                    <a:pt x="30" y="124"/>
                  </a:lnTo>
                  <a:lnTo>
                    <a:pt x="30" y="124"/>
                  </a:lnTo>
                  <a:lnTo>
                    <a:pt x="54" y="112"/>
                  </a:lnTo>
                  <a:lnTo>
                    <a:pt x="74" y="96"/>
                  </a:lnTo>
                  <a:lnTo>
                    <a:pt x="90" y="82"/>
                  </a:lnTo>
                  <a:lnTo>
                    <a:pt x="102" y="68"/>
                  </a:lnTo>
                  <a:lnTo>
                    <a:pt x="112" y="54"/>
                  </a:lnTo>
                  <a:lnTo>
                    <a:pt x="118" y="44"/>
                  </a:lnTo>
                  <a:lnTo>
                    <a:pt x="124" y="34"/>
                  </a:lnTo>
                  <a:lnTo>
                    <a:pt x="124" y="34"/>
                  </a:lnTo>
                  <a:lnTo>
                    <a:pt x="126" y="26"/>
                  </a:lnTo>
                  <a:lnTo>
                    <a:pt x="130" y="20"/>
                  </a:lnTo>
                  <a:lnTo>
                    <a:pt x="142" y="10"/>
                  </a:lnTo>
                  <a:lnTo>
                    <a:pt x="156" y="2"/>
                  </a:lnTo>
                  <a:lnTo>
                    <a:pt x="164" y="2"/>
                  </a:lnTo>
                  <a:lnTo>
                    <a:pt x="172" y="0"/>
                  </a:lnTo>
                  <a:lnTo>
                    <a:pt x="172" y="0"/>
                  </a:lnTo>
                  <a:lnTo>
                    <a:pt x="172" y="0"/>
                  </a:lnTo>
                  <a:lnTo>
                    <a:pt x="172" y="0"/>
                  </a:lnTo>
                  <a:lnTo>
                    <a:pt x="180" y="2"/>
                  </a:lnTo>
                  <a:lnTo>
                    <a:pt x="188" y="2"/>
                  </a:lnTo>
                  <a:lnTo>
                    <a:pt x="202" y="10"/>
                  </a:lnTo>
                  <a:lnTo>
                    <a:pt x="214" y="20"/>
                  </a:lnTo>
                  <a:lnTo>
                    <a:pt x="218" y="28"/>
                  </a:lnTo>
                  <a:lnTo>
                    <a:pt x="222" y="34"/>
                  </a:lnTo>
                  <a:lnTo>
                    <a:pt x="222" y="34"/>
                  </a:lnTo>
                  <a:lnTo>
                    <a:pt x="226" y="44"/>
                  </a:lnTo>
                  <a:lnTo>
                    <a:pt x="232" y="56"/>
                  </a:lnTo>
                  <a:lnTo>
                    <a:pt x="242" y="68"/>
                  </a:lnTo>
                  <a:lnTo>
                    <a:pt x="254" y="82"/>
                  </a:lnTo>
                  <a:lnTo>
                    <a:pt x="270" y="96"/>
                  </a:lnTo>
                  <a:lnTo>
                    <a:pt x="290" y="112"/>
                  </a:lnTo>
                  <a:lnTo>
                    <a:pt x="314" y="124"/>
                  </a:lnTo>
                  <a:lnTo>
                    <a:pt x="314" y="124"/>
                  </a:lnTo>
                  <a:lnTo>
                    <a:pt x="328" y="134"/>
                  </a:lnTo>
                  <a:lnTo>
                    <a:pt x="336" y="146"/>
                  </a:lnTo>
                  <a:lnTo>
                    <a:pt x="342" y="160"/>
                  </a:lnTo>
                  <a:lnTo>
                    <a:pt x="344" y="176"/>
                  </a:lnTo>
                  <a:lnTo>
                    <a:pt x="344" y="176"/>
                  </a:lnTo>
                  <a:lnTo>
                    <a:pt x="342" y="184"/>
                  </a:lnTo>
                  <a:lnTo>
                    <a:pt x="340" y="190"/>
                  </a:lnTo>
                  <a:lnTo>
                    <a:pt x="334" y="204"/>
                  </a:lnTo>
                  <a:lnTo>
                    <a:pt x="322" y="214"/>
                  </a:lnTo>
                  <a:lnTo>
                    <a:pt x="308" y="222"/>
                  </a:lnTo>
                  <a:lnTo>
                    <a:pt x="308" y="222"/>
                  </a:lnTo>
                  <a:lnTo>
                    <a:pt x="292" y="230"/>
                  </a:lnTo>
                  <a:lnTo>
                    <a:pt x="276" y="240"/>
                  </a:lnTo>
                  <a:lnTo>
                    <a:pt x="262" y="252"/>
                  </a:lnTo>
                  <a:lnTo>
                    <a:pt x="250" y="266"/>
                  </a:lnTo>
                  <a:lnTo>
                    <a:pt x="240" y="278"/>
                  </a:lnTo>
                  <a:lnTo>
                    <a:pt x="232" y="292"/>
                  </a:lnTo>
                  <a:lnTo>
                    <a:pt x="220" y="312"/>
                  </a:lnTo>
                  <a:lnTo>
                    <a:pt x="220" y="312"/>
                  </a:lnTo>
                  <a:lnTo>
                    <a:pt x="212" y="326"/>
                  </a:lnTo>
                  <a:lnTo>
                    <a:pt x="200" y="336"/>
                  </a:lnTo>
                  <a:lnTo>
                    <a:pt x="188" y="342"/>
                  </a:lnTo>
                  <a:lnTo>
                    <a:pt x="172" y="344"/>
                  </a:lnTo>
                  <a:lnTo>
                    <a:pt x="172" y="344"/>
                  </a:lnTo>
                  <a:close/>
                  <a:moveTo>
                    <a:pt x="146" y="172"/>
                  </a:moveTo>
                  <a:lnTo>
                    <a:pt x="146" y="172"/>
                  </a:lnTo>
                  <a:lnTo>
                    <a:pt x="170" y="196"/>
                  </a:lnTo>
                  <a:lnTo>
                    <a:pt x="170" y="196"/>
                  </a:lnTo>
                  <a:lnTo>
                    <a:pt x="196" y="170"/>
                  </a:lnTo>
                  <a:lnTo>
                    <a:pt x="196" y="170"/>
                  </a:lnTo>
                  <a:lnTo>
                    <a:pt x="172" y="148"/>
                  </a:lnTo>
                  <a:lnTo>
                    <a:pt x="172" y="148"/>
                  </a:lnTo>
                  <a:lnTo>
                    <a:pt x="146" y="172"/>
                  </a:lnTo>
                  <a:lnTo>
                    <a:pt x="146" y="172"/>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endParaRPr>
            </a:p>
          </p:txBody>
        </p:sp>
        <p:sp>
          <p:nvSpPr>
            <p:cNvPr id="14" name="Freeform 18"/>
            <p:cNvSpPr>
              <a:spLocks/>
            </p:cNvSpPr>
            <p:nvPr/>
          </p:nvSpPr>
          <p:spPr bwMode="auto">
            <a:xfrm>
              <a:off x="6965393" y="3268818"/>
              <a:ext cx="64197" cy="213182"/>
            </a:xfrm>
            <a:custGeom>
              <a:avLst/>
              <a:gdLst>
                <a:gd name="T0" fmla="*/ 52 w 106"/>
                <a:gd name="T1" fmla="*/ 352 h 352"/>
                <a:gd name="T2" fmla="*/ 52 w 106"/>
                <a:gd name="T3" fmla="*/ 352 h 352"/>
                <a:gd name="T4" fmla="*/ 52 w 106"/>
                <a:gd name="T5" fmla="*/ 352 h 352"/>
                <a:gd name="T6" fmla="*/ 52 w 106"/>
                <a:gd name="T7" fmla="*/ 352 h 352"/>
                <a:gd name="T8" fmla="*/ 40 w 106"/>
                <a:gd name="T9" fmla="*/ 352 h 352"/>
                <a:gd name="T10" fmla="*/ 32 w 106"/>
                <a:gd name="T11" fmla="*/ 348 h 352"/>
                <a:gd name="T12" fmla="*/ 22 w 106"/>
                <a:gd name="T13" fmla="*/ 342 h 352"/>
                <a:gd name="T14" fmla="*/ 14 w 106"/>
                <a:gd name="T15" fmla="*/ 336 h 352"/>
                <a:gd name="T16" fmla="*/ 8 w 106"/>
                <a:gd name="T17" fmla="*/ 328 h 352"/>
                <a:gd name="T18" fmla="*/ 4 w 106"/>
                <a:gd name="T19" fmla="*/ 320 h 352"/>
                <a:gd name="T20" fmla="*/ 0 w 106"/>
                <a:gd name="T21" fmla="*/ 310 h 352"/>
                <a:gd name="T22" fmla="*/ 0 w 106"/>
                <a:gd name="T23" fmla="*/ 300 h 352"/>
                <a:gd name="T24" fmla="*/ 0 w 106"/>
                <a:gd name="T25" fmla="*/ 300 h 352"/>
                <a:gd name="T26" fmla="*/ 0 w 106"/>
                <a:gd name="T27" fmla="*/ 134 h 352"/>
                <a:gd name="T28" fmla="*/ 0 w 106"/>
                <a:gd name="T29" fmla="*/ 44 h 352"/>
                <a:gd name="T30" fmla="*/ 52 w 106"/>
                <a:gd name="T31" fmla="*/ 36 h 352"/>
                <a:gd name="T32" fmla="*/ 90 w 106"/>
                <a:gd name="T33" fmla="*/ 0 h 352"/>
                <a:gd name="T34" fmla="*/ 90 w 106"/>
                <a:gd name="T35" fmla="*/ 0 h 352"/>
                <a:gd name="T36" fmla="*/ 96 w 106"/>
                <a:gd name="T37" fmla="*/ 6 h 352"/>
                <a:gd name="T38" fmla="*/ 100 w 106"/>
                <a:gd name="T39" fmla="*/ 16 h 352"/>
                <a:gd name="T40" fmla="*/ 104 w 106"/>
                <a:gd name="T41" fmla="*/ 28 h 352"/>
                <a:gd name="T42" fmla="*/ 106 w 106"/>
                <a:gd name="T43" fmla="*/ 52 h 352"/>
                <a:gd name="T44" fmla="*/ 106 w 106"/>
                <a:gd name="T45" fmla="*/ 138 h 352"/>
                <a:gd name="T46" fmla="*/ 104 w 106"/>
                <a:gd name="T47" fmla="*/ 300 h 352"/>
                <a:gd name="T48" fmla="*/ 104 w 106"/>
                <a:gd name="T49" fmla="*/ 300 h 352"/>
                <a:gd name="T50" fmla="*/ 104 w 106"/>
                <a:gd name="T51" fmla="*/ 310 h 352"/>
                <a:gd name="T52" fmla="*/ 100 w 106"/>
                <a:gd name="T53" fmla="*/ 320 h 352"/>
                <a:gd name="T54" fmla="*/ 96 w 106"/>
                <a:gd name="T55" fmla="*/ 330 h 352"/>
                <a:gd name="T56" fmla="*/ 88 w 106"/>
                <a:gd name="T57" fmla="*/ 338 h 352"/>
                <a:gd name="T58" fmla="*/ 82 w 106"/>
                <a:gd name="T59" fmla="*/ 344 h 352"/>
                <a:gd name="T60" fmla="*/ 72 w 106"/>
                <a:gd name="T61" fmla="*/ 348 h 352"/>
                <a:gd name="T62" fmla="*/ 62 w 106"/>
                <a:gd name="T63" fmla="*/ 352 h 352"/>
                <a:gd name="T64" fmla="*/ 52 w 106"/>
                <a:gd name="T65" fmla="*/ 352 h 352"/>
                <a:gd name="T66" fmla="*/ 52 w 106"/>
                <a:gd name="T67" fmla="*/ 352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6" h="352">
                  <a:moveTo>
                    <a:pt x="52" y="352"/>
                  </a:moveTo>
                  <a:lnTo>
                    <a:pt x="52" y="352"/>
                  </a:lnTo>
                  <a:lnTo>
                    <a:pt x="52" y="352"/>
                  </a:lnTo>
                  <a:lnTo>
                    <a:pt x="52" y="352"/>
                  </a:lnTo>
                  <a:lnTo>
                    <a:pt x="40" y="352"/>
                  </a:lnTo>
                  <a:lnTo>
                    <a:pt x="32" y="348"/>
                  </a:lnTo>
                  <a:lnTo>
                    <a:pt x="22" y="342"/>
                  </a:lnTo>
                  <a:lnTo>
                    <a:pt x="14" y="336"/>
                  </a:lnTo>
                  <a:lnTo>
                    <a:pt x="8" y="328"/>
                  </a:lnTo>
                  <a:lnTo>
                    <a:pt x="4" y="320"/>
                  </a:lnTo>
                  <a:lnTo>
                    <a:pt x="0" y="310"/>
                  </a:lnTo>
                  <a:lnTo>
                    <a:pt x="0" y="300"/>
                  </a:lnTo>
                  <a:lnTo>
                    <a:pt x="0" y="300"/>
                  </a:lnTo>
                  <a:lnTo>
                    <a:pt x="0" y="134"/>
                  </a:lnTo>
                  <a:lnTo>
                    <a:pt x="0" y="44"/>
                  </a:lnTo>
                  <a:lnTo>
                    <a:pt x="52" y="36"/>
                  </a:lnTo>
                  <a:lnTo>
                    <a:pt x="90" y="0"/>
                  </a:lnTo>
                  <a:lnTo>
                    <a:pt x="90" y="0"/>
                  </a:lnTo>
                  <a:lnTo>
                    <a:pt x="96" y="6"/>
                  </a:lnTo>
                  <a:lnTo>
                    <a:pt x="100" y="16"/>
                  </a:lnTo>
                  <a:lnTo>
                    <a:pt x="104" y="28"/>
                  </a:lnTo>
                  <a:lnTo>
                    <a:pt x="106" y="52"/>
                  </a:lnTo>
                  <a:lnTo>
                    <a:pt x="106" y="138"/>
                  </a:lnTo>
                  <a:lnTo>
                    <a:pt x="104" y="300"/>
                  </a:lnTo>
                  <a:lnTo>
                    <a:pt x="104" y="300"/>
                  </a:lnTo>
                  <a:lnTo>
                    <a:pt x="104" y="310"/>
                  </a:lnTo>
                  <a:lnTo>
                    <a:pt x="100" y="320"/>
                  </a:lnTo>
                  <a:lnTo>
                    <a:pt x="96" y="330"/>
                  </a:lnTo>
                  <a:lnTo>
                    <a:pt x="88" y="338"/>
                  </a:lnTo>
                  <a:lnTo>
                    <a:pt x="82" y="344"/>
                  </a:lnTo>
                  <a:lnTo>
                    <a:pt x="72" y="348"/>
                  </a:lnTo>
                  <a:lnTo>
                    <a:pt x="62" y="352"/>
                  </a:lnTo>
                  <a:lnTo>
                    <a:pt x="52" y="352"/>
                  </a:lnTo>
                  <a:lnTo>
                    <a:pt x="52" y="352"/>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endParaRPr>
            </a:p>
          </p:txBody>
        </p:sp>
        <p:sp>
          <p:nvSpPr>
            <p:cNvPr id="15" name="Freeform 19"/>
            <p:cNvSpPr>
              <a:spLocks noEditPoints="1"/>
            </p:cNvSpPr>
            <p:nvPr/>
          </p:nvSpPr>
          <p:spPr bwMode="auto">
            <a:xfrm>
              <a:off x="5077386" y="3609182"/>
              <a:ext cx="186534" cy="185323"/>
            </a:xfrm>
            <a:custGeom>
              <a:avLst/>
              <a:gdLst>
                <a:gd name="T0" fmla="*/ 154 w 308"/>
                <a:gd name="T1" fmla="*/ 306 h 306"/>
                <a:gd name="T2" fmla="*/ 124 w 308"/>
                <a:gd name="T3" fmla="*/ 304 h 306"/>
                <a:gd name="T4" fmla="*/ 94 w 308"/>
                <a:gd name="T5" fmla="*/ 294 h 306"/>
                <a:gd name="T6" fmla="*/ 68 w 308"/>
                <a:gd name="T7" fmla="*/ 280 h 306"/>
                <a:gd name="T8" fmla="*/ 46 w 308"/>
                <a:gd name="T9" fmla="*/ 262 h 306"/>
                <a:gd name="T10" fmla="*/ 26 w 308"/>
                <a:gd name="T11" fmla="*/ 240 h 306"/>
                <a:gd name="T12" fmla="*/ 12 w 308"/>
                <a:gd name="T13" fmla="*/ 212 h 306"/>
                <a:gd name="T14" fmla="*/ 4 w 308"/>
                <a:gd name="T15" fmla="*/ 184 h 306"/>
                <a:gd name="T16" fmla="*/ 0 w 308"/>
                <a:gd name="T17" fmla="*/ 154 h 306"/>
                <a:gd name="T18" fmla="*/ 2 w 308"/>
                <a:gd name="T19" fmla="*/ 138 h 306"/>
                <a:gd name="T20" fmla="*/ 8 w 308"/>
                <a:gd name="T21" fmla="*/ 108 h 306"/>
                <a:gd name="T22" fmla="*/ 20 w 308"/>
                <a:gd name="T23" fmla="*/ 80 h 306"/>
                <a:gd name="T24" fmla="*/ 36 w 308"/>
                <a:gd name="T25" fmla="*/ 56 h 306"/>
                <a:gd name="T26" fmla="*/ 56 w 308"/>
                <a:gd name="T27" fmla="*/ 34 h 306"/>
                <a:gd name="T28" fmla="*/ 82 w 308"/>
                <a:gd name="T29" fmla="*/ 18 h 306"/>
                <a:gd name="T30" fmla="*/ 108 w 308"/>
                <a:gd name="T31" fmla="*/ 6 h 306"/>
                <a:gd name="T32" fmla="*/ 138 w 308"/>
                <a:gd name="T33" fmla="*/ 0 h 306"/>
                <a:gd name="T34" fmla="*/ 154 w 308"/>
                <a:gd name="T35" fmla="*/ 0 h 306"/>
                <a:gd name="T36" fmla="*/ 186 w 308"/>
                <a:gd name="T37" fmla="*/ 2 h 306"/>
                <a:gd name="T38" fmla="*/ 214 w 308"/>
                <a:gd name="T39" fmla="*/ 12 h 306"/>
                <a:gd name="T40" fmla="*/ 240 w 308"/>
                <a:gd name="T41" fmla="*/ 26 h 306"/>
                <a:gd name="T42" fmla="*/ 262 w 308"/>
                <a:gd name="T43" fmla="*/ 44 h 306"/>
                <a:gd name="T44" fmla="*/ 282 w 308"/>
                <a:gd name="T45" fmla="*/ 68 h 306"/>
                <a:gd name="T46" fmla="*/ 296 w 308"/>
                <a:gd name="T47" fmla="*/ 94 h 306"/>
                <a:gd name="T48" fmla="*/ 304 w 308"/>
                <a:gd name="T49" fmla="*/ 122 h 306"/>
                <a:gd name="T50" fmla="*/ 308 w 308"/>
                <a:gd name="T51" fmla="*/ 154 h 306"/>
                <a:gd name="T52" fmla="*/ 308 w 308"/>
                <a:gd name="T53" fmla="*/ 168 h 306"/>
                <a:gd name="T54" fmla="*/ 302 w 308"/>
                <a:gd name="T55" fmla="*/ 198 h 306"/>
                <a:gd name="T56" fmla="*/ 290 w 308"/>
                <a:gd name="T57" fmla="*/ 226 h 306"/>
                <a:gd name="T58" fmla="*/ 272 w 308"/>
                <a:gd name="T59" fmla="*/ 250 h 306"/>
                <a:gd name="T60" fmla="*/ 252 w 308"/>
                <a:gd name="T61" fmla="*/ 272 h 306"/>
                <a:gd name="T62" fmla="*/ 228 w 308"/>
                <a:gd name="T63" fmla="*/ 288 h 306"/>
                <a:gd name="T64" fmla="*/ 200 w 308"/>
                <a:gd name="T65" fmla="*/ 300 h 306"/>
                <a:gd name="T66" fmla="*/ 170 w 308"/>
                <a:gd name="T67" fmla="*/ 306 h 306"/>
                <a:gd name="T68" fmla="*/ 154 w 308"/>
                <a:gd name="T69" fmla="*/ 306 h 306"/>
                <a:gd name="T70" fmla="*/ 154 w 308"/>
                <a:gd name="T71" fmla="*/ 104 h 306"/>
                <a:gd name="T72" fmla="*/ 136 w 308"/>
                <a:gd name="T73" fmla="*/ 108 h 306"/>
                <a:gd name="T74" fmla="*/ 120 w 308"/>
                <a:gd name="T75" fmla="*/ 118 h 306"/>
                <a:gd name="T76" fmla="*/ 110 w 308"/>
                <a:gd name="T77" fmla="*/ 134 h 306"/>
                <a:gd name="T78" fmla="*/ 106 w 308"/>
                <a:gd name="T79" fmla="*/ 154 h 306"/>
                <a:gd name="T80" fmla="*/ 106 w 308"/>
                <a:gd name="T81" fmla="*/ 164 h 306"/>
                <a:gd name="T82" fmla="*/ 114 w 308"/>
                <a:gd name="T83" fmla="*/ 180 h 306"/>
                <a:gd name="T84" fmla="*/ 128 w 308"/>
                <a:gd name="T85" fmla="*/ 194 h 306"/>
                <a:gd name="T86" fmla="*/ 144 w 308"/>
                <a:gd name="T87" fmla="*/ 200 h 306"/>
                <a:gd name="T88" fmla="*/ 154 w 308"/>
                <a:gd name="T89" fmla="*/ 202 h 306"/>
                <a:gd name="T90" fmla="*/ 174 w 308"/>
                <a:gd name="T91" fmla="*/ 198 h 306"/>
                <a:gd name="T92" fmla="*/ 188 w 308"/>
                <a:gd name="T93" fmla="*/ 188 h 306"/>
                <a:gd name="T94" fmla="*/ 200 w 308"/>
                <a:gd name="T95" fmla="*/ 172 h 306"/>
                <a:gd name="T96" fmla="*/ 202 w 308"/>
                <a:gd name="T97" fmla="*/ 154 h 306"/>
                <a:gd name="T98" fmla="*/ 202 w 308"/>
                <a:gd name="T99" fmla="*/ 144 h 306"/>
                <a:gd name="T100" fmla="*/ 194 w 308"/>
                <a:gd name="T101" fmla="*/ 126 h 306"/>
                <a:gd name="T102" fmla="*/ 182 w 308"/>
                <a:gd name="T103" fmla="*/ 112 h 306"/>
                <a:gd name="T104" fmla="*/ 164 w 308"/>
                <a:gd name="T105" fmla="*/ 106 h 306"/>
                <a:gd name="T106" fmla="*/ 154 w 308"/>
                <a:gd name="T107" fmla="*/ 104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8" h="306">
                  <a:moveTo>
                    <a:pt x="154" y="306"/>
                  </a:moveTo>
                  <a:lnTo>
                    <a:pt x="154" y="306"/>
                  </a:lnTo>
                  <a:lnTo>
                    <a:pt x="138" y="306"/>
                  </a:lnTo>
                  <a:lnTo>
                    <a:pt x="124" y="304"/>
                  </a:lnTo>
                  <a:lnTo>
                    <a:pt x="108" y="300"/>
                  </a:lnTo>
                  <a:lnTo>
                    <a:pt x="94" y="294"/>
                  </a:lnTo>
                  <a:lnTo>
                    <a:pt x="82" y="288"/>
                  </a:lnTo>
                  <a:lnTo>
                    <a:pt x="68" y="280"/>
                  </a:lnTo>
                  <a:lnTo>
                    <a:pt x="56" y="272"/>
                  </a:lnTo>
                  <a:lnTo>
                    <a:pt x="46" y="262"/>
                  </a:lnTo>
                  <a:lnTo>
                    <a:pt x="36" y="250"/>
                  </a:lnTo>
                  <a:lnTo>
                    <a:pt x="26" y="240"/>
                  </a:lnTo>
                  <a:lnTo>
                    <a:pt x="20" y="226"/>
                  </a:lnTo>
                  <a:lnTo>
                    <a:pt x="12" y="212"/>
                  </a:lnTo>
                  <a:lnTo>
                    <a:pt x="8" y="198"/>
                  </a:lnTo>
                  <a:lnTo>
                    <a:pt x="4" y="184"/>
                  </a:lnTo>
                  <a:lnTo>
                    <a:pt x="2" y="168"/>
                  </a:lnTo>
                  <a:lnTo>
                    <a:pt x="0" y="154"/>
                  </a:lnTo>
                  <a:lnTo>
                    <a:pt x="0" y="154"/>
                  </a:lnTo>
                  <a:lnTo>
                    <a:pt x="2" y="138"/>
                  </a:lnTo>
                  <a:lnTo>
                    <a:pt x="4" y="122"/>
                  </a:lnTo>
                  <a:lnTo>
                    <a:pt x="8" y="108"/>
                  </a:lnTo>
                  <a:lnTo>
                    <a:pt x="12" y="94"/>
                  </a:lnTo>
                  <a:lnTo>
                    <a:pt x="20" y="80"/>
                  </a:lnTo>
                  <a:lnTo>
                    <a:pt x="26" y="68"/>
                  </a:lnTo>
                  <a:lnTo>
                    <a:pt x="36" y="56"/>
                  </a:lnTo>
                  <a:lnTo>
                    <a:pt x="46" y="44"/>
                  </a:lnTo>
                  <a:lnTo>
                    <a:pt x="56" y="34"/>
                  </a:lnTo>
                  <a:lnTo>
                    <a:pt x="68" y="26"/>
                  </a:lnTo>
                  <a:lnTo>
                    <a:pt x="82" y="18"/>
                  </a:lnTo>
                  <a:lnTo>
                    <a:pt x="94" y="12"/>
                  </a:lnTo>
                  <a:lnTo>
                    <a:pt x="108" y="6"/>
                  </a:lnTo>
                  <a:lnTo>
                    <a:pt x="124" y="2"/>
                  </a:lnTo>
                  <a:lnTo>
                    <a:pt x="138" y="0"/>
                  </a:lnTo>
                  <a:lnTo>
                    <a:pt x="154" y="0"/>
                  </a:lnTo>
                  <a:lnTo>
                    <a:pt x="154" y="0"/>
                  </a:lnTo>
                  <a:lnTo>
                    <a:pt x="170" y="0"/>
                  </a:lnTo>
                  <a:lnTo>
                    <a:pt x="186" y="2"/>
                  </a:lnTo>
                  <a:lnTo>
                    <a:pt x="200" y="6"/>
                  </a:lnTo>
                  <a:lnTo>
                    <a:pt x="214" y="12"/>
                  </a:lnTo>
                  <a:lnTo>
                    <a:pt x="228" y="18"/>
                  </a:lnTo>
                  <a:lnTo>
                    <a:pt x="240" y="26"/>
                  </a:lnTo>
                  <a:lnTo>
                    <a:pt x="252" y="34"/>
                  </a:lnTo>
                  <a:lnTo>
                    <a:pt x="262" y="44"/>
                  </a:lnTo>
                  <a:lnTo>
                    <a:pt x="272" y="56"/>
                  </a:lnTo>
                  <a:lnTo>
                    <a:pt x="282" y="68"/>
                  </a:lnTo>
                  <a:lnTo>
                    <a:pt x="290" y="80"/>
                  </a:lnTo>
                  <a:lnTo>
                    <a:pt x="296" y="94"/>
                  </a:lnTo>
                  <a:lnTo>
                    <a:pt x="302" y="108"/>
                  </a:lnTo>
                  <a:lnTo>
                    <a:pt x="304" y="122"/>
                  </a:lnTo>
                  <a:lnTo>
                    <a:pt x="308" y="138"/>
                  </a:lnTo>
                  <a:lnTo>
                    <a:pt x="308" y="154"/>
                  </a:lnTo>
                  <a:lnTo>
                    <a:pt x="308" y="154"/>
                  </a:lnTo>
                  <a:lnTo>
                    <a:pt x="308" y="168"/>
                  </a:lnTo>
                  <a:lnTo>
                    <a:pt x="304" y="184"/>
                  </a:lnTo>
                  <a:lnTo>
                    <a:pt x="302" y="198"/>
                  </a:lnTo>
                  <a:lnTo>
                    <a:pt x="296" y="212"/>
                  </a:lnTo>
                  <a:lnTo>
                    <a:pt x="290" y="226"/>
                  </a:lnTo>
                  <a:lnTo>
                    <a:pt x="282" y="240"/>
                  </a:lnTo>
                  <a:lnTo>
                    <a:pt x="272" y="250"/>
                  </a:lnTo>
                  <a:lnTo>
                    <a:pt x="262" y="262"/>
                  </a:lnTo>
                  <a:lnTo>
                    <a:pt x="252" y="272"/>
                  </a:lnTo>
                  <a:lnTo>
                    <a:pt x="240" y="280"/>
                  </a:lnTo>
                  <a:lnTo>
                    <a:pt x="228" y="288"/>
                  </a:lnTo>
                  <a:lnTo>
                    <a:pt x="214" y="294"/>
                  </a:lnTo>
                  <a:lnTo>
                    <a:pt x="200" y="300"/>
                  </a:lnTo>
                  <a:lnTo>
                    <a:pt x="186" y="304"/>
                  </a:lnTo>
                  <a:lnTo>
                    <a:pt x="170" y="306"/>
                  </a:lnTo>
                  <a:lnTo>
                    <a:pt x="154" y="306"/>
                  </a:lnTo>
                  <a:lnTo>
                    <a:pt x="154" y="306"/>
                  </a:lnTo>
                  <a:close/>
                  <a:moveTo>
                    <a:pt x="154" y="104"/>
                  </a:moveTo>
                  <a:lnTo>
                    <a:pt x="154" y="104"/>
                  </a:lnTo>
                  <a:lnTo>
                    <a:pt x="144" y="106"/>
                  </a:lnTo>
                  <a:lnTo>
                    <a:pt x="136" y="108"/>
                  </a:lnTo>
                  <a:lnTo>
                    <a:pt x="128" y="112"/>
                  </a:lnTo>
                  <a:lnTo>
                    <a:pt x="120" y="118"/>
                  </a:lnTo>
                  <a:lnTo>
                    <a:pt x="114" y="126"/>
                  </a:lnTo>
                  <a:lnTo>
                    <a:pt x="110" y="134"/>
                  </a:lnTo>
                  <a:lnTo>
                    <a:pt x="106" y="144"/>
                  </a:lnTo>
                  <a:lnTo>
                    <a:pt x="106" y="154"/>
                  </a:lnTo>
                  <a:lnTo>
                    <a:pt x="106" y="154"/>
                  </a:lnTo>
                  <a:lnTo>
                    <a:pt x="106" y="164"/>
                  </a:lnTo>
                  <a:lnTo>
                    <a:pt x="110" y="172"/>
                  </a:lnTo>
                  <a:lnTo>
                    <a:pt x="114" y="180"/>
                  </a:lnTo>
                  <a:lnTo>
                    <a:pt x="120" y="188"/>
                  </a:lnTo>
                  <a:lnTo>
                    <a:pt x="128" y="194"/>
                  </a:lnTo>
                  <a:lnTo>
                    <a:pt x="136" y="198"/>
                  </a:lnTo>
                  <a:lnTo>
                    <a:pt x="144" y="200"/>
                  </a:lnTo>
                  <a:lnTo>
                    <a:pt x="154" y="202"/>
                  </a:lnTo>
                  <a:lnTo>
                    <a:pt x="154" y="202"/>
                  </a:lnTo>
                  <a:lnTo>
                    <a:pt x="164" y="200"/>
                  </a:lnTo>
                  <a:lnTo>
                    <a:pt x="174" y="198"/>
                  </a:lnTo>
                  <a:lnTo>
                    <a:pt x="182" y="194"/>
                  </a:lnTo>
                  <a:lnTo>
                    <a:pt x="188" y="188"/>
                  </a:lnTo>
                  <a:lnTo>
                    <a:pt x="194" y="180"/>
                  </a:lnTo>
                  <a:lnTo>
                    <a:pt x="200" y="172"/>
                  </a:lnTo>
                  <a:lnTo>
                    <a:pt x="202" y="164"/>
                  </a:lnTo>
                  <a:lnTo>
                    <a:pt x="202" y="154"/>
                  </a:lnTo>
                  <a:lnTo>
                    <a:pt x="202" y="154"/>
                  </a:lnTo>
                  <a:lnTo>
                    <a:pt x="202" y="144"/>
                  </a:lnTo>
                  <a:lnTo>
                    <a:pt x="200" y="134"/>
                  </a:lnTo>
                  <a:lnTo>
                    <a:pt x="194" y="126"/>
                  </a:lnTo>
                  <a:lnTo>
                    <a:pt x="188" y="118"/>
                  </a:lnTo>
                  <a:lnTo>
                    <a:pt x="182" y="112"/>
                  </a:lnTo>
                  <a:lnTo>
                    <a:pt x="174" y="108"/>
                  </a:lnTo>
                  <a:lnTo>
                    <a:pt x="164" y="106"/>
                  </a:lnTo>
                  <a:lnTo>
                    <a:pt x="154" y="104"/>
                  </a:lnTo>
                  <a:lnTo>
                    <a:pt x="15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endParaRPr>
            </a:p>
          </p:txBody>
        </p:sp>
        <p:sp>
          <p:nvSpPr>
            <p:cNvPr id="16" name="Freeform 20"/>
            <p:cNvSpPr>
              <a:spLocks noEditPoints="1"/>
            </p:cNvSpPr>
            <p:nvPr/>
          </p:nvSpPr>
          <p:spPr bwMode="auto">
            <a:xfrm>
              <a:off x="7250039" y="2854566"/>
              <a:ext cx="186534" cy="186534"/>
            </a:xfrm>
            <a:custGeom>
              <a:avLst/>
              <a:gdLst>
                <a:gd name="T0" fmla="*/ 154 w 308"/>
                <a:gd name="T1" fmla="*/ 308 h 308"/>
                <a:gd name="T2" fmla="*/ 122 w 308"/>
                <a:gd name="T3" fmla="*/ 304 h 308"/>
                <a:gd name="T4" fmla="*/ 94 w 308"/>
                <a:gd name="T5" fmla="*/ 296 h 308"/>
                <a:gd name="T6" fmla="*/ 68 w 308"/>
                <a:gd name="T7" fmla="*/ 282 h 308"/>
                <a:gd name="T8" fmla="*/ 44 w 308"/>
                <a:gd name="T9" fmla="*/ 262 h 308"/>
                <a:gd name="T10" fmla="*/ 26 w 308"/>
                <a:gd name="T11" fmla="*/ 240 h 308"/>
                <a:gd name="T12" fmla="*/ 12 w 308"/>
                <a:gd name="T13" fmla="*/ 214 h 308"/>
                <a:gd name="T14" fmla="*/ 2 w 308"/>
                <a:gd name="T15" fmla="*/ 184 h 308"/>
                <a:gd name="T16" fmla="*/ 0 w 308"/>
                <a:gd name="T17" fmla="*/ 154 h 308"/>
                <a:gd name="T18" fmla="*/ 0 w 308"/>
                <a:gd name="T19" fmla="*/ 138 h 308"/>
                <a:gd name="T20" fmla="*/ 6 w 308"/>
                <a:gd name="T21" fmla="*/ 108 h 308"/>
                <a:gd name="T22" fmla="*/ 18 w 308"/>
                <a:gd name="T23" fmla="*/ 80 h 308"/>
                <a:gd name="T24" fmla="*/ 34 w 308"/>
                <a:gd name="T25" fmla="*/ 56 h 308"/>
                <a:gd name="T26" fmla="*/ 56 w 308"/>
                <a:gd name="T27" fmla="*/ 36 h 308"/>
                <a:gd name="T28" fmla="*/ 80 w 308"/>
                <a:gd name="T29" fmla="*/ 18 h 308"/>
                <a:gd name="T30" fmla="*/ 108 w 308"/>
                <a:gd name="T31" fmla="*/ 6 h 308"/>
                <a:gd name="T32" fmla="*/ 138 w 308"/>
                <a:gd name="T33" fmla="*/ 0 h 308"/>
                <a:gd name="T34" fmla="*/ 154 w 308"/>
                <a:gd name="T35" fmla="*/ 0 h 308"/>
                <a:gd name="T36" fmla="*/ 184 w 308"/>
                <a:gd name="T37" fmla="*/ 4 h 308"/>
                <a:gd name="T38" fmla="*/ 214 w 308"/>
                <a:gd name="T39" fmla="*/ 12 h 308"/>
                <a:gd name="T40" fmla="*/ 240 w 308"/>
                <a:gd name="T41" fmla="*/ 26 h 308"/>
                <a:gd name="T42" fmla="*/ 262 w 308"/>
                <a:gd name="T43" fmla="*/ 46 h 308"/>
                <a:gd name="T44" fmla="*/ 280 w 308"/>
                <a:gd name="T45" fmla="*/ 68 h 308"/>
                <a:gd name="T46" fmla="*/ 294 w 308"/>
                <a:gd name="T47" fmla="*/ 94 h 308"/>
                <a:gd name="T48" fmla="*/ 304 w 308"/>
                <a:gd name="T49" fmla="*/ 122 h 308"/>
                <a:gd name="T50" fmla="*/ 308 w 308"/>
                <a:gd name="T51" fmla="*/ 154 h 308"/>
                <a:gd name="T52" fmla="*/ 306 w 308"/>
                <a:gd name="T53" fmla="*/ 170 h 308"/>
                <a:gd name="T54" fmla="*/ 300 w 308"/>
                <a:gd name="T55" fmla="*/ 200 h 308"/>
                <a:gd name="T56" fmla="*/ 288 w 308"/>
                <a:gd name="T57" fmla="*/ 226 h 308"/>
                <a:gd name="T58" fmla="*/ 272 w 308"/>
                <a:gd name="T59" fmla="*/ 252 h 308"/>
                <a:gd name="T60" fmla="*/ 252 w 308"/>
                <a:gd name="T61" fmla="*/ 272 h 308"/>
                <a:gd name="T62" fmla="*/ 226 w 308"/>
                <a:gd name="T63" fmla="*/ 288 h 308"/>
                <a:gd name="T64" fmla="*/ 200 w 308"/>
                <a:gd name="T65" fmla="*/ 300 h 308"/>
                <a:gd name="T66" fmla="*/ 170 w 308"/>
                <a:gd name="T67" fmla="*/ 306 h 308"/>
                <a:gd name="T68" fmla="*/ 154 w 308"/>
                <a:gd name="T69" fmla="*/ 308 h 308"/>
                <a:gd name="T70" fmla="*/ 154 w 308"/>
                <a:gd name="T71" fmla="*/ 104 h 308"/>
                <a:gd name="T72" fmla="*/ 134 w 308"/>
                <a:gd name="T73" fmla="*/ 108 h 308"/>
                <a:gd name="T74" fmla="*/ 120 w 308"/>
                <a:gd name="T75" fmla="*/ 120 h 308"/>
                <a:gd name="T76" fmla="*/ 108 w 308"/>
                <a:gd name="T77" fmla="*/ 134 h 308"/>
                <a:gd name="T78" fmla="*/ 104 w 308"/>
                <a:gd name="T79" fmla="*/ 154 h 308"/>
                <a:gd name="T80" fmla="*/ 106 w 308"/>
                <a:gd name="T81" fmla="*/ 164 h 308"/>
                <a:gd name="T82" fmla="*/ 114 w 308"/>
                <a:gd name="T83" fmla="*/ 180 h 308"/>
                <a:gd name="T84" fmla="*/ 126 w 308"/>
                <a:gd name="T85" fmla="*/ 194 h 308"/>
                <a:gd name="T86" fmla="*/ 144 w 308"/>
                <a:gd name="T87" fmla="*/ 202 h 308"/>
                <a:gd name="T88" fmla="*/ 154 w 308"/>
                <a:gd name="T89" fmla="*/ 202 h 308"/>
                <a:gd name="T90" fmla="*/ 172 w 308"/>
                <a:gd name="T91" fmla="*/ 198 h 308"/>
                <a:gd name="T92" fmla="*/ 188 w 308"/>
                <a:gd name="T93" fmla="*/ 188 h 308"/>
                <a:gd name="T94" fmla="*/ 198 w 308"/>
                <a:gd name="T95" fmla="*/ 172 h 308"/>
                <a:gd name="T96" fmla="*/ 202 w 308"/>
                <a:gd name="T97" fmla="*/ 154 h 308"/>
                <a:gd name="T98" fmla="*/ 202 w 308"/>
                <a:gd name="T99" fmla="*/ 144 h 308"/>
                <a:gd name="T100" fmla="*/ 194 w 308"/>
                <a:gd name="T101" fmla="*/ 126 h 308"/>
                <a:gd name="T102" fmla="*/ 180 w 308"/>
                <a:gd name="T103" fmla="*/ 114 h 308"/>
                <a:gd name="T104" fmla="*/ 164 w 308"/>
                <a:gd name="T105" fmla="*/ 106 h 308"/>
                <a:gd name="T106" fmla="*/ 154 w 308"/>
                <a:gd name="T107" fmla="*/ 104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8" h="308">
                  <a:moveTo>
                    <a:pt x="154" y="308"/>
                  </a:moveTo>
                  <a:lnTo>
                    <a:pt x="154" y="308"/>
                  </a:lnTo>
                  <a:lnTo>
                    <a:pt x="138" y="306"/>
                  </a:lnTo>
                  <a:lnTo>
                    <a:pt x="122" y="304"/>
                  </a:lnTo>
                  <a:lnTo>
                    <a:pt x="108" y="300"/>
                  </a:lnTo>
                  <a:lnTo>
                    <a:pt x="94" y="296"/>
                  </a:lnTo>
                  <a:lnTo>
                    <a:pt x="80" y="288"/>
                  </a:lnTo>
                  <a:lnTo>
                    <a:pt x="68" y="282"/>
                  </a:lnTo>
                  <a:lnTo>
                    <a:pt x="56" y="272"/>
                  </a:lnTo>
                  <a:lnTo>
                    <a:pt x="44" y="262"/>
                  </a:lnTo>
                  <a:lnTo>
                    <a:pt x="34" y="252"/>
                  </a:lnTo>
                  <a:lnTo>
                    <a:pt x="26" y="240"/>
                  </a:lnTo>
                  <a:lnTo>
                    <a:pt x="18" y="226"/>
                  </a:lnTo>
                  <a:lnTo>
                    <a:pt x="12" y="214"/>
                  </a:lnTo>
                  <a:lnTo>
                    <a:pt x="6" y="200"/>
                  </a:lnTo>
                  <a:lnTo>
                    <a:pt x="2" y="184"/>
                  </a:lnTo>
                  <a:lnTo>
                    <a:pt x="0" y="170"/>
                  </a:lnTo>
                  <a:lnTo>
                    <a:pt x="0" y="154"/>
                  </a:lnTo>
                  <a:lnTo>
                    <a:pt x="0" y="154"/>
                  </a:lnTo>
                  <a:lnTo>
                    <a:pt x="0" y="138"/>
                  </a:lnTo>
                  <a:lnTo>
                    <a:pt x="2" y="122"/>
                  </a:lnTo>
                  <a:lnTo>
                    <a:pt x="6" y="108"/>
                  </a:lnTo>
                  <a:lnTo>
                    <a:pt x="12" y="94"/>
                  </a:lnTo>
                  <a:lnTo>
                    <a:pt x="18" y="80"/>
                  </a:lnTo>
                  <a:lnTo>
                    <a:pt x="26" y="68"/>
                  </a:lnTo>
                  <a:lnTo>
                    <a:pt x="34" y="56"/>
                  </a:lnTo>
                  <a:lnTo>
                    <a:pt x="44" y="46"/>
                  </a:lnTo>
                  <a:lnTo>
                    <a:pt x="56" y="36"/>
                  </a:lnTo>
                  <a:lnTo>
                    <a:pt x="68" y="26"/>
                  </a:lnTo>
                  <a:lnTo>
                    <a:pt x="80" y="18"/>
                  </a:lnTo>
                  <a:lnTo>
                    <a:pt x="94" y="12"/>
                  </a:lnTo>
                  <a:lnTo>
                    <a:pt x="108" y="6"/>
                  </a:lnTo>
                  <a:lnTo>
                    <a:pt x="122" y="4"/>
                  </a:lnTo>
                  <a:lnTo>
                    <a:pt x="138" y="0"/>
                  </a:lnTo>
                  <a:lnTo>
                    <a:pt x="154" y="0"/>
                  </a:lnTo>
                  <a:lnTo>
                    <a:pt x="154" y="0"/>
                  </a:lnTo>
                  <a:lnTo>
                    <a:pt x="170" y="0"/>
                  </a:lnTo>
                  <a:lnTo>
                    <a:pt x="184" y="4"/>
                  </a:lnTo>
                  <a:lnTo>
                    <a:pt x="200" y="6"/>
                  </a:lnTo>
                  <a:lnTo>
                    <a:pt x="214" y="12"/>
                  </a:lnTo>
                  <a:lnTo>
                    <a:pt x="226" y="18"/>
                  </a:lnTo>
                  <a:lnTo>
                    <a:pt x="240" y="26"/>
                  </a:lnTo>
                  <a:lnTo>
                    <a:pt x="252" y="36"/>
                  </a:lnTo>
                  <a:lnTo>
                    <a:pt x="262" y="46"/>
                  </a:lnTo>
                  <a:lnTo>
                    <a:pt x="272" y="56"/>
                  </a:lnTo>
                  <a:lnTo>
                    <a:pt x="280" y="68"/>
                  </a:lnTo>
                  <a:lnTo>
                    <a:pt x="288" y="80"/>
                  </a:lnTo>
                  <a:lnTo>
                    <a:pt x="294" y="94"/>
                  </a:lnTo>
                  <a:lnTo>
                    <a:pt x="300" y="108"/>
                  </a:lnTo>
                  <a:lnTo>
                    <a:pt x="304" y="122"/>
                  </a:lnTo>
                  <a:lnTo>
                    <a:pt x="306" y="138"/>
                  </a:lnTo>
                  <a:lnTo>
                    <a:pt x="308" y="154"/>
                  </a:lnTo>
                  <a:lnTo>
                    <a:pt x="308" y="154"/>
                  </a:lnTo>
                  <a:lnTo>
                    <a:pt x="306" y="170"/>
                  </a:lnTo>
                  <a:lnTo>
                    <a:pt x="304" y="184"/>
                  </a:lnTo>
                  <a:lnTo>
                    <a:pt x="300" y="200"/>
                  </a:lnTo>
                  <a:lnTo>
                    <a:pt x="294" y="214"/>
                  </a:lnTo>
                  <a:lnTo>
                    <a:pt x="288" y="226"/>
                  </a:lnTo>
                  <a:lnTo>
                    <a:pt x="280" y="240"/>
                  </a:lnTo>
                  <a:lnTo>
                    <a:pt x="272" y="252"/>
                  </a:lnTo>
                  <a:lnTo>
                    <a:pt x="262" y="262"/>
                  </a:lnTo>
                  <a:lnTo>
                    <a:pt x="252" y="272"/>
                  </a:lnTo>
                  <a:lnTo>
                    <a:pt x="240" y="282"/>
                  </a:lnTo>
                  <a:lnTo>
                    <a:pt x="226" y="288"/>
                  </a:lnTo>
                  <a:lnTo>
                    <a:pt x="214" y="296"/>
                  </a:lnTo>
                  <a:lnTo>
                    <a:pt x="200" y="300"/>
                  </a:lnTo>
                  <a:lnTo>
                    <a:pt x="184" y="304"/>
                  </a:lnTo>
                  <a:lnTo>
                    <a:pt x="170" y="306"/>
                  </a:lnTo>
                  <a:lnTo>
                    <a:pt x="154" y="308"/>
                  </a:lnTo>
                  <a:lnTo>
                    <a:pt x="154" y="308"/>
                  </a:lnTo>
                  <a:close/>
                  <a:moveTo>
                    <a:pt x="154" y="104"/>
                  </a:moveTo>
                  <a:lnTo>
                    <a:pt x="154" y="104"/>
                  </a:lnTo>
                  <a:lnTo>
                    <a:pt x="144" y="106"/>
                  </a:lnTo>
                  <a:lnTo>
                    <a:pt x="134" y="108"/>
                  </a:lnTo>
                  <a:lnTo>
                    <a:pt x="126" y="114"/>
                  </a:lnTo>
                  <a:lnTo>
                    <a:pt x="120" y="120"/>
                  </a:lnTo>
                  <a:lnTo>
                    <a:pt x="114" y="126"/>
                  </a:lnTo>
                  <a:lnTo>
                    <a:pt x="108" y="134"/>
                  </a:lnTo>
                  <a:lnTo>
                    <a:pt x="106" y="144"/>
                  </a:lnTo>
                  <a:lnTo>
                    <a:pt x="104" y="154"/>
                  </a:lnTo>
                  <a:lnTo>
                    <a:pt x="104" y="154"/>
                  </a:lnTo>
                  <a:lnTo>
                    <a:pt x="106" y="164"/>
                  </a:lnTo>
                  <a:lnTo>
                    <a:pt x="108" y="172"/>
                  </a:lnTo>
                  <a:lnTo>
                    <a:pt x="114" y="180"/>
                  </a:lnTo>
                  <a:lnTo>
                    <a:pt x="120" y="188"/>
                  </a:lnTo>
                  <a:lnTo>
                    <a:pt x="126" y="194"/>
                  </a:lnTo>
                  <a:lnTo>
                    <a:pt x="134" y="198"/>
                  </a:lnTo>
                  <a:lnTo>
                    <a:pt x="144" y="202"/>
                  </a:lnTo>
                  <a:lnTo>
                    <a:pt x="154" y="202"/>
                  </a:lnTo>
                  <a:lnTo>
                    <a:pt x="154" y="202"/>
                  </a:lnTo>
                  <a:lnTo>
                    <a:pt x="164" y="202"/>
                  </a:lnTo>
                  <a:lnTo>
                    <a:pt x="172" y="198"/>
                  </a:lnTo>
                  <a:lnTo>
                    <a:pt x="180" y="194"/>
                  </a:lnTo>
                  <a:lnTo>
                    <a:pt x="188" y="188"/>
                  </a:lnTo>
                  <a:lnTo>
                    <a:pt x="194" y="180"/>
                  </a:lnTo>
                  <a:lnTo>
                    <a:pt x="198" y="172"/>
                  </a:lnTo>
                  <a:lnTo>
                    <a:pt x="202" y="164"/>
                  </a:lnTo>
                  <a:lnTo>
                    <a:pt x="202" y="154"/>
                  </a:lnTo>
                  <a:lnTo>
                    <a:pt x="202" y="154"/>
                  </a:lnTo>
                  <a:lnTo>
                    <a:pt x="202" y="144"/>
                  </a:lnTo>
                  <a:lnTo>
                    <a:pt x="198" y="134"/>
                  </a:lnTo>
                  <a:lnTo>
                    <a:pt x="194" y="126"/>
                  </a:lnTo>
                  <a:lnTo>
                    <a:pt x="188" y="120"/>
                  </a:lnTo>
                  <a:lnTo>
                    <a:pt x="180" y="114"/>
                  </a:lnTo>
                  <a:lnTo>
                    <a:pt x="172" y="108"/>
                  </a:lnTo>
                  <a:lnTo>
                    <a:pt x="164" y="106"/>
                  </a:lnTo>
                  <a:lnTo>
                    <a:pt x="154" y="104"/>
                  </a:lnTo>
                  <a:lnTo>
                    <a:pt x="15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endParaRPr>
            </a:p>
          </p:txBody>
        </p:sp>
        <p:grpSp>
          <p:nvGrpSpPr>
            <p:cNvPr id="17" name="Group 16"/>
            <p:cNvGrpSpPr/>
            <p:nvPr/>
          </p:nvGrpSpPr>
          <p:grpSpPr>
            <a:xfrm>
              <a:off x="5413104" y="2621197"/>
              <a:ext cx="1326042" cy="1326043"/>
              <a:chOff x="5413104" y="2598477"/>
              <a:chExt cx="1326042" cy="1326043"/>
            </a:xfrm>
          </p:grpSpPr>
          <p:sp>
            <p:nvSpPr>
              <p:cNvPr id="18" name="Freeform 5"/>
              <p:cNvSpPr>
                <a:spLocks/>
              </p:cNvSpPr>
              <p:nvPr/>
            </p:nvSpPr>
            <p:spPr bwMode="auto">
              <a:xfrm>
                <a:off x="5642613" y="3166154"/>
                <a:ext cx="838193" cy="391237"/>
              </a:xfrm>
              <a:custGeom>
                <a:avLst/>
                <a:gdLst>
                  <a:gd name="T0" fmla="*/ 1228 w 1384"/>
                  <a:gd name="T1" fmla="*/ 646 h 646"/>
                  <a:gd name="T2" fmla="*/ 1198 w 1384"/>
                  <a:gd name="T3" fmla="*/ 636 h 646"/>
                  <a:gd name="T4" fmla="*/ 1178 w 1384"/>
                  <a:gd name="T5" fmla="*/ 614 h 646"/>
                  <a:gd name="T6" fmla="*/ 1174 w 1384"/>
                  <a:gd name="T7" fmla="*/ 106 h 646"/>
                  <a:gd name="T8" fmla="*/ 1118 w 1384"/>
                  <a:gd name="T9" fmla="*/ 594 h 646"/>
                  <a:gd name="T10" fmla="*/ 1108 w 1384"/>
                  <a:gd name="T11" fmla="*/ 622 h 646"/>
                  <a:gd name="T12" fmla="*/ 1086 w 1384"/>
                  <a:gd name="T13" fmla="*/ 642 h 646"/>
                  <a:gd name="T14" fmla="*/ 824 w 1384"/>
                  <a:gd name="T15" fmla="*/ 646 h 646"/>
                  <a:gd name="T16" fmla="*/ 804 w 1384"/>
                  <a:gd name="T17" fmla="*/ 642 h 646"/>
                  <a:gd name="T18" fmla="*/ 780 w 1384"/>
                  <a:gd name="T19" fmla="*/ 622 h 646"/>
                  <a:gd name="T20" fmla="*/ 772 w 1384"/>
                  <a:gd name="T21" fmla="*/ 594 h 646"/>
                  <a:gd name="T22" fmla="*/ 714 w 1384"/>
                  <a:gd name="T23" fmla="*/ 594 h 646"/>
                  <a:gd name="T24" fmla="*/ 710 w 1384"/>
                  <a:gd name="T25" fmla="*/ 614 h 646"/>
                  <a:gd name="T26" fmla="*/ 690 w 1384"/>
                  <a:gd name="T27" fmla="*/ 636 h 646"/>
                  <a:gd name="T28" fmla="*/ 662 w 1384"/>
                  <a:gd name="T29" fmla="*/ 646 h 646"/>
                  <a:gd name="T30" fmla="*/ 410 w 1384"/>
                  <a:gd name="T31" fmla="*/ 644 h 646"/>
                  <a:gd name="T32" fmla="*/ 384 w 1384"/>
                  <a:gd name="T33" fmla="*/ 630 h 646"/>
                  <a:gd name="T34" fmla="*/ 368 w 1384"/>
                  <a:gd name="T35" fmla="*/ 604 h 646"/>
                  <a:gd name="T36" fmla="*/ 310 w 1384"/>
                  <a:gd name="T37" fmla="*/ 322 h 646"/>
                  <a:gd name="T38" fmla="*/ 310 w 1384"/>
                  <a:gd name="T39" fmla="*/ 604 h 646"/>
                  <a:gd name="T40" fmla="*/ 296 w 1384"/>
                  <a:gd name="T41" fmla="*/ 630 h 646"/>
                  <a:gd name="T42" fmla="*/ 268 w 1384"/>
                  <a:gd name="T43" fmla="*/ 644 h 646"/>
                  <a:gd name="T44" fmla="*/ 52 w 1384"/>
                  <a:gd name="T45" fmla="*/ 646 h 646"/>
                  <a:gd name="T46" fmla="*/ 24 w 1384"/>
                  <a:gd name="T47" fmla="*/ 636 h 646"/>
                  <a:gd name="T48" fmla="*/ 4 w 1384"/>
                  <a:gd name="T49" fmla="*/ 614 h 646"/>
                  <a:gd name="T50" fmla="*/ 0 w 1384"/>
                  <a:gd name="T51" fmla="*/ 594 h 646"/>
                  <a:gd name="T52" fmla="*/ 10 w 1384"/>
                  <a:gd name="T53" fmla="*/ 564 h 646"/>
                  <a:gd name="T54" fmla="*/ 32 w 1384"/>
                  <a:gd name="T55" fmla="*/ 544 h 646"/>
                  <a:gd name="T56" fmla="*/ 206 w 1384"/>
                  <a:gd name="T57" fmla="*/ 540 h 646"/>
                  <a:gd name="T58" fmla="*/ 208 w 1384"/>
                  <a:gd name="T59" fmla="*/ 278 h 646"/>
                  <a:gd name="T60" fmla="*/ 228 w 1384"/>
                  <a:gd name="T61" fmla="*/ 240 h 646"/>
                  <a:gd name="T62" fmla="*/ 266 w 1384"/>
                  <a:gd name="T63" fmla="*/ 218 h 646"/>
                  <a:gd name="T64" fmla="*/ 398 w 1384"/>
                  <a:gd name="T65" fmla="*/ 218 h 646"/>
                  <a:gd name="T66" fmla="*/ 440 w 1384"/>
                  <a:gd name="T67" fmla="*/ 230 h 646"/>
                  <a:gd name="T68" fmla="*/ 466 w 1384"/>
                  <a:gd name="T69" fmla="*/ 264 h 646"/>
                  <a:gd name="T70" fmla="*/ 472 w 1384"/>
                  <a:gd name="T71" fmla="*/ 540 h 646"/>
                  <a:gd name="T72" fmla="*/ 608 w 1384"/>
                  <a:gd name="T73" fmla="*/ 152 h 646"/>
                  <a:gd name="T74" fmla="*/ 622 w 1384"/>
                  <a:gd name="T75" fmla="*/ 110 h 646"/>
                  <a:gd name="T76" fmla="*/ 654 w 1384"/>
                  <a:gd name="T77" fmla="*/ 82 h 646"/>
                  <a:gd name="T78" fmla="*/ 800 w 1384"/>
                  <a:gd name="T79" fmla="*/ 76 h 646"/>
                  <a:gd name="T80" fmla="*/ 830 w 1384"/>
                  <a:gd name="T81" fmla="*/ 82 h 646"/>
                  <a:gd name="T82" fmla="*/ 864 w 1384"/>
                  <a:gd name="T83" fmla="*/ 110 h 646"/>
                  <a:gd name="T84" fmla="*/ 876 w 1384"/>
                  <a:gd name="T85" fmla="*/ 152 h 646"/>
                  <a:gd name="T86" fmla="*/ 1012 w 1384"/>
                  <a:gd name="T87" fmla="*/ 76 h 646"/>
                  <a:gd name="T88" fmla="*/ 1018 w 1384"/>
                  <a:gd name="T89" fmla="*/ 46 h 646"/>
                  <a:gd name="T90" fmla="*/ 1046 w 1384"/>
                  <a:gd name="T91" fmla="*/ 12 h 646"/>
                  <a:gd name="T92" fmla="*/ 1088 w 1384"/>
                  <a:gd name="T93" fmla="*/ 0 h 646"/>
                  <a:gd name="T94" fmla="*/ 1220 w 1384"/>
                  <a:gd name="T95" fmla="*/ 2 h 646"/>
                  <a:gd name="T96" fmla="*/ 1258 w 1384"/>
                  <a:gd name="T97" fmla="*/ 22 h 646"/>
                  <a:gd name="T98" fmla="*/ 1278 w 1384"/>
                  <a:gd name="T99" fmla="*/ 60 h 646"/>
                  <a:gd name="T100" fmla="*/ 1332 w 1384"/>
                  <a:gd name="T101" fmla="*/ 540 h 646"/>
                  <a:gd name="T102" fmla="*/ 1352 w 1384"/>
                  <a:gd name="T103" fmla="*/ 544 h 646"/>
                  <a:gd name="T104" fmla="*/ 1376 w 1384"/>
                  <a:gd name="T105" fmla="*/ 564 h 646"/>
                  <a:gd name="T106" fmla="*/ 1384 w 1384"/>
                  <a:gd name="T107" fmla="*/ 594 h 646"/>
                  <a:gd name="T108" fmla="*/ 1380 w 1384"/>
                  <a:gd name="T109" fmla="*/ 614 h 646"/>
                  <a:gd name="T110" fmla="*/ 1362 w 1384"/>
                  <a:gd name="T111" fmla="*/ 636 h 646"/>
                  <a:gd name="T112" fmla="*/ 1332 w 1384"/>
                  <a:gd name="T113" fmla="*/ 646 h 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384" h="646">
                    <a:moveTo>
                      <a:pt x="1332" y="646"/>
                    </a:moveTo>
                    <a:lnTo>
                      <a:pt x="1228" y="646"/>
                    </a:lnTo>
                    <a:lnTo>
                      <a:pt x="1228" y="646"/>
                    </a:lnTo>
                    <a:lnTo>
                      <a:pt x="1216" y="644"/>
                    </a:lnTo>
                    <a:lnTo>
                      <a:pt x="1206" y="642"/>
                    </a:lnTo>
                    <a:lnTo>
                      <a:pt x="1198" y="636"/>
                    </a:lnTo>
                    <a:lnTo>
                      <a:pt x="1190" y="630"/>
                    </a:lnTo>
                    <a:lnTo>
                      <a:pt x="1184" y="622"/>
                    </a:lnTo>
                    <a:lnTo>
                      <a:pt x="1178" y="614"/>
                    </a:lnTo>
                    <a:lnTo>
                      <a:pt x="1176" y="604"/>
                    </a:lnTo>
                    <a:lnTo>
                      <a:pt x="1174" y="594"/>
                    </a:lnTo>
                    <a:lnTo>
                      <a:pt x="1174" y="106"/>
                    </a:lnTo>
                    <a:lnTo>
                      <a:pt x="1118" y="106"/>
                    </a:lnTo>
                    <a:lnTo>
                      <a:pt x="1118" y="594"/>
                    </a:lnTo>
                    <a:lnTo>
                      <a:pt x="1118" y="594"/>
                    </a:lnTo>
                    <a:lnTo>
                      <a:pt x="1116" y="604"/>
                    </a:lnTo>
                    <a:lnTo>
                      <a:pt x="1114" y="614"/>
                    </a:lnTo>
                    <a:lnTo>
                      <a:pt x="1108" y="622"/>
                    </a:lnTo>
                    <a:lnTo>
                      <a:pt x="1102" y="630"/>
                    </a:lnTo>
                    <a:lnTo>
                      <a:pt x="1094" y="636"/>
                    </a:lnTo>
                    <a:lnTo>
                      <a:pt x="1086" y="642"/>
                    </a:lnTo>
                    <a:lnTo>
                      <a:pt x="1076" y="644"/>
                    </a:lnTo>
                    <a:lnTo>
                      <a:pt x="1064" y="646"/>
                    </a:lnTo>
                    <a:lnTo>
                      <a:pt x="824" y="646"/>
                    </a:lnTo>
                    <a:lnTo>
                      <a:pt x="824" y="646"/>
                    </a:lnTo>
                    <a:lnTo>
                      <a:pt x="814" y="644"/>
                    </a:lnTo>
                    <a:lnTo>
                      <a:pt x="804" y="642"/>
                    </a:lnTo>
                    <a:lnTo>
                      <a:pt x="794" y="636"/>
                    </a:lnTo>
                    <a:lnTo>
                      <a:pt x="786" y="630"/>
                    </a:lnTo>
                    <a:lnTo>
                      <a:pt x="780" y="622"/>
                    </a:lnTo>
                    <a:lnTo>
                      <a:pt x="776" y="614"/>
                    </a:lnTo>
                    <a:lnTo>
                      <a:pt x="772" y="604"/>
                    </a:lnTo>
                    <a:lnTo>
                      <a:pt x="772" y="594"/>
                    </a:lnTo>
                    <a:lnTo>
                      <a:pt x="772" y="182"/>
                    </a:lnTo>
                    <a:lnTo>
                      <a:pt x="714" y="182"/>
                    </a:lnTo>
                    <a:lnTo>
                      <a:pt x="714" y="594"/>
                    </a:lnTo>
                    <a:lnTo>
                      <a:pt x="714" y="594"/>
                    </a:lnTo>
                    <a:lnTo>
                      <a:pt x="712" y="604"/>
                    </a:lnTo>
                    <a:lnTo>
                      <a:pt x="710" y="614"/>
                    </a:lnTo>
                    <a:lnTo>
                      <a:pt x="706" y="622"/>
                    </a:lnTo>
                    <a:lnTo>
                      <a:pt x="698" y="630"/>
                    </a:lnTo>
                    <a:lnTo>
                      <a:pt x="690" y="636"/>
                    </a:lnTo>
                    <a:lnTo>
                      <a:pt x="682" y="642"/>
                    </a:lnTo>
                    <a:lnTo>
                      <a:pt x="672" y="644"/>
                    </a:lnTo>
                    <a:lnTo>
                      <a:pt x="662" y="646"/>
                    </a:lnTo>
                    <a:lnTo>
                      <a:pt x="420" y="646"/>
                    </a:lnTo>
                    <a:lnTo>
                      <a:pt x="420" y="646"/>
                    </a:lnTo>
                    <a:lnTo>
                      <a:pt x="410" y="644"/>
                    </a:lnTo>
                    <a:lnTo>
                      <a:pt x="400" y="642"/>
                    </a:lnTo>
                    <a:lnTo>
                      <a:pt x="390" y="636"/>
                    </a:lnTo>
                    <a:lnTo>
                      <a:pt x="384" y="630"/>
                    </a:lnTo>
                    <a:lnTo>
                      <a:pt x="376" y="622"/>
                    </a:lnTo>
                    <a:lnTo>
                      <a:pt x="372" y="614"/>
                    </a:lnTo>
                    <a:lnTo>
                      <a:pt x="368" y="604"/>
                    </a:lnTo>
                    <a:lnTo>
                      <a:pt x="368" y="594"/>
                    </a:lnTo>
                    <a:lnTo>
                      <a:pt x="368" y="322"/>
                    </a:lnTo>
                    <a:lnTo>
                      <a:pt x="310" y="322"/>
                    </a:lnTo>
                    <a:lnTo>
                      <a:pt x="310" y="594"/>
                    </a:lnTo>
                    <a:lnTo>
                      <a:pt x="310" y="594"/>
                    </a:lnTo>
                    <a:lnTo>
                      <a:pt x="310" y="604"/>
                    </a:lnTo>
                    <a:lnTo>
                      <a:pt x="306" y="614"/>
                    </a:lnTo>
                    <a:lnTo>
                      <a:pt x="302" y="622"/>
                    </a:lnTo>
                    <a:lnTo>
                      <a:pt x="296" y="630"/>
                    </a:lnTo>
                    <a:lnTo>
                      <a:pt x="288" y="636"/>
                    </a:lnTo>
                    <a:lnTo>
                      <a:pt x="278" y="642"/>
                    </a:lnTo>
                    <a:lnTo>
                      <a:pt x="268" y="644"/>
                    </a:lnTo>
                    <a:lnTo>
                      <a:pt x="258" y="646"/>
                    </a:lnTo>
                    <a:lnTo>
                      <a:pt x="52" y="646"/>
                    </a:lnTo>
                    <a:lnTo>
                      <a:pt x="52" y="646"/>
                    </a:lnTo>
                    <a:lnTo>
                      <a:pt x="42" y="644"/>
                    </a:lnTo>
                    <a:lnTo>
                      <a:pt x="32" y="642"/>
                    </a:lnTo>
                    <a:lnTo>
                      <a:pt x="24" y="636"/>
                    </a:lnTo>
                    <a:lnTo>
                      <a:pt x="16" y="630"/>
                    </a:lnTo>
                    <a:lnTo>
                      <a:pt x="10" y="622"/>
                    </a:lnTo>
                    <a:lnTo>
                      <a:pt x="4" y="614"/>
                    </a:lnTo>
                    <a:lnTo>
                      <a:pt x="2" y="604"/>
                    </a:lnTo>
                    <a:lnTo>
                      <a:pt x="0" y="594"/>
                    </a:lnTo>
                    <a:lnTo>
                      <a:pt x="0" y="594"/>
                    </a:lnTo>
                    <a:lnTo>
                      <a:pt x="2" y="582"/>
                    </a:lnTo>
                    <a:lnTo>
                      <a:pt x="4" y="572"/>
                    </a:lnTo>
                    <a:lnTo>
                      <a:pt x="10" y="564"/>
                    </a:lnTo>
                    <a:lnTo>
                      <a:pt x="16" y="556"/>
                    </a:lnTo>
                    <a:lnTo>
                      <a:pt x="24" y="550"/>
                    </a:lnTo>
                    <a:lnTo>
                      <a:pt x="32" y="544"/>
                    </a:lnTo>
                    <a:lnTo>
                      <a:pt x="42" y="542"/>
                    </a:lnTo>
                    <a:lnTo>
                      <a:pt x="52" y="540"/>
                    </a:lnTo>
                    <a:lnTo>
                      <a:pt x="206" y="540"/>
                    </a:lnTo>
                    <a:lnTo>
                      <a:pt x="206" y="292"/>
                    </a:lnTo>
                    <a:lnTo>
                      <a:pt x="206" y="292"/>
                    </a:lnTo>
                    <a:lnTo>
                      <a:pt x="208" y="278"/>
                    </a:lnTo>
                    <a:lnTo>
                      <a:pt x="212" y="264"/>
                    </a:lnTo>
                    <a:lnTo>
                      <a:pt x="218" y="250"/>
                    </a:lnTo>
                    <a:lnTo>
                      <a:pt x="228" y="240"/>
                    </a:lnTo>
                    <a:lnTo>
                      <a:pt x="238" y="230"/>
                    </a:lnTo>
                    <a:lnTo>
                      <a:pt x="252" y="224"/>
                    </a:lnTo>
                    <a:lnTo>
                      <a:pt x="266" y="218"/>
                    </a:lnTo>
                    <a:lnTo>
                      <a:pt x="280" y="218"/>
                    </a:lnTo>
                    <a:lnTo>
                      <a:pt x="398" y="218"/>
                    </a:lnTo>
                    <a:lnTo>
                      <a:pt x="398" y="218"/>
                    </a:lnTo>
                    <a:lnTo>
                      <a:pt x="412" y="218"/>
                    </a:lnTo>
                    <a:lnTo>
                      <a:pt x="426" y="224"/>
                    </a:lnTo>
                    <a:lnTo>
                      <a:pt x="440" y="230"/>
                    </a:lnTo>
                    <a:lnTo>
                      <a:pt x="450" y="240"/>
                    </a:lnTo>
                    <a:lnTo>
                      <a:pt x="460" y="250"/>
                    </a:lnTo>
                    <a:lnTo>
                      <a:pt x="466" y="264"/>
                    </a:lnTo>
                    <a:lnTo>
                      <a:pt x="472" y="278"/>
                    </a:lnTo>
                    <a:lnTo>
                      <a:pt x="472" y="292"/>
                    </a:lnTo>
                    <a:lnTo>
                      <a:pt x="472" y="540"/>
                    </a:lnTo>
                    <a:lnTo>
                      <a:pt x="608" y="540"/>
                    </a:lnTo>
                    <a:lnTo>
                      <a:pt x="608" y="152"/>
                    </a:lnTo>
                    <a:lnTo>
                      <a:pt x="608" y="152"/>
                    </a:lnTo>
                    <a:lnTo>
                      <a:pt x="610" y="136"/>
                    </a:lnTo>
                    <a:lnTo>
                      <a:pt x="614" y="122"/>
                    </a:lnTo>
                    <a:lnTo>
                      <a:pt x="622" y="110"/>
                    </a:lnTo>
                    <a:lnTo>
                      <a:pt x="632" y="98"/>
                    </a:lnTo>
                    <a:lnTo>
                      <a:pt x="642" y="90"/>
                    </a:lnTo>
                    <a:lnTo>
                      <a:pt x="654" y="82"/>
                    </a:lnTo>
                    <a:lnTo>
                      <a:pt x="668" y="78"/>
                    </a:lnTo>
                    <a:lnTo>
                      <a:pt x="684" y="76"/>
                    </a:lnTo>
                    <a:lnTo>
                      <a:pt x="800" y="76"/>
                    </a:lnTo>
                    <a:lnTo>
                      <a:pt x="800" y="76"/>
                    </a:lnTo>
                    <a:lnTo>
                      <a:pt x="816" y="78"/>
                    </a:lnTo>
                    <a:lnTo>
                      <a:pt x="830" y="82"/>
                    </a:lnTo>
                    <a:lnTo>
                      <a:pt x="842" y="90"/>
                    </a:lnTo>
                    <a:lnTo>
                      <a:pt x="854" y="98"/>
                    </a:lnTo>
                    <a:lnTo>
                      <a:pt x="864" y="110"/>
                    </a:lnTo>
                    <a:lnTo>
                      <a:pt x="870" y="122"/>
                    </a:lnTo>
                    <a:lnTo>
                      <a:pt x="874" y="136"/>
                    </a:lnTo>
                    <a:lnTo>
                      <a:pt x="876" y="152"/>
                    </a:lnTo>
                    <a:lnTo>
                      <a:pt x="876" y="540"/>
                    </a:lnTo>
                    <a:lnTo>
                      <a:pt x="1012" y="540"/>
                    </a:lnTo>
                    <a:lnTo>
                      <a:pt x="1012" y="76"/>
                    </a:lnTo>
                    <a:lnTo>
                      <a:pt x="1012" y="76"/>
                    </a:lnTo>
                    <a:lnTo>
                      <a:pt x="1014" y="60"/>
                    </a:lnTo>
                    <a:lnTo>
                      <a:pt x="1018" y="46"/>
                    </a:lnTo>
                    <a:lnTo>
                      <a:pt x="1026" y="34"/>
                    </a:lnTo>
                    <a:lnTo>
                      <a:pt x="1034" y="22"/>
                    </a:lnTo>
                    <a:lnTo>
                      <a:pt x="1046" y="12"/>
                    </a:lnTo>
                    <a:lnTo>
                      <a:pt x="1058" y="6"/>
                    </a:lnTo>
                    <a:lnTo>
                      <a:pt x="1072" y="2"/>
                    </a:lnTo>
                    <a:lnTo>
                      <a:pt x="1088" y="0"/>
                    </a:lnTo>
                    <a:lnTo>
                      <a:pt x="1204" y="0"/>
                    </a:lnTo>
                    <a:lnTo>
                      <a:pt x="1204" y="0"/>
                    </a:lnTo>
                    <a:lnTo>
                      <a:pt x="1220" y="2"/>
                    </a:lnTo>
                    <a:lnTo>
                      <a:pt x="1234" y="6"/>
                    </a:lnTo>
                    <a:lnTo>
                      <a:pt x="1246" y="12"/>
                    </a:lnTo>
                    <a:lnTo>
                      <a:pt x="1258" y="22"/>
                    </a:lnTo>
                    <a:lnTo>
                      <a:pt x="1266" y="34"/>
                    </a:lnTo>
                    <a:lnTo>
                      <a:pt x="1274" y="46"/>
                    </a:lnTo>
                    <a:lnTo>
                      <a:pt x="1278" y="60"/>
                    </a:lnTo>
                    <a:lnTo>
                      <a:pt x="1280" y="76"/>
                    </a:lnTo>
                    <a:lnTo>
                      <a:pt x="1280" y="540"/>
                    </a:lnTo>
                    <a:lnTo>
                      <a:pt x="1332" y="540"/>
                    </a:lnTo>
                    <a:lnTo>
                      <a:pt x="1332" y="540"/>
                    </a:lnTo>
                    <a:lnTo>
                      <a:pt x="1342" y="542"/>
                    </a:lnTo>
                    <a:lnTo>
                      <a:pt x="1352" y="544"/>
                    </a:lnTo>
                    <a:lnTo>
                      <a:pt x="1362" y="550"/>
                    </a:lnTo>
                    <a:lnTo>
                      <a:pt x="1370" y="556"/>
                    </a:lnTo>
                    <a:lnTo>
                      <a:pt x="1376" y="564"/>
                    </a:lnTo>
                    <a:lnTo>
                      <a:pt x="1380" y="572"/>
                    </a:lnTo>
                    <a:lnTo>
                      <a:pt x="1384" y="582"/>
                    </a:lnTo>
                    <a:lnTo>
                      <a:pt x="1384" y="594"/>
                    </a:lnTo>
                    <a:lnTo>
                      <a:pt x="1384" y="594"/>
                    </a:lnTo>
                    <a:lnTo>
                      <a:pt x="1384" y="604"/>
                    </a:lnTo>
                    <a:lnTo>
                      <a:pt x="1380" y="614"/>
                    </a:lnTo>
                    <a:lnTo>
                      <a:pt x="1376" y="622"/>
                    </a:lnTo>
                    <a:lnTo>
                      <a:pt x="1370" y="630"/>
                    </a:lnTo>
                    <a:lnTo>
                      <a:pt x="1362" y="636"/>
                    </a:lnTo>
                    <a:lnTo>
                      <a:pt x="1352" y="642"/>
                    </a:lnTo>
                    <a:lnTo>
                      <a:pt x="1342" y="644"/>
                    </a:lnTo>
                    <a:lnTo>
                      <a:pt x="1332" y="646"/>
                    </a:lnTo>
                    <a:lnTo>
                      <a:pt x="1332" y="64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endParaRPr>
              </a:p>
            </p:txBody>
          </p:sp>
          <p:sp>
            <p:nvSpPr>
              <p:cNvPr id="19" name="Freeform 6"/>
              <p:cNvSpPr>
                <a:spLocks noEditPoints="1"/>
              </p:cNvSpPr>
              <p:nvPr/>
            </p:nvSpPr>
            <p:spPr bwMode="auto">
              <a:xfrm>
                <a:off x="5757683" y="2925113"/>
                <a:ext cx="184112" cy="184112"/>
              </a:xfrm>
              <a:custGeom>
                <a:avLst/>
                <a:gdLst>
                  <a:gd name="T0" fmla="*/ 152 w 304"/>
                  <a:gd name="T1" fmla="*/ 304 h 304"/>
                  <a:gd name="T2" fmla="*/ 122 w 304"/>
                  <a:gd name="T3" fmla="*/ 302 h 304"/>
                  <a:gd name="T4" fmla="*/ 92 w 304"/>
                  <a:gd name="T5" fmla="*/ 292 h 304"/>
                  <a:gd name="T6" fmla="*/ 66 w 304"/>
                  <a:gd name="T7" fmla="*/ 278 h 304"/>
                  <a:gd name="T8" fmla="*/ 44 w 304"/>
                  <a:gd name="T9" fmla="*/ 260 h 304"/>
                  <a:gd name="T10" fmla="*/ 26 w 304"/>
                  <a:gd name="T11" fmla="*/ 238 h 304"/>
                  <a:gd name="T12" fmla="*/ 12 w 304"/>
                  <a:gd name="T13" fmla="*/ 212 h 304"/>
                  <a:gd name="T14" fmla="*/ 2 w 304"/>
                  <a:gd name="T15" fmla="*/ 182 h 304"/>
                  <a:gd name="T16" fmla="*/ 0 w 304"/>
                  <a:gd name="T17" fmla="*/ 152 h 304"/>
                  <a:gd name="T18" fmla="*/ 0 w 304"/>
                  <a:gd name="T19" fmla="*/ 136 h 304"/>
                  <a:gd name="T20" fmla="*/ 6 w 304"/>
                  <a:gd name="T21" fmla="*/ 106 h 304"/>
                  <a:gd name="T22" fmla="*/ 18 w 304"/>
                  <a:gd name="T23" fmla="*/ 80 h 304"/>
                  <a:gd name="T24" fmla="*/ 34 w 304"/>
                  <a:gd name="T25" fmla="*/ 56 h 304"/>
                  <a:gd name="T26" fmla="*/ 56 w 304"/>
                  <a:gd name="T27" fmla="*/ 34 h 304"/>
                  <a:gd name="T28" fmla="*/ 80 w 304"/>
                  <a:gd name="T29" fmla="*/ 18 h 304"/>
                  <a:gd name="T30" fmla="*/ 106 w 304"/>
                  <a:gd name="T31" fmla="*/ 6 h 304"/>
                  <a:gd name="T32" fmla="*/ 136 w 304"/>
                  <a:gd name="T33" fmla="*/ 0 h 304"/>
                  <a:gd name="T34" fmla="*/ 152 w 304"/>
                  <a:gd name="T35" fmla="*/ 0 h 304"/>
                  <a:gd name="T36" fmla="*/ 182 w 304"/>
                  <a:gd name="T37" fmla="*/ 2 h 304"/>
                  <a:gd name="T38" fmla="*/ 212 w 304"/>
                  <a:gd name="T39" fmla="*/ 12 h 304"/>
                  <a:gd name="T40" fmla="*/ 238 w 304"/>
                  <a:gd name="T41" fmla="*/ 26 h 304"/>
                  <a:gd name="T42" fmla="*/ 260 w 304"/>
                  <a:gd name="T43" fmla="*/ 44 h 304"/>
                  <a:gd name="T44" fmla="*/ 278 w 304"/>
                  <a:gd name="T45" fmla="*/ 66 h 304"/>
                  <a:gd name="T46" fmla="*/ 292 w 304"/>
                  <a:gd name="T47" fmla="*/ 92 h 304"/>
                  <a:gd name="T48" fmla="*/ 302 w 304"/>
                  <a:gd name="T49" fmla="*/ 122 h 304"/>
                  <a:gd name="T50" fmla="*/ 304 w 304"/>
                  <a:gd name="T51" fmla="*/ 152 h 304"/>
                  <a:gd name="T52" fmla="*/ 304 w 304"/>
                  <a:gd name="T53" fmla="*/ 168 h 304"/>
                  <a:gd name="T54" fmla="*/ 298 w 304"/>
                  <a:gd name="T55" fmla="*/ 198 h 304"/>
                  <a:gd name="T56" fmla="*/ 286 w 304"/>
                  <a:gd name="T57" fmla="*/ 224 h 304"/>
                  <a:gd name="T58" fmla="*/ 270 w 304"/>
                  <a:gd name="T59" fmla="*/ 250 h 304"/>
                  <a:gd name="T60" fmla="*/ 250 w 304"/>
                  <a:gd name="T61" fmla="*/ 270 h 304"/>
                  <a:gd name="T62" fmla="*/ 224 w 304"/>
                  <a:gd name="T63" fmla="*/ 286 h 304"/>
                  <a:gd name="T64" fmla="*/ 198 w 304"/>
                  <a:gd name="T65" fmla="*/ 298 h 304"/>
                  <a:gd name="T66" fmla="*/ 168 w 304"/>
                  <a:gd name="T67" fmla="*/ 304 h 304"/>
                  <a:gd name="T68" fmla="*/ 152 w 304"/>
                  <a:gd name="T69" fmla="*/ 304 h 304"/>
                  <a:gd name="T70" fmla="*/ 152 w 304"/>
                  <a:gd name="T71" fmla="*/ 104 h 304"/>
                  <a:gd name="T72" fmla="*/ 134 w 304"/>
                  <a:gd name="T73" fmla="*/ 108 h 304"/>
                  <a:gd name="T74" fmla="*/ 118 w 304"/>
                  <a:gd name="T75" fmla="*/ 118 h 304"/>
                  <a:gd name="T76" fmla="*/ 108 w 304"/>
                  <a:gd name="T77" fmla="*/ 134 h 304"/>
                  <a:gd name="T78" fmla="*/ 104 w 304"/>
                  <a:gd name="T79" fmla="*/ 152 h 304"/>
                  <a:gd name="T80" fmla="*/ 106 w 304"/>
                  <a:gd name="T81" fmla="*/ 162 h 304"/>
                  <a:gd name="T82" fmla="*/ 112 w 304"/>
                  <a:gd name="T83" fmla="*/ 178 h 304"/>
                  <a:gd name="T84" fmla="*/ 126 w 304"/>
                  <a:gd name="T85" fmla="*/ 192 h 304"/>
                  <a:gd name="T86" fmla="*/ 142 w 304"/>
                  <a:gd name="T87" fmla="*/ 198 h 304"/>
                  <a:gd name="T88" fmla="*/ 152 w 304"/>
                  <a:gd name="T89" fmla="*/ 200 h 304"/>
                  <a:gd name="T90" fmla="*/ 170 w 304"/>
                  <a:gd name="T91" fmla="*/ 196 h 304"/>
                  <a:gd name="T92" fmla="*/ 186 w 304"/>
                  <a:gd name="T93" fmla="*/ 186 h 304"/>
                  <a:gd name="T94" fmla="*/ 196 w 304"/>
                  <a:gd name="T95" fmla="*/ 170 h 304"/>
                  <a:gd name="T96" fmla="*/ 200 w 304"/>
                  <a:gd name="T97" fmla="*/ 152 h 304"/>
                  <a:gd name="T98" fmla="*/ 198 w 304"/>
                  <a:gd name="T99" fmla="*/ 142 h 304"/>
                  <a:gd name="T100" fmla="*/ 192 w 304"/>
                  <a:gd name="T101" fmla="*/ 126 h 304"/>
                  <a:gd name="T102" fmla="*/ 178 w 304"/>
                  <a:gd name="T103" fmla="*/ 112 h 304"/>
                  <a:gd name="T104" fmla="*/ 162 w 304"/>
                  <a:gd name="T105" fmla="*/ 106 h 304"/>
                  <a:gd name="T106" fmla="*/ 152 w 304"/>
                  <a:gd name="T107" fmla="*/ 104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4" h="304">
                    <a:moveTo>
                      <a:pt x="152" y="304"/>
                    </a:moveTo>
                    <a:lnTo>
                      <a:pt x="152" y="304"/>
                    </a:lnTo>
                    <a:lnTo>
                      <a:pt x="136" y="304"/>
                    </a:lnTo>
                    <a:lnTo>
                      <a:pt x="122" y="302"/>
                    </a:lnTo>
                    <a:lnTo>
                      <a:pt x="106" y="298"/>
                    </a:lnTo>
                    <a:lnTo>
                      <a:pt x="92" y="292"/>
                    </a:lnTo>
                    <a:lnTo>
                      <a:pt x="80" y="286"/>
                    </a:lnTo>
                    <a:lnTo>
                      <a:pt x="66" y="278"/>
                    </a:lnTo>
                    <a:lnTo>
                      <a:pt x="56" y="270"/>
                    </a:lnTo>
                    <a:lnTo>
                      <a:pt x="44" y="260"/>
                    </a:lnTo>
                    <a:lnTo>
                      <a:pt x="34" y="250"/>
                    </a:lnTo>
                    <a:lnTo>
                      <a:pt x="26" y="238"/>
                    </a:lnTo>
                    <a:lnTo>
                      <a:pt x="18" y="224"/>
                    </a:lnTo>
                    <a:lnTo>
                      <a:pt x="12" y="212"/>
                    </a:lnTo>
                    <a:lnTo>
                      <a:pt x="6" y="198"/>
                    </a:lnTo>
                    <a:lnTo>
                      <a:pt x="2" y="182"/>
                    </a:lnTo>
                    <a:lnTo>
                      <a:pt x="0" y="168"/>
                    </a:lnTo>
                    <a:lnTo>
                      <a:pt x="0" y="152"/>
                    </a:lnTo>
                    <a:lnTo>
                      <a:pt x="0" y="152"/>
                    </a:lnTo>
                    <a:lnTo>
                      <a:pt x="0" y="136"/>
                    </a:lnTo>
                    <a:lnTo>
                      <a:pt x="2" y="122"/>
                    </a:lnTo>
                    <a:lnTo>
                      <a:pt x="6" y="106"/>
                    </a:lnTo>
                    <a:lnTo>
                      <a:pt x="12" y="92"/>
                    </a:lnTo>
                    <a:lnTo>
                      <a:pt x="18" y="80"/>
                    </a:lnTo>
                    <a:lnTo>
                      <a:pt x="26" y="66"/>
                    </a:lnTo>
                    <a:lnTo>
                      <a:pt x="34" y="56"/>
                    </a:lnTo>
                    <a:lnTo>
                      <a:pt x="44" y="44"/>
                    </a:lnTo>
                    <a:lnTo>
                      <a:pt x="56" y="34"/>
                    </a:lnTo>
                    <a:lnTo>
                      <a:pt x="66" y="26"/>
                    </a:lnTo>
                    <a:lnTo>
                      <a:pt x="80" y="18"/>
                    </a:lnTo>
                    <a:lnTo>
                      <a:pt x="92" y="12"/>
                    </a:lnTo>
                    <a:lnTo>
                      <a:pt x="106" y="6"/>
                    </a:lnTo>
                    <a:lnTo>
                      <a:pt x="122" y="2"/>
                    </a:lnTo>
                    <a:lnTo>
                      <a:pt x="136" y="0"/>
                    </a:lnTo>
                    <a:lnTo>
                      <a:pt x="152" y="0"/>
                    </a:lnTo>
                    <a:lnTo>
                      <a:pt x="152" y="0"/>
                    </a:lnTo>
                    <a:lnTo>
                      <a:pt x="168" y="0"/>
                    </a:lnTo>
                    <a:lnTo>
                      <a:pt x="182" y="2"/>
                    </a:lnTo>
                    <a:lnTo>
                      <a:pt x="198" y="6"/>
                    </a:lnTo>
                    <a:lnTo>
                      <a:pt x="212" y="12"/>
                    </a:lnTo>
                    <a:lnTo>
                      <a:pt x="224" y="18"/>
                    </a:lnTo>
                    <a:lnTo>
                      <a:pt x="238" y="26"/>
                    </a:lnTo>
                    <a:lnTo>
                      <a:pt x="250" y="34"/>
                    </a:lnTo>
                    <a:lnTo>
                      <a:pt x="260" y="44"/>
                    </a:lnTo>
                    <a:lnTo>
                      <a:pt x="270" y="56"/>
                    </a:lnTo>
                    <a:lnTo>
                      <a:pt x="278" y="66"/>
                    </a:lnTo>
                    <a:lnTo>
                      <a:pt x="286" y="80"/>
                    </a:lnTo>
                    <a:lnTo>
                      <a:pt x="292" y="92"/>
                    </a:lnTo>
                    <a:lnTo>
                      <a:pt x="298" y="106"/>
                    </a:lnTo>
                    <a:lnTo>
                      <a:pt x="302" y="122"/>
                    </a:lnTo>
                    <a:lnTo>
                      <a:pt x="304" y="136"/>
                    </a:lnTo>
                    <a:lnTo>
                      <a:pt x="304" y="152"/>
                    </a:lnTo>
                    <a:lnTo>
                      <a:pt x="304" y="152"/>
                    </a:lnTo>
                    <a:lnTo>
                      <a:pt x="304" y="168"/>
                    </a:lnTo>
                    <a:lnTo>
                      <a:pt x="302" y="182"/>
                    </a:lnTo>
                    <a:lnTo>
                      <a:pt x="298" y="198"/>
                    </a:lnTo>
                    <a:lnTo>
                      <a:pt x="292" y="212"/>
                    </a:lnTo>
                    <a:lnTo>
                      <a:pt x="286" y="224"/>
                    </a:lnTo>
                    <a:lnTo>
                      <a:pt x="278" y="238"/>
                    </a:lnTo>
                    <a:lnTo>
                      <a:pt x="270" y="250"/>
                    </a:lnTo>
                    <a:lnTo>
                      <a:pt x="260" y="260"/>
                    </a:lnTo>
                    <a:lnTo>
                      <a:pt x="250" y="270"/>
                    </a:lnTo>
                    <a:lnTo>
                      <a:pt x="238" y="278"/>
                    </a:lnTo>
                    <a:lnTo>
                      <a:pt x="224" y="286"/>
                    </a:lnTo>
                    <a:lnTo>
                      <a:pt x="212" y="292"/>
                    </a:lnTo>
                    <a:lnTo>
                      <a:pt x="198" y="298"/>
                    </a:lnTo>
                    <a:lnTo>
                      <a:pt x="182" y="302"/>
                    </a:lnTo>
                    <a:lnTo>
                      <a:pt x="168" y="304"/>
                    </a:lnTo>
                    <a:lnTo>
                      <a:pt x="152" y="304"/>
                    </a:lnTo>
                    <a:lnTo>
                      <a:pt x="152" y="304"/>
                    </a:lnTo>
                    <a:close/>
                    <a:moveTo>
                      <a:pt x="152" y="104"/>
                    </a:moveTo>
                    <a:lnTo>
                      <a:pt x="152" y="104"/>
                    </a:lnTo>
                    <a:lnTo>
                      <a:pt x="142" y="106"/>
                    </a:lnTo>
                    <a:lnTo>
                      <a:pt x="134" y="108"/>
                    </a:lnTo>
                    <a:lnTo>
                      <a:pt x="126" y="112"/>
                    </a:lnTo>
                    <a:lnTo>
                      <a:pt x="118" y="118"/>
                    </a:lnTo>
                    <a:lnTo>
                      <a:pt x="112" y="126"/>
                    </a:lnTo>
                    <a:lnTo>
                      <a:pt x="108" y="134"/>
                    </a:lnTo>
                    <a:lnTo>
                      <a:pt x="106" y="142"/>
                    </a:lnTo>
                    <a:lnTo>
                      <a:pt x="104" y="152"/>
                    </a:lnTo>
                    <a:lnTo>
                      <a:pt x="104" y="152"/>
                    </a:lnTo>
                    <a:lnTo>
                      <a:pt x="106" y="162"/>
                    </a:lnTo>
                    <a:lnTo>
                      <a:pt x="108" y="170"/>
                    </a:lnTo>
                    <a:lnTo>
                      <a:pt x="112" y="178"/>
                    </a:lnTo>
                    <a:lnTo>
                      <a:pt x="118" y="186"/>
                    </a:lnTo>
                    <a:lnTo>
                      <a:pt x="126" y="192"/>
                    </a:lnTo>
                    <a:lnTo>
                      <a:pt x="134" y="196"/>
                    </a:lnTo>
                    <a:lnTo>
                      <a:pt x="142" y="198"/>
                    </a:lnTo>
                    <a:lnTo>
                      <a:pt x="152" y="200"/>
                    </a:lnTo>
                    <a:lnTo>
                      <a:pt x="152" y="200"/>
                    </a:lnTo>
                    <a:lnTo>
                      <a:pt x="162" y="198"/>
                    </a:lnTo>
                    <a:lnTo>
                      <a:pt x="170" y="196"/>
                    </a:lnTo>
                    <a:lnTo>
                      <a:pt x="178" y="192"/>
                    </a:lnTo>
                    <a:lnTo>
                      <a:pt x="186" y="186"/>
                    </a:lnTo>
                    <a:lnTo>
                      <a:pt x="192" y="178"/>
                    </a:lnTo>
                    <a:lnTo>
                      <a:pt x="196" y="170"/>
                    </a:lnTo>
                    <a:lnTo>
                      <a:pt x="198" y="162"/>
                    </a:lnTo>
                    <a:lnTo>
                      <a:pt x="200" y="152"/>
                    </a:lnTo>
                    <a:lnTo>
                      <a:pt x="200" y="152"/>
                    </a:lnTo>
                    <a:lnTo>
                      <a:pt x="198" y="142"/>
                    </a:lnTo>
                    <a:lnTo>
                      <a:pt x="196" y="134"/>
                    </a:lnTo>
                    <a:lnTo>
                      <a:pt x="192" y="126"/>
                    </a:lnTo>
                    <a:lnTo>
                      <a:pt x="186" y="118"/>
                    </a:lnTo>
                    <a:lnTo>
                      <a:pt x="178" y="112"/>
                    </a:lnTo>
                    <a:lnTo>
                      <a:pt x="170" y="108"/>
                    </a:lnTo>
                    <a:lnTo>
                      <a:pt x="162" y="106"/>
                    </a:lnTo>
                    <a:lnTo>
                      <a:pt x="152" y="104"/>
                    </a:lnTo>
                    <a:lnTo>
                      <a:pt x="152"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endParaRPr>
              </a:p>
            </p:txBody>
          </p:sp>
          <p:sp>
            <p:nvSpPr>
              <p:cNvPr id="20" name="Freeform 7"/>
              <p:cNvSpPr>
                <a:spLocks noEditPoints="1"/>
              </p:cNvSpPr>
              <p:nvPr/>
            </p:nvSpPr>
            <p:spPr bwMode="auto">
              <a:xfrm>
                <a:off x="6002359" y="2994156"/>
                <a:ext cx="184112" cy="185323"/>
              </a:xfrm>
              <a:custGeom>
                <a:avLst/>
                <a:gdLst>
                  <a:gd name="T0" fmla="*/ 152 w 304"/>
                  <a:gd name="T1" fmla="*/ 306 h 306"/>
                  <a:gd name="T2" fmla="*/ 120 w 304"/>
                  <a:gd name="T3" fmla="*/ 302 h 306"/>
                  <a:gd name="T4" fmla="*/ 92 w 304"/>
                  <a:gd name="T5" fmla="*/ 294 h 306"/>
                  <a:gd name="T6" fmla="*/ 66 w 304"/>
                  <a:gd name="T7" fmla="*/ 280 h 306"/>
                  <a:gd name="T8" fmla="*/ 44 w 304"/>
                  <a:gd name="T9" fmla="*/ 262 h 306"/>
                  <a:gd name="T10" fmla="*/ 26 w 304"/>
                  <a:gd name="T11" fmla="*/ 238 h 306"/>
                  <a:gd name="T12" fmla="*/ 12 w 304"/>
                  <a:gd name="T13" fmla="*/ 212 h 306"/>
                  <a:gd name="T14" fmla="*/ 2 w 304"/>
                  <a:gd name="T15" fmla="*/ 184 h 306"/>
                  <a:gd name="T16" fmla="*/ 0 w 304"/>
                  <a:gd name="T17" fmla="*/ 154 h 306"/>
                  <a:gd name="T18" fmla="*/ 0 w 304"/>
                  <a:gd name="T19" fmla="*/ 138 h 306"/>
                  <a:gd name="T20" fmla="*/ 6 w 304"/>
                  <a:gd name="T21" fmla="*/ 108 h 306"/>
                  <a:gd name="T22" fmla="*/ 18 w 304"/>
                  <a:gd name="T23" fmla="*/ 80 h 306"/>
                  <a:gd name="T24" fmla="*/ 34 w 304"/>
                  <a:gd name="T25" fmla="*/ 56 h 306"/>
                  <a:gd name="T26" fmla="*/ 54 w 304"/>
                  <a:gd name="T27" fmla="*/ 36 h 306"/>
                  <a:gd name="T28" fmla="*/ 78 w 304"/>
                  <a:gd name="T29" fmla="*/ 20 h 306"/>
                  <a:gd name="T30" fmla="*/ 106 w 304"/>
                  <a:gd name="T31" fmla="*/ 8 h 306"/>
                  <a:gd name="T32" fmla="*/ 136 w 304"/>
                  <a:gd name="T33" fmla="*/ 2 h 306"/>
                  <a:gd name="T34" fmla="*/ 152 w 304"/>
                  <a:gd name="T35" fmla="*/ 0 h 306"/>
                  <a:gd name="T36" fmla="*/ 182 w 304"/>
                  <a:gd name="T37" fmla="*/ 4 h 306"/>
                  <a:gd name="T38" fmla="*/ 212 w 304"/>
                  <a:gd name="T39" fmla="*/ 12 h 306"/>
                  <a:gd name="T40" fmla="*/ 236 w 304"/>
                  <a:gd name="T41" fmla="*/ 26 h 306"/>
                  <a:gd name="T42" fmla="*/ 260 w 304"/>
                  <a:gd name="T43" fmla="*/ 46 h 306"/>
                  <a:gd name="T44" fmla="*/ 278 w 304"/>
                  <a:gd name="T45" fmla="*/ 68 h 306"/>
                  <a:gd name="T46" fmla="*/ 292 w 304"/>
                  <a:gd name="T47" fmla="*/ 94 h 306"/>
                  <a:gd name="T48" fmla="*/ 302 w 304"/>
                  <a:gd name="T49" fmla="*/ 122 h 306"/>
                  <a:gd name="T50" fmla="*/ 304 w 304"/>
                  <a:gd name="T51" fmla="*/ 154 h 306"/>
                  <a:gd name="T52" fmla="*/ 304 w 304"/>
                  <a:gd name="T53" fmla="*/ 168 h 306"/>
                  <a:gd name="T54" fmla="*/ 298 w 304"/>
                  <a:gd name="T55" fmla="*/ 198 h 306"/>
                  <a:gd name="T56" fmla="*/ 286 w 304"/>
                  <a:gd name="T57" fmla="*/ 226 h 306"/>
                  <a:gd name="T58" fmla="*/ 270 w 304"/>
                  <a:gd name="T59" fmla="*/ 250 h 306"/>
                  <a:gd name="T60" fmla="*/ 248 w 304"/>
                  <a:gd name="T61" fmla="*/ 272 h 306"/>
                  <a:gd name="T62" fmla="*/ 224 w 304"/>
                  <a:gd name="T63" fmla="*/ 288 h 306"/>
                  <a:gd name="T64" fmla="*/ 198 w 304"/>
                  <a:gd name="T65" fmla="*/ 300 h 306"/>
                  <a:gd name="T66" fmla="*/ 168 w 304"/>
                  <a:gd name="T67" fmla="*/ 306 h 306"/>
                  <a:gd name="T68" fmla="*/ 152 w 304"/>
                  <a:gd name="T69" fmla="*/ 306 h 306"/>
                  <a:gd name="T70" fmla="*/ 152 w 304"/>
                  <a:gd name="T71" fmla="*/ 106 h 306"/>
                  <a:gd name="T72" fmla="*/ 134 w 304"/>
                  <a:gd name="T73" fmla="*/ 110 h 306"/>
                  <a:gd name="T74" fmla="*/ 118 w 304"/>
                  <a:gd name="T75" fmla="*/ 120 h 306"/>
                  <a:gd name="T76" fmla="*/ 108 w 304"/>
                  <a:gd name="T77" fmla="*/ 134 h 306"/>
                  <a:gd name="T78" fmla="*/ 104 w 304"/>
                  <a:gd name="T79" fmla="*/ 154 h 306"/>
                  <a:gd name="T80" fmla="*/ 106 w 304"/>
                  <a:gd name="T81" fmla="*/ 164 h 306"/>
                  <a:gd name="T82" fmla="*/ 112 w 304"/>
                  <a:gd name="T83" fmla="*/ 180 h 306"/>
                  <a:gd name="T84" fmla="*/ 126 w 304"/>
                  <a:gd name="T85" fmla="*/ 192 h 306"/>
                  <a:gd name="T86" fmla="*/ 142 w 304"/>
                  <a:gd name="T87" fmla="*/ 200 h 306"/>
                  <a:gd name="T88" fmla="*/ 152 w 304"/>
                  <a:gd name="T89" fmla="*/ 202 h 306"/>
                  <a:gd name="T90" fmla="*/ 170 w 304"/>
                  <a:gd name="T91" fmla="*/ 198 h 306"/>
                  <a:gd name="T92" fmla="*/ 186 w 304"/>
                  <a:gd name="T93" fmla="*/ 188 h 306"/>
                  <a:gd name="T94" fmla="*/ 196 w 304"/>
                  <a:gd name="T95" fmla="*/ 172 h 306"/>
                  <a:gd name="T96" fmla="*/ 200 w 304"/>
                  <a:gd name="T97" fmla="*/ 154 h 306"/>
                  <a:gd name="T98" fmla="*/ 198 w 304"/>
                  <a:gd name="T99" fmla="*/ 144 h 306"/>
                  <a:gd name="T100" fmla="*/ 192 w 304"/>
                  <a:gd name="T101" fmla="*/ 126 h 306"/>
                  <a:gd name="T102" fmla="*/ 178 w 304"/>
                  <a:gd name="T103" fmla="*/ 114 h 306"/>
                  <a:gd name="T104" fmla="*/ 162 w 304"/>
                  <a:gd name="T105" fmla="*/ 106 h 306"/>
                  <a:gd name="T106" fmla="*/ 152 w 304"/>
                  <a:gd name="T107" fmla="*/ 10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4" h="306">
                    <a:moveTo>
                      <a:pt x="152" y="306"/>
                    </a:moveTo>
                    <a:lnTo>
                      <a:pt x="152" y="306"/>
                    </a:lnTo>
                    <a:lnTo>
                      <a:pt x="136" y="306"/>
                    </a:lnTo>
                    <a:lnTo>
                      <a:pt x="120" y="302"/>
                    </a:lnTo>
                    <a:lnTo>
                      <a:pt x="106" y="300"/>
                    </a:lnTo>
                    <a:lnTo>
                      <a:pt x="92" y="294"/>
                    </a:lnTo>
                    <a:lnTo>
                      <a:pt x="78" y="288"/>
                    </a:lnTo>
                    <a:lnTo>
                      <a:pt x="66" y="280"/>
                    </a:lnTo>
                    <a:lnTo>
                      <a:pt x="54" y="272"/>
                    </a:lnTo>
                    <a:lnTo>
                      <a:pt x="44" y="262"/>
                    </a:lnTo>
                    <a:lnTo>
                      <a:pt x="34" y="250"/>
                    </a:lnTo>
                    <a:lnTo>
                      <a:pt x="26" y="238"/>
                    </a:lnTo>
                    <a:lnTo>
                      <a:pt x="18" y="226"/>
                    </a:lnTo>
                    <a:lnTo>
                      <a:pt x="12" y="212"/>
                    </a:lnTo>
                    <a:lnTo>
                      <a:pt x="6" y="198"/>
                    </a:lnTo>
                    <a:lnTo>
                      <a:pt x="2" y="184"/>
                    </a:lnTo>
                    <a:lnTo>
                      <a:pt x="0" y="168"/>
                    </a:lnTo>
                    <a:lnTo>
                      <a:pt x="0" y="154"/>
                    </a:lnTo>
                    <a:lnTo>
                      <a:pt x="0" y="154"/>
                    </a:lnTo>
                    <a:lnTo>
                      <a:pt x="0" y="138"/>
                    </a:lnTo>
                    <a:lnTo>
                      <a:pt x="2" y="122"/>
                    </a:lnTo>
                    <a:lnTo>
                      <a:pt x="6" y="108"/>
                    </a:lnTo>
                    <a:lnTo>
                      <a:pt x="12" y="94"/>
                    </a:lnTo>
                    <a:lnTo>
                      <a:pt x="18" y="80"/>
                    </a:lnTo>
                    <a:lnTo>
                      <a:pt x="26" y="68"/>
                    </a:lnTo>
                    <a:lnTo>
                      <a:pt x="34" y="56"/>
                    </a:lnTo>
                    <a:lnTo>
                      <a:pt x="44" y="46"/>
                    </a:lnTo>
                    <a:lnTo>
                      <a:pt x="54" y="36"/>
                    </a:lnTo>
                    <a:lnTo>
                      <a:pt x="66" y="26"/>
                    </a:lnTo>
                    <a:lnTo>
                      <a:pt x="78" y="20"/>
                    </a:lnTo>
                    <a:lnTo>
                      <a:pt x="92" y="12"/>
                    </a:lnTo>
                    <a:lnTo>
                      <a:pt x="106" y="8"/>
                    </a:lnTo>
                    <a:lnTo>
                      <a:pt x="120" y="4"/>
                    </a:lnTo>
                    <a:lnTo>
                      <a:pt x="136" y="2"/>
                    </a:lnTo>
                    <a:lnTo>
                      <a:pt x="152" y="0"/>
                    </a:lnTo>
                    <a:lnTo>
                      <a:pt x="152" y="0"/>
                    </a:lnTo>
                    <a:lnTo>
                      <a:pt x="168" y="2"/>
                    </a:lnTo>
                    <a:lnTo>
                      <a:pt x="182" y="4"/>
                    </a:lnTo>
                    <a:lnTo>
                      <a:pt x="198" y="8"/>
                    </a:lnTo>
                    <a:lnTo>
                      <a:pt x="212" y="12"/>
                    </a:lnTo>
                    <a:lnTo>
                      <a:pt x="224" y="20"/>
                    </a:lnTo>
                    <a:lnTo>
                      <a:pt x="236" y="26"/>
                    </a:lnTo>
                    <a:lnTo>
                      <a:pt x="248" y="36"/>
                    </a:lnTo>
                    <a:lnTo>
                      <a:pt x="260" y="46"/>
                    </a:lnTo>
                    <a:lnTo>
                      <a:pt x="270" y="56"/>
                    </a:lnTo>
                    <a:lnTo>
                      <a:pt x="278" y="68"/>
                    </a:lnTo>
                    <a:lnTo>
                      <a:pt x="286" y="80"/>
                    </a:lnTo>
                    <a:lnTo>
                      <a:pt x="292" y="94"/>
                    </a:lnTo>
                    <a:lnTo>
                      <a:pt x="298" y="108"/>
                    </a:lnTo>
                    <a:lnTo>
                      <a:pt x="302" y="122"/>
                    </a:lnTo>
                    <a:lnTo>
                      <a:pt x="304" y="138"/>
                    </a:lnTo>
                    <a:lnTo>
                      <a:pt x="304" y="154"/>
                    </a:lnTo>
                    <a:lnTo>
                      <a:pt x="304" y="154"/>
                    </a:lnTo>
                    <a:lnTo>
                      <a:pt x="304" y="168"/>
                    </a:lnTo>
                    <a:lnTo>
                      <a:pt x="302" y="184"/>
                    </a:lnTo>
                    <a:lnTo>
                      <a:pt x="298" y="198"/>
                    </a:lnTo>
                    <a:lnTo>
                      <a:pt x="292" y="212"/>
                    </a:lnTo>
                    <a:lnTo>
                      <a:pt x="286" y="226"/>
                    </a:lnTo>
                    <a:lnTo>
                      <a:pt x="278" y="238"/>
                    </a:lnTo>
                    <a:lnTo>
                      <a:pt x="270" y="250"/>
                    </a:lnTo>
                    <a:lnTo>
                      <a:pt x="260" y="262"/>
                    </a:lnTo>
                    <a:lnTo>
                      <a:pt x="248" y="272"/>
                    </a:lnTo>
                    <a:lnTo>
                      <a:pt x="236" y="280"/>
                    </a:lnTo>
                    <a:lnTo>
                      <a:pt x="224" y="288"/>
                    </a:lnTo>
                    <a:lnTo>
                      <a:pt x="212" y="294"/>
                    </a:lnTo>
                    <a:lnTo>
                      <a:pt x="198" y="300"/>
                    </a:lnTo>
                    <a:lnTo>
                      <a:pt x="182" y="302"/>
                    </a:lnTo>
                    <a:lnTo>
                      <a:pt x="168" y="306"/>
                    </a:lnTo>
                    <a:lnTo>
                      <a:pt x="152" y="306"/>
                    </a:lnTo>
                    <a:lnTo>
                      <a:pt x="152" y="306"/>
                    </a:lnTo>
                    <a:close/>
                    <a:moveTo>
                      <a:pt x="152" y="106"/>
                    </a:moveTo>
                    <a:lnTo>
                      <a:pt x="152" y="106"/>
                    </a:lnTo>
                    <a:lnTo>
                      <a:pt x="142" y="106"/>
                    </a:lnTo>
                    <a:lnTo>
                      <a:pt x="134" y="110"/>
                    </a:lnTo>
                    <a:lnTo>
                      <a:pt x="126" y="114"/>
                    </a:lnTo>
                    <a:lnTo>
                      <a:pt x="118" y="120"/>
                    </a:lnTo>
                    <a:lnTo>
                      <a:pt x="112" y="126"/>
                    </a:lnTo>
                    <a:lnTo>
                      <a:pt x="108" y="134"/>
                    </a:lnTo>
                    <a:lnTo>
                      <a:pt x="106" y="144"/>
                    </a:lnTo>
                    <a:lnTo>
                      <a:pt x="104" y="154"/>
                    </a:lnTo>
                    <a:lnTo>
                      <a:pt x="104" y="154"/>
                    </a:lnTo>
                    <a:lnTo>
                      <a:pt x="106" y="164"/>
                    </a:lnTo>
                    <a:lnTo>
                      <a:pt x="108" y="172"/>
                    </a:lnTo>
                    <a:lnTo>
                      <a:pt x="112" y="180"/>
                    </a:lnTo>
                    <a:lnTo>
                      <a:pt x="118" y="188"/>
                    </a:lnTo>
                    <a:lnTo>
                      <a:pt x="126" y="192"/>
                    </a:lnTo>
                    <a:lnTo>
                      <a:pt x="134" y="198"/>
                    </a:lnTo>
                    <a:lnTo>
                      <a:pt x="142" y="200"/>
                    </a:lnTo>
                    <a:lnTo>
                      <a:pt x="152" y="202"/>
                    </a:lnTo>
                    <a:lnTo>
                      <a:pt x="152" y="202"/>
                    </a:lnTo>
                    <a:lnTo>
                      <a:pt x="162" y="200"/>
                    </a:lnTo>
                    <a:lnTo>
                      <a:pt x="170" y="198"/>
                    </a:lnTo>
                    <a:lnTo>
                      <a:pt x="178" y="192"/>
                    </a:lnTo>
                    <a:lnTo>
                      <a:pt x="186" y="188"/>
                    </a:lnTo>
                    <a:lnTo>
                      <a:pt x="192" y="180"/>
                    </a:lnTo>
                    <a:lnTo>
                      <a:pt x="196" y="172"/>
                    </a:lnTo>
                    <a:lnTo>
                      <a:pt x="198" y="164"/>
                    </a:lnTo>
                    <a:lnTo>
                      <a:pt x="200" y="154"/>
                    </a:lnTo>
                    <a:lnTo>
                      <a:pt x="200" y="154"/>
                    </a:lnTo>
                    <a:lnTo>
                      <a:pt x="198" y="144"/>
                    </a:lnTo>
                    <a:lnTo>
                      <a:pt x="196" y="134"/>
                    </a:lnTo>
                    <a:lnTo>
                      <a:pt x="192" y="126"/>
                    </a:lnTo>
                    <a:lnTo>
                      <a:pt x="186" y="120"/>
                    </a:lnTo>
                    <a:lnTo>
                      <a:pt x="178" y="114"/>
                    </a:lnTo>
                    <a:lnTo>
                      <a:pt x="170" y="110"/>
                    </a:lnTo>
                    <a:lnTo>
                      <a:pt x="162" y="106"/>
                    </a:lnTo>
                    <a:lnTo>
                      <a:pt x="152" y="106"/>
                    </a:lnTo>
                    <a:lnTo>
                      <a:pt x="152" y="1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endParaRPr>
              </a:p>
            </p:txBody>
          </p:sp>
          <p:sp>
            <p:nvSpPr>
              <p:cNvPr id="21" name="Freeform 8"/>
              <p:cNvSpPr>
                <a:spLocks noEditPoints="1"/>
              </p:cNvSpPr>
              <p:nvPr/>
            </p:nvSpPr>
            <p:spPr bwMode="auto">
              <a:xfrm>
                <a:off x="6245822" y="2850015"/>
                <a:ext cx="185323" cy="185323"/>
              </a:xfrm>
              <a:custGeom>
                <a:avLst/>
                <a:gdLst>
                  <a:gd name="T0" fmla="*/ 154 w 306"/>
                  <a:gd name="T1" fmla="*/ 306 h 306"/>
                  <a:gd name="T2" fmla="*/ 122 w 306"/>
                  <a:gd name="T3" fmla="*/ 302 h 306"/>
                  <a:gd name="T4" fmla="*/ 94 w 306"/>
                  <a:gd name="T5" fmla="*/ 294 h 306"/>
                  <a:gd name="T6" fmla="*/ 68 w 306"/>
                  <a:gd name="T7" fmla="*/ 280 h 306"/>
                  <a:gd name="T8" fmla="*/ 46 w 306"/>
                  <a:gd name="T9" fmla="*/ 262 h 306"/>
                  <a:gd name="T10" fmla="*/ 26 w 306"/>
                  <a:gd name="T11" fmla="*/ 238 h 306"/>
                  <a:gd name="T12" fmla="*/ 12 w 306"/>
                  <a:gd name="T13" fmla="*/ 212 h 306"/>
                  <a:gd name="T14" fmla="*/ 4 w 306"/>
                  <a:gd name="T15" fmla="*/ 184 h 306"/>
                  <a:gd name="T16" fmla="*/ 0 w 306"/>
                  <a:gd name="T17" fmla="*/ 154 h 306"/>
                  <a:gd name="T18" fmla="*/ 2 w 306"/>
                  <a:gd name="T19" fmla="*/ 138 h 306"/>
                  <a:gd name="T20" fmla="*/ 8 w 306"/>
                  <a:gd name="T21" fmla="*/ 108 h 306"/>
                  <a:gd name="T22" fmla="*/ 18 w 306"/>
                  <a:gd name="T23" fmla="*/ 80 h 306"/>
                  <a:gd name="T24" fmla="*/ 36 w 306"/>
                  <a:gd name="T25" fmla="*/ 56 h 306"/>
                  <a:gd name="T26" fmla="*/ 56 w 306"/>
                  <a:gd name="T27" fmla="*/ 36 h 306"/>
                  <a:gd name="T28" fmla="*/ 80 w 306"/>
                  <a:gd name="T29" fmla="*/ 18 h 306"/>
                  <a:gd name="T30" fmla="*/ 108 w 306"/>
                  <a:gd name="T31" fmla="*/ 8 h 306"/>
                  <a:gd name="T32" fmla="*/ 138 w 306"/>
                  <a:gd name="T33" fmla="*/ 2 h 306"/>
                  <a:gd name="T34" fmla="*/ 154 w 306"/>
                  <a:gd name="T35" fmla="*/ 0 h 306"/>
                  <a:gd name="T36" fmla="*/ 184 w 306"/>
                  <a:gd name="T37" fmla="*/ 4 h 306"/>
                  <a:gd name="T38" fmla="*/ 212 w 306"/>
                  <a:gd name="T39" fmla="*/ 12 h 306"/>
                  <a:gd name="T40" fmla="*/ 238 w 306"/>
                  <a:gd name="T41" fmla="*/ 26 h 306"/>
                  <a:gd name="T42" fmla="*/ 260 w 306"/>
                  <a:gd name="T43" fmla="*/ 46 h 306"/>
                  <a:gd name="T44" fmla="*/ 280 w 306"/>
                  <a:gd name="T45" fmla="*/ 68 h 306"/>
                  <a:gd name="T46" fmla="*/ 294 w 306"/>
                  <a:gd name="T47" fmla="*/ 94 h 306"/>
                  <a:gd name="T48" fmla="*/ 302 w 306"/>
                  <a:gd name="T49" fmla="*/ 122 h 306"/>
                  <a:gd name="T50" fmla="*/ 306 w 306"/>
                  <a:gd name="T51" fmla="*/ 154 h 306"/>
                  <a:gd name="T52" fmla="*/ 304 w 306"/>
                  <a:gd name="T53" fmla="*/ 168 h 306"/>
                  <a:gd name="T54" fmla="*/ 298 w 306"/>
                  <a:gd name="T55" fmla="*/ 198 h 306"/>
                  <a:gd name="T56" fmla="*/ 288 w 306"/>
                  <a:gd name="T57" fmla="*/ 226 h 306"/>
                  <a:gd name="T58" fmla="*/ 270 w 306"/>
                  <a:gd name="T59" fmla="*/ 250 h 306"/>
                  <a:gd name="T60" fmla="*/ 250 w 306"/>
                  <a:gd name="T61" fmla="*/ 270 h 306"/>
                  <a:gd name="T62" fmla="*/ 226 w 306"/>
                  <a:gd name="T63" fmla="*/ 288 h 306"/>
                  <a:gd name="T64" fmla="*/ 198 w 306"/>
                  <a:gd name="T65" fmla="*/ 298 h 306"/>
                  <a:gd name="T66" fmla="*/ 168 w 306"/>
                  <a:gd name="T67" fmla="*/ 306 h 306"/>
                  <a:gd name="T68" fmla="*/ 154 w 306"/>
                  <a:gd name="T69" fmla="*/ 306 h 306"/>
                  <a:gd name="T70" fmla="*/ 154 w 306"/>
                  <a:gd name="T71" fmla="*/ 106 h 306"/>
                  <a:gd name="T72" fmla="*/ 134 w 306"/>
                  <a:gd name="T73" fmla="*/ 110 h 306"/>
                  <a:gd name="T74" fmla="*/ 120 w 306"/>
                  <a:gd name="T75" fmla="*/ 120 h 306"/>
                  <a:gd name="T76" fmla="*/ 110 w 306"/>
                  <a:gd name="T77" fmla="*/ 134 h 306"/>
                  <a:gd name="T78" fmla="*/ 106 w 306"/>
                  <a:gd name="T79" fmla="*/ 154 h 306"/>
                  <a:gd name="T80" fmla="*/ 106 w 306"/>
                  <a:gd name="T81" fmla="*/ 162 h 306"/>
                  <a:gd name="T82" fmla="*/ 114 w 306"/>
                  <a:gd name="T83" fmla="*/ 180 h 306"/>
                  <a:gd name="T84" fmla="*/ 126 w 306"/>
                  <a:gd name="T85" fmla="*/ 192 h 306"/>
                  <a:gd name="T86" fmla="*/ 144 w 306"/>
                  <a:gd name="T87" fmla="*/ 200 h 306"/>
                  <a:gd name="T88" fmla="*/ 154 w 306"/>
                  <a:gd name="T89" fmla="*/ 200 h 306"/>
                  <a:gd name="T90" fmla="*/ 172 w 306"/>
                  <a:gd name="T91" fmla="*/ 198 h 306"/>
                  <a:gd name="T92" fmla="*/ 186 w 306"/>
                  <a:gd name="T93" fmla="*/ 186 h 306"/>
                  <a:gd name="T94" fmla="*/ 196 w 306"/>
                  <a:gd name="T95" fmla="*/ 172 h 306"/>
                  <a:gd name="T96" fmla="*/ 200 w 306"/>
                  <a:gd name="T97" fmla="*/ 154 h 306"/>
                  <a:gd name="T98" fmla="*/ 200 w 306"/>
                  <a:gd name="T99" fmla="*/ 144 h 306"/>
                  <a:gd name="T100" fmla="*/ 192 w 306"/>
                  <a:gd name="T101" fmla="*/ 126 h 306"/>
                  <a:gd name="T102" fmla="*/ 180 w 306"/>
                  <a:gd name="T103" fmla="*/ 114 h 306"/>
                  <a:gd name="T104" fmla="*/ 162 w 306"/>
                  <a:gd name="T105" fmla="*/ 106 h 306"/>
                  <a:gd name="T106" fmla="*/ 154 w 306"/>
                  <a:gd name="T107" fmla="*/ 10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6" h="306">
                    <a:moveTo>
                      <a:pt x="154" y="306"/>
                    </a:moveTo>
                    <a:lnTo>
                      <a:pt x="154" y="306"/>
                    </a:lnTo>
                    <a:lnTo>
                      <a:pt x="138" y="306"/>
                    </a:lnTo>
                    <a:lnTo>
                      <a:pt x="122" y="302"/>
                    </a:lnTo>
                    <a:lnTo>
                      <a:pt x="108" y="298"/>
                    </a:lnTo>
                    <a:lnTo>
                      <a:pt x="94" y="294"/>
                    </a:lnTo>
                    <a:lnTo>
                      <a:pt x="80" y="288"/>
                    </a:lnTo>
                    <a:lnTo>
                      <a:pt x="68" y="280"/>
                    </a:lnTo>
                    <a:lnTo>
                      <a:pt x="56" y="270"/>
                    </a:lnTo>
                    <a:lnTo>
                      <a:pt x="46" y="262"/>
                    </a:lnTo>
                    <a:lnTo>
                      <a:pt x="36" y="250"/>
                    </a:lnTo>
                    <a:lnTo>
                      <a:pt x="26" y="238"/>
                    </a:lnTo>
                    <a:lnTo>
                      <a:pt x="18" y="226"/>
                    </a:lnTo>
                    <a:lnTo>
                      <a:pt x="12" y="212"/>
                    </a:lnTo>
                    <a:lnTo>
                      <a:pt x="8" y="198"/>
                    </a:lnTo>
                    <a:lnTo>
                      <a:pt x="4" y="184"/>
                    </a:lnTo>
                    <a:lnTo>
                      <a:pt x="2" y="168"/>
                    </a:lnTo>
                    <a:lnTo>
                      <a:pt x="0" y="154"/>
                    </a:lnTo>
                    <a:lnTo>
                      <a:pt x="0" y="154"/>
                    </a:lnTo>
                    <a:lnTo>
                      <a:pt x="2" y="138"/>
                    </a:lnTo>
                    <a:lnTo>
                      <a:pt x="4" y="122"/>
                    </a:lnTo>
                    <a:lnTo>
                      <a:pt x="8" y="108"/>
                    </a:lnTo>
                    <a:lnTo>
                      <a:pt x="12" y="94"/>
                    </a:lnTo>
                    <a:lnTo>
                      <a:pt x="18" y="80"/>
                    </a:lnTo>
                    <a:lnTo>
                      <a:pt x="26" y="68"/>
                    </a:lnTo>
                    <a:lnTo>
                      <a:pt x="36" y="56"/>
                    </a:lnTo>
                    <a:lnTo>
                      <a:pt x="46" y="46"/>
                    </a:lnTo>
                    <a:lnTo>
                      <a:pt x="56" y="36"/>
                    </a:lnTo>
                    <a:lnTo>
                      <a:pt x="68" y="26"/>
                    </a:lnTo>
                    <a:lnTo>
                      <a:pt x="80" y="18"/>
                    </a:lnTo>
                    <a:lnTo>
                      <a:pt x="94" y="12"/>
                    </a:lnTo>
                    <a:lnTo>
                      <a:pt x="108" y="8"/>
                    </a:lnTo>
                    <a:lnTo>
                      <a:pt x="122" y="4"/>
                    </a:lnTo>
                    <a:lnTo>
                      <a:pt x="138" y="2"/>
                    </a:lnTo>
                    <a:lnTo>
                      <a:pt x="154" y="0"/>
                    </a:lnTo>
                    <a:lnTo>
                      <a:pt x="154" y="0"/>
                    </a:lnTo>
                    <a:lnTo>
                      <a:pt x="168" y="2"/>
                    </a:lnTo>
                    <a:lnTo>
                      <a:pt x="184" y="4"/>
                    </a:lnTo>
                    <a:lnTo>
                      <a:pt x="198" y="8"/>
                    </a:lnTo>
                    <a:lnTo>
                      <a:pt x="212" y="12"/>
                    </a:lnTo>
                    <a:lnTo>
                      <a:pt x="226" y="18"/>
                    </a:lnTo>
                    <a:lnTo>
                      <a:pt x="238" y="26"/>
                    </a:lnTo>
                    <a:lnTo>
                      <a:pt x="250" y="36"/>
                    </a:lnTo>
                    <a:lnTo>
                      <a:pt x="260" y="46"/>
                    </a:lnTo>
                    <a:lnTo>
                      <a:pt x="270" y="56"/>
                    </a:lnTo>
                    <a:lnTo>
                      <a:pt x="280" y="68"/>
                    </a:lnTo>
                    <a:lnTo>
                      <a:pt x="288" y="80"/>
                    </a:lnTo>
                    <a:lnTo>
                      <a:pt x="294" y="94"/>
                    </a:lnTo>
                    <a:lnTo>
                      <a:pt x="298" y="108"/>
                    </a:lnTo>
                    <a:lnTo>
                      <a:pt x="302" y="122"/>
                    </a:lnTo>
                    <a:lnTo>
                      <a:pt x="304" y="138"/>
                    </a:lnTo>
                    <a:lnTo>
                      <a:pt x="306" y="154"/>
                    </a:lnTo>
                    <a:lnTo>
                      <a:pt x="306" y="154"/>
                    </a:lnTo>
                    <a:lnTo>
                      <a:pt x="304" y="168"/>
                    </a:lnTo>
                    <a:lnTo>
                      <a:pt x="302" y="184"/>
                    </a:lnTo>
                    <a:lnTo>
                      <a:pt x="298" y="198"/>
                    </a:lnTo>
                    <a:lnTo>
                      <a:pt x="294" y="212"/>
                    </a:lnTo>
                    <a:lnTo>
                      <a:pt x="288" y="226"/>
                    </a:lnTo>
                    <a:lnTo>
                      <a:pt x="280" y="238"/>
                    </a:lnTo>
                    <a:lnTo>
                      <a:pt x="270" y="250"/>
                    </a:lnTo>
                    <a:lnTo>
                      <a:pt x="260" y="262"/>
                    </a:lnTo>
                    <a:lnTo>
                      <a:pt x="250" y="270"/>
                    </a:lnTo>
                    <a:lnTo>
                      <a:pt x="238" y="280"/>
                    </a:lnTo>
                    <a:lnTo>
                      <a:pt x="226" y="288"/>
                    </a:lnTo>
                    <a:lnTo>
                      <a:pt x="212" y="294"/>
                    </a:lnTo>
                    <a:lnTo>
                      <a:pt x="198" y="298"/>
                    </a:lnTo>
                    <a:lnTo>
                      <a:pt x="184" y="302"/>
                    </a:lnTo>
                    <a:lnTo>
                      <a:pt x="168" y="306"/>
                    </a:lnTo>
                    <a:lnTo>
                      <a:pt x="154" y="306"/>
                    </a:lnTo>
                    <a:lnTo>
                      <a:pt x="154" y="306"/>
                    </a:lnTo>
                    <a:close/>
                    <a:moveTo>
                      <a:pt x="154" y="106"/>
                    </a:moveTo>
                    <a:lnTo>
                      <a:pt x="154" y="106"/>
                    </a:lnTo>
                    <a:lnTo>
                      <a:pt x="144" y="106"/>
                    </a:lnTo>
                    <a:lnTo>
                      <a:pt x="134" y="110"/>
                    </a:lnTo>
                    <a:lnTo>
                      <a:pt x="126" y="114"/>
                    </a:lnTo>
                    <a:lnTo>
                      <a:pt x="120" y="120"/>
                    </a:lnTo>
                    <a:lnTo>
                      <a:pt x="114" y="126"/>
                    </a:lnTo>
                    <a:lnTo>
                      <a:pt x="110" y="134"/>
                    </a:lnTo>
                    <a:lnTo>
                      <a:pt x="106" y="144"/>
                    </a:lnTo>
                    <a:lnTo>
                      <a:pt x="106" y="154"/>
                    </a:lnTo>
                    <a:lnTo>
                      <a:pt x="106" y="154"/>
                    </a:lnTo>
                    <a:lnTo>
                      <a:pt x="106" y="162"/>
                    </a:lnTo>
                    <a:lnTo>
                      <a:pt x="110" y="172"/>
                    </a:lnTo>
                    <a:lnTo>
                      <a:pt x="114" y="180"/>
                    </a:lnTo>
                    <a:lnTo>
                      <a:pt x="120" y="186"/>
                    </a:lnTo>
                    <a:lnTo>
                      <a:pt x="126" y="192"/>
                    </a:lnTo>
                    <a:lnTo>
                      <a:pt x="134" y="198"/>
                    </a:lnTo>
                    <a:lnTo>
                      <a:pt x="144" y="200"/>
                    </a:lnTo>
                    <a:lnTo>
                      <a:pt x="154" y="200"/>
                    </a:lnTo>
                    <a:lnTo>
                      <a:pt x="154" y="200"/>
                    </a:lnTo>
                    <a:lnTo>
                      <a:pt x="162" y="200"/>
                    </a:lnTo>
                    <a:lnTo>
                      <a:pt x="172" y="198"/>
                    </a:lnTo>
                    <a:lnTo>
                      <a:pt x="180" y="192"/>
                    </a:lnTo>
                    <a:lnTo>
                      <a:pt x="186" y="186"/>
                    </a:lnTo>
                    <a:lnTo>
                      <a:pt x="192" y="180"/>
                    </a:lnTo>
                    <a:lnTo>
                      <a:pt x="196" y="172"/>
                    </a:lnTo>
                    <a:lnTo>
                      <a:pt x="200" y="162"/>
                    </a:lnTo>
                    <a:lnTo>
                      <a:pt x="200" y="154"/>
                    </a:lnTo>
                    <a:lnTo>
                      <a:pt x="200" y="154"/>
                    </a:lnTo>
                    <a:lnTo>
                      <a:pt x="200" y="144"/>
                    </a:lnTo>
                    <a:lnTo>
                      <a:pt x="196" y="134"/>
                    </a:lnTo>
                    <a:lnTo>
                      <a:pt x="192" y="126"/>
                    </a:lnTo>
                    <a:lnTo>
                      <a:pt x="186" y="120"/>
                    </a:lnTo>
                    <a:lnTo>
                      <a:pt x="180" y="114"/>
                    </a:lnTo>
                    <a:lnTo>
                      <a:pt x="172" y="110"/>
                    </a:lnTo>
                    <a:lnTo>
                      <a:pt x="162" y="106"/>
                    </a:lnTo>
                    <a:lnTo>
                      <a:pt x="154" y="106"/>
                    </a:lnTo>
                    <a:lnTo>
                      <a:pt x="154" y="1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endParaRPr>
              </a:p>
            </p:txBody>
          </p:sp>
          <p:sp>
            <p:nvSpPr>
              <p:cNvPr id="22" name="Freeform 9"/>
              <p:cNvSpPr>
                <a:spLocks/>
              </p:cNvSpPr>
              <p:nvPr/>
            </p:nvSpPr>
            <p:spPr bwMode="auto">
              <a:xfrm>
                <a:off x="5875176" y="3006268"/>
                <a:ext cx="190168" cy="102957"/>
              </a:xfrm>
              <a:custGeom>
                <a:avLst/>
                <a:gdLst>
                  <a:gd name="T0" fmla="*/ 262 w 314"/>
                  <a:gd name="T1" fmla="*/ 170 h 170"/>
                  <a:gd name="T2" fmla="*/ 262 w 314"/>
                  <a:gd name="T3" fmla="*/ 170 h 170"/>
                  <a:gd name="T4" fmla="*/ 254 w 314"/>
                  <a:gd name="T5" fmla="*/ 170 h 170"/>
                  <a:gd name="T6" fmla="*/ 246 w 314"/>
                  <a:gd name="T7" fmla="*/ 168 h 170"/>
                  <a:gd name="T8" fmla="*/ 36 w 314"/>
                  <a:gd name="T9" fmla="*/ 104 h 170"/>
                  <a:gd name="T10" fmla="*/ 36 w 314"/>
                  <a:gd name="T11" fmla="*/ 104 h 170"/>
                  <a:gd name="T12" fmla="*/ 26 w 314"/>
                  <a:gd name="T13" fmla="*/ 100 h 170"/>
                  <a:gd name="T14" fmla="*/ 18 w 314"/>
                  <a:gd name="T15" fmla="*/ 94 h 170"/>
                  <a:gd name="T16" fmla="*/ 10 w 314"/>
                  <a:gd name="T17" fmla="*/ 86 h 170"/>
                  <a:gd name="T18" fmla="*/ 6 w 314"/>
                  <a:gd name="T19" fmla="*/ 78 h 170"/>
                  <a:gd name="T20" fmla="*/ 2 w 314"/>
                  <a:gd name="T21" fmla="*/ 68 h 170"/>
                  <a:gd name="T22" fmla="*/ 0 w 314"/>
                  <a:gd name="T23" fmla="*/ 58 h 170"/>
                  <a:gd name="T24" fmla="*/ 0 w 314"/>
                  <a:gd name="T25" fmla="*/ 48 h 170"/>
                  <a:gd name="T26" fmla="*/ 2 w 314"/>
                  <a:gd name="T27" fmla="*/ 38 h 170"/>
                  <a:gd name="T28" fmla="*/ 2 w 314"/>
                  <a:gd name="T29" fmla="*/ 38 h 170"/>
                  <a:gd name="T30" fmla="*/ 6 w 314"/>
                  <a:gd name="T31" fmla="*/ 28 h 170"/>
                  <a:gd name="T32" fmla="*/ 12 w 314"/>
                  <a:gd name="T33" fmla="*/ 20 h 170"/>
                  <a:gd name="T34" fmla="*/ 18 w 314"/>
                  <a:gd name="T35" fmla="*/ 12 h 170"/>
                  <a:gd name="T36" fmla="*/ 28 w 314"/>
                  <a:gd name="T37" fmla="*/ 6 h 170"/>
                  <a:gd name="T38" fmla="*/ 36 w 314"/>
                  <a:gd name="T39" fmla="*/ 2 h 170"/>
                  <a:gd name="T40" fmla="*/ 46 w 314"/>
                  <a:gd name="T41" fmla="*/ 0 h 170"/>
                  <a:gd name="T42" fmla="*/ 56 w 314"/>
                  <a:gd name="T43" fmla="*/ 0 h 170"/>
                  <a:gd name="T44" fmla="*/ 68 w 314"/>
                  <a:gd name="T45" fmla="*/ 4 h 170"/>
                  <a:gd name="T46" fmla="*/ 278 w 314"/>
                  <a:gd name="T47" fmla="*/ 68 h 170"/>
                  <a:gd name="T48" fmla="*/ 278 w 314"/>
                  <a:gd name="T49" fmla="*/ 68 h 170"/>
                  <a:gd name="T50" fmla="*/ 286 w 314"/>
                  <a:gd name="T51" fmla="*/ 72 h 170"/>
                  <a:gd name="T52" fmla="*/ 296 w 314"/>
                  <a:gd name="T53" fmla="*/ 78 h 170"/>
                  <a:gd name="T54" fmla="*/ 302 w 314"/>
                  <a:gd name="T55" fmla="*/ 86 h 170"/>
                  <a:gd name="T56" fmla="*/ 308 w 314"/>
                  <a:gd name="T57" fmla="*/ 94 h 170"/>
                  <a:gd name="T58" fmla="*/ 312 w 314"/>
                  <a:gd name="T59" fmla="*/ 104 h 170"/>
                  <a:gd name="T60" fmla="*/ 314 w 314"/>
                  <a:gd name="T61" fmla="*/ 114 h 170"/>
                  <a:gd name="T62" fmla="*/ 314 w 314"/>
                  <a:gd name="T63" fmla="*/ 124 h 170"/>
                  <a:gd name="T64" fmla="*/ 312 w 314"/>
                  <a:gd name="T65" fmla="*/ 134 h 170"/>
                  <a:gd name="T66" fmla="*/ 312 w 314"/>
                  <a:gd name="T67" fmla="*/ 134 h 170"/>
                  <a:gd name="T68" fmla="*/ 308 w 314"/>
                  <a:gd name="T69" fmla="*/ 142 h 170"/>
                  <a:gd name="T70" fmla="*/ 304 w 314"/>
                  <a:gd name="T71" fmla="*/ 150 h 170"/>
                  <a:gd name="T72" fmla="*/ 298 w 314"/>
                  <a:gd name="T73" fmla="*/ 156 h 170"/>
                  <a:gd name="T74" fmla="*/ 292 w 314"/>
                  <a:gd name="T75" fmla="*/ 160 h 170"/>
                  <a:gd name="T76" fmla="*/ 286 w 314"/>
                  <a:gd name="T77" fmla="*/ 166 h 170"/>
                  <a:gd name="T78" fmla="*/ 278 w 314"/>
                  <a:gd name="T79" fmla="*/ 168 h 170"/>
                  <a:gd name="T80" fmla="*/ 270 w 314"/>
                  <a:gd name="T81" fmla="*/ 170 h 170"/>
                  <a:gd name="T82" fmla="*/ 262 w 314"/>
                  <a:gd name="T83" fmla="*/ 170 h 170"/>
                  <a:gd name="T84" fmla="*/ 262 w 314"/>
                  <a:gd name="T85" fmla="*/ 17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14" h="170">
                    <a:moveTo>
                      <a:pt x="262" y="170"/>
                    </a:moveTo>
                    <a:lnTo>
                      <a:pt x="262" y="170"/>
                    </a:lnTo>
                    <a:lnTo>
                      <a:pt x="254" y="170"/>
                    </a:lnTo>
                    <a:lnTo>
                      <a:pt x="246" y="168"/>
                    </a:lnTo>
                    <a:lnTo>
                      <a:pt x="36" y="104"/>
                    </a:lnTo>
                    <a:lnTo>
                      <a:pt x="36" y="104"/>
                    </a:lnTo>
                    <a:lnTo>
                      <a:pt x="26" y="100"/>
                    </a:lnTo>
                    <a:lnTo>
                      <a:pt x="18" y="94"/>
                    </a:lnTo>
                    <a:lnTo>
                      <a:pt x="10" y="86"/>
                    </a:lnTo>
                    <a:lnTo>
                      <a:pt x="6" y="78"/>
                    </a:lnTo>
                    <a:lnTo>
                      <a:pt x="2" y="68"/>
                    </a:lnTo>
                    <a:lnTo>
                      <a:pt x="0" y="58"/>
                    </a:lnTo>
                    <a:lnTo>
                      <a:pt x="0" y="48"/>
                    </a:lnTo>
                    <a:lnTo>
                      <a:pt x="2" y="38"/>
                    </a:lnTo>
                    <a:lnTo>
                      <a:pt x="2" y="38"/>
                    </a:lnTo>
                    <a:lnTo>
                      <a:pt x="6" y="28"/>
                    </a:lnTo>
                    <a:lnTo>
                      <a:pt x="12" y="20"/>
                    </a:lnTo>
                    <a:lnTo>
                      <a:pt x="18" y="12"/>
                    </a:lnTo>
                    <a:lnTo>
                      <a:pt x="28" y="6"/>
                    </a:lnTo>
                    <a:lnTo>
                      <a:pt x="36" y="2"/>
                    </a:lnTo>
                    <a:lnTo>
                      <a:pt x="46" y="0"/>
                    </a:lnTo>
                    <a:lnTo>
                      <a:pt x="56" y="0"/>
                    </a:lnTo>
                    <a:lnTo>
                      <a:pt x="68" y="4"/>
                    </a:lnTo>
                    <a:lnTo>
                      <a:pt x="278" y="68"/>
                    </a:lnTo>
                    <a:lnTo>
                      <a:pt x="278" y="68"/>
                    </a:lnTo>
                    <a:lnTo>
                      <a:pt x="286" y="72"/>
                    </a:lnTo>
                    <a:lnTo>
                      <a:pt x="296" y="78"/>
                    </a:lnTo>
                    <a:lnTo>
                      <a:pt x="302" y="86"/>
                    </a:lnTo>
                    <a:lnTo>
                      <a:pt x="308" y="94"/>
                    </a:lnTo>
                    <a:lnTo>
                      <a:pt x="312" y="104"/>
                    </a:lnTo>
                    <a:lnTo>
                      <a:pt x="314" y="114"/>
                    </a:lnTo>
                    <a:lnTo>
                      <a:pt x="314" y="124"/>
                    </a:lnTo>
                    <a:lnTo>
                      <a:pt x="312" y="134"/>
                    </a:lnTo>
                    <a:lnTo>
                      <a:pt x="312" y="134"/>
                    </a:lnTo>
                    <a:lnTo>
                      <a:pt x="308" y="142"/>
                    </a:lnTo>
                    <a:lnTo>
                      <a:pt x="304" y="150"/>
                    </a:lnTo>
                    <a:lnTo>
                      <a:pt x="298" y="156"/>
                    </a:lnTo>
                    <a:lnTo>
                      <a:pt x="292" y="160"/>
                    </a:lnTo>
                    <a:lnTo>
                      <a:pt x="286" y="166"/>
                    </a:lnTo>
                    <a:lnTo>
                      <a:pt x="278" y="168"/>
                    </a:lnTo>
                    <a:lnTo>
                      <a:pt x="270" y="170"/>
                    </a:lnTo>
                    <a:lnTo>
                      <a:pt x="262" y="170"/>
                    </a:lnTo>
                    <a:lnTo>
                      <a:pt x="262" y="170"/>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endParaRPr>
              </a:p>
            </p:txBody>
          </p:sp>
          <p:sp>
            <p:nvSpPr>
              <p:cNvPr id="23" name="Freeform 10"/>
              <p:cNvSpPr>
                <a:spLocks/>
              </p:cNvSpPr>
              <p:nvPr/>
            </p:nvSpPr>
            <p:spPr bwMode="auto">
              <a:xfrm>
                <a:off x="6123485" y="2952972"/>
                <a:ext cx="202281" cy="156253"/>
              </a:xfrm>
              <a:custGeom>
                <a:avLst/>
                <a:gdLst>
                  <a:gd name="T0" fmla="*/ 52 w 334"/>
                  <a:gd name="T1" fmla="*/ 258 h 258"/>
                  <a:gd name="T2" fmla="*/ 52 w 334"/>
                  <a:gd name="T3" fmla="*/ 258 h 258"/>
                  <a:gd name="T4" fmla="*/ 40 w 334"/>
                  <a:gd name="T5" fmla="*/ 258 h 258"/>
                  <a:gd name="T6" fmla="*/ 28 w 334"/>
                  <a:gd name="T7" fmla="*/ 252 h 258"/>
                  <a:gd name="T8" fmla="*/ 16 w 334"/>
                  <a:gd name="T9" fmla="*/ 246 h 258"/>
                  <a:gd name="T10" fmla="*/ 8 w 334"/>
                  <a:gd name="T11" fmla="*/ 236 h 258"/>
                  <a:gd name="T12" fmla="*/ 8 w 334"/>
                  <a:gd name="T13" fmla="*/ 236 h 258"/>
                  <a:gd name="T14" fmla="*/ 4 w 334"/>
                  <a:gd name="T15" fmla="*/ 226 h 258"/>
                  <a:gd name="T16" fmla="*/ 0 w 334"/>
                  <a:gd name="T17" fmla="*/ 216 h 258"/>
                  <a:gd name="T18" fmla="*/ 0 w 334"/>
                  <a:gd name="T19" fmla="*/ 206 h 258"/>
                  <a:gd name="T20" fmla="*/ 0 w 334"/>
                  <a:gd name="T21" fmla="*/ 196 h 258"/>
                  <a:gd name="T22" fmla="*/ 4 w 334"/>
                  <a:gd name="T23" fmla="*/ 186 h 258"/>
                  <a:gd name="T24" fmla="*/ 8 w 334"/>
                  <a:gd name="T25" fmla="*/ 178 h 258"/>
                  <a:gd name="T26" fmla="*/ 14 w 334"/>
                  <a:gd name="T27" fmla="*/ 170 h 258"/>
                  <a:gd name="T28" fmla="*/ 22 w 334"/>
                  <a:gd name="T29" fmla="*/ 162 h 258"/>
                  <a:gd name="T30" fmla="*/ 252 w 334"/>
                  <a:gd name="T31" fmla="*/ 8 h 258"/>
                  <a:gd name="T32" fmla="*/ 252 w 334"/>
                  <a:gd name="T33" fmla="*/ 8 h 258"/>
                  <a:gd name="T34" fmla="*/ 262 w 334"/>
                  <a:gd name="T35" fmla="*/ 4 h 258"/>
                  <a:gd name="T36" fmla="*/ 272 w 334"/>
                  <a:gd name="T37" fmla="*/ 0 h 258"/>
                  <a:gd name="T38" fmla="*/ 282 w 334"/>
                  <a:gd name="T39" fmla="*/ 0 h 258"/>
                  <a:gd name="T40" fmla="*/ 292 w 334"/>
                  <a:gd name="T41" fmla="*/ 0 h 258"/>
                  <a:gd name="T42" fmla="*/ 302 w 334"/>
                  <a:gd name="T43" fmla="*/ 4 h 258"/>
                  <a:gd name="T44" fmla="*/ 310 w 334"/>
                  <a:gd name="T45" fmla="*/ 8 h 258"/>
                  <a:gd name="T46" fmla="*/ 318 w 334"/>
                  <a:gd name="T47" fmla="*/ 14 h 258"/>
                  <a:gd name="T48" fmla="*/ 326 w 334"/>
                  <a:gd name="T49" fmla="*/ 22 h 258"/>
                  <a:gd name="T50" fmla="*/ 326 w 334"/>
                  <a:gd name="T51" fmla="*/ 22 h 258"/>
                  <a:gd name="T52" fmla="*/ 330 w 334"/>
                  <a:gd name="T53" fmla="*/ 32 h 258"/>
                  <a:gd name="T54" fmla="*/ 334 w 334"/>
                  <a:gd name="T55" fmla="*/ 42 h 258"/>
                  <a:gd name="T56" fmla="*/ 334 w 334"/>
                  <a:gd name="T57" fmla="*/ 52 h 258"/>
                  <a:gd name="T58" fmla="*/ 334 w 334"/>
                  <a:gd name="T59" fmla="*/ 62 h 258"/>
                  <a:gd name="T60" fmla="*/ 330 w 334"/>
                  <a:gd name="T61" fmla="*/ 72 h 258"/>
                  <a:gd name="T62" fmla="*/ 326 w 334"/>
                  <a:gd name="T63" fmla="*/ 80 h 258"/>
                  <a:gd name="T64" fmla="*/ 320 w 334"/>
                  <a:gd name="T65" fmla="*/ 88 h 258"/>
                  <a:gd name="T66" fmla="*/ 312 w 334"/>
                  <a:gd name="T67" fmla="*/ 96 h 258"/>
                  <a:gd name="T68" fmla="*/ 82 w 334"/>
                  <a:gd name="T69" fmla="*/ 250 h 258"/>
                  <a:gd name="T70" fmla="*/ 82 w 334"/>
                  <a:gd name="T71" fmla="*/ 250 h 258"/>
                  <a:gd name="T72" fmla="*/ 74 w 334"/>
                  <a:gd name="T73" fmla="*/ 254 h 258"/>
                  <a:gd name="T74" fmla="*/ 66 w 334"/>
                  <a:gd name="T75" fmla="*/ 256 h 258"/>
                  <a:gd name="T76" fmla="*/ 52 w 334"/>
                  <a:gd name="T77" fmla="*/ 258 h 258"/>
                  <a:gd name="T78" fmla="*/ 52 w 334"/>
                  <a:gd name="T79" fmla="*/ 258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34" h="258">
                    <a:moveTo>
                      <a:pt x="52" y="258"/>
                    </a:moveTo>
                    <a:lnTo>
                      <a:pt x="52" y="258"/>
                    </a:lnTo>
                    <a:lnTo>
                      <a:pt x="40" y="258"/>
                    </a:lnTo>
                    <a:lnTo>
                      <a:pt x="28" y="252"/>
                    </a:lnTo>
                    <a:lnTo>
                      <a:pt x="16" y="246"/>
                    </a:lnTo>
                    <a:lnTo>
                      <a:pt x="8" y="236"/>
                    </a:lnTo>
                    <a:lnTo>
                      <a:pt x="8" y="236"/>
                    </a:lnTo>
                    <a:lnTo>
                      <a:pt x="4" y="226"/>
                    </a:lnTo>
                    <a:lnTo>
                      <a:pt x="0" y="216"/>
                    </a:lnTo>
                    <a:lnTo>
                      <a:pt x="0" y="206"/>
                    </a:lnTo>
                    <a:lnTo>
                      <a:pt x="0" y="196"/>
                    </a:lnTo>
                    <a:lnTo>
                      <a:pt x="4" y="186"/>
                    </a:lnTo>
                    <a:lnTo>
                      <a:pt x="8" y="178"/>
                    </a:lnTo>
                    <a:lnTo>
                      <a:pt x="14" y="170"/>
                    </a:lnTo>
                    <a:lnTo>
                      <a:pt x="22" y="162"/>
                    </a:lnTo>
                    <a:lnTo>
                      <a:pt x="252" y="8"/>
                    </a:lnTo>
                    <a:lnTo>
                      <a:pt x="252" y="8"/>
                    </a:lnTo>
                    <a:lnTo>
                      <a:pt x="262" y="4"/>
                    </a:lnTo>
                    <a:lnTo>
                      <a:pt x="272" y="0"/>
                    </a:lnTo>
                    <a:lnTo>
                      <a:pt x="282" y="0"/>
                    </a:lnTo>
                    <a:lnTo>
                      <a:pt x="292" y="0"/>
                    </a:lnTo>
                    <a:lnTo>
                      <a:pt x="302" y="4"/>
                    </a:lnTo>
                    <a:lnTo>
                      <a:pt x="310" y="8"/>
                    </a:lnTo>
                    <a:lnTo>
                      <a:pt x="318" y="14"/>
                    </a:lnTo>
                    <a:lnTo>
                      <a:pt x="326" y="22"/>
                    </a:lnTo>
                    <a:lnTo>
                      <a:pt x="326" y="22"/>
                    </a:lnTo>
                    <a:lnTo>
                      <a:pt x="330" y="32"/>
                    </a:lnTo>
                    <a:lnTo>
                      <a:pt x="334" y="42"/>
                    </a:lnTo>
                    <a:lnTo>
                      <a:pt x="334" y="52"/>
                    </a:lnTo>
                    <a:lnTo>
                      <a:pt x="334" y="62"/>
                    </a:lnTo>
                    <a:lnTo>
                      <a:pt x="330" y="72"/>
                    </a:lnTo>
                    <a:lnTo>
                      <a:pt x="326" y="80"/>
                    </a:lnTo>
                    <a:lnTo>
                      <a:pt x="320" y="88"/>
                    </a:lnTo>
                    <a:lnTo>
                      <a:pt x="312" y="96"/>
                    </a:lnTo>
                    <a:lnTo>
                      <a:pt x="82" y="250"/>
                    </a:lnTo>
                    <a:lnTo>
                      <a:pt x="82" y="250"/>
                    </a:lnTo>
                    <a:lnTo>
                      <a:pt x="74" y="254"/>
                    </a:lnTo>
                    <a:lnTo>
                      <a:pt x="66" y="256"/>
                    </a:lnTo>
                    <a:lnTo>
                      <a:pt x="52" y="258"/>
                    </a:lnTo>
                    <a:lnTo>
                      <a:pt x="52" y="258"/>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endParaRPr>
              </a:p>
            </p:txBody>
          </p:sp>
          <p:sp>
            <p:nvSpPr>
              <p:cNvPr id="24" name="Freeform 11"/>
              <p:cNvSpPr>
                <a:spLocks/>
              </p:cNvSpPr>
              <p:nvPr/>
            </p:nvSpPr>
            <p:spPr bwMode="auto">
              <a:xfrm>
                <a:off x="5628079" y="3026859"/>
                <a:ext cx="208337" cy="180478"/>
              </a:xfrm>
              <a:custGeom>
                <a:avLst/>
                <a:gdLst>
                  <a:gd name="T0" fmla="*/ 52 w 344"/>
                  <a:gd name="T1" fmla="*/ 298 h 298"/>
                  <a:gd name="T2" fmla="*/ 52 w 344"/>
                  <a:gd name="T3" fmla="*/ 298 h 298"/>
                  <a:gd name="T4" fmla="*/ 42 w 344"/>
                  <a:gd name="T5" fmla="*/ 298 h 298"/>
                  <a:gd name="T6" fmla="*/ 30 w 344"/>
                  <a:gd name="T7" fmla="*/ 294 h 298"/>
                  <a:gd name="T8" fmla="*/ 20 w 344"/>
                  <a:gd name="T9" fmla="*/ 288 h 298"/>
                  <a:gd name="T10" fmla="*/ 12 w 344"/>
                  <a:gd name="T11" fmla="*/ 278 h 298"/>
                  <a:gd name="T12" fmla="*/ 12 w 344"/>
                  <a:gd name="T13" fmla="*/ 278 h 298"/>
                  <a:gd name="T14" fmla="*/ 6 w 344"/>
                  <a:gd name="T15" fmla="*/ 270 h 298"/>
                  <a:gd name="T16" fmla="*/ 2 w 344"/>
                  <a:gd name="T17" fmla="*/ 260 h 298"/>
                  <a:gd name="T18" fmla="*/ 0 w 344"/>
                  <a:gd name="T19" fmla="*/ 250 h 298"/>
                  <a:gd name="T20" fmla="*/ 0 w 344"/>
                  <a:gd name="T21" fmla="*/ 240 h 298"/>
                  <a:gd name="T22" fmla="*/ 2 w 344"/>
                  <a:gd name="T23" fmla="*/ 230 h 298"/>
                  <a:gd name="T24" fmla="*/ 6 w 344"/>
                  <a:gd name="T25" fmla="*/ 220 h 298"/>
                  <a:gd name="T26" fmla="*/ 12 w 344"/>
                  <a:gd name="T27" fmla="*/ 212 h 298"/>
                  <a:gd name="T28" fmla="*/ 20 w 344"/>
                  <a:gd name="T29" fmla="*/ 204 h 298"/>
                  <a:gd name="T30" fmla="*/ 260 w 344"/>
                  <a:gd name="T31" fmla="*/ 10 h 298"/>
                  <a:gd name="T32" fmla="*/ 260 w 344"/>
                  <a:gd name="T33" fmla="*/ 10 h 298"/>
                  <a:gd name="T34" fmla="*/ 268 w 344"/>
                  <a:gd name="T35" fmla="*/ 6 h 298"/>
                  <a:gd name="T36" fmla="*/ 278 w 344"/>
                  <a:gd name="T37" fmla="*/ 2 h 298"/>
                  <a:gd name="T38" fmla="*/ 288 w 344"/>
                  <a:gd name="T39" fmla="*/ 0 h 298"/>
                  <a:gd name="T40" fmla="*/ 298 w 344"/>
                  <a:gd name="T41" fmla="*/ 0 h 298"/>
                  <a:gd name="T42" fmla="*/ 308 w 344"/>
                  <a:gd name="T43" fmla="*/ 2 h 298"/>
                  <a:gd name="T44" fmla="*/ 318 w 344"/>
                  <a:gd name="T45" fmla="*/ 6 h 298"/>
                  <a:gd name="T46" fmla="*/ 326 w 344"/>
                  <a:gd name="T47" fmla="*/ 12 h 298"/>
                  <a:gd name="T48" fmla="*/ 334 w 344"/>
                  <a:gd name="T49" fmla="*/ 18 h 298"/>
                  <a:gd name="T50" fmla="*/ 334 w 344"/>
                  <a:gd name="T51" fmla="*/ 18 h 298"/>
                  <a:gd name="T52" fmla="*/ 340 w 344"/>
                  <a:gd name="T53" fmla="*/ 28 h 298"/>
                  <a:gd name="T54" fmla="*/ 344 w 344"/>
                  <a:gd name="T55" fmla="*/ 38 h 298"/>
                  <a:gd name="T56" fmla="*/ 344 w 344"/>
                  <a:gd name="T57" fmla="*/ 48 h 298"/>
                  <a:gd name="T58" fmla="*/ 344 w 344"/>
                  <a:gd name="T59" fmla="*/ 58 h 298"/>
                  <a:gd name="T60" fmla="*/ 342 w 344"/>
                  <a:gd name="T61" fmla="*/ 68 h 298"/>
                  <a:gd name="T62" fmla="*/ 338 w 344"/>
                  <a:gd name="T63" fmla="*/ 76 h 298"/>
                  <a:gd name="T64" fmla="*/ 334 w 344"/>
                  <a:gd name="T65" fmla="*/ 86 h 298"/>
                  <a:gd name="T66" fmla="*/ 326 w 344"/>
                  <a:gd name="T67" fmla="*/ 92 h 298"/>
                  <a:gd name="T68" fmla="*/ 86 w 344"/>
                  <a:gd name="T69" fmla="*/ 286 h 298"/>
                  <a:gd name="T70" fmla="*/ 86 w 344"/>
                  <a:gd name="T71" fmla="*/ 286 h 298"/>
                  <a:gd name="T72" fmla="*/ 78 w 344"/>
                  <a:gd name="T73" fmla="*/ 292 h 298"/>
                  <a:gd name="T74" fmla="*/ 70 w 344"/>
                  <a:gd name="T75" fmla="*/ 296 h 298"/>
                  <a:gd name="T76" fmla="*/ 62 w 344"/>
                  <a:gd name="T77" fmla="*/ 298 h 298"/>
                  <a:gd name="T78" fmla="*/ 52 w 344"/>
                  <a:gd name="T79" fmla="*/ 298 h 298"/>
                  <a:gd name="T80" fmla="*/ 52 w 344"/>
                  <a:gd name="T81" fmla="*/ 298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44" h="298">
                    <a:moveTo>
                      <a:pt x="52" y="298"/>
                    </a:moveTo>
                    <a:lnTo>
                      <a:pt x="52" y="298"/>
                    </a:lnTo>
                    <a:lnTo>
                      <a:pt x="42" y="298"/>
                    </a:lnTo>
                    <a:lnTo>
                      <a:pt x="30" y="294"/>
                    </a:lnTo>
                    <a:lnTo>
                      <a:pt x="20" y="288"/>
                    </a:lnTo>
                    <a:lnTo>
                      <a:pt x="12" y="278"/>
                    </a:lnTo>
                    <a:lnTo>
                      <a:pt x="12" y="278"/>
                    </a:lnTo>
                    <a:lnTo>
                      <a:pt x="6" y="270"/>
                    </a:lnTo>
                    <a:lnTo>
                      <a:pt x="2" y="260"/>
                    </a:lnTo>
                    <a:lnTo>
                      <a:pt x="0" y="250"/>
                    </a:lnTo>
                    <a:lnTo>
                      <a:pt x="0" y="240"/>
                    </a:lnTo>
                    <a:lnTo>
                      <a:pt x="2" y="230"/>
                    </a:lnTo>
                    <a:lnTo>
                      <a:pt x="6" y="220"/>
                    </a:lnTo>
                    <a:lnTo>
                      <a:pt x="12" y="212"/>
                    </a:lnTo>
                    <a:lnTo>
                      <a:pt x="20" y="204"/>
                    </a:lnTo>
                    <a:lnTo>
                      <a:pt x="260" y="10"/>
                    </a:lnTo>
                    <a:lnTo>
                      <a:pt x="260" y="10"/>
                    </a:lnTo>
                    <a:lnTo>
                      <a:pt x="268" y="6"/>
                    </a:lnTo>
                    <a:lnTo>
                      <a:pt x="278" y="2"/>
                    </a:lnTo>
                    <a:lnTo>
                      <a:pt x="288" y="0"/>
                    </a:lnTo>
                    <a:lnTo>
                      <a:pt x="298" y="0"/>
                    </a:lnTo>
                    <a:lnTo>
                      <a:pt x="308" y="2"/>
                    </a:lnTo>
                    <a:lnTo>
                      <a:pt x="318" y="6"/>
                    </a:lnTo>
                    <a:lnTo>
                      <a:pt x="326" y="12"/>
                    </a:lnTo>
                    <a:lnTo>
                      <a:pt x="334" y="18"/>
                    </a:lnTo>
                    <a:lnTo>
                      <a:pt x="334" y="18"/>
                    </a:lnTo>
                    <a:lnTo>
                      <a:pt x="340" y="28"/>
                    </a:lnTo>
                    <a:lnTo>
                      <a:pt x="344" y="38"/>
                    </a:lnTo>
                    <a:lnTo>
                      <a:pt x="344" y="48"/>
                    </a:lnTo>
                    <a:lnTo>
                      <a:pt x="344" y="58"/>
                    </a:lnTo>
                    <a:lnTo>
                      <a:pt x="342" y="68"/>
                    </a:lnTo>
                    <a:lnTo>
                      <a:pt x="338" y="76"/>
                    </a:lnTo>
                    <a:lnTo>
                      <a:pt x="334" y="86"/>
                    </a:lnTo>
                    <a:lnTo>
                      <a:pt x="326" y="92"/>
                    </a:lnTo>
                    <a:lnTo>
                      <a:pt x="86" y="286"/>
                    </a:lnTo>
                    <a:lnTo>
                      <a:pt x="86" y="286"/>
                    </a:lnTo>
                    <a:lnTo>
                      <a:pt x="78" y="292"/>
                    </a:lnTo>
                    <a:lnTo>
                      <a:pt x="70" y="296"/>
                    </a:lnTo>
                    <a:lnTo>
                      <a:pt x="62" y="298"/>
                    </a:lnTo>
                    <a:lnTo>
                      <a:pt x="52" y="298"/>
                    </a:lnTo>
                    <a:lnTo>
                      <a:pt x="52" y="298"/>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endParaRPr>
              </a:p>
            </p:txBody>
          </p:sp>
          <p:sp>
            <p:nvSpPr>
              <p:cNvPr id="25" name="Oval 24"/>
              <p:cNvSpPr/>
              <p:nvPr/>
            </p:nvSpPr>
            <p:spPr bwMode="auto">
              <a:xfrm>
                <a:off x="5413104" y="2598477"/>
                <a:ext cx="1326042" cy="1326043"/>
              </a:xfrm>
              <a:prstGeom prst="ellipse">
                <a:avLst/>
              </a:prstGeom>
              <a:noFill/>
              <a:ln w="57150" cap="flat" cmpd="sng" algn="ctr">
                <a:solidFill>
                  <a:srgbClr val="1A86DB"/>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699354"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26" name="Group 25"/>
          <p:cNvGrpSpPr/>
          <p:nvPr userDrawn="1"/>
        </p:nvGrpSpPr>
        <p:grpSpPr>
          <a:xfrm rot="16200000">
            <a:off x="1992114" y="4479168"/>
            <a:ext cx="182438" cy="4166664"/>
            <a:chOff x="9312007" y="34787"/>
            <a:chExt cx="1212906" cy="3143923"/>
          </a:xfrm>
        </p:grpSpPr>
        <p:sp>
          <p:nvSpPr>
            <p:cNvPr id="27" name="Bent Arrow 26"/>
            <p:cNvSpPr/>
            <p:nvPr/>
          </p:nvSpPr>
          <p:spPr bwMode="auto">
            <a:xfrm flipH="1">
              <a:off x="9832459" y="1745357"/>
              <a:ext cx="692454" cy="1433353"/>
            </a:xfrm>
            <a:prstGeom prst="bentArrow">
              <a:avLst>
                <a:gd name="adj1" fmla="val 25000"/>
                <a:gd name="adj2" fmla="val 0"/>
                <a:gd name="adj3" fmla="val 25000"/>
                <a:gd name="adj4" fmla="val 75000"/>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28" name="Bent Arrow 27"/>
            <p:cNvSpPr/>
            <p:nvPr/>
          </p:nvSpPr>
          <p:spPr bwMode="auto">
            <a:xfrm rot="10800000" flipH="1">
              <a:off x="9312007" y="34787"/>
              <a:ext cx="805099" cy="1711160"/>
            </a:xfrm>
            <a:prstGeom prst="bentArrow">
              <a:avLst>
                <a:gd name="adj1" fmla="val 25000"/>
                <a:gd name="adj2" fmla="val 0"/>
                <a:gd name="adj3" fmla="val 25000"/>
                <a:gd name="adj4" fmla="val 52871"/>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29" name="Bent Arrow 28"/>
          <p:cNvSpPr/>
          <p:nvPr userDrawn="1"/>
        </p:nvSpPr>
        <p:spPr bwMode="auto">
          <a:xfrm>
            <a:off x="4264712" y="6687741"/>
            <a:ext cx="2865101" cy="163512"/>
          </a:xfrm>
          <a:prstGeom prst="bentArrow">
            <a:avLst>
              <a:gd name="adj1" fmla="val 25000"/>
              <a:gd name="adj2" fmla="val 0"/>
              <a:gd name="adj3" fmla="val 25000"/>
              <a:gd name="adj4" fmla="val 100000"/>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40" name="Bent Arrow 39"/>
          <p:cNvSpPr/>
          <p:nvPr userDrawn="1"/>
        </p:nvSpPr>
        <p:spPr bwMode="auto">
          <a:xfrm rot="10800000" flipH="1">
            <a:off x="1537261" y="5710544"/>
            <a:ext cx="5882898" cy="757825"/>
          </a:xfrm>
          <a:prstGeom prst="bentArrow">
            <a:avLst>
              <a:gd name="adj1" fmla="val 25000"/>
              <a:gd name="adj2" fmla="val 0"/>
              <a:gd name="adj3" fmla="val 25000"/>
              <a:gd name="adj4" fmla="val 20518"/>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44" name="Bent Arrow 43"/>
          <p:cNvSpPr/>
          <p:nvPr userDrawn="1"/>
        </p:nvSpPr>
        <p:spPr bwMode="auto">
          <a:xfrm rot="10800000">
            <a:off x="8418283" y="6302645"/>
            <a:ext cx="531988" cy="266055"/>
          </a:xfrm>
          <a:prstGeom prst="bentArrow">
            <a:avLst>
              <a:gd name="adj1" fmla="val 25000"/>
              <a:gd name="adj2" fmla="val 0"/>
              <a:gd name="adj3" fmla="val 25000"/>
              <a:gd name="adj4" fmla="val 100000"/>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43" name="Rectangle 42"/>
          <p:cNvSpPr/>
          <p:nvPr userDrawn="1"/>
        </p:nvSpPr>
        <p:spPr bwMode="auto">
          <a:xfrm>
            <a:off x="0" y="5375936"/>
            <a:ext cx="9144000" cy="957359"/>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99354" fontAlgn="base">
              <a:spcBef>
                <a:spcPct val="0"/>
              </a:spcBef>
              <a:spcAft>
                <a:spcPct val="0"/>
              </a:spcAft>
            </a:pPr>
            <a:endParaRPr lang="en-US" sz="1800">
              <a:solidFill>
                <a:schemeClr val="tx1"/>
              </a:solidFill>
              <a:ea typeface="Segoe UI" pitchFamily="34" charset="0"/>
              <a:cs typeface="Segoe UI" pitchFamily="34" charset="0"/>
            </a:endParaRPr>
          </a:p>
        </p:txBody>
      </p:sp>
      <p:sp>
        <p:nvSpPr>
          <p:cNvPr id="45" name="Bent Arrow 44"/>
          <p:cNvSpPr/>
          <p:nvPr userDrawn="1"/>
        </p:nvSpPr>
        <p:spPr bwMode="auto">
          <a:xfrm rot="16200000">
            <a:off x="8611890" y="6643428"/>
            <a:ext cx="325590" cy="199541"/>
          </a:xfrm>
          <a:prstGeom prst="bentArrow">
            <a:avLst>
              <a:gd name="adj1" fmla="val 25000"/>
              <a:gd name="adj2" fmla="val 0"/>
              <a:gd name="adj3" fmla="val 25000"/>
              <a:gd name="adj4" fmla="val 15819"/>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46" name="Freeform 15"/>
          <p:cNvSpPr>
            <a:spLocks noEditPoints="1"/>
          </p:cNvSpPr>
          <p:nvPr userDrawn="1"/>
        </p:nvSpPr>
        <p:spPr bwMode="auto">
          <a:xfrm>
            <a:off x="3291924" y="6600371"/>
            <a:ext cx="91171" cy="121561"/>
          </a:xfrm>
          <a:custGeom>
            <a:avLst/>
            <a:gdLst>
              <a:gd name="T0" fmla="*/ 172 w 344"/>
              <a:gd name="T1" fmla="*/ 344 h 344"/>
              <a:gd name="T2" fmla="*/ 172 w 344"/>
              <a:gd name="T3" fmla="*/ 344 h 344"/>
              <a:gd name="T4" fmla="*/ 142 w 344"/>
              <a:gd name="T5" fmla="*/ 334 h 344"/>
              <a:gd name="T6" fmla="*/ 124 w 344"/>
              <a:gd name="T7" fmla="*/ 312 h 344"/>
              <a:gd name="T8" fmla="*/ 118 w 344"/>
              <a:gd name="T9" fmla="*/ 300 h 344"/>
              <a:gd name="T10" fmla="*/ 102 w 344"/>
              <a:gd name="T11" fmla="*/ 278 h 344"/>
              <a:gd name="T12" fmla="*/ 72 w 344"/>
              <a:gd name="T13" fmla="*/ 248 h 344"/>
              <a:gd name="T14" fmla="*/ 28 w 344"/>
              <a:gd name="T15" fmla="*/ 218 h 344"/>
              <a:gd name="T16" fmla="*/ 16 w 344"/>
              <a:gd name="T17" fmla="*/ 210 h 344"/>
              <a:gd name="T18" fmla="*/ 2 w 344"/>
              <a:gd name="T19" fmla="*/ 186 h 344"/>
              <a:gd name="T20" fmla="*/ 0 w 344"/>
              <a:gd name="T21" fmla="*/ 172 h 344"/>
              <a:gd name="T22" fmla="*/ 8 w 344"/>
              <a:gd name="T23" fmla="*/ 144 h 344"/>
              <a:gd name="T24" fmla="*/ 30 w 344"/>
              <a:gd name="T25" fmla="*/ 124 h 344"/>
              <a:gd name="T26" fmla="*/ 54 w 344"/>
              <a:gd name="T27" fmla="*/ 112 h 344"/>
              <a:gd name="T28" fmla="*/ 90 w 344"/>
              <a:gd name="T29" fmla="*/ 82 h 344"/>
              <a:gd name="T30" fmla="*/ 112 w 344"/>
              <a:gd name="T31" fmla="*/ 54 h 344"/>
              <a:gd name="T32" fmla="*/ 124 w 344"/>
              <a:gd name="T33" fmla="*/ 34 h 344"/>
              <a:gd name="T34" fmla="*/ 126 w 344"/>
              <a:gd name="T35" fmla="*/ 26 h 344"/>
              <a:gd name="T36" fmla="*/ 142 w 344"/>
              <a:gd name="T37" fmla="*/ 10 h 344"/>
              <a:gd name="T38" fmla="*/ 164 w 344"/>
              <a:gd name="T39" fmla="*/ 2 h 344"/>
              <a:gd name="T40" fmla="*/ 172 w 344"/>
              <a:gd name="T41" fmla="*/ 0 h 344"/>
              <a:gd name="T42" fmla="*/ 172 w 344"/>
              <a:gd name="T43" fmla="*/ 0 h 344"/>
              <a:gd name="T44" fmla="*/ 188 w 344"/>
              <a:gd name="T45" fmla="*/ 2 h 344"/>
              <a:gd name="T46" fmla="*/ 214 w 344"/>
              <a:gd name="T47" fmla="*/ 20 h 344"/>
              <a:gd name="T48" fmla="*/ 222 w 344"/>
              <a:gd name="T49" fmla="*/ 34 h 344"/>
              <a:gd name="T50" fmla="*/ 226 w 344"/>
              <a:gd name="T51" fmla="*/ 44 h 344"/>
              <a:gd name="T52" fmla="*/ 242 w 344"/>
              <a:gd name="T53" fmla="*/ 68 h 344"/>
              <a:gd name="T54" fmla="*/ 270 w 344"/>
              <a:gd name="T55" fmla="*/ 96 h 344"/>
              <a:gd name="T56" fmla="*/ 314 w 344"/>
              <a:gd name="T57" fmla="*/ 124 h 344"/>
              <a:gd name="T58" fmla="*/ 328 w 344"/>
              <a:gd name="T59" fmla="*/ 134 h 344"/>
              <a:gd name="T60" fmla="*/ 342 w 344"/>
              <a:gd name="T61" fmla="*/ 160 h 344"/>
              <a:gd name="T62" fmla="*/ 344 w 344"/>
              <a:gd name="T63" fmla="*/ 176 h 344"/>
              <a:gd name="T64" fmla="*/ 340 w 344"/>
              <a:gd name="T65" fmla="*/ 190 h 344"/>
              <a:gd name="T66" fmla="*/ 322 w 344"/>
              <a:gd name="T67" fmla="*/ 214 h 344"/>
              <a:gd name="T68" fmla="*/ 308 w 344"/>
              <a:gd name="T69" fmla="*/ 222 h 344"/>
              <a:gd name="T70" fmla="*/ 276 w 344"/>
              <a:gd name="T71" fmla="*/ 240 h 344"/>
              <a:gd name="T72" fmla="*/ 250 w 344"/>
              <a:gd name="T73" fmla="*/ 266 h 344"/>
              <a:gd name="T74" fmla="*/ 232 w 344"/>
              <a:gd name="T75" fmla="*/ 292 h 344"/>
              <a:gd name="T76" fmla="*/ 220 w 344"/>
              <a:gd name="T77" fmla="*/ 312 h 344"/>
              <a:gd name="T78" fmla="*/ 200 w 344"/>
              <a:gd name="T79" fmla="*/ 336 h 344"/>
              <a:gd name="T80" fmla="*/ 172 w 344"/>
              <a:gd name="T81" fmla="*/ 344 h 344"/>
              <a:gd name="T82" fmla="*/ 146 w 344"/>
              <a:gd name="T83" fmla="*/ 172 h 344"/>
              <a:gd name="T84" fmla="*/ 170 w 344"/>
              <a:gd name="T85" fmla="*/ 196 h 344"/>
              <a:gd name="T86" fmla="*/ 196 w 344"/>
              <a:gd name="T87" fmla="*/ 170 h 344"/>
              <a:gd name="T88" fmla="*/ 172 w 344"/>
              <a:gd name="T89" fmla="*/ 148 h 344"/>
              <a:gd name="T90" fmla="*/ 146 w 344"/>
              <a:gd name="T91"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4" h="344">
                <a:moveTo>
                  <a:pt x="172" y="344"/>
                </a:moveTo>
                <a:lnTo>
                  <a:pt x="172" y="344"/>
                </a:lnTo>
                <a:lnTo>
                  <a:pt x="172" y="344"/>
                </a:lnTo>
                <a:lnTo>
                  <a:pt x="172" y="344"/>
                </a:lnTo>
                <a:lnTo>
                  <a:pt x="156" y="342"/>
                </a:lnTo>
                <a:lnTo>
                  <a:pt x="142" y="334"/>
                </a:lnTo>
                <a:lnTo>
                  <a:pt x="132" y="324"/>
                </a:lnTo>
                <a:lnTo>
                  <a:pt x="124" y="312"/>
                </a:lnTo>
                <a:lnTo>
                  <a:pt x="124" y="312"/>
                </a:lnTo>
                <a:lnTo>
                  <a:pt x="118" y="300"/>
                </a:lnTo>
                <a:lnTo>
                  <a:pt x="112" y="290"/>
                </a:lnTo>
                <a:lnTo>
                  <a:pt x="102" y="278"/>
                </a:lnTo>
                <a:lnTo>
                  <a:pt x="90" y="264"/>
                </a:lnTo>
                <a:lnTo>
                  <a:pt x="72" y="248"/>
                </a:lnTo>
                <a:lnTo>
                  <a:pt x="52" y="232"/>
                </a:lnTo>
                <a:lnTo>
                  <a:pt x="28" y="218"/>
                </a:lnTo>
                <a:lnTo>
                  <a:pt x="28" y="218"/>
                </a:lnTo>
                <a:lnTo>
                  <a:pt x="16" y="210"/>
                </a:lnTo>
                <a:lnTo>
                  <a:pt x="8" y="198"/>
                </a:lnTo>
                <a:lnTo>
                  <a:pt x="2" y="186"/>
                </a:lnTo>
                <a:lnTo>
                  <a:pt x="0" y="172"/>
                </a:lnTo>
                <a:lnTo>
                  <a:pt x="0" y="172"/>
                </a:lnTo>
                <a:lnTo>
                  <a:pt x="2" y="156"/>
                </a:lnTo>
                <a:lnTo>
                  <a:pt x="8" y="144"/>
                </a:lnTo>
                <a:lnTo>
                  <a:pt x="18" y="132"/>
                </a:lnTo>
                <a:lnTo>
                  <a:pt x="30" y="124"/>
                </a:lnTo>
                <a:lnTo>
                  <a:pt x="30" y="124"/>
                </a:lnTo>
                <a:lnTo>
                  <a:pt x="54" y="112"/>
                </a:lnTo>
                <a:lnTo>
                  <a:pt x="74" y="96"/>
                </a:lnTo>
                <a:lnTo>
                  <a:pt x="90" y="82"/>
                </a:lnTo>
                <a:lnTo>
                  <a:pt x="102" y="68"/>
                </a:lnTo>
                <a:lnTo>
                  <a:pt x="112" y="54"/>
                </a:lnTo>
                <a:lnTo>
                  <a:pt x="118" y="44"/>
                </a:lnTo>
                <a:lnTo>
                  <a:pt x="124" y="34"/>
                </a:lnTo>
                <a:lnTo>
                  <a:pt x="124" y="34"/>
                </a:lnTo>
                <a:lnTo>
                  <a:pt x="126" y="26"/>
                </a:lnTo>
                <a:lnTo>
                  <a:pt x="130" y="20"/>
                </a:lnTo>
                <a:lnTo>
                  <a:pt x="142" y="10"/>
                </a:lnTo>
                <a:lnTo>
                  <a:pt x="156" y="2"/>
                </a:lnTo>
                <a:lnTo>
                  <a:pt x="164" y="2"/>
                </a:lnTo>
                <a:lnTo>
                  <a:pt x="172" y="0"/>
                </a:lnTo>
                <a:lnTo>
                  <a:pt x="172" y="0"/>
                </a:lnTo>
                <a:lnTo>
                  <a:pt x="172" y="0"/>
                </a:lnTo>
                <a:lnTo>
                  <a:pt x="172" y="0"/>
                </a:lnTo>
                <a:lnTo>
                  <a:pt x="180" y="2"/>
                </a:lnTo>
                <a:lnTo>
                  <a:pt x="188" y="2"/>
                </a:lnTo>
                <a:lnTo>
                  <a:pt x="202" y="10"/>
                </a:lnTo>
                <a:lnTo>
                  <a:pt x="214" y="20"/>
                </a:lnTo>
                <a:lnTo>
                  <a:pt x="218" y="28"/>
                </a:lnTo>
                <a:lnTo>
                  <a:pt x="222" y="34"/>
                </a:lnTo>
                <a:lnTo>
                  <a:pt x="222" y="34"/>
                </a:lnTo>
                <a:lnTo>
                  <a:pt x="226" y="44"/>
                </a:lnTo>
                <a:lnTo>
                  <a:pt x="232" y="56"/>
                </a:lnTo>
                <a:lnTo>
                  <a:pt x="242" y="68"/>
                </a:lnTo>
                <a:lnTo>
                  <a:pt x="254" y="82"/>
                </a:lnTo>
                <a:lnTo>
                  <a:pt x="270" y="96"/>
                </a:lnTo>
                <a:lnTo>
                  <a:pt x="290" y="112"/>
                </a:lnTo>
                <a:lnTo>
                  <a:pt x="314" y="124"/>
                </a:lnTo>
                <a:lnTo>
                  <a:pt x="314" y="124"/>
                </a:lnTo>
                <a:lnTo>
                  <a:pt x="328" y="134"/>
                </a:lnTo>
                <a:lnTo>
                  <a:pt x="336" y="146"/>
                </a:lnTo>
                <a:lnTo>
                  <a:pt x="342" y="160"/>
                </a:lnTo>
                <a:lnTo>
                  <a:pt x="344" y="176"/>
                </a:lnTo>
                <a:lnTo>
                  <a:pt x="344" y="176"/>
                </a:lnTo>
                <a:lnTo>
                  <a:pt x="342" y="184"/>
                </a:lnTo>
                <a:lnTo>
                  <a:pt x="340" y="190"/>
                </a:lnTo>
                <a:lnTo>
                  <a:pt x="334" y="204"/>
                </a:lnTo>
                <a:lnTo>
                  <a:pt x="322" y="214"/>
                </a:lnTo>
                <a:lnTo>
                  <a:pt x="308" y="222"/>
                </a:lnTo>
                <a:lnTo>
                  <a:pt x="308" y="222"/>
                </a:lnTo>
                <a:lnTo>
                  <a:pt x="292" y="230"/>
                </a:lnTo>
                <a:lnTo>
                  <a:pt x="276" y="240"/>
                </a:lnTo>
                <a:lnTo>
                  <a:pt x="262" y="252"/>
                </a:lnTo>
                <a:lnTo>
                  <a:pt x="250" y="266"/>
                </a:lnTo>
                <a:lnTo>
                  <a:pt x="240" y="278"/>
                </a:lnTo>
                <a:lnTo>
                  <a:pt x="232" y="292"/>
                </a:lnTo>
                <a:lnTo>
                  <a:pt x="220" y="312"/>
                </a:lnTo>
                <a:lnTo>
                  <a:pt x="220" y="312"/>
                </a:lnTo>
                <a:lnTo>
                  <a:pt x="212" y="326"/>
                </a:lnTo>
                <a:lnTo>
                  <a:pt x="200" y="336"/>
                </a:lnTo>
                <a:lnTo>
                  <a:pt x="188" y="342"/>
                </a:lnTo>
                <a:lnTo>
                  <a:pt x="172" y="344"/>
                </a:lnTo>
                <a:lnTo>
                  <a:pt x="172" y="344"/>
                </a:lnTo>
                <a:close/>
                <a:moveTo>
                  <a:pt x="146" y="172"/>
                </a:moveTo>
                <a:lnTo>
                  <a:pt x="146" y="172"/>
                </a:lnTo>
                <a:lnTo>
                  <a:pt x="170" y="196"/>
                </a:lnTo>
                <a:lnTo>
                  <a:pt x="170" y="196"/>
                </a:lnTo>
                <a:lnTo>
                  <a:pt x="196" y="170"/>
                </a:lnTo>
                <a:lnTo>
                  <a:pt x="196" y="170"/>
                </a:lnTo>
                <a:lnTo>
                  <a:pt x="172" y="148"/>
                </a:lnTo>
                <a:lnTo>
                  <a:pt x="172" y="148"/>
                </a:lnTo>
                <a:lnTo>
                  <a:pt x="146" y="172"/>
                </a:lnTo>
                <a:lnTo>
                  <a:pt x="146" y="172"/>
                </a:lnTo>
                <a:close/>
              </a:path>
            </a:pathLst>
          </a:custGeom>
          <a:solidFill>
            <a:srgbClr val="1A86DB"/>
          </a:solidFill>
          <a:ln>
            <a:noFill/>
          </a:ln>
        </p:spPr>
        <p:txBody>
          <a:bodyPr vert="horz" wrap="square" lIns="68580" tIns="34290" rIns="68580" bIns="3429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endParaRPr>
          </a:p>
        </p:txBody>
      </p:sp>
      <p:sp>
        <p:nvSpPr>
          <p:cNvPr id="47" name="Freeform 18"/>
          <p:cNvSpPr>
            <a:spLocks/>
          </p:cNvSpPr>
          <p:nvPr userDrawn="1"/>
        </p:nvSpPr>
        <p:spPr bwMode="auto">
          <a:xfrm>
            <a:off x="3323727" y="6462555"/>
            <a:ext cx="28094" cy="124388"/>
          </a:xfrm>
          <a:custGeom>
            <a:avLst/>
            <a:gdLst>
              <a:gd name="T0" fmla="*/ 52 w 106"/>
              <a:gd name="T1" fmla="*/ 352 h 352"/>
              <a:gd name="T2" fmla="*/ 52 w 106"/>
              <a:gd name="T3" fmla="*/ 352 h 352"/>
              <a:gd name="T4" fmla="*/ 52 w 106"/>
              <a:gd name="T5" fmla="*/ 352 h 352"/>
              <a:gd name="T6" fmla="*/ 52 w 106"/>
              <a:gd name="T7" fmla="*/ 352 h 352"/>
              <a:gd name="T8" fmla="*/ 40 w 106"/>
              <a:gd name="T9" fmla="*/ 352 h 352"/>
              <a:gd name="T10" fmla="*/ 32 w 106"/>
              <a:gd name="T11" fmla="*/ 348 h 352"/>
              <a:gd name="T12" fmla="*/ 22 w 106"/>
              <a:gd name="T13" fmla="*/ 342 h 352"/>
              <a:gd name="T14" fmla="*/ 14 w 106"/>
              <a:gd name="T15" fmla="*/ 336 h 352"/>
              <a:gd name="T16" fmla="*/ 8 w 106"/>
              <a:gd name="T17" fmla="*/ 328 h 352"/>
              <a:gd name="T18" fmla="*/ 4 w 106"/>
              <a:gd name="T19" fmla="*/ 320 h 352"/>
              <a:gd name="T20" fmla="*/ 0 w 106"/>
              <a:gd name="T21" fmla="*/ 310 h 352"/>
              <a:gd name="T22" fmla="*/ 0 w 106"/>
              <a:gd name="T23" fmla="*/ 300 h 352"/>
              <a:gd name="T24" fmla="*/ 0 w 106"/>
              <a:gd name="T25" fmla="*/ 300 h 352"/>
              <a:gd name="T26" fmla="*/ 0 w 106"/>
              <a:gd name="T27" fmla="*/ 134 h 352"/>
              <a:gd name="T28" fmla="*/ 0 w 106"/>
              <a:gd name="T29" fmla="*/ 44 h 352"/>
              <a:gd name="T30" fmla="*/ 52 w 106"/>
              <a:gd name="T31" fmla="*/ 36 h 352"/>
              <a:gd name="T32" fmla="*/ 90 w 106"/>
              <a:gd name="T33" fmla="*/ 0 h 352"/>
              <a:gd name="T34" fmla="*/ 90 w 106"/>
              <a:gd name="T35" fmla="*/ 0 h 352"/>
              <a:gd name="T36" fmla="*/ 96 w 106"/>
              <a:gd name="T37" fmla="*/ 6 h 352"/>
              <a:gd name="T38" fmla="*/ 100 w 106"/>
              <a:gd name="T39" fmla="*/ 16 h 352"/>
              <a:gd name="T40" fmla="*/ 104 w 106"/>
              <a:gd name="T41" fmla="*/ 28 h 352"/>
              <a:gd name="T42" fmla="*/ 106 w 106"/>
              <a:gd name="T43" fmla="*/ 52 h 352"/>
              <a:gd name="T44" fmla="*/ 106 w 106"/>
              <a:gd name="T45" fmla="*/ 138 h 352"/>
              <a:gd name="T46" fmla="*/ 104 w 106"/>
              <a:gd name="T47" fmla="*/ 300 h 352"/>
              <a:gd name="T48" fmla="*/ 104 w 106"/>
              <a:gd name="T49" fmla="*/ 300 h 352"/>
              <a:gd name="T50" fmla="*/ 104 w 106"/>
              <a:gd name="T51" fmla="*/ 310 h 352"/>
              <a:gd name="T52" fmla="*/ 100 w 106"/>
              <a:gd name="T53" fmla="*/ 320 h 352"/>
              <a:gd name="T54" fmla="*/ 96 w 106"/>
              <a:gd name="T55" fmla="*/ 330 h 352"/>
              <a:gd name="T56" fmla="*/ 88 w 106"/>
              <a:gd name="T57" fmla="*/ 338 h 352"/>
              <a:gd name="T58" fmla="*/ 82 w 106"/>
              <a:gd name="T59" fmla="*/ 344 h 352"/>
              <a:gd name="T60" fmla="*/ 72 w 106"/>
              <a:gd name="T61" fmla="*/ 348 h 352"/>
              <a:gd name="T62" fmla="*/ 62 w 106"/>
              <a:gd name="T63" fmla="*/ 352 h 352"/>
              <a:gd name="T64" fmla="*/ 52 w 106"/>
              <a:gd name="T65" fmla="*/ 352 h 352"/>
              <a:gd name="T66" fmla="*/ 52 w 106"/>
              <a:gd name="T67" fmla="*/ 352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6" h="352">
                <a:moveTo>
                  <a:pt x="52" y="352"/>
                </a:moveTo>
                <a:lnTo>
                  <a:pt x="52" y="352"/>
                </a:lnTo>
                <a:lnTo>
                  <a:pt x="52" y="352"/>
                </a:lnTo>
                <a:lnTo>
                  <a:pt x="52" y="352"/>
                </a:lnTo>
                <a:lnTo>
                  <a:pt x="40" y="352"/>
                </a:lnTo>
                <a:lnTo>
                  <a:pt x="32" y="348"/>
                </a:lnTo>
                <a:lnTo>
                  <a:pt x="22" y="342"/>
                </a:lnTo>
                <a:lnTo>
                  <a:pt x="14" y="336"/>
                </a:lnTo>
                <a:lnTo>
                  <a:pt x="8" y="328"/>
                </a:lnTo>
                <a:lnTo>
                  <a:pt x="4" y="320"/>
                </a:lnTo>
                <a:lnTo>
                  <a:pt x="0" y="310"/>
                </a:lnTo>
                <a:lnTo>
                  <a:pt x="0" y="300"/>
                </a:lnTo>
                <a:lnTo>
                  <a:pt x="0" y="300"/>
                </a:lnTo>
                <a:lnTo>
                  <a:pt x="0" y="134"/>
                </a:lnTo>
                <a:lnTo>
                  <a:pt x="0" y="44"/>
                </a:lnTo>
                <a:lnTo>
                  <a:pt x="52" y="36"/>
                </a:lnTo>
                <a:lnTo>
                  <a:pt x="90" y="0"/>
                </a:lnTo>
                <a:lnTo>
                  <a:pt x="90" y="0"/>
                </a:lnTo>
                <a:lnTo>
                  <a:pt x="96" y="6"/>
                </a:lnTo>
                <a:lnTo>
                  <a:pt x="100" y="16"/>
                </a:lnTo>
                <a:lnTo>
                  <a:pt x="104" y="28"/>
                </a:lnTo>
                <a:lnTo>
                  <a:pt x="106" y="52"/>
                </a:lnTo>
                <a:lnTo>
                  <a:pt x="106" y="138"/>
                </a:lnTo>
                <a:lnTo>
                  <a:pt x="104" y="300"/>
                </a:lnTo>
                <a:lnTo>
                  <a:pt x="104" y="300"/>
                </a:lnTo>
                <a:lnTo>
                  <a:pt x="104" y="310"/>
                </a:lnTo>
                <a:lnTo>
                  <a:pt x="100" y="320"/>
                </a:lnTo>
                <a:lnTo>
                  <a:pt x="96" y="330"/>
                </a:lnTo>
                <a:lnTo>
                  <a:pt x="88" y="338"/>
                </a:lnTo>
                <a:lnTo>
                  <a:pt x="82" y="344"/>
                </a:lnTo>
                <a:lnTo>
                  <a:pt x="72" y="348"/>
                </a:lnTo>
                <a:lnTo>
                  <a:pt x="62" y="352"/>
                </a:lnTo>
                <a:lnTo>
                  <a:pt x="52" y="352"/>
                </a:lnTo>
                <a:lnTo>
                  <a:pt x="52" y="352"/>
                </a:lnTo>
                <a:close/>
              </a:path>
            </a:pathLst>
          </a:custGeom>
          <a:solidFill>
            <a:srgbClr val="1A86DB"/>
          </a:solidFill>
          <a:ln>
            <a:noFill/>
          </a:ln>
        </p:spPr>
        <p:txBody>
          <a:bodyPr vert="horz" wrap="square" lIns="68580" tIns="34290" rIns="68580" bIns="3429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endParaRPr>
          </a:p>
        </p:txBody>
      </p:sp>
      <p:sp>
        <p:nvSpPr>
          <p:cNvPr id="49" name="Rectangle 48"/>
          <p:cNvSpPr/>
          <p:nvPr userDrawn="1"/>
        </p:nvSpPr>
        <p:spPr bwMode="auto">
          <a:xfrm>
            <a:off x="-163200" y="6858001"/>
            <a:ext cx="9399815" cy="783771"/>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99354" fontAlgn="base">
              <a:spcBef>
                <a:spcPct val="0"/>
              </a:spcBef>
              <a:spcAft>
                <a:spcPct val="0"/>
              </a:spcAft>
            </a:pPr>
            <a:endParaRPr lang="en-US" sz="1800">
              <a:solidFill>
                <a:schemeClr val="tx1"/>
              </a:solidFill>
              <a:ea typeface="Segoe UI" pitchFamily="34" charset="0"/>
              <a:cs typeface="Segoe UI" pitchFamily="34" charset="0"/>
            </a:endParaRPr>
          </a:p>
        </p:txBody>
      </p:sp>
      <p:sp>
        <p:nvSpPr>
          <p:cNvPr id="52" name="Rectangle 51"/>
          <p:cNvSpPr/>
          <p:nvPr userDrawn="1"/>
        </p:nvSpPr>
        <p:spPr bwMode="auto">
          <a:xfrm>
            <a:off x="-293915" y="6074230"/>
            <a:ext cx="293915" cy="783771"/>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99354" fontAlgn="base">
              <a:spcBef>
                <a:spcPct val="0"/>
              </a:spcBef>
              <a:spcAft>
                <a:spcPct val="0"/>
              </a:spcAft>
            </a:pPr>
            <a:endParaRPr lang="en-US" sz="1800">
              <a:solidFill>
                <a:schemeClr val="tx1"/>
              </a:solidFill>
              <a:ea typeface="Segoe UI" pitchFamily="34" charset="0"/>
              <a:cs typeface="Segoe UI" pitchFamily="34" charset="0"/>
            </a:endParaRPr>
          </a:p>
        </p:txBody>
      </p:sp>
      <p:sp>
        <p:nvSpPr>
          <p:cNvPr id="53" name="Rectangle 52"/>
          <p:cNvSpPr/>
          <p:nvPr userDrawn="1"/>
        </p:nvSpPr>
        <p:spPr bwMode="auto">
          <a:xfrm>
            <a:off x="0" y="6344998"/>
            <a:ext cx="9144000" cy="513003"/>
          </a:xfrm>
          <a:prstGeom prst="rect">
            <a:avLst/>
          </a:prstGeom>
          <a:solidFill>
            <a:schemeClr val="accent1">
              <a:alpha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99354" fontAlgn="base">
              <a:spcBef>
                <a:spcPct val="0"/>
              </a:spcBef>
              <a:spcAft>
                <a:spcPct val="0"/>
              </a:spcAft>
            </a:pPr>
            <a:endParaRPr lang="en-US" sz="1800">
              <a:solidFill>
                <a:schemeClr val="tx1"/>
              </a:solidFill>
              <a:ea typeface="Segoe UI" pitchFamily="34" charset="0"/>
              <a:cs typeface="Segoe UI" pitchFamily="34" charset="0"/>
            </a:endParaRPr>
          </a:p>
        </p:txBody>
      </p:sp>
      <p:pic>
        <p:nvPicPr>
          <p:cNvPr id="41" name="Picture 40"/>
          <p:cNvPicPr>
            <a:picLocks noChangeAspect="1"/>
          </p:cNvPicPr>
          <p:nvPr userDrawn="1"/>
        </p:nvPicPr>
        <p:blipFill>
          <a:blip r:embed="rId2">
            <a:biLevel thresh="25000"/>
          </a:blip>
          <a:stretch>
            <a:fillRect/>
          </a:stretch>
        </p:blipFill>
        <p:spPr>
          <a:xfrm>
            <a:off x="128633" y="6491045"/>
            <a:ext cx="702457" cy="206372"/>
          </a:xfrm>
          <a:prstGeom prst="rect">
            <a:avLst/>
          </a:prstGeom>
        </p:spPr>
      </p:pic>
    </p:spTree>
    <p:extLst>
      <p:ext uri="{BB962C8B-B14F-4D97-AF65-F5344CB8AC3E}">
        <p14:creationId xmlns:p14="http://schemas.microsoft.com/office/powerpoint/2010/main" val="4023223092"/>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type="obj" preserve="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51194" y="353551"/>
            <a:ext cx="8833654" cy="878350"/>
          </a:xfrm>
        </p:spPr>
        <p:txBody>
          <a:bodyPr/>
          <a:lstStyle/>
          <a:p>
            <a:r>
              <a:rPr lang="en-US"/>
              <a:t>Click to edit Master title style</a:t>
            </a:r>
            <a:endParaRPr lang="en-US" dirty="0"/>
          </a:p>
        </p:txBody>
      </p:sp>
      <p:sp>
        <p:nvSpPr>
          <p:cNvPr id="3" name="Content Placeholder 2"/>
          <p:cNvSpPr>
            <a:spLocks noGrp="1"/>
          </p:cNvSpPr>
          <p:nvPr>
            <p:ph idx="1"/>
          </p:nvPr>
        </p:nvSpPr>
        <p:spPr>
          <a:xfrm>
            <a:off x="151194" y="1231902"/>
            <a:ext cx="8833654" cy="5423281"/>
          </a:xfrm>
        </p:spPr>
        <p:txBody>
          <a:bodyPr>
            <a:normAutofit/>
          </a:bodyPr>
          <a:lstStyle>
            <a:lvl1pPr marL="0" indent="0">
              <a:buFontTx/>
              <a:buNone/>
              <a:defRPr sz="2700"/>
            </a:lvl1pPr>
            <a:lvl2pPr marL="342900" indent="0">
              <a:buFontTx/>
              <a:buNone/>
              <a:defRPr sz="2400"/>
            </a:lvl2pPr>
            <a:lvl3pPr marL="685800" indent="0">
              <a:buFontTx/>
              <a:buNone/>
              <a:defRPr sz="2100"/>
            </a:lvl3pPr>
            <a:lvl4pPr marL="1028700" indent="0">
              <a:buFontTx/>
              <a:buNone/>
              <a:defRPr sz="1800"/>
            </a:lvl4pPr>
            <a:lvl5pPr marL="1371600" indent="0">
              <a:buFontTx/>
              <a:buNone/>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17249651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4">
            <a:extLst>
              <a:ext uri="{FF2B5EF4-FFF2-40B4-BE49-F238E27FC236}">
                <a16:creationId xmlns:a16="http://schemas.microsoft.com/office/drawing/2014/main" id="{0FDE037B-5AC3-4803-B046-88D8FAB98146}"/>
              </a:ext>
            </a:extLst>
          </p:cNvPr>
          <p:cNvSpPr>
            <a:spLocks noGrp="1"/>
          </p:cNvSpPr>
          <p:nvPr>
            <p:ph type="body" sz="quarter" idx="10" hasCustomPrompt="1"/>
          </p:nvPr>
        </p:nvSpPr>
        <p:spPr>
          <a:xfrm>
            <a:off x="261188" y="6307137"/>
            <a:ext cx="8574837"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38638321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Exam Tip">
    <p:bg>
      <p:bgPr>
        <a:solidFill>
          <a:srgbClr val="92D05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44140" y="347874"/>
            <a:ext cx="5444490" cy="923330"/>
          </a:xfrm>
        </p:spPr>
        <p:txBody>
          <a:bodyPr>
            <a:normAutofit/>
          </a:bodyPr>
          <a:lstStyle>
            <a:lvl1pPr algn="l" defTabSz="685800" rtl="0" eaLnBrk="1" latinLnBrk="0" hangingPunct="1">
              <a:lnSpc>
                <a:spcPct val="90000"/>
              </a:lnSpc>
              <a:spcBef>
                <a:spcPct val="0"/>
              </a:spcBef>
              <a:buNone/>
              <a:defRPr lang="en-US" sz="4050" b="1" i="1" u="none" kern="1200" baseline="0" dirty="0">
                <a:solidFill>
                  <a:schemeClr val="tx1"/>
                </a:solidFill>
                <a:latin typeface="+mj-lt"/>
                <a:ea typeface="+mj-ea"/>
                <a:cs typeface="+mj-cs"/>
              </a:defRPr>
            </a:lvl1pPr>
          </a:lstStyle>
          <a:p>
            <a:endParaRPr lang="en-US" dirty="0"/>
          </a:p>
        </p:txBody>
      </p:sp>
      <p:sp>
        <p:nvSpPr>
          <p:cNvPr id="4" name="Text Placeholder 3"/>
          <p:cNvSpPr>
            <a:spLocks noGrp="1"/>
          </p:cNvSpPr>
          <p:nvPr>
            <p:ph type="body" sz="quarter" idx="11"/>
          </p:nvPr>
        </p:nvSpPr>
        <p:spPr>
          <a:xfrm>
            <a:off x="201060" y="1271204"/>
            <a:ext cx="8741880" cy="4641916"/>
          </a:xfrm>
        </p:spPr>
        <p:txBody>
          <a:bodyPr>
            <a:noAutofit/>
          </a:bodyPr>
          <a:lstStyle>
            <a:lvl1pPr marL="0" indent="0">
              <a:buNone/>
              <a:defRPr sz="3000"/>
            </a:lvl1pPr>
            <a:lvl2pPr marL="21009" indent="0">
              <a:buNone/>
              <a:defRPr sz="1471"/>
            </a:lvl2pPr>
            <a:lvl3pPr marL="164571" indent="0">
              <a:buNone/>
              <a:defRPr sz="1471"/>
            </a:lvl3pPr>
            <a:lvl4pPr marL="350151" indent="0">
              <a:buNone/>
              <a:defRPr sz="1324"/>
            </a:lvl4pPr>
            <a:lvl5pPr marL="543901" indent="0">
              <a:buNone/>
              <a:defRPr sz="1324"/>
            </a:lvl5pPr>
          </a:lstStyle>
          <a:p>
            <a:pPr lvl="0"/>
            <a:endParaRPr lang="en-US" dirty="0"/>
          </a:p>
        </p:txBody>
      </p:sp>
      <p:sp>
        <p:nvSpPr>
          <p:cNvPr id="5" name="Rectangle 4"/>
          <p:cNvSpPr/>
          <p:nvPr userDrawn="1"/>
        </p:nvSpPr>
        <p:spPr>
          <a:xfrm>
            <a:off x="201060" y="347874"/>
            <a:ext cx="3235181" cy="715581"/>
          </a:xfrm>
          <a:prstGeom prst="rect">
            <a:avLst/>
          </a:prstGeom>
        </p:spPr>
        <p:txBody>
          <a:bodyPr wrap="none">
            <a:spAutoFit/>
          </a:bodyPr>
          <a:lstStyle/>
          <a:p>
            <a:pPr algn="l"/>
            <a:r>
              <a:rPr lang="en-US" sz="4050" b="1" dirty="0"/>
              <a:t>EXAM TIP!</a:t>
            </a:r>
          </a:p>
        </p:txBody>
      </p:sp>
    </p:spTree>
    <p:extLst>
      <p:ext uri="{BB962C8B-B14F-4D97-AF65-F5344CB8AC3E}">
        <p14:creationId xmlns:p14="http://schemas.microsoft.com/office/powerpoint/2010/main" val="2982246449"/>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type="obj" preserve="1">
  <p:cSld name="Lab">
    <p:bg>
      <p:bgPr>
        <a:solidFill>
          <a:schemeClr val="accent4">
            <a:lumMod val="20000"/>
            <a:lumOff val="8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230085" y="1"/>
            <a:ext cx="7754762" cy="1231901"/>
          </a:xfrm>
        </p:spPr>
        <p:txBody>
          <a:bodyPr/>
          <a:lstStyle>
            <a:lvl1pPr>
              <a:defRPr/>
            </a:lvl1pPr>
          </a:lstStyle>
          <a:p>
            <a:r>
              <a:rPr lang="en-US" dirty="0"/>
              <a:t>Click to edit Lab title</a:t>
            </a:r>
          </a:p>
        </p:txBody>
      </p:sp>
      <p:sp>
        <p:nvSpPr>
          <p:cNvPr id="3" name="Content Placeholder 2"/>
          <p:cNvSpPr>
            <a:spLocks noGrp="1"/>
          </p:cNvSpPr>
          <p:nvPr>
            <p:ph idx="1" hasCustomPrompt="1"/>
          </p:nvPr>
        </p:nvSpPr>
        <p:spPr>
          <a:xfrm>
            <a:off x="151194" y="1231902"/>
            <a:ext cx="8833654" cy="4933487"/>
          </a:xfrm>
        </p:spPr>
        <p:txBody>
          <a:bodyPr>
            <a:normAutofit/>
          </a:bodyPr>
          <a:lstStyle>
            <a:lvl1pPr marL="0" indent="0">
              <a:buFontTx/>
              <a:buNone/>
              <a:defRPr sz="2700"/>
            </a:lvl1pPr>
            <a:lvl2pPr marL="342900" indent="0">
              <a:buFontTx/>
              <a:buNone/>
              <a:defRPr sz="2400"/>
            </a:lvl2pPr>
            <a:lvl3pPr marL="685800" indent="0">
              <a:buFontTx/>
              <a:buNone/>
              <a:defRPr sz="2100"/>
            </a:lvl3pPr>
            <a:lvl4pPr marL="1028700" indent="0">
              <a:buFontTx/>
              <a:buNone/>
              <a:defRPr sz="1800"/>
            </a:lvl4pPr>
            <a:lvl5pPr marL="1371600" indent="0">
              <a:buFontTx/>
              <a:buNone/>
              <a:defRPr sz="1800"/>
            </a:lvl5pPr>
          </a:lstStyle>
          <a:p>
            <a:pPr lvl="0"/>
            <a:r>
              <a:rPr lang="en-US" dirty="0"/>
              <a:t>Click to edit Master text styles</a:t>
            </a:r>
          </a:p>
          <a:p>
            <a:pPr lvl="1"/>
            <a:r>
              <a:rPr lang="en-US" dirty="0"/>
              <a:t>Second level </a:t>
            </a:r>
          </a:p>
          <a:p>
            <a:pPr lvl="1"/>
            <a:r>
              <a:rPr lang="en-US" dirty="0"/>
              <a:t>	Third level</a:t>
            </a:r>
          </a:p>
          <a:p>
            <a:pPr lvl="3"/>
            <a:r>
              <a:rPr lang="en-US" dirty="0"/>
              <a:t>Fourth level</a:t>
            </a:r>
          </a:p>
          <a:p>
            <a:pPr lvl="4"/>
            <a:r>
              <a:rPr lang="en-US" dirty="0"/>
              <a:t>Fifth level</a:t>
            </a:r>
          </a:p>
        </p:txBody>
      </p:sp>
      <p:sp>
        <p:nvSpPr>
          <p:cNvPr id="7" name="Rectangle 6">
            <a:extLst>
              <a:ext uri="{FF2B5EF4-FFF2-40B4-BE49-F238E27FC236}">
                <a16:creationId xmlns:a16="http://schemas.microsoft.com/office/drawing/2014/main" id="{36E8BE26-ED1E-4BC3-AABB-33679E13D11C}"/>
              </a:ext>
            </a:extLst>
          </p:cNvPr>
          <p:cNvSpPr/>
          <p:nvPr userDrawn="1"/>
        </p:nvSpPr>
        <p:spPr>
          <a:xfrm>
            <a:off x="158449" y="117610"/>
            <a:ext cx="1314784" cy="715581"/>
          </a:xfrm>
          <a:prstGeom prst="rect">
            <a:avLst/>
          </a:prstGeom>
        </p:spPr>
        <p:txBody>
          <a:bodyPr wrap="none">
            <a:spAutoFit/>
          </a:bodyPr>
          <a:lstStyle/>
          <a:p>
            <a:r>
              <a:rPr lang="en-US" sz="4050" dirty="0"/>
              <a:t>LAB</a:t>
            </a:r>
          </a:p>
        </p:txBody>
      </p:sp>
      <p:sp>
        <p:nvSpPr>
          <p:cNvPr id="9" name="Title 1">
            <a:extLst>
              <a:ext uri="{FF2B5EF4-FFF2-40B4-BE49-F238E27FC236}">
                <a16:creationId xmlns:a16="http://schemas.microsoft.com/office/drawing/2014/main" id="{C610877B-30C7-48C5-8BDA-CA0DB0C7F805}"/>
              </a:ext>
            </a:extLst>
          </p:cNvPr>
          <p:cNvSpPr txBox="1">
            <a:spLocks/>
          </p:cNvSpPr>
          <p:nvPr userDrawn="1"/>
        </p:nvSpPr>
        <p:spPr>
          <a:xfrm>
            <a:off x="151194" y="6219372"/>
            <a:ext cx="8833654" cy="587829"/>
          </a:xfrm>
          <a:prstGeom prst="rect">
            <a:avLst/>
          </a:prstGeom>
          <a:solidFill>
            <a:schemeClr val="bg1"/>
          </a:solidFill>
        </p:spPr>
        <p:txBody>
          <a:bodyPr vert="horz" lIns="68580" tIns="34290" rIns="68580" bIns="3429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1500" u="sng" dirty="0">
                <a:solidFill>
                  <a:srgbClr val="0070C0"/>
                </a:solidFill>
              </a:rPr>
              <a:t>Click to edit Lab URL</a:t>
            </a:r>
          </a:p>
        </p:txBody>
      </p:sp>
    </p:spTree>
    <p:extLst>
      <p:ext uri="{BB962C8B-B14F-4D97-AF65-F5344CB8AC3E}">
        <p14:creationId xmlns:p14="http://schemas.microsoft.com/office/powerpoint/2010/main" val="17021884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2_Question &amp; Answ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1193" y="220717"/>
            <a:ext cx="8833654" cy="1308538"/>
          </a:xfrm>
          <a:solidFill>
            <a:schemeClr val="accent4">
              <a:lumMod val="40000"/>
              <a:lumOff val="60000"/>
            </a:schemeClr>
          </a:solidFill>
        </p:spPr>
        <p:txBody>
          <a:bodyPr>
            <a:normAutofit/>
          </a:bodyPr>
          <a:lstStyle>
            <a:lvl1pPr>
              <a:defRPr sz="2700"/>
            </a:lvl1pPr>
          </a:lstStyle>
          <a:p>
            <a:r>
              <a:rPr lang="en-US" dirty="0"/>
              <a:t>Click to edit Question style</a:t>
            </a:r>
          </a:p>
        </p:txBody>
      </p:sp>
      <p:sp>
        <p:nvSpPr>
          <p:cNvPr id="3" name="Content Placeholder 2"/>
          <p:cNvSpPr>
            <a:spLocks noGrp="1"/>
          </p:cNvSpPr>
          <p:nvPr>
            <p:ph idx="1" hasCustomPrompt="1"/>
          </p:nvPr>
        </p:nvSpPr>
        <p:spPr>
          <a:xfrm>
            <a:off x="151194" y="1529256"/>
            <a:ext cx="8833654" cy="5123793"/>
          </a:xfrm>
        </p:spPr>
        <p:txBody>
          <a:bodyPr>
            <a:normAutofit/>
          </a:bodyPr>
          <a:lstStyle>
            <a:lvl1pPr marL="557213" indent="-557213">
              <a:buFont typeface="+mj-lt"/>
              <a:buAutoNum type="arabicParenR"/>
              <a:defRPr sz="2700"/>
            </a:lvl1pPr>
            <a:lvl2pPr marL="728663" indent="-385763">
              <a:buFont typeface="+mj-lt"/>
              <a:buAutoNum type="alphaUcPeriod"/>
              <a:defRPr sz="2400"/>
            </a:lvl2pPr>
            <a:lvl3pPr marL="1114425" indent="-428625">
              <a:buFont typeface="+mj-lt"/>
              <a:buAutoNum type="romanLcPeriod"/>
              <a:defRPr sz="2100"/>
            </a:lvl3pPr>
            <a:lvl4pPr marL="1371600" indent="-342900">
              <a:buFont typeface="+mj-lt"/>
              <a:buAutoNum type="alphaLcPeriod"/>
              <a:defRPr sz="1800"/>
            </a:lvl4pPr>
            <a:lvl5pPr marL="1714500" indent="-342900">
              <a:buFont typeface="+mj-lt"/>
              <a:buAutoNum type="arabicPeriod"/>
              <a:defRPr sz="1800"/>
            </a:lvl5pPr>
          </a:lstStyle>
          <a:p>
            <a:pPr lvl="0"/>
            <a:r>
              <a:rPr lang="en-US" dirty="0"/>
              <a:t>Click to edit Question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2"/>
          <p:cNvSpPr>
            <a:spLocks noGrp="1"/>
          </p:cNvSpPr>
          <p:nvPr>
            <p:ph idx="10" hasCustomPrompt="1"/>
          </p:nvPr>
        </p:nvSpPr>
        <p:spPr>
          <a:xfrm>
            <a:off x="350627" y="1843936"/>
            <a:ext cx="8833654" cy="5123793"/>
          </a:xfrm>
        </p:spPr>
        <p:txBody>
          <a:bodyPr>
            <a:normAutofit/>
          </a:bodyPr>
          <a:lstStyle>
            <a:lvl1pPr marL="557213" indent="-557213">
              <a:buFont typeface="+mj-lt"/>
              <a:buAutoNum type="arabicParenR"/>
              <a:defRPr sz="2700"/>
            </a:lvl1pPr>
            <a:lvl2pPr marL="728663" indent="-385763">
              <a:buFont typeface="+mj-lt"/>
              <a:buAutoNum type="alphaUcPeriod"/>
              <a:defRPr sz="2400"/>
            </a:lvl2pPr>
            <a:lvl3pPr marL="1114425" indent="-428625">
              <a:buFont typeface="+mj-lt"/>
              <a:buAutoNum type="romanLcPeriod"/>
              <a:defRPr sz="2100"/>
            </a:lvl3pPr>
            <a:lvl4pPr marL="1371600" indent="-342900">
              <a:buFont typeface="+mj-lt"/>
              <a:buAutoNum type="alphaLcPeriod"/>
              <a:defRPr sz="1800"/>
            </a:lvl4pPr>
            <a:lvl5pPr marL="1714500" indent="-342900">
              <a:buFont typeface="+mj-lt"/>
              <a:buAutoNum type="arabicPeriod"/>
              <a:defRPr sz="1800"/>
            </a:lvl5pPr>
          </a:lstStyle>
          <a:p>
            <a:pPr lvl="0"/>
            <a:r>
              <a:rPr lang="en-US" dirty="0"/>
              <a:t>Click to edit Answ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3412379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hidden"/>
                                      </p:to>
                                    </p:set>
                                  </p:childTnLst>
                                </p:cTn>
                              </p:par>
                              <p:par>
                                <p:cTn id="7" presetID="42" presetClass="path" presetSubtype="0" accel="50000" decel="50000" fill="hold" grpId="1" nodeType="withEffect">
                                  <p:stCondLst>
                                    <p:cond delay="0"/>
                                  </p:stCondLst>
                                  <p:childTnLst>
                                    <p:animMotion origin="layout" path="M -4.16667E-6 -1.11111E-6 L -0.02187 -0.04537 " pathEditMode="relative" rAng="0" ptsTypes="AA">
                                      <p:cBhvr>
                                        <p:cTn id="8" dur="500" fill="hold"/>
                                        <p:tgtEl>
                                          <p:spTgt spid="7"/>
                                        </p:tgtEl>
                                        <p:attrNameLst>
                                          <p:attrName>ppt_x</p:attrName>
                                          <p:attrName>ppt_y</p:attrName>
                                        </p:attrNameLst>
                                      </p:cBhvr>
                                      <p:rCtr x="-1094" y="-2269"/>
                                    </p:animMotion>
                                  </p:childTnLst>
                                </p:cTn>
                              </p:par>
                              <p:par>
                                <p:cTn id="9" presetID="14" presetClass="entr" presetSubtype="10" fill="hold" grpId="0" nodeType="with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randombar(horizontal)">
                                      <p:cBhvr>
                                        <p:cTn id="11"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tmplLst>
          <p:tmpl>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Lst>
      </p:bldP>
      <p:bldP spid="7" grpId="0">
        <p:tmplLst>
          <p:tmpl>
            <p:tnLst>
              <p:par>
                <p:cTn presetID="14" presetClass="entr" presetSubtype="10" fill="hold" nodeType="withEffect">
                  <p:stCondLst>
                    <p:cond delay="0"/>
                  </p:stCondLst>
                  <p:childTnLst>
                    <p:set>
                      <p:cBhvr>
                        <p:cTn dur="1" fill="hold">
                          <p:stCondLst>
                            <p:cond delay="0"/>
                          </p:stCondLst>
                        </p:cTn>
                        <p:tgtEl>
                          <p:spTgt spid="7"/>
                        </p:tgtEl>
                        <p:attrNameLst>
                          <p:attrName>style.visibility</p:attrName>
                        </p:attrNameLst>
                      </p:cBhvr>
                      <p:to>
                        <p:strVal val="visible"/>
                      </p:to>
                    </p:set>
                    <p:animEffect transition="in" filter="randombar(horizontal)">
                      <p:cBhvr>
                        <p:cTn dur="500"/>
                        <p:tgtEl>
                          <p:spTgt spid="7"/>
                        </p:tgtEl>
                      </p:cBhvr>
                    </p:animEffect>
                  </p:childTnLst>
                </p:cTn>
              </p:par>
            </p:tnLst>
          </p:tmpl>
        </p:tmplLst>
      </p:bldP>
      <p:bldP spid="7" grpId="1">
        <p:tmplLst>
          <p:tmpl>
            <p:tnLst>
              <p:par>
                <p:cTn presetID="42" presetClass="path" presetSubtype="0" accel="50000" decel="50000" fill="hold" nodeType="withEffect">
                  <p:stCondLst>
                    <p:cond delay="0"/>
                  </p:stCondLst>
                  <p:childTnLst>
                    <p:animMotion origin="layout" path="M -4.16667E-6 -1.11111E-6 L -0.02187 -0.04537 " pathEditMode="relative" rAng="0" ptsTypes="AA">
                      <p:cBhvr>
                        <p:cTn dur="500" fill="hold"/>
                        <p:tgtEl>
                          <p:spTgt spid="7"/>
                        </p:tgtEl>
                        <p:attrNameLst>
                          <p:attrName>ppt_x</p:attrName>
                          <p:attrName>ppt_y</p:attrName>
                        </p:attrNameLst>
                      </p:cBhvr>
                      <p:rCtr x="-1094" y="-2269"/>
                    </p:animMotion>
                  </p:childTnLst>
                </p:cTn>
              </p:par>
            </p:tnLst>
          </p:tmpl>
        </p:tmplLst>
      </p:bldP>
    </p:bld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Q&amp;A Build Question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1193" y="220717"/>
            <a:ext cx="8833654" cy="1308538"/>
          </a:xfrm>
          <a:solidFill>
            <a:schemeClr val="accent4">
              <a:lumMod val="40000"/>
              <a:lumOff val="60000"/>
            </a:schemeClr>
          </a:solidFill>
        </p:spPr>
        <p:txBody>
          <a:bodyPr>
            <a:normAutofit/>
          </a:bodyPr>
          <a:lstStyle>
            <a:lvl1pPr>
              <a:defRPr sz="2700"/>
            </a:lvl1pPr>
          </a:lstStyle>
          <a:p>
            <a:r>
              <a:rPr lang="en-US" dirty="0"/>
              <a:t>Click to edit Question style</a:t>
            </a:r>
          </a:p>
        </p:txBody>
      </p:sp>
      <p:sp>
        <p:nvSpPr>
          <p:cNvPr id="5" name="Content Placeholder 2">
            <a:extLst>
              <a:ext uri="{FF2B5EF4-FFF2-40B4-BE49-F238E27FC236}">
                <a16:creationId xmlns:a16="http://schemas.microsoft.com/office/drawing/2014/main" id="{06B996C4-8066-4A72-B952-804423A9CEDF}"/>
              </a:ext>
            </a:extLst>
          </p:cNvPr>
          <p:cNvSpPr>
            <a:spLocks noGrp="1"/>
          </p:cNvSpPr>
          <p:nvPr>
            <p:ph idx="1" hasCustomPrompt="1"/>
          </p:nvPr>
        </p:nvSpPr>
        <p:spPr>
          <a:xfrm>
            <a:off x="151194" y="1529256"/>
            <a:ext cx="8833654" cy="5123793"/>
          </a:xfrm>
        </p:spPr>
        <p:txBody>
          <a:bodyPr>
            <a:normAutofit/>
          </a:bodyPr>
          <a:lstStyle>
            <a:lvl1pPr marL="557213" indent="-557213">
              <a:buFont typeface="+mj-lt"/>
              <a:buAutoNum type="arabicParenR"/>
              <a:defRPr sz="2700"/>
            </a:lvl1pPr>
            <a:lvl2pPr marL="728663" indent="-385763">
              <a:buFont typeface="+mj-lt"/>
              <a:buAutoNum type="alphaUcPeriod"/>
              <a:defRPr sz="2400"/>
            </a:lvl2pPr>
            <a:lvl3pPr marL="1114425" indent="-428625">
              <a:buFont typeface="+mj-lt"/>
              <a:buAutoNum type="romanLcPeriod"/>
              <a:defRPr sz="2100"/>
            </a:lvl3pPr>
            <a:lvl4pPr marL="1371600" indent="-342900">
              <a:buFont typeface="+mj-lt"/>
              <a:buAutoNum type="alphaLcPeriod"/>
              <a:defRPr sz="1800"/>
            </a:lvl4pPr>
            <a:lvl5pPr marL="1714500" indent="-342900">
              <a:buFont typeface="+mj-lt"/>
              <a:buAutoNum type="arabicPeriod"/>
              <a:defRPr sz="1800"/>
            </a:lvl5pPr>
          </a:lstStyle>
          <a:p>
            <a:pPr lvl="0"/>
            <a:r>
              <a:rPr lang="en-US" dirty="0"/>
              <a:t>Click to edit Question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2">
            <a:extLst>
              <a:ext uri="{FF2B5EF4-FFF2-40B4-BE49-F238E27FC236}">
                <a16:creationId xmlns:a16="http://schemas.microsoft.com/office/drawing/2014/main" id="{CAED92D3-AA60-42C1-98A2-FAE9D3F269CB}"/>
              </a:ext>
            </a:extLst>
          </p:cNvPr>
          <p:cNvSpPr>
            <a:spLocks noGrp="1"/>
          </p:cNvSpPr>
          <p:nvPr>
            <p:ph idx="10" hasCustomPrompt="1"/>
          </p:nvPr>
        </p:nvSpPr>
        <p:spPr>
          <a:xfrm>
            <a:off x="350627" y="1843936"/>
            <a:ext cx="8833654" cy="5123793"/>
          </a:xfrm>
        </p:spPr>
        <p:txBody>
          <a:bodyPr>
            <a:normAutofit/>
          </a:bodyPr>
          <a:lstStyle>
            <a:lvl1pPr marL="557213" indent="-557213">
              <a:buFont typeface="+mj-lt"/>
              <a:buAutoNum type="arabicParenR"/>
              <a:defRPr sz="2700"/>
            </a:lvl1pPr>
            <a:lvl2pPr marL="728663" indent="-385763">
              <a:buFont typeface="+mj-lt"/>
              <a:buAutoNum type="alphaUcPeriod"/>
              <a:defRPr sz="2400"/>
            </a:lvl2pPr>
            <a:lvl3pPr marL="1114425" indent="-428625">
              <a:buFont typeface="+mj-lt"/>
              <a:buAutoNum type="romanLcPeriod"/>
              <a:defRPr sz="2100"/>
            </a:lvl3pPr>
            <a:lvl4pPr marL="1371600" indent="-342900">
              <a:buFont typeface="+mj-lt"/>
              <a:buAutoNum type="alphaLcPeriod"/>
              <a:defRPr sz="1800"/>
            </a:lvl4pPr>
            <a:lvl5pPr marL="1714500" indent="-342900">
              <a:buFont typeface="+mj-lt"/>
              <a:buAutoNum type="arabicPeriod"/>
              <a:defRPr sz="1800"/>
            </a:lvl5pPr>
          </a:lstStyle>
          <a:p>
            <a:pPr lvl="0"/>
            <a:r>
              <a:rPr lang="en-US" dirty="0"/>
              <a:t>Click to edit Answ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2436864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1"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Effect transition="in" filter="fade">
                                      <p:cBhvr>
                                        <p:cTn id="7" dur="1000"/>
                                        <p:tgtEl>
                                          <p:spTgt spid="5">
                                            <p:txEl>
                                              <p:pRg st="0" end="0"/>
                                            </p:txEl>
                                          </p:spTgt>
                                        </p:tgtEl>
                                      </p:cBhvr>
                                    </p:animEffect>
                                    <p:anim calcmode="lin" valueType="num">
                                      <p:cBhvr>
                                        <p:cTn id="8" dur="1000" fill="hold"/>
                                        <p:tgtEl>
                                          <p:spTgt spid="5">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5">
                                            <p:txEl>
                                              <p:pRg st="0" end="0"/>
                                            </p:txEl>
                                          </p:spTgt>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grpId="1" nodeType="clickEffect">
                                  <p:stCondLst>
                                    <p:cond delay="0"/>
                                  </p:stCondLst>
                                  <p:childTnLst>
                                    <p:set>
                                      <p:cBhvr>
                                        <p:cTn id="13" dur="1" fill="hold">
                                          <p:stCondLst>
                                            <p:cond delay="0"/>
                                          </p:stCondLst>
                                        </p:cTn>
                                        <p:tgtEl>
                                          <p:spTgt spid="5">
                                            <p:txEl>
                                              <p:pRg st="1" end="1"/>
                                            </p:txEl>
                                          </p:spTgt>
                                        </p:tgtEl>
                                        <p:attrNameLst>
                                          <p:attrName>style.visibility</p:attrName>
                                        </p:attrNameLst>
                                      </p:cBhvr>
                                      <p:to>
                                        <p:strVal val="visible"/>
                                      </p:to>
                                    </p:set>
                                    <p:animEffect transition="in" filter="fade">
                                      <p:cBhvr>
                                        <p:cTn id="14" dur="1000"/>
                                        <p:tgtEl>
                                          <p:spTgt spid="5">
                                            <p:txEl>
                                              <p:pRg st="1" end="1"/>
                                            </p:txEl>
                                          </p:spTgt>
                                        </p:tgtEl>
                                      </p:cBhvr>
                                    </p:animEffect>
                                    <p:anim calcmode="lin" valueType="num">
                                      <p:cBhvr>
                                        <p:cTn id="15" dur="1000" fill="hold"/>
                                        <p:tgtEl>
                                          <p:spTgt spid="5">
                                            <p:txEl>
                                              <p:pRg st="1" end="1"/>
                                            </p:txEl>
                                          </p:spTgt>
                                        </p:tgtEl>
                                        <p:attrNameLst>
                                          <p:attrName>ppt_x</p:attrName>
                                        </p:attrNameLst>
                                      </p:cBhvr>
                                      <p:tavLst>
                                        <p:tav tm="0">
                                          <p:val>
                                            <p:strVal val="#ppt_x"/>
                                          </p:val>
                                        </p:tav>
                                        <p:tav tm="100000">
                                          <p:val>
                                            <p:strVal val="#ppt_x"/>
                                          </p:val>
                                        </p:tav>
                                      </p:tavLst>
                                    </p:anim>
                                    <p:anim calcmode="lin" valueType="num">
                                      <p:cBhvr>
                                        <p:cTn id="16" dur="1000" fill="hold"/>
                                        <p:tgtEl>
                                          <p:spTgt spid="5">
                                            <p:txEl>
                                              <p:pRg st="1" end="1"/>
                                            </p:txEl>
                                          </p:spTgt>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grpId="1" nodeType="clickEffect">
                                  <p:stCondLst>
                                    <p:cond delay="0"/>
                                  </p:stCondLst>
                                  <p:childTnLst>
                                    <p:set>
                                      <p:cBhvr>
                                        <p:cTn id="20" dur="1" fill="hold">
                                          <p:stCondLst>
                                            <p:cond delay="0"/>
                                          </p:stCondLst>
                                        </p:cTn>
                                        <p:tgtEl>
                                          <p:spTgt spid="5">
                                            <p:txEl>
                                              <p:pRg st="2" end="2"/>
                                            </p:txEl>
                                          </p:spTgt>
                                        </p:tgtEl>
                                        <p:attrNameLst>
                                          <p:attrName>style.visibility</p:attrName>
                                        </p:attrNameLst>
                                      </p:cBhvr>
                                      <p:to>
                                        <p:strVal val="visible"/>
                                      </p:to>
                                    </p:set>
                                    <p:animEffect transition="in" filter="fade">
                                      <p:cBhvr>
                                        <p:cTn id="21" dur="1000"/>
                                        <p:tgtEl>
                                          <p:spTgt spid="5">
                                            <p:txEl>
                                              <p:pRg st="2" end="2"/>
                                            </p:txEl>
                                          </p:spTgt>
                                        </p:tgtEl>
                                      </p:cBhvr>
                                    </p:animEffect>
                                    <p:anim calcmode="lin" valueType="num">
                                      <p:cBhvr>
                                        <p:cTn id="22" dur="1000" fill="hold"/>
                                        <p:tgtEl>
                                          <p:spTgt spid="5">
                                            <p:txEl>
                                              <p:pRg st="2" end="2"/>
                                            </p:txEl>
                                          </p:spTgt>
                                        </p:tgtEl>
                                        <p:attrNameLst>
                                          <p:attrName>ppt_x</p:attrName>
                                        </p:attrNameLst>
                                      </p:cBhvr>
                                      <p:tavLst>
                                        <p:tav tm="0">
                                          <p:val>
                                            <p:strVal val="#ppt_x"/>
                                          </p:val>
                                        </p:tav>
                                        <p:tav tm="100000">
                                          <p:val>
                                            <p:strVal val="#ppt_x"/>
                                          </p:val>
                                        </p:tav>
                                      </p:tavLst>
                                    </p:anim>
                                    <p:anim calcmode="lin" valueType="num">
                                      <p:cBhvr>
                                        <p:cTn id="23" dur="1000" fill="hold"/>
                                        <p:tgtEl>
                                          <p:spTgt spid="5">
                                            <p:txEl>
                                              <p:pRg st="2" end="2"/>
                                            </p:txEl>
                                          </p:spTgt>
                                        </p:tgtEl>
                                        <p:attrNameLst>
                                          <p:attrName>ppt_y</p:attrName>
                                        </p:attrNameLst>
                                      </p:cBhvr>
                                      <p:tavLst>
                                        <p:tav tm="0">
                                          <p:val>
                                            <p:strVal val="#ppt_y+.1"/>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42" presetClass="entr" presetSubtype="0" fill="hold" grpId="1" nodeType="clickEffect">
                                  <p:stCondLst>
                                    <p:cond delay="0"/>
                                  </p:stCondLst>
                                  <p:childTnLst>
                                    <p:set>
                                      <p:cBhvr>
                                        <p:cTn id="27" dur="1" fill="hold">
                                          <p:stCondLst>
                                            <p:cond delay="0"/>
                                          </p:stCondLst>
                                        </p:cTn>
                                        <p:tgtEl>
                                          <p:spTgt spid="5">
                                            <p:txEl>
                                              <p:pRg st="3" end="3"/>
                                            </p:txEl>
                                          </p:spTgt>
                                        </p:tgtEl>
                                        <p:attrNameLst>
                                          <p:attrName>style.visibility</p:attrName>
                                        </p:attrNameLst>
                                      </p:cBhvr>
                                      <p:to>
                                        <p:strVal val="visible"/>
                                      </p:to>
                                    </p:set>
                                    <p:animEffect transition="in" filter="fade">
                                      <p:cBhvr>
                                        <p:cTn id="28" dur="1000"/>
                                        <p:tgtEl>
                                          <p:spTgt spid="5">
                                            <p:txEl>
                                              <p:pRg st="3" end="3"/>
                                            </p:txEl>
                                          </p:spTgt>
                                        </p:tgtEl>
                                      </p:cBhvr>
                                    </p:animEffect>
                                    <p:anim calcmode="lin" valueType="num">
                                      <p:cBhvr>
                                        <p:cTn id="29" dur="1000" fill="hold"/>
                                        <p:tgtEl>
                                          <p:spTgt spid="5">
                                            <p:txEl>
                                              <p:pRg st="3" end="3"/>
                                            </p:txEl>
                                          </p:spTgt>
                                        </p:tgtEl>
                                        <p:attrNameLst>
                                          <p:attrName>ppt_x</p:attrName>
                                        </p:attrNameLst>
                                      </p:cBhvr>
                                      <p:tavLst>
                                        <p:tav tm="0">
                                          <p:val>
                                            <p:strVal val="#ppt_x"/>
                                          </p:val>
                                        </p:tav>
                                        <p:tav tm="100000">
                                          <p:val>
                                            <p:strVal val="#ppt_x"/>
                                          </p:val>
                                        </p:tav>
                                      </p:tavLst>
                                    </p:anim>
                                    <p:anim calcmode="lin" valueType="num">
                                      <p:cBhvr>
                                        <p:cTn id="30" dur="1000" fill="hold"/>
                                        <p:tgtEl>
                                          <p:spTgt spid="5">
                                            <p:txEl>
                                              <p:pRg st="3" end="3"/>
                                            </p:txEl>
                                          </p:spTgt>
                                        </p:tgtEl>
                                        <p:attrNameLst>
                                          <p:attrName>ppt_y</p:attrName>
                                        </p:attrNameLst>
                                      </p:cBhvr>
                                      <p:tavLst>
                                        <p:tav tm="0">
                                          <p:val>
                                            <p:strVal val="#ppt_y+.1"/>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42" presetClass="entr" presetSubtype="0" fill="hold" grpId="1" nodeType="clickEffect">
                                  <p:stCondLst>
                                    <p:cond delay="0"/>
                                  </p:stCondLst>
                                  <p:childTnLst>
                                    <p:set>
                                      <p:cBhvr>
                                        <p:cTn id="34" dur="1" fill="hold">
                                          <p:stCondLst>
                                            <p:cond delay="0"/>
                                          </p:stCondLst>
                                        </p:cTn>
                                        <p:tgtEl>
                                          <p:spTgt spid="5">
                                            <p:txEl>
                                              <p:pRg st="4" end="4"/>
                                            </p:txEl>
                                          </p:spTgt>
                                        </p:tgtEl>
                                        <p:attrNameLst>
                                          <p:attrName>style.visibility</p:attrName>
                                        </p:attrNameLst>
                                      </p:cBhvr>
                                      <p:to>
                                        <p:strVal val="visible"/>
                                      </p:to>
                                    </p:set>
                                    <p:animEffect transition="in" filter="fade">
                                      <p:cBhvr>
                                        <p:cTn id="35" dur="1000"/>
                                        <p:tgtEl>
                                          <p:spTgt spid="5">
                                            <p:txEl>
                                              <p:pRg st="4" end="4"/>
                                            </p:txEl>
                                          </p:spTgt>
                                        </p:tgtEl>
                                      </p:cBhvr>
                                    </p:animEffect>
                                    <p:anim calcmode="lin" valueType="num">
                                      <p:cBhvr>
                                        <p:cTn id="36" dur="1000" fill="hold"/>
                                        <p:tgtEl>
                                          <p:spTgt spid="5">
                                            <p:txEl>
                                              <p:pRg st="4" end="4"/>
                                            </p:txEl>
                                          </p:spTgt>
                                        </p:tgtEl>
                                        <p:attrNameLst>
                                          <p:attrName>ppt_x</p:attrName>
                                        </p:attrNameLst>
                                      </p:cBhvr>
                                      <p:tavLst>
                                        <p:tav tm="0">
                                          <p:val>
                                            <p:strVal val="#ppt_x"/>
                                          </p:val>
                                        </p:tav>
                                        <p:tav tm="100000">
                                          <p:val>
                                            <p:strVal val="#ppt_x"/>
                                          </p:val>
                                        </p:tav>
                                      </p:tavLst>
                                    </p:anim>
                                    <p:anim calcmode="lin" valueType="num">
                                      <p:cBhvr>
                                        <p:cTn id="37" dur="1000" fill="hold"/>
                                        <p:tgtEl>
                                          <p:spTgt spid="5">
                                            <p:txEl>
                                              <p:pRg st="4" end="4"/>
                                            </p:txEl>
                                          </p:spTgt>
                                        </p:tgtEl>
                                        <p:attrNameLst>
                                          <p:attrName>ppt_y</p:attrName>
                                        </p:attrNameLst>
                                      </p:cBhvr>
                                      <p:tavLst>
                                        <p:tav tm="0">
                                          <p:val>
                                            <p:strVal val="#ppt_y+.1"/>
                                          </p:val>
                                        </p:tav>
                                        <p:tav tm="100000">
                                          <p:val>
                                            <p:strVal val="#ppt_y"/>
                                          </p:val>
                                        </p:tav>
                                      </p:tavLst>
                                    </p:anim>
                                  </p:childTnLst>
                                </p:cTn>
                              </p:par>
                            </p:childTnLst>
                          </p:cTn>
                        </p:par>
                      </p:childTnLst>
                    </p:cTn>
                  </p:par>
                  <p:par>
                    <p:cTn id="38" fill="hold">
                      <p:stCondLst>
                        <p:cond delay="indefinite"/>
                      </p:stCondLst>
                      <p:childTnLst>
                        <p:par>
                          <p:cTn id="39" fill="hold">
                            <p:stCondLst>
                              <p:cond delay="0"/>
                            </p:stCondLst>
                            <p:childTnLst>
                              <p:par>
                                <p:cTn id="40" presetID="1" presetClass="exit" presetSubtype="0" fill="hold" grpId="0" nodeType="clickEffect">
                                  <p:stCondLst>
                                    <p:cond delay="0"/>
                                  </p:stCondLst>
                                  <p:childTnLst>
                                    <p:set>
                                      <p:cBhvr>
                                        <p:cTn id="41" dur="1" fill="hold">
                                          <p:stCondLst>
                                            <p:cond delay="0"/>
                                          </p:stCondLst>
                                        </p:cTn>
                                        <p:tgtEl>
                                          <p:spTgt spid="5">
                                            <p:txEl>
                                              <p:pRg st="0" end="0"/>
                                            </p:txEl>
                                          </p:spTgt>
                                        </p:tgtEl>
                                        <p:attrNameLst>
                                          <p:attrName>style.visibility</p:attrName>
                                        </p:attrNameLst>
                                      </p:cBhvr>
                                      <p:to>
                                        <p:strVal val="hidden"/>
                                      </p:to>
                                    </p:set>
                                  </p:childTnLst>
                                </p:cTn>
                              </p:par>
                              <p:par>
                                <p:cTn id="42" presetID="1" presetClass="exit" presetSubtype="0" fill="hold" grpId="0" nodeType="withEffect">
                                  <p:stCondLst>
                                    <p:cond delay="0"/>
                                  </p:stCondLst>
                                  <p:childTnLst>
                                    <p:set>
                                      <p:cBhvr>
                                        <p:cTn id="43" dur="1" fill="hold">
                                          <p:stCondLst>
                                            <p:cond delay="0"/>
                                          </p:stCondLst>
                                        </p:cTn>
                                        <p:tgtEl>
                                          <p:spTgt spid="5">
                                            <p:txEl>
                                              <p:pRg st="1" end="1"/>
                                            </p:txEl>
                                          </p:spTgt>
                                        </p:tgtEl>
                                        <p:attrNameLst>
                                          <p:attrName>style.visibility</p:attrName>
                                        </p:attrNameLst>
                                      </p:cBhvr>
                                      <p:to>
                                        <p:strVal val="hidden"/>
                                      </p:to>
                                    </p:set>
                                  </p:childTnLst>
                                </p:cTn>
                              </p:par>
                              <p:par>
                                <p:cTn id="44" presetID="1" presetClass="exit" presetSubtype="0" fill="hold" grpId="0" nodeType="withEffect">
                                  <p:stCondLst>
                                    <p:cond delay="0"/>
                                  </p:stCondLst>
                                  <p:childTnLst>
                                    <p:set>
                                      <p:cBhvr>
                                        <p:cTn id="45" dur="1" fill="hold">
                                          <p:stCondLst>
                                            <p:cond delay="0"/>
                                          </p:stCondLst>
                                        </p:cTn>
                                        <p:tgtEl>
                                          <p:spTgt spid="5">
                                            <p:txEl>
                                              <p:pRg st="2" end="2"/>
                                            </p:txEl>
                                          </p:spTgt>
                                        </p:tgtEl>
                                        <p:attrNameLst>
                                          <p:attrName>style.visibility</p:attrName>
                                        </p:attrNameLst>
                                      </p:cBhvr>
                                      <p:to>
                                        <p:strVal val="hidden"/>
                                      </p:to>
                                    </p:set>
                                  </p:childTnLst>
                                </p:cTn>
                              </p:par>
                              <p:par>
                                <p:cTn id="46" presetID="1" presetClass="exit" presetSubtype="0" fill="hold" grpId="0" nodeType="withEffect">
                                  <p:stCondLst>
                                    <p:cond delay="0"/>
                                  </p:stCondLst>
                                  <p:childTnLst>
                                    <p:set>
                                      <p:cBhvr>
                                        <p:cTn id="47" dur="1" fill="hold">
                                          <p:stCondLst>
                                            <p:cond delay="0"/>
                                          </p:stCondLst>
                                        </p:cTn>
                                        <p:tgtEl>
                                          <p:spTgt spid="5">
                                            <p:txEl>
                                              <p:pRg st="3" end="3"/>
                                            </p:txEl>
                                          </p:spTgt>
                                        </p:tgtEl>
                                        <p:attrNameLst>
                                          <p:attrName>style.visibility</p:attrName>
                                        </p:attrNameLst>
                                      </p:cBhvr>
                                      <p:to>
                                        <p:strVal val="hidden"/>
                                      </p:to>
                                    </p:set>
                                  </p:childTnLst>
                                </p:cTn>
                              </p:par>
                              <p:par>
                                <p:cTn id="48" presetID="1" presetClass="exit" presetSubtype="0" fill="hold" grpId="0" nodeType="withEffect">
                                  <p:stCondLst>
                                    <p:cond delay="0"/>
                                  </p:stCondLst>
                                  <p:childTnLst>
                                    <p:set>
                                      <p:cBhvr>
                                        <p:cTn id="49" dur="1" fill="hold">
                                          <p:stCondLst>
                                            <p:cond delay="0"/>
                                          </p:stCondLst>
                                        </p:cTn>
                                        <p:tgtEl>
                                          <p:spTgt spid="5">
                                            <p:txEl>
                                              <p:pRg st="4" end="4"/>
                                            </p:txEl>
                                          </p:spTgt>
                                        </p:tgtEl>
                                        <p:attrNameLst>
                                          <p:attrName>style.visibility</p:attrName>
                                        </p:attrNameLst>
                                      </p:cBhvr>
                                      <p:to>
                                        <p:strVal val="hidden"/>
                                      </p:to>
                                    </p:set>
                                  </p:childTnLst>
                                </p:cTn>
                              </p:par>
                            </p:childTnLst>
                          </p:cTn>
                        </p:par>
                        <p:par>
                          <p:cTn id="50" fill="hold">
                            <p:stCondLst>
                              <p:cond delay="0"/>
                            </p:stCondLst>
                            <p:childTnLst>
                              <p:par>
                                <p:cTn id="51" presetID="42" presetClass="path" presetSubtype="0" accel="50000" decel="50000" fill="hold" grpId="1" nodeType="afterEffect">
                                  <p:stCondLst>
                                    <p:cond delay="0"/>
                                  </p:stCondLst>
                                  <p:childTnLst>
                                    <p:animMotion origin="layout" path="M -4.16667E-6 -1.11111E-6 L -0.02187 -0.04537 " pathEditMode="relative" rAng="0" ptsTypes="AA">
                                      <p:cBhvr>
                                        <p:cTn id="52" dur="500" fill="hold"/>
                                        <p:tgtEl>
                                          <p:spTgt spid="6"/>
                                        </p:tgtEl>
                                        <p:attrNameLst>
                                          <p:attrName>ppt_x</p:attrName>
                                          <p:attrName>ppt_y</p:attrName>
                                        </p:attrNameLst>
                                      </p:cBhvr>
                                      <p:rCtr x="-1094" y="-2269"/>
                                    </p:animMotion>
                                  </p:childTnLst>
                                </p:cTn>
                              </p:par>
                            </p:childTnLst>
                          </p:cTn>
                        </p:par>
                        <p:par>
                          <p:cTn id="53" fill="hold">
                            <p:stCondLst>
                              <p:cond delay="500"/>
                            </p:stCondLst>
                            <p:childTnLst>
                              <p:par>
                                <p:cTn id="54" presetID="14" presetClass="entr" presetSubtype="10" fill="hold" grpId="0" nodeType="afterEffect">
                                  <p:stCondLst>
                                    <p:cond delay="0"/>
                                  </p:stCondLst>
                                  <p:childTnLst>
                                    <p:set>
                                      <p:cBhvr>
                                        <p:cTn id="55" dur="1" fill="hold">
                                          <p:stCondLst>
                                            <p:cond delay="0"/>
                                          </p:stCondLst>
                                        </p:cTn>
                                        <p:tgtEl>
                                          <p:spTgt spid="6"/>
                                        </p:tgtEl>
                                        <p:attrNameLst>
                                          <p:attrName>style.visibility</p:attrName>
                                        </p:attrNameLst>
                                      </p:cBhvr>
                                      <p:to>
                                        <p:strVal val="visible"/>
                                      </p:to>
                                    </p:set>
                                    <p:animEffect transition="in" filter="randombar(horizontal)">
                                      <p:cBhvr>
                                        <p:cTn id="56"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uiExpand="1" build="allAtOnce">
        <p:tmplLst>
          <p:tmpl lvl="1">
            <p:tnLst>
              <p:par>
                <p:cTn presetID="1" presetClass="exit" presetSubtype="0" fill="hold" nodeType="clickEffect">
                  <p:stCondLst>
                    <p:cond delay="0"/>
                  </p:stCondLst>
                  <p:childTnLst>
                    <p:set>
                      <p:cBhvr>
                        <p:cTn dur="1" fill="hold">
                          <p:stCondLst>
                            <p:cond delay="0"/>
                          </p:stCondLst>
                        </p:cTn>
                        <p:tgtEl>
                          <p:spTgt spid="5"/>
                        </p:tgtEl>
                        <p:attrNameLst>
                          <p:attrName>style.visibility</p:attrName>
                        </p:attrNameLst>
                      </p:cBhvr>
                      <p:to>
                        <p:strVal val="hidden"/>
                      </p:to>
                    </p:set>
                  </p:childTnLst>
                </p:cTn>
              </p:par>
            </p:tnLst>
          </p:tmpl>
          <p:tmpl lvl="2">
            <p:tnLst>
              <p:par>
                <p:cTn presetID="1" presetClass="exit" presetSubtype="0" fill="hold" nodeType="withEffect">
                  <p:stCondLst>
                    <p:cond delay="0"/>
                  </p:stCondLst>
                  <p:childTnLst>
                    <p:set>
                      <p:cBhvr>
                        <p:cTn dur="1" fill="hold">
                          <p:stCondLst>
                            <p:cond delay="0"/>
                          </p:stCondLst>
                        </p:cTn>
                        <p:tgtEl>
                          <p:spTgt spid="5"/>
                        </p:tgtEl>
                        <p:attrNameLst>
                          <p:attrName>style.visibility</p:attrName>
                        </p:attrNameLst>
                      </p:cBhvr>
                      <p:to>
                        <p:strVal val="hidden"/>
                      </p:to>
                    </p:set>
                  </p:childTnLst>
                </p:cTn>
              </p:par>
            </p:tnLst>
          </p:tmpl>
          <p:tmpl lvl="3">
            <p:tnLst>
              <p:par>
                <p:cTn presetID="1" presetClass="exit" presetSubtype="0" fill="hold" nodeType="withEffect">
                  <p:stCondLst>
                    <p:cond delay="0"/>
                  </p:stCondLst>
                  <p:childTnLst>
                    <p:set>
                      <p:cBhvr>
                        <p:cTn dur="1" fill="hold">
                          <p:stCondLst>
                            <p:cond delay="0"/>
                          </p:stCondLst>
                        </p:cTn>
                        <p:tgtEl>
                          <p:spTgt spid="5"/>
                        </p:tgtEl>
                        <p:attrNameLst>
                          <p:attrName>style.visibility</p:attrName>
                        </p:attrNameLst>
                      </p:cBhvr>
                      <p:to>
                        <p:strVal val="hidden"/>
                      </p:to>
                    </p:set>
                  </p:childTnLst>
                </p:cTn>
              </p:par>
            </p:tnLst>
          </p:tmpl>
          <p:tmpl lvl="4">
            <p:tnLst>
              <p:par>
                <p:cTn presetID="1" presetClass="exit" presetSubtype="0" fill="hold" nodeType="withEffect">
                  <p:stCondLst>
                    <p:cond delay="0"/>
                  </p:stCondLst>
                  <p:childTnLst>
                    <p:set>
                      <p:cBhvr>
                        <p:cTn dur="1" fill="hold">
                          <p:stCondLst>
                            <p:cond delay="0"/>
                          </p:stCondLst>
                        </p:cTn>
                        <p:tgtEl>
                          <p:spTgt spid="5"/>
                        </p:tgtEl>
                        <p:attrNameLst>
                          <p:attrName>style.visibility</p:attrName>
                        </p:attrNameLst>
                      </p:cBhvr>
                      <p:to>
                        <p:strVal val="hidden"/>
                      </p:to>
                    </p:set>
                  </p:childTnLst>
                </p:cTn>
              </p:par>
            </p:tnLst>
          </p:tmpl>
          <p:tmpl lvl="5">
            <p:tnLst>
              <p:par>
                <p:cTn presetID="1" presetClass="exit" presetSubtype="0" fill="hold" nodeType="withEffect">
                  <p:stCondLst>
                    <p:cond delay="0"/>
                  </p:stCondLst>
                  <p:childTnLst>
                    <p:set>
                      <p:cBhvr>
                        <p:cTn dur="1" fill="hold">
                          <p:stCondLst>
                            <p:cond delay="0"/>
                          </p:stCondLst>
                        </p:cTn>
                        <p:tgtEl>
                          <p:spTgt spid="5"/>
                        </p:tgtEl>
                        <p:attrNameLst>
                          <p:attrName>style.visibility</p:attrName>
                        </p:attrNameLst>
                      </p:cBhvr>
                      <p:to>
                        <p:strVal val="hidden"/>
                      </p:to>
                    </p:set>
                  </p:childTnLst>
                </p:cTn>
              </p:par>
            </p:tnLst>
          </p:tmpl>
        </p:tmplLst>
      </p:bldP>
      <p:bldP spid="5" grpId="1" build="p">
        <p:tmplLst>
          <p:tmpl lvl="1">
            <p:tnLst>
              <p:par>
                <p:cTn presetID="42" presetClass="entr" presetSubtype="0" fill="hold" nodeType="click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1000"/>
                        <p:tgtEl>
                          <p:spTgt spid="5"/>
                        </p:tgtEl>
                      </p:cBhvr>
                    </p:animEffect>
                    <p:anim calcmode="lin" valueType="num">
                      <p:cBhvr>
                        <p:cTn dur="1000" fill="hold"/>
                        <p:tgtEl>
                          <p:spTgt spid="5"/>
                        </p:tgtEl>
                        <p:attrNameLst>
                          <p:attrName>ppt_x</p:attrName>
                        </p:attrNameLst>
                      </p:cBhvr>
                      <p:tavLst>
                        <p:tav tm="0">
                          <p:val>
                            <p:strVal val="#ppt_x"/>
                          </p:val>
                        </p:tav>
                        <p:tav tm="100000">
                          <p:val>
                            <p:strVal val="#ppt_x"/>
                          </p:val>
                        </p:tav>
                      </p:tavLst>
                    </p:anim>
                    <p:anim calcmode="lin" valueType="num">
                      <p:cBhvr>
                        <p:cTn dur="1000" fill="hold"/>
                        <p:tgtEl>
                          <p:spTgt spid="5"/>
                        </p:tgtEl>
                        <p:attrNameLst>
                          <p:attrName>ppt_y</p:attrName>
                        </p:attrNameLst>
                      </p:cBhvr>
                      <p:tavLst>
                        <p:tav tm="0">
                          <p:val>
                            <p:strVal val="#ppt_y+.1"/>
                          </p:val>
                        </p:tav>
                        <p:tav tm="100000">
                          <p:val>
                            <p:strVal val="#ppt_y"/>
                          </p:val>
                        </p:tav>
                      </p:tavLst>
                    </p:anim>
                  </p:childTnLst>
                </p:cTn>
              </p:par>
            </p:tnLst>
          </p:tmpl>
          <p:tmpl lvl="2">
            <p:tnLst>
              <p:par>
                <p:cTn presetID="42" presetClass="entr" presetSubtype="0" fill="hold" nodeType="click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1000"/>
                        <p:tgtEl>
                          <p:spTgt spid="5"/>
                        </p:tgtEl>
                      </p:cBhvr>
                    </p:animEffect>
                    <p:anim calcmode="lin" valueType="num">
                      <p:cBhvr>
                        <p:cTn dur="1000" fill="hold"/>
                        <p:tgtEl>
                          <p:spTgt spid="5"/>
                        </p:tgtEl>
                        <p:attrNameLst>
                          <p:attrName>ppt_x</p:attrName>
                        </p:attrNameLst>
                      </p:cBhvr>
                      <p:tavLst>
                        <p:tav tm="0">
                          <p:val>
                            <p:strVal val="#ppt_x"/>
                          </p:val>
                        </p:tav>
                        <p:tav tm="100000">
                          <p:val>
                            <p:strVal val="#ppt_x"/>
                          </p:val>
                        </p:tav>
                      </p:tavLst>
                    </p:anim>
                    <p:anim calcmode="lin" valueType="num">
                      <p:cBhvr>
                        <p:cTn dur="1000" fill="hold"/>
                        <p:tgtEl>
                          <p:spTgt spid="5"/>
                        </p:tgtEl>
                        <p:attrNameLst>
                          <p:attrName>ppt_y</p:attrName>
                        </p:attrNameLst>
                      </p:cBhvr>
                      <p:tavLst>
                        <p:tav tm="0">
                          <p:val>
                            <p:strVal val="#ppt_y+.1"/>
                          </p:val>
                        </p:tav>
                        <p:tav tm="100000">
                          <p:val>
                            <p:strVal val="#ppt_y"/>
                          </p:val>
                        </p:tav>
                      </p:tavLst>
                    </p:anim>
                  </p:childTnLst>
                </p:cTn>
              </p:par>
            </p:tnLst>
          </p:tmpl>
          <p:tmpl lvl="3">
            <p:tnLst>
              <p:par>
                <p:cTn presetID="42" presetClass="entr" presetSubtype="0" fill="hold" nodeType="click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1000"/>
                        <p:tgtEl>
                          <p:spTgt spid="5"/>
                        </p:tgtEl>
                      </p:cBhvr>
                    </p:animEffect>
                    <p:anim calcmode="lin" valueType="num">
                      <p:cBhvr>
                        <p:cTn dur="1000" fill="hold"/>
                        <p:tgtEl>
                          <p:spTgt spid="5"/>
                        </p:tgtEl>
                        <p:attrNameLst>
                          <p:attrName>ppt_x</p:attrName>
                        </p:attrNameLst>
                      </p:cBhvr>
                      <p:tavLst>
                        <p:tav tm="0">
                          <p:val>
                            <p:strVal val="#ppt_x"/>
                          </p:val>
                        </p:tav>
                        <p:tav tm="100000">
                          <p:val>
                            <p:strVal val="#ppt_x"/>
                          </p:val>
                        </p:tav>
                      </p:tavLst>
                    </p:anim>
                    <p:anim calcmode="lin" valueType="num">
                      <p:cBhvr>
                        <p:cTn dur="1000" fill="hold"/>
                        <p:tgtEl>
                          <p:spTgt spid="5"/>
                        </p:tgtEl>
                        <p:attrNameLst>
                          <p:attrName>ppt_y</p:attrName>
                        </p:attrNameLst>
                      </p:cBhvr>
                      <p:tavLst>
                        <p:tav tm="0">
                          <p:val>
                            <p:strVal val="#ppt_y+.1"/>
                          </p:val>
                        </p:tav>
                        <p:tav tm="100000">
                          <p:val>
                            <p:strVal val="#ppt_y"/>
                          </p:val>
                        </p:tav>
                      </p:tavLst>
                    </p:anim>
                  </p:childTnLst>
                </p:cTn>
              </p:par>
            </p:tnLst>
          </p:tmpl>
          <p:tmpl lvl="4">
            <p:tnLst>
              <p:par>
                <p:cTn presetID="42" presetClass="entr" presetSubtype="0" fill="hold" nodeType="click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1000"/>
                        <p:tgtEl>
                          <p:spTgt spid="5"/>
                        </p:tgtEl>
                      </p:cBhvr>
                    </p:animEffect>
                    <p:anim calcmode="lin" valueType="num">
                      <p:cBhvr>
                        <p:cTn dur="1000" fill="hold"/>
                        <p:tgtEl>
                          <p:spTgt spid="5"/>
                        </p:tgtEl>
                        <p:attrNameLst>
                          <p:attrName>ppt_x</p:attrName>
                        </p:attrNameLst>
                      </p:cBhvr>
                      <p:tavLst>
                        <p:tav tm="0">
                          <p:val>
                            <p:strVal val="#ppt_x"/>
                          </p:val>
                        </p:tav>
                        <p:tav tm="100000">
                          <p:val>
                            <p:strVal val="#ppt_x"/>
                          </p:val>
                        </p:tav>
                      </p:tavLst>
                    </p:anim>
                    <p:anim calcmode="lin" valueType="num">
                      <p:cBhvr>
                        <p:cTn dur="1000" fill="hold"/>
                        <p:tgtEl>
                          <p:spTgt spid="5"/>
                        </p:tgtEl>
                        <p:attrNameLst>
                          <p:attrName>ppt_y</p:attrName>
                        </p:attrNameLst>
                      </p:cBhvr>
                      <p:tavLst>
                        <p:tav tm="0">
                          <p:val>
                            <p:strVal val="#ppt_y+.1"/>
                          </p:val>
                        </p:tav>
                        <p:tav tm="100000">
                          <p:val>
                            <p:strVal val="#ppt_y"/>
                          </p:val>
                        </p:tav>
                      </p:tavLst>
                    </p:anim>
                  </p:childTnLst>
                </p:cTn>
              </p:par>
            </p:tnLst>
          </p:tmpl>
          <p:tmpl lvl="5">
            <p:tnLst>
              <p:par>
                <p:cTn presetID="42" presetClass="entr" presetSubtype="0" fill="hold" nodeType="click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1000"/>
                        <p:tgtEl>
                          <p:spTgt spid="5"/>
                        </p:tgtEl>
                      </p:cBhvr>
                    </p:animEffect>
                    <p:anim calcmode="lin" valueType="num">
                      <p:cBhvr>
                        <p:cTn dur="1000" fill="hold"/>
                        <p:tgtEl>
                          <p:spTgt spid="5"/>
                        </p:tgtEl>
                        <p:attrNameLst>
                          <p:attrName>ppt_x</p:attrName>
                        </p:attrNameLst>
                      </p:cBhvr>
                      <p:tavLst>
                        <p:tav tm="0">
                          <p:val>
                            <p:strVal val="#ppt_x"/>
                          </p:val>
                        </p:tav>
                        <p:tav tm="100000">
                          <p:val>
                            <p:strVal val="#ppt_x"/>
                          </p:val>
                        </p:tav>
                      </p:tavLst>
                    </p:anim>
                    <p:anim calcmode="lin" valueType="num">
                      <p:cBhvr>
                        <p:cTn dur="1000" fill="hold"/>
                        <p:tgtEl>
                          <p:spTgt spid="5"/>
                        </p:tgtEl>
                        <p:attrNameLst>
                          <p:attrName>ppt_y</p:attrName>
                        </p:attrNameLst>
                      </p:cBhvr>
                      <p:tavLst>
                        <p:tav tm="0">
                          <p:val>
                            <p:strVal val="#ppt_y+.1"/>
                          </p:val>
                        </p:tav>
                        <p:tav tm="100000">
                          <p:val>
                            <p:strVal val="#ppt_y"/>
                          </p:val>
                        </p:tav>
                      </p:tavLst>
                    </p:anim>
                  </p:childTnLst>
                </p:cTn>
              </p:par>
            </p:tnLst>
          </p:tmpl>
        </p:tmplLst>
      </p:bldP>
      <p:bldP spid="6" grpId="0">
        <p:tmplLst>
          <p:tmpl>
            <p:tnLst>
              <p:par>
                <p:cTn presetID="14" presetClass="entr" presetSubtype="10" fill="hold" nodeType="afterEffect">
                  <p:stCondLst>
                    <p:cond delay="0"/>
                  </p:stCondLst>
                  <p:childTnLst>
                    <p:set>
                      <p:cBhvr>
                        <p:cTn dur="1" fill="hold">
                          <p:stCondLst>
                            <p:cond delay="0"/>
                          </p:stCondLst>
                        </p:cTn>
                        <p:tgtEl>
                          <p:spTgt spid="6"/>
                        </p:tgtEl>
                        <p:attrNameLst>
                          <p:attrName>style.visibility</p:attrName>
                        </p:attrNameLst>
                      </p:cBhvr>
                      <p:to>
                        <p:strVal val="visible"/>
                      </p:to>
                    </p:set>
                    <p:animEffect transition="in" filter="randombar(horizontal)">
                      <p:cBhvr>
                        <p:cTn dur="500"/>
                        <p:tgtEl>
                          <p:spTgt spid="6"/>
                        </p:tgtEl>
                      </p:cBhvr>
                    </p:animEffect>
                  </p:childTnLst>
                </p:cTn>
              </p:par>
            </p:tnLst>
          </p:tmpl>
        </p:tmplLst>
      </p:bldP>
      <p:bldP spid="6" grpId="1">
        <p:tmplLst>
          <p:tmpl>
            <p:tnLst>
              <p:par>
                <p:cTn presetID="42" presetClass="path" presetSubtype="0" accel="50000" decel="50000" fill="hold" nodeType="afterEffect">
                  <p:stCondLst>
                    <p:cond delay="0"/>
                  </p:stCondLst>
                  <p:childTnLst>
                    <p:animMotion origin="layout" path="M -4.16667E-6 -1.11111E-6 L -0.02187 -0.04537 " pathEditMode="relative" rAng="0" ptsTypes="AA">
                      <p:cBhvr>
                        <p:cTn dur="500" fill="hold"/>
                        <p:tgtEl>
                          <p:spTgt spid="6"/>
                        </p:tgtEl>
                        <p:attrNameLst>
                          <p:attrName>ppt_x</p:attrName>
                          <p:attrName>ppt_y</p:attrName>
                        </p:attrNameLst>
                      </p:cBhvr>
                      <p:rCtr x="-1094" y="-2269"/>
                    </p:animMotion>
                  </p:childTnLst>
                </p:cTn>
              </p:par>
            </p:tnLst>
          </p:tmpl>
        </p:tmplLst>
      </p:bldP>
    </p:bld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Content &amp; Code">
    <p:spTree>
      <p:nvGrpSpPr>
        <p:cNvPr id="1" name=""/>
        <p:cNvGrpSpPr/>
        <p:nvPr/>
      </p:nvGrpSpPr>
      <p:grpSpPr>
        <a:xfrm>
          <a:off x="0" y="0"/>
          <a:ext cx="0" cy="0"/>
          <a:chOff x="0" y="0"/>
          <a:chExt cx="0" cy="0"/>
        </a:xfrm>
      </p:grpSpPr>
      <p:sp>
        <p:nvSpPr>
          <p:cNvPr id="2" name="Title 1"/>
          <p:cNvSpPr>
            <a:spLocks noGrp="1"/>
          </p:cNvSpPr>
          <p:nvPr>
            <p:ph type="title"/>
          </p:nvPr>
        </p:nvSpPr>
        <p:spPr>
          <a:xfrm>
            <a:off x="151194" y="353551"/>
            <a:ext cx="8833654" cy="878350"/>
          </a:xfrm>
        </p:spPr>
        <p:txBody>
          <a:bodyPr/>
          <a:lstStyle/>
          <a:p>
            <a:r>
              <a:rPr lang="en-US" dirty="0"/>
              <a:t>Click to edit Master title style</a:t>
            </a:r>
          </a:p>
        </p:txBody>
      </p:sp>
      <p:sp>
        <p:nvSpPr>
          <p:cNvPr id="3" name="Content Placeholder 2"/>
          <p:cNvSpPr>
            <a:spLocks noGrp="1"/>
          </p:cNvSpPr>
          <p:nvPr>
            <p:ph idx="1"/>
          </p:nvPr>
        </p:nvSpPr>
        <p:spPr>
          <a:xfrm>
            <a:off x="151194" y="1231902"/>
            <a:ext cx="8833654" cy="2421204"/>
          </a:xfrm>
        </p:spPr>
        <p:txBody>
          <a:bodyPr>
            <a:normAutofit/>
          </a:bodyPr>
          <a:lstStyle>
            <a:lvl1pPr marL="0" indent="0">
              <a:buFont typeface="Arial" panose="020B0604020202020204" pitchFamily="34" charset="0"/>
              <a:buNone/>
              <a:defRPr sz="2100"/>
            </a:lvl1pPr>
            <a:lvl2pPr marL="342900" indent="0">
              <a:buFont typeface="Arial" panose="020B0604020202020204" pitchFamily="34" charset="0"/>
              <a:buNone/>
              <a:defRPr sz="1800"/>
            </a:lvl2pPr>
            <a:lvl3pPr marL="685800" indent="0">
              <a:buFont typeface="Arial" panose="020B0604020202020204" pitchFamily="34" charset="0"/>
              <a:buNone/>
              <a:defRPr sz="1500"/>
            </a:lvl3pPr>
            <a:lvl4pPr marL="1028700" indent="0">
              <a:buFont typeface="Arial" panose="020B0604020202020204" pitchFamily="34" charset="0"/>
              <a:buNone/>
              <a:defRPr sz="1350"/>
            </a:lvl4pPr>
            <a:lvl5pPr marL="1371600" indent="0">
              <a:buFont typeface="Arial" panose="020B0604020202020204" pitchFamily="34" charset="0"/>
              <a:buNone/>
              <a:defRPr sz="135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6">
            <a:extLst>
              <a:ext uri="{FF2B5EF4-FFF2-40B4-BE49-F238E27FC236}">
                <a16:creationId xmlns:a16="http://schemas.microsoft.com/office/drawing/2014/main" id="{06833DA2-9089-4E59-9B9D-7F3A29DCE61C}"/>
              </a:ext>
            </a:extLst>
          </p:cNvPr>
          <p:cNvSpPr/>
          <p:nvPr userDrawn="1"/>
        </p:nvSpPr>
        <p:spPr bwMode="auto">
          <a:xfrm>
            <a:off x="33849" y="3653108"/>
            <a:ext cx="9020275" cy="3129417"/>
          </a:xfrm>
          <a:prstGeom prst="rect">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577" fontAlgn="base">
              <a:spcBef>
                <a:spcPct val="0"/>
              </a:spcBef>
              <a:spcAft>
                <a:spcPct val="0"/>
              </a:spcAft>
            </a:pPr>
            <a:endParaRPr lang="en-US" sz="1471" dirty="0">
              <a:gradFill>
                <a:gsLst>
                  <a:gs pos="0">
                    <a:srgbClr val="FFFFFF"/>
                  </a:gs>
                  <a:gs pos="100000">
                    <a:srgbClr val="FFFFFF"/>
                  </a:gs>
                </a:gsLst>
                <a:lin ang="5400000" scaled="0"/>
              </a:gradFill>
            </a:endParaRPr>
          </a:p>
        </p:txBody>
      </p:sp>
      <p:sp>
        <p:nvSpPr>
          <p:cNvPr id="10" name="Content Placeholder 2">
            <a:extLst>
              <a:ext uri="{FF2B5EF4-FFF2-40B4-BE49-F238E27FC236}">
                <a16:creationId xmlns:a16="http://schemas.microsoft.com/office/drawing/2014/main" id="{A7A07890-C86B-4334-9F28-D4C01C01B9F8}"/>
              </a:ext>
            </a:extLst>
          </p:cNvPr>
          <p:cNvSpPr>
            <a:spLocks noGrp="1"/>
          </p:cNvSpPr>
          <p:nvPr>
            <p:ph idx="10" hasCustomPrompt="1"/>
          </p:nvPr>
        </p:nvSpPr>
        <p:spPr>
          <a:xfrm>
            <a:off x="151194" y="3795486"/>
            <a:ext cx="8833654" cy="2910114"/>
          </a:xfrm>
          <a:solidFill>
            <a:schemeClr val="bg1"/>
          </a:solidFill>
        </p:spPr>
        <p:txBody>
          <a:bodyPr>
            <a:normAutofit/>
          </a:bodyPr>
          <a:lstStyle>
            <a:lvl1pPr marL="0" indent="0" defTabSz="0">
              <a:buFont typeface="Arial" panose="020B0604020202020204" pitchFamily="34" charset="0"/>
              <a:buNone/>
              <a:defRPr sz="750">
                <a:latin typeface="Courier New" panose="02070309020205020404" pitchFamily="49" charset="0"/>
                <a:cs typeface="Courier New" panose="02070309020205020404" pitchFamily="49" charset="0"/>
              </a:defRPr>
            </a:lvl1pPr>
            <a:lvl2pPr marL="342900" indent="0" defTabSz="0">
              <a:buFont typeface="Arial" panose="020B0604020202020204" pitchFamily="34" charset="0"/>
              <a:buNone/>
              <a:defRPr sz="750">
                <a:latin typeface="Courier New" panose="02070309020205020404" pitchFamily="49" charset="0"/>
                <a:cs typeface="Courier New" panose="02070309020205020404" pitchFamily="49" charset="0"/>
              </a:defRPr>
            </a:lvl2pPr>
            <a:lvl3pPr marL="685800" indent="0" defTabSz="0">
              <a:buFont typeface="Arial" panose="020B0604020202020204" pitchFamily="34" charset="0"/>
              <a:buNone/>
              <a:defRPr sz="750">
                <a:latin typeface="Courier New" panose="02070309020205020404" pitchFamily="49" charset="0"/>
                <a:cs typeface="Courier New" panose="02070309020205020404" pitchFamily="49" charset="0"/>
              </a:defRPr>
            </a:lvl3pPr>
            <a:lvl4pPr marL="1028700" indent="0" defTabSz="0">
              <a:buFont typeface="Arial" panose="020B0604020202020204" pitchFamily="34" charset="0"/>
              <a:buNone/>
              <a:defRPr sz="750">
                <a:latin typeface="Courier New" panose="02070309020205020404" pitchFamily="49" charset="0"/>
                <a:cs typeface="Courier New" panose="02070309020205020404" pitchFamily="49" charset="0"/>
              </a:defRPr>
            </a:lvl4pPr>
            <a:lvl5pPr marL="1371600" indent="0" defTabSz="0">
              <a:buFont typeface="Arial" panose="020B0604020202020204" pitchFamily="34" charset="0"/>
              <a:buNone/>
              <a:defRPr sz="750">
                <a:latin typeface="Courier New" panose="02070309020205020404" pitchFamily="49" charset="0"/>
                <a:cs typeface="Courier New" panose="02070309020205020404" pitchFamily="49" charset="0"/>
              </a:defRPr>
            </a:lvl5pPr>
          </a:lstStyle>
          <a:p>
            <a:pPr lvl="0"/>
            <a:r>
              <a:rPr lang="en-US" dirty="0"/>
              <a:t>Click to Edit</a:t>
            </a:r>
            <a:r>
              <a:rPr lang="en-US"/>
              <a:t>/Paste/Insert </a:t>
            </a:r>
            <a:r>
              <a:rPr lang="en-US" dirty="0"/>
              <a:t>Code or Paste/Insert Screenshot</a:t>
            </a:r>
          </a:p>
          <a:p>
            <a:pPr lvl="1"/>
            <a:r>
              <a:rPr lang="en-US" dirty="0"/>
              <a:t>	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887953614"/>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1122363"/>
            <a:ext cx="6858000" cy="2387600"/>
          </a:xfrm>
        </p:spPr>
        <p:txBody>
          <a:bodyPr anchor="b"/>
          <a:lstStyle>
            <a:lvl1pPr algn="ctr">
              <a:defRPr sz="4500"/>
            </a:lvl1pPr>
          </a:lstStyle>
          <a:p>
            <a:r>
              <a:rPr lang="en-US"/>
              <a:t>Click to edit Master title style</a:t>
            </a:r>
            <a:endParaRPr lang="en-US" dirty="0"/>
          </a:p>
        </p:txBody>
      </p:sp>
      <p:sp>
        <p:nvSpPr>
          <p:cNvPr id="3" name="Subtitle 2"/>
          <p:cNvSpPr>
            <a:spLocks noGrp="1"/>
          </p:cNvSpPr>
          <p:nvPr>
            <p:ph type="subTitle" idx="1"/>
          </p:nvPr>
        </p:nvSpPr>
        <p:spPr>
          <a:xfrm>
            <a:off x="1143000" y="3602038"/>
            <a:ext cx="6858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6/5/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272120781"/>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51194" y="353551"/>
            <a:ext cx="8833654" cy="878350"/>
          </a:xfrm>
        </p:spPr>
        <p:txBody>
          <a:bodyPr/>
          <a:lstStyle/>
          <a:p>
            <a:r>
              <a:rPr lang="en-US"/>
              <a:t>Click to edit Master title style</a:t>
            </a:r>
            <a:endParaRPr lang="en-US" dirty="0"/>
          </a:p>
        </p:txBody>
      </p:sp>
      <p:sp>
        <p:nvSpPr>
          <p:cNvPr id="3" name="Content Placeholder 2"/>
          <p:cNvSpPr>
            <a:spLocks noGrp="1"/>
          </p:cNvSpPr>
          <p:nvPr>
            <p:ph idx="1"/>
          </p:nvPr>
        </p:nvSpPr>
        <p:spPr>
          <a:xfrm>
            <a:off x="151194" y="1231902"/>
            <a:ext cx="8833654" cy="4933487"/>
          </a:xfrm>
        </p:spPr>
        <p:txBody>
          <a:bodyPr>
            <a:normAutofit/>
          </a:bodyPr>
          <a:lstStyle>
            <a:lvl1pPr marL="0" indent="0">
              <a:buFontTx/>
              <a:buNone/>
              <a:defRPr sz="2700"/>
            </a:lvl1pPr>
            <a:lvl2pPr marL="342900" indent="0">
              <a:buFontTx/>
              <a:buNone/>
              <a:defRPr sz="2400"/>
            </a:lvl2pPr>
            <a:lvl3pPr marL="685800" indent="0">
              <a:buFontTx/>
              <a:buNone/>
              <a:defRPr sz="2100"/>
            </a:lvl3pPr>
            <a:lvl4pPr marL="1028700" indent="0">
              <a:buFontTx/>
              <a:buNone/>
              <a:defRPr sz="1800"/>
            </a:lvl4pPr>
            <a:lvl5pPr marL="1371600" indent="0">
              <a:buFontTx/>
              <a:buNone/>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C764DE79-268F-4C1A-8933-263129D2AF90}" type="datetimeFigureOut">
              <a:rPr lang="en-US" dirty="0"/>
              <a:t>6/5/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1579538632"/>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secHead" preserve="1">
  <p:cSld name="Section Header">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527" y="358017"/>
            <a:ext cx="7886700" cy="2275854"/>
          </a:xfrm>
        </p:spPr>
        <p:txBody>
          <a:bodyPr anchor="b"/>
          <a:lstStyle>
            <a:lvl1pPr>
              <a:defRPr sz="4500"/>
            </a:lvl1pPr>
          </a:lstStyle>
          <a:p>
            <a:r>
              <a:rPr lang="en-US"/>
              <a:t>Click to edit Master title style</a:t>
            </a:r>
            <a:endParaRPr lang="en-US" dirty="0"/>
          </a:p>
        </p:txBody>
      </p:sp>
      <p:sp>
        <p:nvSpPr>
          <p:cNvPr id="3" name="Text Placeholder 2"/>
          <p:cNvSpPr>
            <a:spLocks noGrp="1"/>
          </p:cNvSpPr>
          <p:nvPr>
            <p:ph type="body" idx="1"/>
          </p:nvPr>
        </p:nvSpPr>
        <p:spPr>
          <a:xfrm>
            <a:off x="519527" y="2994923"/>
            <a:ext cx="7886700" cy="1500187"/>
          </a:xfrm>
        </p:spPr>
        <p:txBody>
          <a:bodyPr/>
          <a:lstStyle>
            <a:lvl1pPr marL="0" indent="0">
              <a:buNone/>
              <a:defRPr sz="1800" baseline="0">
                <a:solidFill>
                  <a:srgbClr val="0070C0"/>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dirty="0"/>
              <a:t>Click to edit Master text styles</a:t>
            </a:r>
          </a:p>
        </p:txBody>
      </p:sp>
      <p:sp>
        <p:nvSpPr>
          <p:cNvPr id="4" name="Date Placeholder 3"/>
          <p:cNvSpPr>
            <a:spLocks noGrp="1"/>
          </p:cNvSpPr>
          <p:nvPr>
            <p:ph type="dt" sz="half" idx="10"/>
          </p:nvPr>
        </p:nvSpPr>
        <p:spPr/>
        <p:txBody>
          <a:bodyPr/>
          <a:lstStyle/>
          <a:p>
            <a:fld id="{C764DE79-268F-4C1A-8933-263129D2AF90}" type="datetimeFigureOut">
              <a:rPr lang="en-US" dirty="0"/>
              <a:t>6/5/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pic>
        <p:nvPicPr>
          <p:cNvPr id="7" name="Picture 6"/>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336992" y="6061767"/>
            <a:ext cx="1141803" cy="326167"/>
          </a:xfrm>
          <a:prstGeom prst="rect">
            <a:avLst/>
          </a:prstGeom>
        </p:spPr>
      </p:pic>
    </p:spTree>
    <p:extLst>
      <p:ext uri="{BB962C8B-B14F-4D97-AF65-F5344CB8AC3E}">
        <p14:creationId xmlns:p14="http://schemas.microsoft.com/office/powerpoint/2010/main" val="5547983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9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950"/>
                                        <p:tgtEl>
                                          <p:spTgt spid="7"/>
                                        </p:tgtEl>
                                      </p:cBhvr>
                                    </p:animEffect>
                                  </p:childTnLst>
                                </p:cTn>
                              </p:par>
                              <p:par>
                                <p:cTn id="8" presetID="63" presetClass="path" presetSubtype="0" decel="100000" fill="hold" nodeType="withEffect">
                                  <p:stCondLst>
                                    <p:cond delay="900"/>
                                  </p:stCondLst>
                                  <p:childTnLst>
                                    <p:animMotion origin="layout" path="M -0.01455 -1.34362E-6 L -3.90605E-7 -1.34362E-6 " pathEditMode="relative" rAng="0" ptsTypes="AA">
                                      <p:cBhvr>
                                        <p:cTn id="9" dur="950" fill="hold"/>
                                        <p:tgtEl>
                                          <p:spTgt spid="7"/>
                                        </p:tgtEl>
                                        <p:attrNameLst>
                                          <p:attrName>ppt_x</p:attrName>
                                          <p:attrName>ppt_y</p:attrName>
                                        </p:attrNameLst>
                                      </p:cBhvr>
                                      <p:rCtr x="728" y="0"/>
                                    </p:animMotion>
                                  </p:childTnLst>
                                </p:cTn>
                              </p:par>
                              <p:par>
                                <p:cTn id="10" presetID="6" presetClass="emph" presetSubtype="0" accel="100000" autoRev="1" fill="hold" nodeType="withEffect">
                                  <p:stCondLst>
                                    <p:cond delay="200"/>
                                  </p:stCondLst>
                                  <p:childTnLst>
                                    <p:animScale>
                                      <p:cBhvr>
                                        <p:cTn id="11" dur="500" fill="hold"/>
                                        <p:tgtEl>
                                          <p:spTgt spid="7"/>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type="secHead" preserve="1">
  <p:cSld name="1_Section Header">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9"/>
            <a:ext cx="7886700" cy="2852737"/>
          </a:xfrm>
        </p:spPr>
        <p:txBody>
          <a:bodyPr anchor="b"/>
          <a:lstStyle>
            <a:lvl1pPr>
              <a:defRPr sz="4500"/>
            </a:lvl1pPr>
          </a:lstStyle>
          <a:p>
            <a:r>
              <a:rPr lang="en-US"/>
              <a:t>Click to edit Master title style</a:t>
            </a:r>
            <a:endParaRPr lang="en-US" dirty="0"/>
          </a:p>
        </p:txBody>
      </p:sp>
      <p:sp>
        <p:nvSpPr>
          <p:cNvPr id="3" name="Text Placeholder 2"/>
          <p:cNvSpPr>
            <a:spLocks noGrp="1"/>
          </p:cNvSpPr>
          <p:nvPr>
            <p:ph type="body" idx="1"/>
          </p:nvPr>
        </p:nvSpPr>
        <p:spPr>
          <a:xfrm>
            <a:off x="623888" y="4589464"/>
            <a:ext cx="7886700" cy="1500187"/>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764DE79-268F-4C1A-8933-263129D2AF90}" type="datetimeFigureOut">
              <a:rPr lang="en-US" dirty="0"/>
              <a:t>6/5/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227161529"/>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28650" y="219619"/>
            <a:ext cx="7886700" cy="905377"/>
          </a:xfrm>
        </p:spPr>
        <p:txBody>
          <a:bodyPr/>
          <a:lstStyle/>
          <a:p>
            <a:r>
              <a:rPr lang="en-US"/>
              <a:t>Click to edit Master title style</a:t>
            </a:r>
            <a:endParaRPr lang="en-US" dirty="0"/>
          </a:p>
        </p:txBody>
      </p:sp>
      <p:sp>
        <p:nvSpPr>
          <p:cNvPr id="3" name="Content Placeholder 2"/>
          <p:cNvSpPr>
            <a:spLocks noGrp="1"/>
          </p:cNvSpPr>
          <p:nvPr>
            <p:ph sz="half" idx="1"/>
          </p:nvPr>
        </p:nvSpPr>
        <p:spPr>
          <a:xfrm>
            <a:off x="167640" y="1279525"/>
            <a:ext cx="4274820" cy="496887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4758690" y="1279525"/>
            <a:ext cx="4274820" cy="49688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C764DE79-268F-4C1A-8933-263129D2AF90}" type="datetimeFigureOut">
              <a:rPr lang="en-US" dirty="0"/>
              <a:t>6/5/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84692763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Exam Tip">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85AA6D59-CBDC-4B28-BD8C-5E1C09B31A46}"/>
              </a:ext>
            </a:extLst>
          </p:cNvPr>
          <p:cNvSpPr/>
          <p:nvPr userDrawn="1"/>
        </p:nvSpPr>
        <p:spPr>
          <a:xfrm>
            <a:off x="0" y="0"/>
            <a:ext cx="9144000" cy="6858000"/>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hasCustomPrompt="1"/>
          </p:nvPr>
        </p:nvSpPr>
        <p:spPr>
          <a:xfrm>
            <a:off x="201060" y="639601"/>
            <a:ext cx="8741879" cy="715581"/>
          </a:xfrm>
        </p:spPr>
        <p:txBody>
          <a:bodyPr>
            <a:normAutofit/>
          </a:bodyPr>
          <a:lstStyle>
            <a:lvl1pPr algn="l" defTabSz="685800" rtl="0" eaLnBrk="1" latinLnBrk="0" hangingPunct="1">
              <a:lnSpc>
                <a:spcPct val="90000"/>
              </a:lnSpc>
              <a:spcBef>
                <a:spcPct val="0"/>
              </a:spcBef>
              <a:buNone/>
              <a:defRPr lang="en-US" sz="3200" b="1" i="1" u="none" kern="1200" baseline="0" dirty="0">
                <a:solidFill>
                  <a:schemeClr val="tx1"/>
                </a:solidFill>
                <a:latin typeface="+mj-lt"/>
                <a:ea typeface="+mj-ea"/>
                <a:cs typeface="+mj-cs"/>
              </a:defRPr>
            </a:lvl1pPr>
          </a:lstStyle>
          <a:p>
            <a:r>
              <a:rPr lang="en-US" dirty="0"/>
              <a:t>Click to add Title</a:t>
            </a:r>
          </a:p>
        </p:txBody>
      </p:sp>
      <p:sp>
        <p:nvSpPr>
          <p:cNvPr id="4" name="Text Placeholder 3"/>
          <p:cNvSpPr>
            <a:spLocks noGrp="1"/>
          </p:cNvSpPr>
          <p:nvPr>
            <p:ph type="body" sz="quarter" idx="11" hasCustomPrompt="1"/>
          </p:nvPr>
        </p:nvSpPr>
        <p:spPr>
          <a:xfrm>
            <a:off x="201060" y="1441794"/>
            <a:ext cx="8741880" cy="4471326"/>
          </a:xfrm>
        </p:spPr>
        <p:txBody>
          <a:bodyPr>
            <a:noAutofit/>
          </a:bodyPr>
          <a:lstStyle>
            <a:lvl1pPr marL="0" indent="0">
              <a:buNone/>
              <a:defRPr sz="3000"/>
            </a:lvl1pPr>
            <a:lvl2pPr marL="21009" indent="0">
              <a:buNone/>
              <a:defRPr sz="1471"/>
            </a:lvl2pPr>
            <a:lvl3pPr marL="164571" indent="0">
              <a:buNone/>
              <a:defRPr sz="1471"/>
            </a:lvl3pPr>
            <a:lvl4pPr marL="350151" indent="0">
              <a:buNone/>
              <a:defRPr sz="1324"/>
            </a:lvl4pPr>
            <a:lvl5pPr marL="543901" indent="0">
              <a:buNone/>
              <a:defRPr sz="1324"/>
            </a:lvl5pPr>
          </a:lstStyle>
          <a:p>
            <a:pPr lvl="0"/>
            <a:r>
              <a:rPr lang="en-US" dirty="0"/>
              <a:t>Click to edit</a:t>
            </a:r>
          </a:p>
        </p:txBody>
      </p:sp>
      <p:sp>
        <p:nvSpPr>
          <p:cNvPr id="5" name="Rectangle 4"/>
          <p:cNvSpPr/>
          <p:nvPr userDrawn="1"/>
        </p:nvSpPr>
        <p:spPr>
          <a:xfrm>
            <a:off x="201060" y="86612"/>
            <a:ext cx="3235181" cy="715581"/>
          </a:xfrm>
          <a:prstGeom prst="rect">
            <a:avLst/>
          </a:prstGeom>
        </p:spPr>
        <p:txBody>
          <a:bodyPr wrap="none">
            <a:spAutoFit/>
          </a:bodyPr>
          <a:lstStyle/>
          <a:p>
            <a:pPr algn="l"/>
            <a:r>
              <a:rPr lang="en-US" sz="4050" b="1" dirty="0"/>
              <a:t>EXAM TIP!</a:t>
            </a:r>
          </a:p>
        </p:txBody>
      </p:sp>
      <p:sp>
        <p:nvSpPr>
          <p:cNvPr id="6" name="Text Placeholder 4">
            <a:extLst>
              <a:ext uri="{FF2B5EF4-FFF2-40B4-BE49-F238E27FC236}">
                <a16:creationId xmlns:a16="http://schemas.microsoft.com/office/drawing/2014/main" id="{380C91C6-C6AF-40A3-AE50-C2507708BECF}"/>
              </a:ext>
            </a:extLst>
          </p:cNvPr>
          <p:cNvSpPr>
            <a:spLocks noGrp="1"/>
          </p:cNvSpPr>
          <p:nvPr>
            <p:ph type="body" sz="quarter" idx="10" hasCustomPrompt="1"/>
          </p:nvPr>
        </p:nvSpPr>
        <p:spPr>
          <a:xfrm>
            <a:off x="158354" y="5987143"/>
            <a:ext cx="8784586" cy="823460"/>
          </a:xfrm>
          <a:solidFill>
            <a:srgbClr val="00B050"/>
          </a:solidFill>
        </p:spPr>
        <p:txBody>
          <a:bodyPr>
            <a:noAutofit/>
          </a:bodyPr>
          <a:lstStyle>
            <a:lvl1pPr marL="0" indent="0">
              <a:buFontTx/>
              <a:buNone/>
              <a:defRPr sz="1500" u="sng">
                <a:solidFill>
                  <a:schemeClr val="tx1">
                    <a:lumMod val="95000"/>
                    <a:lumOff val="5000"/>
                  </a:schemeClr>
                </a:solidFill>
              </a:defRPr>
            </a:lvl1pPr>
            <a:lvl2pPr marL="342900" indent="0">
              <a:buFontTx/>
              <a:buNone/>
              <a:defRPr sz="1500" u="sng">
                <a:solidFill>
                  <a:schemeClr val="tx1">
                    <a:lumMod val="95000"/>
                    <a:lumOff val="5000"/>
                  </a:schemeClr>
                </a:solidFill>
              </a:defRPr>
            </a:lvl2pPr>
            <a:lvl3pPr marL="685800" indent="0">
              <a:buFontTx/>
              <a:buNone/>
              <a:defRPr sz="1500" u="sng">
                <a:solidFill>
                  <a:schemeClr val="tx1">
                    <a:lumMod val="95000"/>
                    <a:lumOff val="5000"/>
                  </a:schemeClr>
                </a:solidFill>
              </a:defRPr>
            </a:lvl3pPr>
            <a:lvl4pPr marL="1028700" indent="0">
              <a:buFontTx/>
              <a:buNone/>
              <a:defRPr sz="1500" u="sng">
                <a:solidFill>
                  <a:schemeClr val="tx1">
                    <a:lumMod val="95000"/>
                    <a:lumOff val="5000"/>
                  </a:schemeClr>
                </a:solidFill>
              </a:defRPr>
            </a:lvl4pPr>
            <a:lvl5pPr marL="1371600" indent="0">
              <a:buFontTx/>
              <a:buNone/>
              <a:defRPr sz="1500" u="sng">
                <a:solidFill>
                  <a:schemeClr val="tx1">
                    <a:lumMod val="95000"/>
                    <a:lumOff val="5000"/>
                  </a:schemeClr>
                </a:solidFill>
              </a:defRPr>
            </a:lvl5pPr>
          </a:lstStyle>
          <a:p>
            <a:pPr lvl="0"/>
            <a:r>
              <a:rPr lang="en-US" dirty="0"/>
              <a:t>Edit Source UR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Box 7">
            <a:extLst>
              <a:ext uri="{FF2B5EF4-FFF2-40B4-BE49-F238E27FC236}">
                <a16:creationId xmlns:a16="http://schemas.microsoft.com/office/drawing/2014/main" id="{2443BABC-044D-4D97-A53B-4E9E8A49EFEC}"/>
              </a:ext>
            </a:extLst>
          </p:cNvPr>
          <p:cNvSpPr txBox="1"/>
          <p:nvPr userDrawn="1"/>
        </p:nvSpPr>
        <p:spPr>
          <a:xfrm>
            <a:off x="6208643" y="6512893"/>
            <a:ext cx="2842055" cy="307777"/>
          </a:xfrm>
          <a:prstGeom prst="rect">
            <a:avLst/>
          </a:prstGeom>
          <a:noFill/>
        </p:spPr>
        <p:txBody>
          <a:bodyPr wrap="square" rtlCol="0">
            <a:spAutoFit/>
          </a:bodyPr>
          <a:lstStyle/>
          <a:p>
            <a:r>
              <a:rPr lang="en-US" sz="1400" dirty="0"/>
              <a:t>#</a:t>
            </a:r>
            <a:r>
              <a:rPr lang="en-US" sz="1400" dirty="0" err="1"/>
              <a:t>AzureArch</a:t>
            </a:r>
            <a:r>
              <a:rPr lang="en-US" sz="1400" dirty="0"/>
              <a:t>  @</a:t>
            </a:r>
            <a:r>
              <a:rPr lang="en-US" sz="1400" dirty="0" err="1"/>
              <a:t>stilldrey</a:t>
            </a:r>
            <a:endParaRPr lang="en-US" sz="1400" dirty="0"/>
          </a:p>
        </p:txBody>
      </p:sp>
    </p:spTree>
    <p:extLst>
      <p:ext uri="{BB962C8B-B14F-4D97-AF65-F5344CB8AC3E}">
        <p14:creationId xmlns:p14="http://schemas.microsoft.com/office/powerpoint/2010/main" val="2045390758"/>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29841" y="365126"/>
            <a:ext cx="78867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629842" y="1681163"/>
            <a:ext cx="3868340"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p:cNvSpPr>
            <a:spLocks noGrp="1"/>
          </p:cNvSpPr>
          <p:nvPr>
            <p:ph sz="half" idx="2"/>
          </p:nvPr>
        </p:nvSpPr>
        <p:spPr>
          <a:xfrm>
            <a:off x="629842" y="2505075"/>
            <a:ext cx="3868340"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4629150" y="1681163"/>
            <a:ext cx="3887391"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p:cNvSpPr>
            <a:spLocks noGrp="1"/>
          </p:cNvSpPr>
          <p:nvPr>
            <p:ph sz="quarter" idx="4"/>
          </p:nvPr>
        </p:nvSpPr>
        <p:spPr>
          <a:xfrm>
            <a:off x="4629150" y="2505075"/>
            <a:ext cx="3887391"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C764DE79-268F-4C1A-8933-263129D2AF90}" type="datetimeFigureOut">
              <a:rPr lang="en-US" dirty="0"/>
              <a:t>6/5/2018</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85610532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28600" y="174626"/>
            <a:ext cx="8286750" cy="993775"/>
          </a:xfrm>
        </p:spPr>
        <p:txBody>
          <a:bodyPr>
            <a:normAutofit/>
          </a:bodyPr>
          <a:lstStyle>
            <a:lvl1pPr>
              <a:defRPr sz="4050"/>
            </a:lvl1pPr>
          </a:lstStyle>
          <a:p>
            <a:r>
              <a:rPr lang="en-US" dirty="0"/>
              <a:t>Click to edit Master title style</a:t>
            </a:r>
          </a:p>
        </p:txBody>
      </p:sp>
      <p:sp>
        <p:nvSpPr>
          <p:cNvPr id="3" name="Date Placeholder 2"/>
          <p:cNvSpPr>
            <a:spLocks noGrp="1"/>
          </p:cNvSpPr>
          <p:nvPr>
            <p:ph type="dt" sz="half" idx="10"/>
          </p:nvPr>
        </p:nvSpPr>
        <p:spPr/>
        <p:txBody>
          <a:bodyPr/>
          <a:lstStyle/>
          <a:p>
            <a:fld id="{C764DE79-268F-4C1A-8933-263129D2AF90}" type="datetimeFigureOut">
              <a:rPr lang="en-US" dirty="0"/>
              <a:t>6/5/2018</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1580434420"/>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764DE79-268F-4C1A-8933-263129D2AF90}" type="datetimeFigureOut">
              <a:rPr lang="en-US" dirty="0"/>
              <a:t>6/5/2018</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1306583301"/>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2400"/>
            </a:lvl1pPr>
          </a:lstStyle>
          <a:p>
            <a:r>
              <a:rPr lang="en-US"/>
              <a:t>Click to edit Master title style</a:t>
            </a:r>
            <a:endParaRPr lang="en-US" dirty="0"/>
          </a:p>
        </p:txBody>
      </p:sp>
      <p:sp>
        <p:nvSpPr>
          <p:cNvPr id="3" name="Content Placeholder 2"/>
          <p:cNvSpPr>
            <a:spLocks noGrp="1"/>
          </p:cNvSpPr>
          <p:nvPr>
            <p:ph idx="1"/>
          </p:nvPr>
        </p:nvSpPr>
        <p:spPr>
          <a:xfrm>
            <a:off x="3887391" y="987426"/>
            <a:ext cx="4629150" cy="4873625"/>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p:cNvSpPr>
            <a:spLocks noGrp="1"/>
          </p:cNvSpPr>
          <p:nvPr>
            <p:ph type="dt" sz="half" idx="10"/>
          </p:nvPr>
        </p:nvSpPr>
        <p:spPr/>
        <p:txBody>
          <a:bodyPr/>
          <a:lstStyle/>
          <a:p>
            <a:fld id="{C764DE79-268F-4C1A-8933-263129D2AF90}" type="datetimeFigureOut">
              <a:rPr lang="en-US" dirty="0"/>
              <a:t>6/5/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1262295015"/>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2400"/>
            </a:lvl1pPr>
          </a:lstStyle>
          <a:p>
            <a:r>
              <a:rPr lang="en-US"/>
              <a:t>Click to edit Master title style</a:t>
            </a:r>
            <a:endParaRPr lang="en-US" dirty="0"/>
          </a:p>
        </p:txBody>
      </p:sp>
      <p:sp>
        <p:nvSpPr>
          <p:cNvPr id="3" name="Picture Placeholder 2"/>
          <p:cNvSpPr>
            <a:spLocks noGrp="1" noChangeAspect="1"/>
          </p:cNvSpPr>
          <p:nvPr>
            <p:ph type="pic" idx="1"/>
          </p:nvPr>
        </p:nvSpPr>
        <p:spPr>
          <a:xfrm>
            <a:off x="3887391" y="987426"/>
            <a:ext cx="4629150" cy="4873625"/>
          </a:xfrm>
        </p:spPr>
        <p:txBody>
          <a:bodyPr anchor="t"/>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a:t>Click icon to add picture</a:t>
            </a:r>
            <a:endParaRPr lang="en-US" dirty="0"/>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p:cNvSpPr>
            <a:spLocks noGrp="1"/>
          </p:cNvSpPr>
          <p:nvPr>
            <p:ph type="dt" sz="half" idx="10"/>
          </p:nvPr>
        </p:nvSpPr>
        <p:spPr/>
        <p:txBody>
          <a:bodyPr/>
          <a:lstStyle/>
          <a:p>
            <a:fld id="{C764DE79-268F-4C1A-8933-263129D2AF90}" type="datetimeFigureOut">
              <a:rPr lang="en-US" dirty="0"/>
              <a:t>6/5/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1799605004"/>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6/5/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235009463"/>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5"/>
            <a:ext cx="1971675"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628650" y="365125"/>
            <a:ext cx="5800725"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6/5/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42477814"/>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2335" y="4309989"/>
            <a:ext cx="9141665" cy="2551127"/>
          </a:xfrm>
          <a:prstGeom prst="rect">
            <a:avLst/>
          </a:prstGeom>
          <a:solidFill>
            <a:srgbClr val="4DA0E2"/>
          </a:solidFill>
          <a:ln>
            <a:noFill/>
          </a:ln>
        </p:spPr>
        <p:txBody>
          <a:bodyPr vert="horz" wrap="square" lIns="67232" tIns="33616" rIns="67232" bIns="33616" numCol="1" anchor="t" anchorCtr="0" compatLnSpc="1">
            <a:prstTxWarp prst="textNoShape">
              <a:avLst/>
            </a:prstTxWarp>
          </a:bodyPr>
          <a:lstStyle/>
          <a:p>
            <a:endParaRPr lang="en-US" sz="1324"/>
          </a:p>
        </p:txBody>
      </p:sp>
      <p:sp>
        <p:nvSpPr>
          <p:cNvPr id="10" name="Rectangle 7"/>
          <p:cNvSpPr>
            <a:spLocks noChangeArrowheads="1"/>
          </p:cNvSpPr>
          <p:nvPr userDrawn="1"/>
        </p:nvSpPr>
        <p:spPr bwMode="auto">
          <a:xfrm>
            <a:off x="1" y="5729528"/>
            <a:ext cx="9141666" cy="1131586"/>
          </a:xfrm>
          <a:prstGeom prst="rect">
            <a:avLst/>
          </a:prstGeom>
          <a:solidFill>
            <a:srgbClr val="00188F"/>
          </a:solidFill>
          <a:ln>
            <a:noFill/>
          </a:ln>
          <a:extLst/>
        </p:spPr>
        <p:txBody>
          <a:bodyPr vert="horz" wrap="square" lIns="67232" tIns="33616" rIns="67232" bIns="33616" numCol="1" anchor="t" anchorCtr="0" compatLnSpc="1">
            <a:prstTxWarp prst="textNoShape">
              <a:avLst/>
            </a:prstTxWarp>
          </a:bodyPr>
          <a:lstStyle/>
          <a:p>
            <a:endParaRPr lang="en-US" sz="1324"/>
          </a:p>
        </p:txBody>
      </p:sp>
      <p:sp>
        <p:nvSpPr>
          <p:cNvPr id="11" name="Rectangle 8"/>
          <p:cNvSpPr>
            <a:spLocks noChangeArrowheads="1"/>
          </p:cNvSpPr>
          <p:nvPr userDrawn="1"/>
        </p:nvSpPr>
        <p:spPr bwMode="auto">
          <a:xfrm>
            <a:off x="2335" y="3343393"/>
            <a:ext cx="9139333"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endParaRPr lang="en-US" sz="1324"/>
          </a:p>
        </p:txBody>
      </p:sp>
      <p:sp>
        <p:nvSpPr>
          <p:cNvPr id="13" name="Rectangle 12"/>
          <p:cNvSpPr/>
          <p:nvPr userDrawn="1"/>
        </p:nvSpPr>
        <p:spPr bwMode="white">
          <a:xfrm>
            <a:off x="0" y="-312"/>
            <a:ext cx="9143533"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pPr>
            <a:endParaRPr lang="en-US" sz="1765"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03328" y="3877272"/>
            <a:ext cx="4705064" cy="1794661"/>
          </a:xfrm>
          <a:noFill/>
        </p:spPr>
        <p:txBody>
          <a:bodyPr lIns="146304" tIns="109728" rIns="146304" bIns="109728">
            <a:noAutofit/>
          </a:bodyPr>
          <a:lstStyle>
            <a:lvl1pPr marL="0" indent="0">
              <a:spcBef>
                <a:spcPts val="0"/>
              </a:spcBef>
              <a:buNone/>
              <a:defRPr sz="264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01977" y="2075840"/>
            <a:ext cx="7395458" cy="1801436"/>
          </a:xfrm>
          <a:noFill/>
        </p:spPr>
        <p:txBody>
          <a:bodyPr lIns="146304" tIns="91440" rIns="146304" bIns="91440" anchor="t" anchorCtr="0"/>
          <a:lstStyle>
            <a:lvl1pPr>
              <a:defRPr sz="4412" spc="-74"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336992" y="6061767"/>
            <a:ext cx="1141803" cy="326167"/>
          </a:xfrm>
          <a:prstGeom prst="rect">
            <a:avLst/>
          </a:prstGeom>
        </p:spPr>
      </p:pic>
      <p:sp>
        <p:nvSpPr>
          <p:cNvPr id="8" name="Rectangle 6"/>
          <p:cNvSpPr>
            <a:spLocks noChangeArrowheads="1"/>
          </p:cNvSpPr>
          <p:nvPr userDrawn="1"/>
        </p:nvSpPr>
        <p:spPr bwMode="auto">
          <a:xfrm>
            <a:off x="2335" y="4309989"/>
            <a:ext cx="9141665"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endParaRPr lang="en-US" sz="1324"/>
          </a:p>
        </p:txBody>
      </p:sp>
    </p:spTree>
    <p:extLst>
      <p:ext uri="{BB962C8B-B14F-4D97-AF65-F5344CB8AC3E}">
        <p14:creationId xmlns:p14="http://schemas.microsoft.com/office/powerpoint/2010/main" val="1060072080"/>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0" y="2084173"/>
            <a:ext cx="8740142" cy="1796217"/>
          </a:xfrm>
          <a:noFill/>
        </p:spPr>
        <p:txBody>
          <a:bodyPr tIns="91440" bIns="91440" anchor="t" anchorCtr="0"/>
          <a:lstStyle>
            <a:lvl1pPr>
              <a:defRPr sz="6470" spc="-74"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3248400" y="6586706"/>
            <a:ext cx="2647200" cy="11881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772" spc="110" dirty="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2953760315"/>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01930" y="1189178"/>
            <a:ext cx="8740142"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471"/>
            </a:lvl2pPr>
            <a:lvl3pPr marL="168073" indent="0">
              <a:buNone/>
              <a:defRPr/>
            </a:lvl3pPr>
            <a:lvl4pPr marL="336145" indent="0">
              <a:buNone/>
              <a:defRPr/>
            </a:lvl4pPr>
            <a:lvl5pPr marL="504218"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02357836"/>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ase Study Question">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45B7C354-0C5C-4196-BE29-DBA8ABB17A4F}"/>
              </a:ext>
            </a:extLst>
          </p:cNvPr>
          <p:cNvSpPr/>
          <p:nvPr userDrawn="1"/>
        </p:nvSpPr>
        <p:spPr>
          <a:xfrm>
            <a:off x="0" y="0"/>
            <a:ext cx="9144000" cy="6172200"/>
          </a:xfrm>
          <a:prstGeom prst="rect">
            <a:avLst/>
          </a:prstGeom>
          <a:solidFill>
            <a:srgbClr val="66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E7744812-071B-4DDA-A498-60D67CDBA951}"/>
              </a:ext>
            </a:extLst>
          </p:cNvPr>
          <p:cNvSpPr>
            <a:spLocks noGrp="1"/>
          </p:cNvSpPr>
          <p:nvPr>
            <p:ph type="title" hasCustomPrompt="1"/>
          </p:nvPr>
        </p:nvSpPr>
        <p:spPr/>
        <p:txBody>
          <a:bodyPr/>
          <a:lstStyle>
            <a:lvl1pPr>
              <a:defRPr/>
            </a:lvl1pPr>
          </a:lstStyle>
          <a:p>
            <a:r>
              <a:rPr lang="en-US" dirty="0"/>
              <a:t>Click to edit Scenario Case Study Title</a:t>
            </a:r>
          </a:p>
        </p:txBody>
      </p:sp>
      <p:sp>
        <p:nvSpPr>
          <p:cNvPr id="4" name="Content Placeholder 2">
            <a:extLst>
              <a:ext uri="{FF2B5EF4-FFF2-40B4-BE49-F238E27FC236}">
                <a16:creationId xmlns:a16="http://schemas.microsoft.com/office/drawing/2014/main" id="{428BF76E-A867-413D-99D3-38C859FD2EBE}"/>
              </a:ext>
            </a:extLst>
          </p:cNvPr>
          <p:cNvSpPr>
            <a:spLocks noGrp="1"/>
          </p:cNvSpPr>
          <p:nvPr>
            <p:ph idx="1" hasCustomPrompt="1"/>
          </p:nvPr>
        </p:nvSpPr>
        <p:spPr>
          <a:xfrm>
            <a:off x="279475" y="868681"/>
            <a:ext cx="8574837" cy="5212080"/>
          </a:xfrm>
        </p:spPr>
        <p:txBody>
          <a:bodyPr/>
          <a:lstStyle>
            <a:lvl1pPr marL="0" indent="0">
              <a:buFont typeface="+mj-lt"/>
              <a:buNone/>
              <a:defRPr/>
            </a:lvl1pPr>
          </a:lstStyle>
          <a:p>
            <a:pPr lvl="0"/>
            <a:r>
              <a:rPr lang="en-US" dirty="0"/>
              <a:t>Edit Scenario Case Study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a:extLst>
              <a:ext uri="{FF2B5EF4-FFF2-40B4-BE49-F238E27FC236}">
                <a16:creationId xmlns:a16="http://schemas.microsoft.com/office/drawing/2014/main" id="{4A939B04-3C34-406A-BE95-60EE5E849FD0}"/>
              </a:ext>
            </a:extLst>
          </p:cNvPr>
          <p:cNvSpPr>
            <a:spLocks noGrp="1"/>
          </p:cNvSpPr>
          <p:nvPr>
            <p:ph type="body" sz="quarter" idx="10" hasCustomPrompt="1"/>
          </p:nvPr>
        </p:nvSpPr>
        <p:spPr>
          <a:xfrm>
            <a:off x="261188" y="6307137"/>
            <a:ext cx="8574837"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3504820493"/>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1_Question &amp; Answ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1193" y="220717"/>
            <a:ext cx="8833654" cy="1308538"/>
          </a:xfrm>
          <a:solidFill>
            <a:schemeClr val="accent4">
              <a:lumMod val="40000"/>
              <a:lumOff val="60000"/>
            </a:schemeClr>
          </a:solidFill>
        </p:spPr>
        <p:txBody>
          <a:bodyPr>
            <a:normAutofit/>
          </a:bodyPr>
          <a:lstStyle>
            <a:lvl1pPr>
              <a:defRPr sz="2700"/>
            </a:lvl1pPr>
          </a:lstStyle>
          <a:p>
            <a:r>
              <a:rPr lang="en-US" dirty="0"/>
              <a:t>Click to edit Question style</a:t>
            </a:r>
          </a:p>
        </p:txBody>
      </p:sp>
      <p:sp>
        <p:nvSpPr>
          <p:cNvPr id="3" name="Content Placeholder 2"/>
          <p:cNvSpPr>
            <a:spLocks noGrp="1"/>
          </p:cNvSpPr>
          <p:nvPr>
            <p:ph idx="1" hasCustomPrompt="1"/>
          </p:nvPr>
        </p:nvSpPr>
        <p:spPr>
          <a:xfrm>
            <a:off x="151194" y="1529256"/>
            <a:ext cx="8833654" cy="5123793"/>
          </a:xfrm>
        </p:spPr>
        <p:txBody>
          <a:bodyPr>
            <a:normAutofit/>
          </a:bodyPr>
          <a:lstStyle>
            <a:lvl1pPr marL="557213" indent="-557213">
              <a:buFont typeface="+mj-lt"/>
              <a:buAutoNum type="arabicParenR"/>
              <a:defRPr sz="2700"/>
            </a:lvl1pPr>
            <a:lvl2pPr marL="728663" indent="-385763">
              <a:buFont typeface="+mj-lt"/>
              <a:buAutoNum type="alphaUcPeriod"/>
              <a:defRPr sz="2400"/>
            </a:lvl2pPr>
            <a:lvl3pPr marL="1114425" indent="-428625">
              <a:buFont typeface="+mj-lt"/>
              <a:buAutoNum type="romanLcPeriod"/>
              <a:defRPr sz="2100"/>
            </a:lvl3pPr>
            <a:lvl4pPr marL="1371600" indent="-342900">
              <a:buFont typeface="+mj-lt"/>
              <a:buAutoNum type="alphaLcPeriod"/>
              <a:defRPr sz="1800"/>
            </a:lvl4pPr>
            <a:lvl5pPr marL="1714500" indent="-342900">
              <a:buFont typeface="+mj-lt"/>
              <a:buAutoNum type="arabicPeriod"/>
              <a:defRPr sz="1800"/>
            </a:lvl5pPr>
          </a:lstStyle>
          <a:p>
            <a:pPr lvl="0"/>
            <a:r>
              <a:rPr lang="en-US" dirty="0"/>
              <a:t>Click to edit Question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2"/>
          <p:cNvSpPr>
            <a:spLocks noGrp="1"/>
          </p:cNvSpPr>
          <p:nvPr>
            <p:ph idx="10" hasCustomPrompt="1"/>
          </p:nvPr>
        </p:nvSpPr>
        <p:spPr>
          <a:xfrm>
            <a:off x="350627" y="1843936"/>
            <a:ext cx="8833654" cy="5123793"/>
          </a:xfrm>
        </p:spPr>
        <p:txBody>
          <a:bodyPr>
            <a:normAutofit/>
          </a:bodyPr>
          <a:lstStyle>
            <a:lvl1pPr marL="557213" indent="-557213">
              <a:buFont typeface="+mj-lt"/>
              <a:buAutoNum type="arabicParenR"/>
              <a:defRPr sz="2700"/>
            </a:lvl1pPr>
            <a:lvl2pPr marL="728663" indent="-385763">
              <a:buFont typeface="+mj-lt"/>
              <a:buAutoNum type="alphaUcPeriod"/>
              <a:defRPr sz="2400"/>
            </a:lvl2pPr>
            <a:lvl3pPr marL="1114425" indent="-428625">
              <a:buFont typeface="+mj-lt"/>
              <a:buAutoNum type="romanLcPeriod"/>
              <a:defRPr sz="2100"/>
            </a:lvl3pPr>
            <a:lvl4pPr marL="1371600" indent="-342900">
              <a:buFont typeface="+mj-lt"/>
              <a:buAutoNum type="alphaLcPeriod"/>
              <a:defRPr sz="1800"/>
            </a:lvl4pPr>
            <a:lvl5pPr marL="1714500" indent="-342900">
              <a:buFont typeface="+mj-lt"/>
              <a:buAutoNum type="arabicPeriod"/>
              <a:defRPr sz="1800"/>
            </a:lvl5pPr>
          </a:lstStyle>
          <a:p>
            <a:pPr lvl="0"/>
            <a:r>
              <a:rPr lang="en-US" dirty="0"/>
              <a:t>Click to edit Answ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29872926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hidden"/>
                                      </p:to>
                                    </p:set>
                                  </p:childTnLst>
                                </p:cTn>
                              </p:par>
                            </p:childTnLst>
                          </p:cTn>
                        </p:par>
                      </p:childTnLst>
                    </p:cTn>
                  </p:par>
                  <p:par>
                    <p:cTn id="7" fill="hold">
                      <p:stCondLst>
                        <p:cond delay="indefinite"/>
                      </p:stCondLst>
                      <p:childTnLst>
                        <p:par>
                          <p:cTn id="8" fill="hold">
                            <p:stCondLst>
                              <p:cond delay="0"/>
                            </p:stCondLst>
                            <p:childTnLst>
                              <p:par>
                                <p:cTn id="9" presetID="1" presetClass="exit"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hidden"/>
                                      </p:to>
                                    </p:set>
                                  </p:childTnLst>
                                </p:cTn>
                              </p:par>
                            </p:childTnLst>
                          </p:cTn>
                        </p:par>
                      </p:childTnLst>
                    </p:cTn>
                  </p:par>
                  <p:par>
                    <p:cTn id="11" fill="hold">
                      <p:stCondLst>
                        <p:cond delay="indefinite"/>
                      </p:stCondLst>
                      <p:childTnLst>
                        <p:par>
                          <p:cTn id="12" fill="hold">
                            <p:stCondLst>
                              <p:cond delay="0"/>
                            </p:stCondLst>
                            <p:childTnLst>
                              <p:par>
                                <p:cTn id="13" presetID="1" presetClass="exit"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hidden"/>
                                      </p:to>
                                    </p:set>
                                  </p:childTnLst>
                                </p:cTn>
                              </p:par>
                            </p:childTnLst>
                          </p:cTn>
                        </p:par>
                      </p:childTnLst>
                    </p:cTn>
                  </p:par>
                  <p:par>
                    <p:cTn id="15" fill="hold">
                      <p:stCondLst>
                        <p:cond delay="indefinite"/>
                      </p:stCondLst>
                      <p:childTnLst>
                        <p:par>
                          <p:cTn id="16" fill="hold">
                            <p:stCondLst>
                              <p:cond delay="0"/>
                            </p:stCondLst>
                            <p:childTnLst>
                              <p:par>
                                <p:cTn id="17" presetID="1" presetClass="exit" presetSubtype="0"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hidden"/>
                                      </p:to>
                                    </p:set>
                                  </p:childTnLst>
                                </p:cTn>
                              </p:par>
                            </p:childTnLst>
                          </p:cTn>
                        </p:par>
                      </p:childTnLst>
                    </p:cTn>
                  </p:par>
                  <p:par>
                    <p:cTn id="19" fill="hold">
                      <p:stCondLst>
                        <p:cond delay="indefinite"/>
                      </p:stCondLst>
                      <p:childTnLst>
                        <p:par>
                          <p:cTn id="20" fill="hold">
                            <p:stCondLst>
                              <p:cond delay="0"/>
                            </p:stCondLst>
                            <p:childTnLst>
                              <p:par>
                                <p:cTn id="21" presetID="1" presetClass="exit" presetSubtype="0" fill="hold" grpId="0"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hidden"/>
                                      </p:to>
                                    </p:set>
                                  </p:childTnLst>
                                </p:cTn>
                              </p:par>
                            </p:childTnLst>
                          </p:cTn>
                        </p:par>
                        <p:par>
                          <p:cTn id="23" fill="hold">
                            <p:stCondLst>
                              <p:cond delay="0"/>
                            </p:stCondLst>
                            <p:childTnLst>
                              <p:par>
                                <p:cTn id="24" presetID="14" presetClass="entr" presetSubtype="10" fill="hold" grpId="0" nodeType="afterEffect">
                                  <p:stCondLst>
                                    <p:cond delay="0"/>
                                  </p:stCondLst>
                                  <p:childTnLst>
                                    <p:set>
                                      <p:cBhvr>
                                        <p:cTn id="25" dur="1" fill="hold">
                                          <p:stCondLst>
                                            <p:cond delay="0"/>
                                          </p:stCondLst>
                                        </p:cTn>
                                        <p:tgtEl>
                                          <p:spTgt spid="7"/>
                                        </p:tgtEl>
                                        <p:attrNameLst>
                                          <p:attrName>style.visibility</p:attrName>
                                        </p:attrNameLst>
                                      </p:cBhvr>
                                      <p:to>
                                        <p:strVal val="visible"/>
                                      </p:to>
                                    </p:set>
                                    <p:animEffect transition="in" filter="randombar(horizontal)">
                                      <p:cBhvr>
                                        <p:cTn id="26"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tmplLst>
          <p:tmpl lvl="1">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 lvl="2">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 lvl="3">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 lvl="4">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 lvl="5">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Lst>
      </p:bldP>
      <p:bldP spid="7" grpId="0">
        <p:tmplLst>
          <p:tmpl>
            <p:tnLst>
              <p:par>
                <p:cTn presetID="14" presetClass="entr" presetSubtype="10" fill="hold" nodeType="afterEffect">
                  <p:stCondLst>
                    <p:cond delay="0"/>
                  </p:stCondLst>
                  <p:childTnLst>
                    <p:set>
                      <p:cBhvr>
                        <p:cTn dur="1" fill="hold">
                          <p:stCondLst>
                            <p:cond delay="0"/>
                          </p:stCondLst>
                        </p:cTn>
                        <p:tgtEl>
                          <p:spTgt spid="7"/>
                        </p:tgtEl>
                        <p:attrNameLst>
                          <p:attrName>style.visibility</p:attrName>
                        </p:attrNameLst>
                      </p:cBhvr>
                      <p:to>
                        <p:strVal val="visible"/>
                      </p:to>
                    </p:set>
                    <p:animEffect transition="in" filter="randombar(horizontal)">
                      <p:cBhvr>
                        <p:cTn dur="500"/>
                        <p:tgtEl>
                          <p:spTgt spid="7"/>
                        </p:tgtEl>
                      </p:cBhvr>
                    </p:animEffect>
                  </p:childTnLst>
                </p:cTn>
              </p:par>
            </p:tnLst>
          </p:tmpl>
        </p:tmplLst>
      </p:bldP>
    </p:bld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2_Exam Tip">
    <p:bg>
      <p:bgPr>
        <a:solidFill>
          <a:srgbClr val="92D05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44140" y="347874"/>
            <a:ext cx="6298800" cy="923330"/>
          </a:xfrm>
        </p:spPr>
        <p:txBody>
          <a:bodyPr>
            <a:normAutofit/>
          </a:bodyPr>
          <a:lstStyle>
            <a:lvl1pPr algn="l" defTabSz="685800" rtl="0" eaLnBrk="1" latinLnBrk="0" hangingPunct="1">
              <a:lnSpc>
                <a:spcPct val="90000"/>
              </a:lnSpc>
              <a:spcBef>
                <a:spcPct val="0"/>
              </a:spcBef>
              <a:buNone/>
              <a:defRPr lang="en-US" sz="4050" b="1" i="1" u="none" kern="1200" baseline="0" dirty="0">
                <a:solidFill>
                  <a:schemeClr val="tx1"/>
                </a:solidFill>
                <a:latin typeface="+mj-lt"/>
                <a:ea typeface="+mj-ea"/>
                <a:cs typeface="+mj-cs"/>
              </a:defRPr>
            </a:lvl1pPr>
          </a:lstStyle>
          <a:p>
            <a:endParaRPr lang="en-US" dirty="0"/>
          </a:p>
        </p:txBody>
      </p:sp>
      <p:sp>
        <p:nvSpPr>
          <p:cNvPr id="4" name="Text Placeholder 3"/>
          <p:cNvSpPr>
            <a:spLocks noGrp="1"/>
          </p:cNvSpPr>
          <p:nvPr>
            <p:ph type="body" sz="quarter" idx="11"/>
          </p:nvPr>
        </p:nvSpPr>
        <p:spPr>
          <a:xfrm>
            <a:off x="201060" y="1271204"/>
            <a:ext cx="8741880" cy="4641916"/>
          </a:xfrm>
        </p:spPr>
        <p:txBody>
          <a:bodyPr>
            <a:noAutofit/>
          </a:bodyPr>
          <a:lstStyle>
            <a:lvl1pPr marL="0" indent="0">
              <a:buNone/>
              <a:defRPr sz="3000"/>
            </a:lvl1pPr>
            <a:lvl2pPr marL="21009" indent="0">
              <a:buNone/>
              <a:defRPr sz="1471"/>
            </a:lvl2pPr>
            <a:lvl3pPr marL="164571" indent="0">
              <a:buNone/>
              <a:defRPr sz="1471"/>
            </a:lvl3pPr>
            <a:lvl4pPr marL="350151" indent="0">
              <a:buNone/>
              <a:defRPr sz="1324"/>
            </a:lvl4pPr>
            <a:lvl5pPr marL="543901" indent="0">
              <a:buNone/>
              <a:defRPr sz="1324"/>
            </a:lvl5pPr>
          </a:lstStyle>
          <a:p>
            <a:pPr lvl="0"/>
            <a:endParaRPr lang="en-US" dirty="0"/>
          </a:p>
        </p:txBody>
      </p:sp>
      <p:sp>
        <p:nvSpPr>
          <p:cNvPr id="5" name="Rectangle 4"/>
          <p:cNvSpPr/>
          <p:nvPr userDrawn="1"/>
        </p:nvSpPr>
        <p:spPr>
          <a:xfrm>
            <a:off x="201060" y="347874"/>
            <a:ext cx="3235181" cy="715581"/>
          </a:xfrm>
          <a:prstGeom prst="rect">
            <a:avLst/>
          </a:prstGeom>
        </p:spPr>
        <p:txBody>
          <a:bodyPr wrap="none">
            <a:spAutoFit/>
          </a:bodyPr>
          <a:lstStyle/>
          <a:p>
            <a:pPr algn="l"/>
            <a:r>
              <a:rPr lang="en-US" sz="4050" b="1" dirty="0"/>
              <a:t>EXAM TIP!</a:t>
            </a:r>
          </a:p>
        </p:txBody>
      </p:sp>
      <p:sp>
        <p:nvSpPr>
          <p:cNvPr id="6" name="Text Placeholder 4">
            <a:extLst>
              <a:ext uri="{FF2B5EF4-FFF2-40B4-BE49-F238E27FC236}">
                <a16:creationId xmlns:a16="http://schemas.microsoft.com/office/drawing/2014/main" id="{380C91C6-C6AF-40A3-AE50-C2507708BECF}"/>
              </a:ext>
            </a:extLst>
          </p:cNvPr>
          <p:cNvSpPr>
            <a:spLocks noGrp="1"/>
          </p:cNvSpPr>
          <p:nvPr>
            <p:ph type="body" sz="quarter" idx="10" hasCustomPrompt="1"/>
          </p:nvPr>
        </p:nvSpPr>
        <p:spPr>
          <a:xfrm>
            <a:off x="158354" y="5987143"/>
            <a:ext cx="7338554" cy="823460"/>
          </a:xfrm>
          <a:solidFill>
            <a:srgbClr val="92D050"/>
          </a:solidFill>
        </p:spPr>
        <p:txBody>
          <a:bodyPr>
            <a:noAutofit/>
          </a:bodyPr>
          <a:lstStyle>
            <a:lvl1pPr marL="0" indent="0">
              <a:buFontTx/>
              <a:buNone/>
              <a:defRPr sz="1500" u="sng">
                <a:solidFill>
                  <a:srgbClr val="0070C0"/>
                </a:solidFill>
              </a:defRPr>
            </a:lvl1pPr>
            <a:lvl2pPr marL="342900" indent="0">
              <a:buFontTx/>
              <a:buNone/>
              <a:defRPr sz="1500" u="sng">
                <a:solidFill>
                  <a:srgbClr val="0070C0"/>
                </a:solidFill>
              </a:defRPr>
            </a:lvl2pPr>
            <a:lvl3pPr marL="685800" indent="0">
              <a:buFontTx/>
              <a:buNone/>
              <a:defRPr sz="1500" u="sng">
                <a:solidFill>
                  <a:srgbClr val="0070C0"/>
                </a:solidFill>
              </a:defRPr>
            </a:lvl3pPr>
            <a:lvl4pPr marL="1028700" indent="0">
              <a:buFontTx/>
              <a:buNone/>
              <a:defRPr sz="1500" u="sng">
                <a:solidFill>
                  <a:srgbClr val="0070C0"/>
                </a:solidFill>
              </a:defRPr>
            </a:lvl4pPr>
            <a:lvl5pPr marL="1371600" indent="0">
              <a:buFontTx/>
              <a:buNone/>
              <a:defRPr sz="1500" u="sng">
                <a:solidFill>
                  <a:srgbClr val="0070C0"/>
                </a:solidFill>
              </a:defRPr>
            </a:lvl5pPr>
          </a:lstStyle>
          <a:p>
            <a:pPr lvl="0"/>
            <a:r>
              <a:rPr lang="en-US" dirty="0"/>
              <a:t>Edit Source URL</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399503545"/>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Walkin Microsoft Ready - Editable">
    <p:bg>
      <p:bgPr>
        <a:solidFill>
          <a:schemeClr val="accent1"/>
        </a:solidFill>
        <a:effectLst/>
      </p:bgPr>
    </p:bg>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2214E044-D81A-4BC8-8B44-D5B6E72EA6F5}"/>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3355092" y="0"/>
            <a:ext cx="5788909" cy="6862028"/>
          </a:xfrm>
          <a:prstGeom prst="rect">
            <a:avLst/>
          </a:prstGeom>
        </p:spPr>
      </p:pic>
      <p:sp>
        <p:nvSpPr>
          <p:cNvPr id="8" name="Rectangle 7">
            <a:extLst>
              <a:ext uri="{FF2B5EF4-FFF2-40B4-BE49-F238E27FC236}">
                <a16:creationId xmlns:a16="http://schemas.microsoft.com/office/drawing/2014/main" id="{CA6A04B4-1456-490B-8B52-A08A4AF91494}"/>
              </a:ext>
            </a:extLst>
          </p:cNvPr>
          <p:cNvSpPr/>
          <p:nvPr userDrawn="1"/>
        </p:nvSpPr>
        <p:spPr bwMode="auto">
          <a:xfrm>
            <a:off x="0" y="-13453"/>
            <a:ext cx="3429070" cy="687145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pPr>
            <a:endParaRPr lang="en-US" sz="1765" dirty="0" err="1">
              <a:gradFill>
                <a:gsLst>
                  <a:gs pos="0">
                    <a:srgbClr val="FFFFFF"/>
                  </a:gs>
                  <a:gs pos="100000">
                    <a:srgbClr val="FFFFFF"/>
                  </a:gs>
                </a:gsLst>
                <a:lin ang="5400000" scaled="0"/>
              </a:gradFill>
              <a:ea typeface="Segoe UI" pitchFamily="34" charset="0"/>
              <a:cs typeface="Segoe UI" pitchFamily="34" charset="0"/>
            </a:endParaRPr>
          </a:p>
        </p:txBody>
      </p:sp>
      <p:pic>
        <p:nvPicPr>
          <p:cNvPr id="6" name="MS logo white - EMF"/>
          <p:cNvPicPr>
            <a:picLocks noChangeAspect="1"/>
          </p:cNvPicPr>
          <p:nvPr userDrawn="1"/>
        </p:nvPicPr>
        <p:blipFill>
          <a:blip r:embed="rId3"/>
          <a:stretch>
            <a:fillRect/>
          </a:stretch>
        </p:blipFill>
        <p:spPr bwMode="white">
          <a:xfrm>
            <a:off x="338725" y="470067"/>
            <a:ext cx="1067477" cy="304828"/>
          </a:xfrm>
          <a:prstGeom prst="rect">
            <a:avLst/>
          </a:prstGeom>
        </p:spPr>
      </p:pic>
      <p:sp>
        <p:nvSpPr>
          <p:cNvPr id="7" name="TextBox 6"/>
          <p:cNvSpPr txBox="1"/>
          <p:nvPr userDrawn="1"/>
        </p:nvSpPr>
        <p:spPr bwMode="white">
          <a:xfrm>
            <a:off x="201930" y="5588534"/>
            <a:ext cx="2353136" cy="1246243"/>
          </a:xfrm>
          <a:prstGeom prst="rect">
            <a:avLst/>
          </a:prstGeom>
          <a:noFill/>
        </p:spPr>
        <p:txBody>
          <a:bodyPr wrap="square" lIns="134464" tIns="107571" rIns="134464" bIns="107571" rtlCol="0">
            <a:spAutoFit/>
          </a:bodyPr>
          <a:lstStyle/>
          <a:p>
            <a:pPr>
              <a:lnSpc>
                <a:spcPct val="90000"/>
              </a:lnSpc>
              <a:spcAft>
                <a:spcPts val="441"/>
              </a:spcAft>
            </a:pPr>
            <a:r>
              <a:rPr lang="en-US" sz="1765" dirty="0">
                <a:gradFill>
                  <a:gsLst>
                    <a:gs pos="2917">
                      <a:schemeClr val="tx1"/>
                    </a:gs>
                    <a:gs pos="30000">
                      <a:schemeClr val="tx1"/>
                    </a:gs>
                  </a:gsLst>
                  <a:lin ang="5400000" scaled="0"/>
                </a:gradFill>
              </a:rPr>
              <a:t>Las Vegas, Nevada</a:t>
            </a:r>
          </a:p>
          <a:p>
            <a:pPr>
              <a:lnSpc>
                <a:spcPct val="90000"/>
              </a:lnSpc>
              <a:spcAft>
                <a:spcPts val="441"/>
              </a:spcAft>
            </a:pPr>
            <a:r>
              <a:rPr lang="en-US" sz="1765" dirty="0">
                <a:gradFill>
                  <a:gsLst>
                    <a:gs pos="2917">
                      <a:schemeClr val="tx1"/>
                    </a:gs>
                    <a:gs pos="30000">
                      <a:schemeClr val="tx1"/>
                    </a:gs>
                  </a:gsLst>
                  <a:lin ang="5400000" scaled="0"/>
                </a:gradFill>
              </a:rPr>
              <a:t>October 23–26, 2017</a:t>
            </a:r>
          </a:p>
        </p:txBody>
      </p:sp>
      <p:sp>
        <p:nvSpPr>
          <p:cNvPr id="2" name="TextBox 1">
            <a:extLst>
              <a:ext uri="{FF2B5EF4-FFF2-40B4-BE49-F238E27FC236}">
                <a16:creationId xmlns:a16="http://schemas.microsoft.com/office/drawing/2014/main" id="{056C9DEE-6F0F-4952-B2B1-A47AFA7F3DE1}"/>
              </a:ext>
            </a:extLst>
          </p:cNvPr>
          <p:cNvSpPr txBox="1"/>
          <p:nvPr userDrawn="1"/>
        </p:nvSpPr>
        <p:spPr bwMode="white">
          <a:xfrm>
            <a:off x="201929" y="1707465"/>
            <a:ext cx="3153162" cy="1683606"/>
          </a:xfrm>
          <a:prstGeom prst="rect">
            <a:avLst/>
          </a:prstGeom>
          <a:noFill/>
        </p:spPr>
        <p:txBody>
          <a:bodyPr wrap="square" lIns="134464" tIns="107571" rIns="134464" bIns="107571" rtlCol="0">
            <a:spAutoFit/>
          </a:bodyPr>
          <a:lstStyle/>
          <a:p>
            <a:pPr>
              <a:lnSpc>
                <a:spcPct val="90000"/>
              </a:lnSpc>
              <a:spcBef>
                <a:spcPts val="1324"/>
              </a:spcBef>
              <a:spcAft>
                <a:spcPts val="441"/>
              </a:spcAft>
            </a:pPr>
            <a:r>
              <a:rPr lang="en-US" sz="3529" dirty="0">
                <a:gradFill>
                  <a:gsLst>
                    <a:gs pos="2917">
                      <a:schemeClr val="tx1"/>
                    </a:gs>
                    <a:gs pos="30000">
                      <a:schemeClr val="tx1"/>
                    </a:gs>
                  </a:gsLst>
                  <a:lin ang="5400000" scaled="0"/>
                </a:gradFill>
                <a:latin typeface="+mj-lt"/>
              </a:rPr>
              <a:t>Digital</a:t>
            </a:r>
            <a:br>
              <a:rPr lang="en-US" sz="3529" dirty="0">
                <a:gradFill>
                  <a:gsLst>
                    <a:gs pos="2917">
                      <a:schemeClr val="tx1"/>
                    </a:gs>
                    <a:gs pos="30000">
                      <a:schemeClr val="tx1"/>
                    </a:gs>
                  </a:gsLst>
                  <a:lin ang="5400000" scaled="0"/>
                </a:gradFill>
                <a:latin typeface="+mj-lt"/>
              </a:rPr>
            </a:br>
            <a:r>
              <a:rPr lang="en-US" sz="3529" dirty="0">
                <a:gradFill>
                  <a:gsLst>
                    <a:gs pos="2917">
                      <a:schemeClr val="tx1"/>
                    </a:gs>
                    <a:gs pos="30000">
                      <a:schemeClr val="tx1"/>
                    </a:gs>
                  </a:gsLst>
                  <a:lin ang="5400000" scaled="0"/>
                </a:gradFill>
                <a:latin typeface="+mj-lt"/>
              </a:rPr>
              <a:t>Transformation</a:t>
            </a:r>
            <a:br>
              <a:rPr lang="en-US" sz="3529" dirty="0">
                <a:gradFill>
                  <a:gsLst>
                    <a:gs pos="2917">
                      <a:schemeClr val="tx1"/>
                    </a:gs>
                    <a:gs pos="30000">
                      <a:schemeClr val="tx1"/>
                    </a:gs>
                  </a:gsLst>
                  <a:lin ang="5400000" scaled="0"/>
                </a:gradFill>
                <a:latin typeface="+mj-lt"/>
              </a:rPr>
            </a:br>
            <a:r>
              <a:rPr lang="en-US" sz="3529" dirty="0">
                <a:gradFill>
                  <a:gsLst>
                    <a:gs pos="2917">
                      <a:schemeClr val="tx1"/>
                    </a:gs>
                    <a:gs pos="30000">
                      <a:schemeClr val="tx1"/>
                    </a:gs>
                  </a:gsLst>
                  <a:lin ang="5400000" scaled="0"/>
                </a:gradFill>
                <a:latin typeface="+mj-lt"/>
              </a:rPr>
              <a:t>Academy</a:t>
            </a:r>
          </a:p>
        </p:txBody>
      </p:sp>
    </p:spTree>
    <p:extLst>
      <p:ext uri="{BB962C8B-B14F-4D97-AF65-F5344CB8AC3E}">
        <p14:creationId xmlns:p14="http://schemas.microsoft.com/office/powerpoint/2010/main" val="13262472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01977" y="2084187"/>
            <a:ext cx="6723139" cy="1793090"/>
          </a:xfrm>
          <a:noFill/>
        </p:spPr>
        <p:txBody>
          <a:bodyPr lIns="146304" tIns="91440" rIns="146304" bIns="91440" anchor="t" anchorCtr="0"/>
          <a:lstStyle>
            <a:lvl1pPr>
              <a:defRPr sz="3971" spc="-74"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01976" y="3878574"/>
            <a:ext cx="5378503" cy="1792326"/>
          </a:xfrm>
          <a:noFill/>
        </p:spPr>
        <p:txBody>
          <a:bodyPr lIns="164592" tIns="109728" rIns="164592" bIns="109728">
            <a:noAutofit/>
          </a:bodyPr>
          <a:lstStyle>
            <a:lvl1pPr marL="0" indent="0">
              <a:spcBef>
                <a:spcPts val="0"/>
              </a:spcBef>
              <a:buNone/>
              <a:defRPr sz="2353"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6" name="MS logo white - EMF"/>
          <p:cNvPicPr>
            <a:picLocks noChangeAspect="1"/>
          </p:cNvPicPr>
          <p:nvPr userDrawn="1"/>
        </p:nvPicPr>
        <p:blipFill>
          <a:blip r:embed="rId2"/>
          <a:stretch>
            <a:fillRect/>
          </a:stretch>
        </p:blipFill>
        <p:spPr bwMode="black">
          <a:xfrm>
            <a:off x="338725" y="470067"/>
            <a:ext cx="1067477" cy="304828"/>
          </a:xfrm>
          <a:prstGeom prst="rect">
            <a:avLst/>
          </a:prstGeom>
        </p:spPr>
      </p:pic>
      <p:sp>
        <p:nvSpPr>
          <p:cNvPr id="7" name="Text Placeholder 16"/>
          <p:cNvSpPr>
            <a:spLocks noGrp="1"/>
          </p:cNvSpPr>
          <p:nvPr>
            <p:ph type="body" sz="quarter" idx="13" hasCustomPrompt="1"/>
          </p:nvPr>
        </p:nvSpPr>
        <p:spPr>
          <a:xfrm>
            <a:off x="6254758" y="288561"/>
            <a:ext cx="2689274" cy="499176"/>
          </a:xfrm>
        </p:spPr>
        <p:txBody>
          <a:bodyPr lIns="182880" tIns="146304" rIns="182880" bIns="146304"/>
          <a:lstStyle>
            <a:lvl1pPr marL="0" indent="0" algn="r">
              <a:buNone/>
              <a:defRPr sz="1471">
                <a:latin typeface="+mn-lt"/>
              </a:defRPr>
            </a:lvl1pPr>
            <a:lvl2pPr marL="252109" indent="0">
              <a:buNone/>
              <a:defRPr sz="1471"/>
            </a:lvl2pPr>
            <a:lvl3pPr marL="420181" indent="0">
              <a:buNone/>
              <a:defRPr sz="1471"/>
            </a:lvl3pPr>
            <a:lvl4pPr marL="588254" indent="0">
              <a:buNone/>
              <a:defRPr sz="1471"/>
            </a:lvl4pPr>
            <a:lvl5pPr marL="756326" indent="0">
              <a:buNone/>
              <a:defRPr sz="1471"/>
            </a:lvl5pPr>
          </a:lstStyle>
          <a:p>
            <a:pPr lvl="0"/>
            <a:r>
              <a:rPr lang="en-US" dirty="0"/>
              <a:t>Session Code</a:t>
            </a:r>
          </a:p>
        </p:txBody>
      </p:sp>
    </p:spTree>
    <p:extLst>
      <p:ext uri="{BB962C8B-B14F-4D97-AF65-F5344CB8AC3E}">
        <p14:creationId xmlns:p14="http://schemas.microsoft.com/office/powerpoint/2010/main" val="23336255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7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950"/>
                                        <p:tgtEl>
                                          <p:spTgt spid="7"/>
                                        </p:tgtEl>
                                      </p:cBhvr>
                                    </p:animEffect>
                                  </p:childTnLst>
                                </p:cTn>
                              </p:par>
                              <p:par>
                                <p:cTn id="8" presetID="63" presetClass="path" presetSubtype="0" decel="100000" fill="hold" grpId="1" nodeType="withEffect">
                                  <p:stCondLst>
                                    <p:cond delay="700"/>
                                  </p:stCondLst>
                                  <p:childTnLst>
                                    <p:animMotion origin="layout" path="M -0.01455 2.13345E-6 L 1.62369E-6 2.13345E-6 " pathEditMode="relative" rAng="0" ptsTypes="AA">
                                      <p:cBhvr>
                                        <p:cTn id="9" dur="950" fill="hold"/>
                                        <p:tgtEl>
                                          <p:spTgt spid="7"/>
                                        </p:tgtEl>
                                        <p:attrNameLst>
                                          <p:attrName>ppt_x</p:attrName>
                                          <p:attrName>ppt_y</p:attrName>
                                        </p:attrNameLst>
                                      </p:cBhvr>
                                      <p:rCtr x="728" y="0"/>
                                    </p:animMotion>
                                  </p:childTnLst>
                                </p:cTn>
                              </p:par>
                              <p:par>
                                <p:cTn id="10" presetID="6" presetClass="emph" presetSubtype="0" accel="100000" autoRev="1" fill="hold" grpId="2" nodeType="withEffect">
                                  <p:stCondLst>
                                    <p:cond delay="0"/>
                                  </p:stCondLst>
                                  <p:childTnLst>
                                    <p:animScale>
                                      <p:cBhvr>
                                        <p:cTn id="11" dur="500" fill="hold"/>
                                        <p:tgtEl>
                                          <p:spTgt spid="7"/>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tmplLst>
          <p:tmpl>
            <p:tnLst>
              <p:par>
                <p:cTn presetID="10" presetClass="entr" presetSubtype="0" fill="hold" nodeType="withEffect">
                  <p:stCondLst>
                    <p:cond delay="700"/>
                  </p:stCondLst>
                  <p:childTnLst>
                    <p:set>
                      <p:cBhvr>
                        <p:cTn dur="1" fill="hold">
                          <p:stCondLst>
                            <p:cond delay="0"/>
                          </p:stCondLst>
                        </p:cTn>
                        <p:tgtEl>
                          <p:spTgt spid="7"/>
                        </p:tgtEl>
                        <p:attrNameLst>
                          <p:attrName>style.visibility</p:attrName>
                        </p:attrNameLst>
                      </p:cBhvr>
                      <p:to>
                        <p:strVal val="visible"/>
                      </p:to>
                    </p:set>
                    <p:animEffect transition="in" filter="fade">
                      <p:cBhvr>
                        <p:cTn dur="950"/>
                        <p:tgtEl>
                          <p:spTgt spid="7"/>
                        </p:tgtEl>
                      </p:cBhvr>
                    </p:animEffect>
                  </p:childTnLst>
                </p:cTn>
              </p:par>
            </p:tnLst>
          </p:tmpl>
        </p:tmplLst>
      </p:bldP>
      <p:bldP spid="7" grpId="1"/>
      <p:bldP spid="7" grpId="2"/>
    </p:bld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0" y="1189177"/>
            <a:ext cx="8741309" cy="1746440"/>
          </a:xfrm>
        </p:spPr>
        <p:txBody>
          <a:bodyPr>
            <a:spAutoFit/>
          </a:bodyPr>
          <a:lstStyle>
            <a:lvl1pPr marL="0" indent="0">
              <a:buNone/>
              <a:defRPr/>
            </a:lvl1pPr>
            <a:lvl2pPr marL="168073" indent="0">
              <a:buNone/>
              <a:defRPr/>
            </a:lvl2pPr>
            <a:lvl3pPr marL="336145" indent="0">
              <a:buNone/>
              <a:defRPr/>
            </a:lvl3pPr>
            <a:lvl4pPr marL="504218"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311330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01977" y="1187645"/>
            <a:ext cx="8741309" cy="174644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770053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1" y="1187644"/>
            <a:ext cx="4033911" cy="1610697"/>
          </a:xfrm>
        </p:spPr>
        <p:txBody>
          <a:bodyPr wrap="square">
            <a:spAutoFit/>
          </a:bodyPr>
          <a:lstStyle>
            <a:lvl1pPr marL="0" indent="0">
              <a:spcBef>
                <a:spcPts val="900"/>
              </a:spcBef>
              <a:buClr>
                <a:schemeClr val="tx1"/>
              </a:buClr>
              <a:buFont typeface="Wingdings" panose="05000000000000000000" pitchFamily="2" charset="2"/>
              <a:buNone/>
              <a:defRPr sz="2206" b="0">
                <a:latin typeface="+mn-lt"/>
              </a:defRPr>
            </a:lvl1pPr>
            <a:lvl2pPr marL="187915" indent="0">
              <a:buFont typeface="Wingdings" panose="05000000000000000000" pitchFamily="2" charset="2"/>
              <a:buNone/>
              <a:defRPr sz="1765" b="0"/>
            </a:lvl2pPr>
            <a:lvl3pPr marL="331476" indent="0">
              <a:buFont typeface="Wingdings" panose="05000000000000000000" pitchFamily="2" charset="2"/>
              <a:buNone/>
              <a:tabLst/>
              <a:defRPr sz="1618" b="0"/>
            </a:lvl3pPr>
            <a:lvl4pPr marL="479706" indent="0">
              <a:buFont typeface="Wingdings" panose="05000000000000000000" pitchFamily="2" charset="2"/>
              <a:buNone/>
              <a:defRPr sz="1618" b="0"/>
            </a:lvl4pPr>
            <a:lvl5pPr marL="627938" indent="0">
              <a:buFont typeface="Wingdings" panose="05000000000000000000" pitchFamily="2" charset="2"/>
              <a:buNone/>
              <a:tabLst/>
              <a:defRPr sz="161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4908161" y="1187644"/>
            <a:ext cx="4033911" cy="1868588"/>
          </a:xfrm>
        </p:spPr>
        <p:txBody>
          <a:bodyPr wrap="square">
            <a:spAutoFit/>
          </a:bodyPr>
          <a:lstStyle>
            <a:lvl1pPr marL="0" indent="0">
              <a:spcBef>
                <a:spcPts val="900"/>
              </a:spcBef>
              <a:buClr>
                <a:schemeClr val="tx1"/>
              </a:buClr>
              <a:buFont typeface="Arial" panose="020B0604020202020204" pitchFamily="34" charset="0"/>
              <a:buNone/>
              <a:defRPr lang="en-US" sz="2206" b="0" kern="1200" spc="0" baseline="0" dirty="0">
                <a:gradFill>
                  <a:gsLst>
                    <a:gs pos="1250">
                      <a:schemeClr val="tx1"/>
                    </a:gs>
                    <a:gs pos="100000">
                      <a:schemeClr val="tx1"/>
                    </a:gs>
                  </a:gsLst>
                  <a:lin ang="5400000" scaled="0"/>
                </a:gradFill>
                <a:latin typeface="+mn-lt"/>
                <a:ea typeface="+mn-ea"/>
                <a:cs typeface="+mn-cs"/>
              </a:defRPr>
            </a:lvl1pPr>
            <a:lvl2pPr marL="187915" indent="0">
              <a:buFont typeface="Arial" panose="020B0604020202020204" pitchFamily="34" charset="0"/>
              <a:buNone/>
              <a:defRPr lang="en-US" sz="1765" b="0" kern="1200" spc="0" baseline="0" dirty="0">
                <a:gradFill>
                  <a:gsLst>
                    <a:gs pos="1250">
                      <a:schemeClr val="tx1"/>
                    </a:gs>
                    <a:gs pos="100000">
                      <a:schemeClr val="tx1"/>
                    </a:gs>
                  </a:gsLst>
                  <a:lin ang="5400000" scaled="0"/>
                </a:gradFill>
                <a:latin typeface="+mn-lt"/>
                <a:ea typeface="+mn-ea"/>
                <a:cs typeface="+mn-cs"/>
              </a:defRPr>
            </a:lvl2pPr>
            <a:lvl3pPr marL="331476" indent="0">
              <a:buFont typeface="Arial" panose="020B0604020202020204" pitchFamily="34" charset="0"/>
              <a:buNone/>
              <a:tabLst/>
              <a:defRPr lang="en-US" sz="1618" b="0" kern="1200" spc="0" baseline="0" dirty="0">
                <a:gradFill>
                  <a:gsLst>
                    <a:gs pos="1250">
                      <a:schemeClr val="tx1"/>
                    </a:gs>
                    <a:gs pos="100000">
                      <a:schemeClr val="tx1"/>
                    </a:gs>
                  </a:gsLst>
                  <a:lin ang="5400000" scaled="0"/>
                </a:gradFill>
                <a:latin typeface="+mn-lt"/>
                <a:ea typeface="+mn-ea"/>
                <a:cs typeface="+mn-cs"/>
              </a:defRPr>
            </a:lvl3pPr>
            <a:lvl4pPr marL="479706" indent="0">
              <a:buFont typeface="Arial" panose="020B0604020202020204" pitchFamily="34" charset="0"/>
              <a:buNone/>
              <a:defRPr lang="en-US" sz="1618" b="0" kern="1200" spc="0" baseline="0" dirty="0">
                <a:gradFill>
                  <a:gsLst>
                    <a:gs pos="1250">
                      <a:schemeClr val="tx1"/>
                    </a:gs>
                    <a:gs pos="100000">
                      <a:schemeClr val="tx1"/>
                    </a:gs>
                  </a:gsLst>
                  <a:lin ang="5400000" scaled="0"/>
                </a:gradFill>
                <a:latin typeface="+mn-lt"/>
                <a:ea typeface="+mn-ea"/>
                <a:cs typeface="+mn-cs"/>
              </a:defRPr>
            </a:lvl4pPr>
            <a:lvl5pPr marL="627938" indent="0">
              <a:buFont typeface="Arial" panose="020B0604020202020204" pitchFamily="34" charset="0"/>
              <a:buNone/>
              <a:tabLst/>
              <a:defRPr lang="en-US" sz="1618" b="0" kern="1200" spc="0" baseline="0" dirty="0">
                <a:gradFill>
                  <a:gsLst>
                    <a:gs pos="1250">
                      <a:schemeClr val="tx1"/>
                    </a:gs>
                    <a:gs pos="100000">
                      <a:schemeClr val="tx1"/>
                    </a:gs>
                  </a:gsLst>
                  <a:lin ang="5400000" scaled="0"/>
                </a:gradFill>
                <a:latin typeface="+mn-lt"/>
                <a:ea typeface="+mn-ea"/>
                <a:cs typeface="+mn-cs"/>
              </a:defRPr>
            </a:lvl5pPr>
          </a:lstStyle>
          <a:p>
            <a:pPr marL="378163" marR="0" lvl="0" indent="-378163" algn="l" defTabSz="685775" rtl="0" eaLnBrk="1" fontAlgn="auto" latinLnBrk="0" hangingPunct="1">
              <a:lnSpc>
                <a:spcPct val="90000"/>
              </a:lnSpc>
              <a:spcBef>
                <a:spcPts val="900"/>
              </a:spcBef>
              <a:spcAft>
                <a:spcPts val="0"/>
              </a:spcAft>
              <a:buClr>
                <a:schemeClr val="tx1"/>
              </a:buClr>
              <a:buSzPct val="90000"/>
              <a:tabLst/>
            </a:pPr>
            <a:r>
              <a:rPr lang="en-US"/>
              <a:t>Edit Master text styles</a:t>
            </a:r>
          </a:p>
          <a:p>
            <a:pPr marL="378163" marR="0" lvl="1" indent="-378163" algn="l" defTabSz="685775" rtl="0" eaLnBrk="1" fontAlgn="auto" latinLnBrk="0" hangingPunct="1">
              <a:lnSpc>
                <a:spcPct val="90000"/>
              </a:lnSpc>
              <a:spcBef>
                <a:spcPts val="900"/>
              </a:spcBef>
              <a:spcAft>
                <a:spcPts val="0"/>
              </a:spcAft>
              <a:buClr>
                <a:schemeClr val="tx1"/>
              </a:buClr>
              <a:buSzPct val="90000"/>
              <a:tabLst/>
            </a:pPr>
            <a:r>
              <a:rPr lang="en-US"/>
              <a:t>Second level</a:t>
            </a:r>
          </a:p>
          <a:p>
            <a:pPr marL="378163" marR="0" lvl="2" indent="-378163" algn="l" defTabSz="685775" rtl="0" eaLnBrk="1" fontAlgn="auto" latinLnBrk="0" hangingPunct="1">
              <a:lnSpc>
                <a:spcPct val="90000"/>
              </a:lnSpc>
              <a:spcBef>
                <a:spcPts val="900"/>
              </a:spcBef>
              <a:spcAft>
                <a:spcPts val="0"/>
              </a:spcAft>
              <a:buClr>
                <a:schemeClr val="tx1"/>
              </a:buClr>
              <a:buSzPct val="90000"/>
              <a:tabLst/>
            </a:pPr>
            <a:r>
              <a:rPr lang="en-US"/>
              <a:t>Third level</a:t>
            </a:r>
          </a:p>
          <a:p>
            <a:pPr marL="378163" marR="0" lvl="3" indent="-378163" algn="l" defTabSz="685775" rtl="0" eaLnBrk="1" fontAlgn="auto" latinLnBrk="0" hangingPunct="1">
              <a:lnSpc>
                <a:spcPct val="90000"/>
              </a:lnSpc>
              <a:spcBef>
                <a:spcPts val="900"/>
              </a:spcBef>
              <a:spcAft>
                <a:spcPts val="0"/>
              </a:spcAft>
              <a:buClr>
                <a:schemeClr val="tx1"/>
              </a:buClr>
              <a:buSzPct val="90000"/>
              <a:tabLst/>
            </a:pPr>
            <a:r>
              <a:rPr lang="en-US"/>
              <a:t>Fourth level</a:t>
            </a:r>
          </a:p>
          <a:p>
            <a:pPr marL="378163" marR="0" lvl="4" indent="-378163" algn="l" defTabSz="685775" rtl="0" eaLnBrk="1" fontAlgn="auto" latinLnBrk="0" hangingPunct="1">
              <a:lnSpc>
                <a:spcPct val="90000"/>
              </a:lnSpc>
              <a:spcBef>
                <a:spcPts val="900"/>
              </a:spcBef>
              <a:spcAft>
                <a:spcPts val="0"/>
              </a:spcAft>
              <a:buClr>
                <a:schemeClr val="tx1"/>
              </a:buClr>
              <a:buSzPct val="90000"/>
              <a:tabLst/>
            </a:pPr>
            <a:r>
              <a:rPr lang="en-US"/>
              <a:t>Fifth level</a:t>
            </a:r>
            <a:endParaRPr lang="en-US" dirty="0"/>
          </a:p>
        </p:txBody>
      </p:sp>
    </p:spTree>
    <p:extLst>
      <p:ext uri="{BB962C8B-B14F-4D97-AF65-F5344CB8AC3E}">
        <p14:creationId xmlns:p14="http://schemas.microsoft.com/office/powerpoint/2010/main" val="5844608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1" y="1187644"/>
            <a:ext cx="4033911" cy="1610697"/>
          </a:xfrm>
        </p:spPr>
        <p:txBody>
          <a:bodyPr wrap="square">
            <a:spAutoFit/>
          </a:bodyPr>
          <a:lstStyle>
            <a:lvl1pPr marL="170407" indent="-170407">
              <a:spcBef>
                <a:spcPts val="900"/>
              </a:spcBef>
              <a:buClr>
                <a:schemeClr val="tx1"/>
              </a:buClr>
              <a:buFont typeface="Wingdings" panose="05000000000000000000" pitchFamily="2" charset="2"/>
              <a:buChar char=""/>
              <a:defRPr sz="2206" b="0">
                <a:latin typeface="+mn-lt"/>
              </a:defRPr>
            </a:lvl1pPr>
            <a:lvl2pPr marL="313969" indent="-126054">
              <a:buFont typeface="Wingdings" panose="05000000000000000000" pitchFamily="2" charset="2"/>
              <a:buChar char=""/>
              <a:defRPr sz="1765" b="0"/>
            </a:lvl2pPr>
            <a:lvl3pPr marL="470370" indent="-138893">
              <a:buFont typeface="Wingdings" panose="05000000000000000000" pitchFamily="2" charset="2"/>
              <a:buChar char=""/>
              <a:tabLst/>
              <a:defRPr sz="1618" b="0"/>
            </a:lvl3pPr>
            <a:lvl4pPr marL="609263" indent="-129557">
              <a:buFont typeface="Wingdings" panose="05000000000000000000" pitchFamily="2" charset="2"/>
              <a:buChar char=""/>
              <a:defRPr sz="1618" b="0"/>
            </a:lvl4pPr>
            <a:lvl5pPr marL="752825" indent="-124888">
              <a:buFont typeface="Wingdings" panose="05000000000000000000" pitchFamily="2" charset="2"/>
              <a:buChar char=""/>
              <a:tabLst/>
              <a:defRPr sz="161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4908161" y="1187644"/>
            <a:ext cx="4033911" cy="1868588"/>
          </a:xfrm>
        </p:spPr>
        <p:txBody>
          <a:bodyPr wrap="square">
            <a:spAutoFit/>
          </a:bodyPr>
          <a:lstStyle>
            <a:lvl1pPr marL="211258" indent="-211258">
              <a:spcBef>
                <a:spcPts val="900"/>
              </a:spcBef>
              <a:buClr>
                <a:schemeClr val="tx1"/>
              </a:buClr>
              <a:buFont typeface="Arial" pitchFamily="34" charset="0"/>
              <a:buChar char="•"/>
              <a:defRPr lang="en-US" sz="2206" b="0" kern="1200" spc="0" baseline="0" dirty="0">
                <a:gradFill>
                  <a:gsLst>
                    <a:gs pos="1250">
                      <a:schemeClr val="tx1"/>
                    </a:gs>
                    <a:gs pos="100000">
                      <a:schemeClr val="tx1"/>
                    </a:gs>
                  </a:gsLst>
                  <a:lin ang="5400000" scaled="0"/>
                </a:gradFill>
                <a:latin typeface="+mn-lt"/>
                <a:ea typeface="+mn-ea"/>
                <a:cs typeface="+mn-cs"/>
              </a:defRPr>
            </a:lvl1pPr>
            <a:lvl2pPr marL="440024" indent="-252109">
              <a:defRPr lang="en-US" sz="1765" b="0" kern="1200" spc="0" baseline="0" dirty="0">
                <a:gradFill>
                  <a:gsLst>
                    <a:gs pos="1250">
                      <a:schemeClr val="tx1"/>
                    </a:gs>
                    <a:gs pos="100000">
                      <a:schemeClr val="tx1"/>
                    </a:gs>
                  </a:gsLst>
                  <a:lin ang="5400000" scaled="0"/>
                </a:gradFill>
                <a:latin typeface="+mn-lt"/>
                <a:ea typeface="+mn-ea"/>
                <a:cs typeface="+mn-cs"/>
              </a:defRPr>
            </a:lvl2pPr>
            <a:lvl3pPr marL="583585" indent="-252109">
              <a:tabLst/>
              <a:defRPr lang="en-US" sz="1618" b="0" kern="1200" spc="0" baseline="0" dirty="0">
                <a:gradFill>
                  <a:gsLst>
                    <a:gs pos="1250">
                      <a:schemeClr val="tx1"/>
                    </a:gs>
                    <a:gs pos="100000">
                      <a:schemeClr val="tx1"/>
                    </a:gs>
                  </a:gsLst>
                  <a:lin ang="5400000" scaled="0"/>
                </a:gradFill>
                <a:latin typeface="+mn-lt"/>
                <a:ea typeface="+mn-ea"/>
                <a:cs typeface="+mn-cs"/>
              </a:defRPr>
            </a:lvl3pPr>
            <a:lvl4pPr marL="731815" indent="-252109">
              <a:defRPr lang="en-US" sz="1618" b="0" kern="1200" spc="0" baseline="0" dirty="0">
                <a:gradFill>
                  <a:gsLst>
                    <a:gs pos="1250">
                      <a:schemeClr val="tx1"/>
                    </a:gs>
                    <a:gs pos="100000">
                      <a:schemeClr val="tx1"/>
                    </a:gs>
                  </a:gsLst>
                  <a:lin ang="5400000" scaled="0"/>
                </a:gradFill>
                <a:latin typeface="+mn-lt"/>
                <a:ea typeface="+mn-ea"/>
                <a:cs typeface="+mn-cs"/>
              </a:defRPr>
            </a:lvl4pPr>
            <a:lvl5pPr marL="880046" indent="-252109">
              <a:tabLst/>
              <a:defRPr lang="en-US" sz="1618" b="0" kern="1200" spc="0" baseline="0" dirty="0">
                <a:gradFill>
                  <a:gsLst>
                    <a:gs pos="1250">
                      <a:schemeClr val="tx1"/>
                    </a:gs>
                    <a:gs pos="100000">
                      <a:schemeClr val="tx1"/>
                    </a:gs>
                  </a:gsLst>
                  <a:lin ang="5400000" scaled="0"/>
                </a:gradFill>
                <a:latin typeface="+mn-lt"/>
                <a:ea typeface="+mn-ea"/>
                <a:cs typeface="+mn-cs"/>
              </a:defRPr>
            </a:lvl5pPr>
          </a:lstStyle>
          <a:p>
            <a:pPr marL="170407" marR="0" lvl="0" indent="-170407" algn="l" defTabSz="685775" rtl="0" eaLnBrk="1" fontAlgn="auto" latinLnBrk="0" hangingPunct="1">
              <a:lnSpc>
                <a:spcPct val="90000"/>
              </a:lnSpc>
              <a:spcBef>
                <a:spcPts val="900"/>
              </a:spcBef>
              <a:spcAft>
                <a:spcPts val="0"/>
              </a:spcAft>
              <a:buClr>
                <a:schemeClr val="tx1"/>
              </a:buClr>
              <a:buSzPct val="90000"/>
              <a:buFont typeface="Wingdings" panose="05000000000000000000" pitchFamily="2" charset="2"/>
              <a:buChar char=""/>
              <a:tabLst/>
            </a:pPr>
            <a:r>
              <a:rPr lang="en-US"/>
              <a:t>Edit Master text styles</a:t>
            </a:r>
          </a:p>
          <a:p>
            <a:pPr marL="170407" marR="0" lvl="1" indent="-170407" algn="l" defTabSz="685775" rtl="0" eaLnBrk="1" fontAlgn="auto" latinLnBrk="0" hangingPunct="1">
              <a:lnSpc>
                <a:spcPct val="90000"/>
              </a:lnSpc>
              <a:spcBef>
                <a:spcPts val="900"/>
              </a:spcBef>
              <a:spcAft>
                <a:spcPts val="0"/>
              </a:spcAft>
              <a:buClr>
                <a:schemeClr val="tx1"/>
              </a:buClr>
              <a:buSzPct val="90000"/>
              <a:buFont typeface="Wingdings" panose="05000000000000000000" pitchFamily="2" charset="2"/>
              <a:buChar char=""/>
              <a:tabLst/>
            </a:pPr>
            <a:r>
              <a:rPr lang="en-US"/>
              <a:t>Second level</a:t>
            </a:r>
          </a:p>
          <a:p>
            <a:pPr marL="170407" marR="0" lvl="2" indent="-170407" algn="l" defTabSz="685775" rtl="0" eaLnBrk="1" fontAlgn="auto" latinLnBrk="0" hangingPunct="1">
              <a:lnSpc>
                <a:spcPct val="90000"/>
              </a:lnSpc>
              <a:spcBef>
                <a:spcPts val="900"/>
              </a:spcBef>
              <a:spcAft>
                <a:spcPts val="0"/>
              </a:spcAft>
              <a:buClr>
                <a:schemeClr val="tx1"/>
              </a:buClr>
              <a:buSzPct val="90000"/>
              <a:buFont typeface="Wingdings" panose="05000000000000000000" pitchFamily="2" charset="2"/>
              <a:buChar char=""/>
              <a:tabLst/>
            </a:pPr>
            <a:r>
              <a:rPr lang="en-US"/>
              <a:t>Third level</a:t>
            </a:r>
          </a:p>
          <a:p>
            <a:pPr marL="170407" marR="0" lvl="3" indent="-170407" algn="l" defTabSz="685775" rtl="0" eaLnBrk="1" fontAlgn="auto" latinLnBrk="0" hangingPunct="1">
              <a:lnSpc>
                <a:spcPct val="90000"/>
              </a:lnSpc>
              <a:spcBef>
                <a:spcPts val="900"/>
              </a:spcBef>
              <a:spcAft>
                <a:spcPts val="0"/>
              </a:spcAft>
              <a:buClr>
                <a:schemeClr val="tx1"/>
              </a:buClr>
              <a:buSzPct val="90000"/>
              <a:buFont typeface="Wingdings" panose="05000000000000000000" pitchFamily="2" charset="2"/>
              <a:buChar char=""/>
              <a:tabLst/>
            </a:pPr>
            <a:r>
              <a:rPr lang="en-US"/>
              <a:t>Fourth level</a:t>
            </a:r>
          </a:p>
          <a:p>
            <a:pPr marL="170407" marR="0" lvl="4" indent="-170407" algn="l" defTabSz="685775" rtl="0" eaLnBrk="1" fontAlgn="auto" latinLnBrk="0" hangingPunct="1">
              <a:lnSpc>
                <a:spcPct val="90000"/>
              </a:lnSpc>
              <a:spcBef>
                <a:spcPts val="900"/>
              </a:spcBef>
              <a:spcAft>
                <a:spcPts val="0"/>
              </a:spcAft>
              <a:buClr>
                <a:schemeClr val="tx1"/>
              </a:buClr>
              <a:buSzPct val="90000"/>
              <a:buFont typeface="Wingdings" panose="05000000000000000000" pitchFamily="2" charset="2"/>
              <a:buChar char=""/>
              <a:tabLst/>
            </a:pPr>
            <a:r>
              <a:rPr lang="en-US"/>
              <a:t>Fifth level</a:t>
            </a:r>
            <a:endParaRPr lang="en-US" dirty="0"/>
          </a:p>
        </p:txBody>
      </p:sp>
    </p:spTree>
    <p:extLst>
      <p:ext uri="{BB962C8B-B14F-4D97-AF65-F5344CB8AC3E}">
        <p14:creationId xmlns:p14="http://schemas.microsoft.com/office/powerpoint/2010/main" val="20847197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520919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graphicFrame>
        <p:nvGraphicFramePr>
          <p:cNvPr id="3" name="Table 2">
            <a:extLst>
              <a:ext uri="{FF2B5EF4-FFF2-40B4-BE49-F238E27FC236}">
                <a16:creationId xmlns:a16="http://schemas.microsoft.com/office/drawing/2014/main" id="{0DA8EFC8-B6A4-4A4B-9EDA-91002B4DFD8C}"/>
              </a:ext>
            </a:extLst>
          </p:cNvPr>
          <p:cNvGraphicFramePr>
            <a:graphicFrameLocks noGrp="1"/>
          </p:cNvGraphicFramePr>
          <p:nvPr userDrawn="1">
            <p:extLst/>
          </p:nvPr>
        </p:nvGraphicFramePr>
        <p:xfrm>
          <a:off x="178159" y="1594041"/>
          <a:ext cx="8798975" cy="915686"/>
        </p:xfrm>
        <a:graphic>
          <a:graphicData uri="http://schemas.openxmlformats.org/drawingml/2006/table">
            <a:tbl>
              <a:tblPr firstRow="1" bandRow="1">
                <a:tableStyleId>{5C22544A-7EE6-4342-B048-85BDC9FD1C3A}</a:tableStyleId>
              </a:tblPr>
              <a:tblGrid>
                <a:gridCol w="247744">
                  <a:extLst>
                    <a:ext uri="{9D8B030D-6E8A-4147-A177-3AD203B41FA5}">
                      <a16:colId xmlns:a16="http://schemas.microsoft.com/office/drawing/2014/main" val="612254498"/>
                    </a:ext>
                  </a:extLst>
                </a:gridCol>
                <a:gridCol w="2696195">
                  <a:extLst>
                    <a:ext uri="{9D8B030D-6E8A-4147-A177-3AD203B41FA5}">
                      <a16:colId xmlns:a16="http://schemas.microsoft.com/office/drawing/2014/main" val="1261049811"/>
                    </a:ext>
                  </a:extLst>
                </a:gridCol>
                <a:gridCol w="241048">
                  <a:extLst>
                    <a:ext uri="{9D8B030D-6E8A-4147-A177-3AD203B41FA5}">
                      <a16:colId xmlns:a16="http://schemas.microsoft.com/office/drawing/2014/main" val="2638922956"/>
                    </a:ext>
                  </a:extLst>
                </a:gridCol>
                <a:gridCol w="2696195">
                  <a:extLst>
                    <a:ext uri="{9D8B030D-6E8A-4147-A177-3AD203B41FA5}">
                      <a16:colId xmlns:a16="http://schemas.microsoft.com/office/drawing/2014/main" val="1530065899"/>
                    </a:ext>
                  </a:extLst>
                </a:gridCol>
                <a:gridCol w="221596">
                  <a:extLst>
                    <a:ext uri="{9D8B030D-6E8A-4147-A177-3AD203B41FA5}">
                      <a16:colId xmlns:a16="http://schemas.microsoft.com/office/drawing/2014/main" val="1628348927"/>
                    </a:ext>
                  </a:extLst>
                </a:gridCol>
                <a:gridCol w="2696195">
                  <a:extLst>
                    <a:ext uri="{9D8B030D-6E8A-4147-A177-3AD203B41FA5}">
                      <a16:colId xmlns:a16="http://schemas.microsoft.com/office/drawing/2014/main" val="3564049150"/>
                    </a:ext>
                  </a:extLst>
                </a:gridCol>
              </a:tblGrid>
              <a:tr h="915686">
                <a:tc>
                  <a:txBody>
                    <a:bodyPr/>
                    <a:lstStyle/>
                    <a:p>
                      <a:pPr algn="ctr"/>
                      <a:r>
                        <a:rPr lang="en-US" sz="1800" dirty="0">
                          <a:solidFill>
                            <a:schemeClr val="bg1"/>
                          </a:solidFill>
                        </a:rPr>
                        <a:t>1</a:t>
                      </a:r>
                    </a:p>
                  </a:txBody>
                  <a:tcPr marL="68570" marR="6857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accent2"/>
                    </a:solidFill>
                  </a:tcPr>
                </a:tc>
                <a:tc>
                  <a:txBody>
                    <a:bodyPr/>
                    <a:lstStyle/>
                    <a:p>
                      <a:pPr marL="0" indent="0" algn="l">
                        <a:buFont typeface="Arial" panose="020B0604020202020204" pitchFamily="34" charset="0"/>
                        <a:buNone/>
                      </a:pPr>
                      <a:endParaRPr lang="en-US" sz="1200" b="0" dirty="0">
                        <a:solidFill>
                          <a:schemeClr val="tx1"/>
                        </a:solidFill>
                        <a:latin typeface="Segoe UI" panose="020B0502040204020203" pitchFamily="34" charset="0"/>
                        <a:cs typeface="Segoe UI" panose="020B0502040204020203" pitchFamily="34" charset="0"/>
                      </a:endParaRPr>
                    </a:p>
                  </a:txBody>
                  <a:tcPr marL="68570" marR="6857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tc>
                  <a:txBody>
                    <a:bodyPr/>
                    <a:lstStyle/>
                    <a:p>
                      <a:pPr algn="ctr"/>
                      <a:r>
                        <a:rPr lang="en-US" sz="1800" dirty="0">
                          <a:solidFill>
                            <a:schemeClr val="bg1"/>
                          </a:solidFill>
                        </a:rPr>
                        <a:t>2</a:t>
                      </a:r>
                    </a:p>
                  </a:txBody>
                  <a:tcPr marL="68570" marR="6857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accent2"/>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a:txBody>
                  <a:tcPr marL="68570" marR="6857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tc>
                  <a:txBody>
                    <a:bodyPr/>
                    <a:lstStyle/>
                    <a:p>
                      <a:pPr algn="ctr"/>
                      <a:r>
                        <a:rPr lang="en-US" sz="1800" dirty="0">
                          <a:solidFill>
                            <a:schemeClr val="bg1"/>
                          </a:solidFill>
                        </a:rPr>
                        <a:t>3</a:t>
                      </a:r>
                    </a:p>
                  </a:txBody>
                  <a:tcPr marL="68570" marR="6857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accent2"/>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a:txBody>
                  <a:tcPr marL="68570" marR="6857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02296024"/>
                  </a:ext>
                </a:extLst>
              </a:tr>
            </a:tbl>
          </a:graphicData>
        </a:graphic>
      </p:graphicFrame>
      <p:sp>
        <p:nvSpPr>
          <p:cNvPr id="4" name="Rectangle 3">
            <a:extLst>
              <a:ext uri="{FF2B5EF4-FFF2-40B4-BE49-F238E27FC236}">
                <a16:creationId xmlns:a16="http://schemas.microsoft.com/office/drawing/2014/main" id="{E0AD6D0A-0B93-4FDA-8794-74E05AF3986D}"/>
              </a:ext>
            </a:extLst>
          </p:cNvPr>
          <p:cNvSpPr/>
          <p:nvPr userDrawn="1"/>
        </p:nvSpPr>
        <p:spPr>
          <a:xfrm>
            <a:off x="4670373" y="2843719"/>
            <a:ext cx="4307306" cy="2266594"/>
          </a:xfrm>
          <a:prstGeom prst="rect">
            <a:avLst/>
          </a:prstGeom>
          <a:solidFill>
            <a:schemeClr val="bg1"/>
          </a:solidFill>
          <a:ln w="317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70" tIns="137141" rIns="68570" bIns="34285" numCol="1" spcCol="0" rtlCol="0" fromWordArt="0" anchor="t" anchorCtr="0" forceAA="0" compatLnSpc="1">
            <a:prstTxWarp prst="textNoShape">
              <a:avLst/>
            </a:prstTxWarp>
            <a:noAutofit/>
          </a:bodyPr>
          <a:lstStyle/>
          <a:p>
            <a:pPr marL="214271" indent="-214271">
              <a:buFont typeface="+mj-lt"/>
              <a:buAutoNum type="arabicPeriod"/>
            </a:pPr>
            <a:endParaRPr lang="en-US" sz="900" dirty="0">
              <a:solidFill>
                <a:schemeClr val="tx1"/>
              </a:solidFill>
              <a:latin typeface="Segoe UI" panose="020B0502040204020203" pitchFamily="34" charset="0"/>
              <a:cs typeface="Segoe UI" panose="020B0502040204020203" pitchFamily="34" charset="0"/>
            </a:endParaRPr>
          </a:p>
        </p:txBody>
      </p:sp>
      <p:sp>
        <p:nvSpPr>
          <p:cNvPr id="5" name="Rectangle 4">
            <a:extLst>
              <a:ext uri="{FF2B5EF4-FFF2-40B4-BE49-F238E27FC236}">
                <a16:creationId xmlns:a16="http://schemas.microsoft.com/office/drawing/2014/main" id="{AE569D99-EA10-4A5E-A210-0C0CFB1784DA}"/>
              </a:ext>
            </a:extLst>
          </p:cNvPr>
          <p:cNvSpPr/>
          <p:nvPr userDrawn="1"/>
        </p:nvSpPr>
        <p:spPr>
          <a:xfrm>
            <a:off x="169904" y="5453547"/>
            <a:ext cx="8798975" cy="1158475"/>
          </a:xfrm>
          <a:prstGeom prst="rect">
            <a:avLst/>
          </a:prstGeom>
          <a:solidFill>
            <a:schemeClr val="bg1"/>
          </a:solidFill>
          <a:ln w="317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70" tIns="137141" rIns="68570" bIns="34285" numCol="1" spcCol="0" rtlCol="0" fromWordArt="0" anchor="t" anchorCtr="0" forceAA="0" compatLnSpc="1">
            <a:prstTxWarp prst="textNoShape">
              <a:avLst/>
            </a:prstTxWarp>
            <a:noAutofit/>
          </a:bodyPr>
          <a:lstStyle/>
          <a:p>
            <a:pPr marL="214271" indent="-214271">
              <a:buFont typeface="+mj-lt"/>
              <a:buAutoNum type="arabicPeriod"/>
            </a:pPr>
            <a:endParaRPr lang="en-US" sz="900" dirty="0">
              <a:solidFill>
                <a:schemeClr val="tx1"/>
              </a:solidFill>
              <a:latin typeface="Segoe UI" panose="020B0502040204020203" pitchFamily="34" charset="0"/>
              <a:cs typeface="Segoe UI" panose="020B0502040204020203" pitchFamily="34" charset="0"/>
            </a:endParaRPr>
          </a:p>
        </p:txBody>
      </p:sp>
      <p:sp>
        <p:nvSpPr>
          <p:cNvPr id="6" name="Rectangle 5">
            <a:extLst>
              <a:ext uri="{FF2B5EF4-FFF2-40B4-BE49-F238E27FC236}">
                <a16:creationId xmlns:a16="http://schemas.microsoft.com/office/drawing/2014/main" id="{25343C9A-BA04-485B-85B2-7C39B7490E88}"/>
              </a:ext>
            </a:extLst>
          </p:cNvPr>
          <p:cNvSpPr/>
          <p:nvPr userDrawn="1"/>
        </p:nvSpPr>
        <p:spPr>
          <a:xfrm>
            <a:off x="169906" y="2843719"/>
            <a:ext cx="4307306" cy="2266594"/>
          </a:xfrm>
          <a:prstGeom prst="rect">
            <a:avLst/>
          </a:prstGeom>
          <a:solidFill>
            <a:schemeClr val="bg1"/>
          </a:solidFill>
          <a:ln w="317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tIns="137141" rtlCol="0" anchor="t"/>
          <a:lstStyle/>
          <a:p>
            <a:pPr marL="214271" indent="-214271">
              <a:buFont typeface="+mj-lt"/>
              <a:buAutoNum type="arabicPeriod"/>
            </a:pPr>
            <a:endParaRPr lang="en-US" sz="900" dirty="0">
              <a:solidFill>
                <a:schemeClr val="tx1"/>
              </a:solidFill>
              <a:latin typeface="Segoe UI" panose="020B0502040204020203" pitchFamily="34" charset="0"/>
              <a:cs typeface="Segoe UI" panose="020B0502040204020203" pitchFamily="34" charset="0"/>
            </a:endParaRPr>
          </a:p>
        </p:txBody>
      </p:sp>
      <p:sp>
        <p:nvSpPr>
          <p:cNvPr id="7" name="TextBox 6">
            <a:extLst>
              <a:ext uri="{FF2B5EF4-FFF2-40B4-BE49-F238E27FC236}">
                <a16:creationId xmlns:a16="http://schemas.microsoft.com/office/drawing/2014/main" id="{92028F83-BC57-46B6-AE4F-F363D917BFB5}"/>
              </a:ext>
            </a:extLst>
          </p:cNvPr>
          <p:cNvSpPr txBox="1"/>
          <p:nvPr userDrawn="1"/>
        </p:nvSpPr>
        <p:spPr>
          <a:xfrm>
            <a:off x="4669826" y="2707892"/>
            <a:ext cx="1568243" cy="271654"/>
          </a:xfrm>
          <a:prstGeom prst="rect">
            <a:avLst/>
          </a:prstGeom>
          <a:solidFill>
            <a:schemeClr val="bg1"/>
          </a:solidFill>
          <a:ln w="12700">
            <a:solidFill>
              <a:schemeClr val="tx1"/>
            </a:solidFill>
          </a:ln>
        </p:spPr>
        <p:txBody>
          <a:bodyPr wrap="square" lIns="68570" tIns="34285" rIns="68570" bIns="34285" rtlCol="0" anchor="ctr">
            <a:noAutofit/>
          </a:bodyPr>
          <a:lstStyle>
            <a:defPPr>
              <a:defRPr lang="en-US"/>
            </a:defPPr>
            <a:lvl1pPr>
              <a:defRPr sz="2400">
                <a:solidFill>
                  <a:srgbClr val="0078D7"/>
                </a:solidFill>
                <a:latin typeface="+mj-lt"/>
              </a:defRPr>
            </a:lvl1pPr>
          </a:lstStyle>
          <a:p>
            <a:pPr defTabSz="685669">
              <a:defRPr/>
            </a:pPr>
            <a:r>
              <a:rPr lang="en-US" sz="1050" b="1" dirty="0">
                <a:solidFill>
                  <a:schemeClr val="accent1"/>
                </a:solidFill>
                <a:latin typeface="Segoe UI Light"/>
              </a:rPr>
              <a:t>Actions to Take</a:t>
            </a:r>
          </a:p>
        </p:txBody>
      </p:sp>
      <p:sp>
        <p:nvSpPr>
          <p:cNvPr id="8" name="TextBox 7">
            <a:extLst>
              <a:ext uri="{FF2B5EF4-FFF2-40B4-BE49-F238E27FC236}">
                <a16:creationId xmlns:a16="http://schemas.microsoft.com/office/drawing/2014/main" id="{1B2D9789-D165-4BDB-A460-2343E7F13D54}"/>
              </a:ext>
            </a:extLst>
          </p:cNvPr>
          <p:cNvSpPr txBox="1"/>
          <p:nvPr userDrawn="1"/>
        </p:nvSpPr>
        <p:spPr>
          <a:xfrm>
            <a:off x="169906" y="5308480"/>
            <a:ext cx="1565352" cy="271654"/>
          </a:xfrm>
          <a:prstGeom prst="rect">
            <a:avLst/>
          </a:prstGeom>
          <a:solidFill>
            <a:schemeClr val="bg1"/>
          </a:solidFill>
          <a:ln w="12700">
            <a:solidFill>
              <a:schemeClr val="tx1"/>
            </a:solidFill>
          </a:ln>
        </p:spPr>
        <p:txBody>
          <a:bodyPr wrap="square" lIns="68570" tIns="34285" rIns="68570" bIns="34285" rtlCol="0" anchor="ctr">
            <a:noAutofit/>
          </a:bodyPr>
          <a:lstStyle>
            <a:defPPr>
              <a:defRPr lang="en-US"/>
            </a:defPPr>
            <a:lvl1pPr>
              <a:defRPr sz="2400">
                <a:solidFill>
                  <a:srgbClr val="0078D7"/>
                </a:solidFill>
                <a:latin typeface="+mj-lt"/>
              </a:defRPr>
            </a:lvl1pPr>
          </a:lstStyle>
          <a:p>
            <a:pPr defTabSz="685669">
              <a:defRPr/>
            </a:pPr>
            <a:r>
              <a:rPr lang="en-US" sz="1050" b="1" dirty="0">
                <a:solidFill>
                  <a:schemeClr val="accent1"/>
                </a:solidFill>
                <a:latin typeface="Segoe UI Light"/>
              </a:rPr>
              <a:t>Resources</a:t>
            </a:r>
          </a:p>
        </p:txBody>
      </p:sp>
      <p:sp>
        <p:nvSpPr>
          <p:cNvPr id="9" name="TextBox 8">
            <a:extLst>
              <a:ext uri="{FF2B5EF4-FFF2-40B4-BE49-F238E27FC236}">
                <a16:creationId xmlns:a16="http://schemas.microsoft.com/office/drawing/2014/main" id="{CCF24501-8757-48AA-B9DD-ED5BECE78DDC}"/>
              </a:ext>
            </a:extLst>
          </p:cNvPr>
          <p:cNvSpPr txBox="1"/>
          <p:nvPr userDrawn="1"/>
        </p:nvSpPr>
        <p:spPr>
          <a:xfrm>
            <a:off x="169906" y="2707892"/>
            <a:ext cx="1568243" cy="271654"/>
          </a:xfrm>
          <a:prstGeom prst="rect">
            <a:avLst/>
          </a:prstGeom>
          <a:solidFill>
            <a:schemeClr val="bg1"/>
          </a:solidFill>
          <a:ln w="12700">
            <a:solidFill>
              <a:schemeClr val="tx1"/>
            </a:solidFill>
          </a:ln>
        </p:spPr>
        <p:txBody>
          <a:bodyPr wrap="square" lIns="68570" tIns="34285" rIns="68570" bIns="34285" rtlCol="0" anchor="ctr">
            <a:noAutofit/>
          </a:bodyPr>
          <a:lstStyle>
            <a:defPPr>
              <a:defRPr lang="en-US"/>
            </a:defPPr>
            <a:lvl1pPr>
              <a:defRPr sz="2400">
                <a:solidFill>
                  <a:srgbClr val="0078D7"/>
                </a:solidFill>
                <a:latin typeface="+mj-lt"/>
              </a:defRPr>
            </a:lvl1pPr>
          </a:lstStyle>
          <a:p>
            <a:pPr defTabSz="685669">
              <a:defRPr/>
            </a:pPr>
            <a:r>
              <a:rPr lang="en-US" sz="1050" b="1" dirty="0">
                <a:solidFill>
                  <a:schemeClr val="accent1"/>
                </a:solidFill>
                <a:latin typeface="Segoe UI Light"/>
              </a:rPr>
              <a:t>Questions to Ask</a:t>
            </a:r>
          </a:p>
        </p:txBody>
      </p:sp>
      <p:sp>
        <p:nvSpPr>
          <p:cNvPr id="10" name="TextBox 9">
            <a:extLst>
              <a:ext uri="{FF2B5EF4-FFF2-40B4-BE49-F238E27FC236}">
                <a16:creationId xmlns:a16="http://schemas.microsoft.com/office/drawing/2014/main" id="{2A40F325-ADB0-41C7-9EF7-7E36EF2381D6}"/>
              </a:ext>
            </a:extLst>
          </p:cNvPr>
          <p:cNvSpPr txBox="1"/>
          <p:nvPr userDrawn="1"/>
        </p:nvSpPr>
        <p:spPr>
          <a:xfrm>
            <a:off x="169904" y="1456607"/>
            <a:ext cx="1568244" cy="271654"/>
          </a:xfrm>
          <a:prstGeom prst="rect">
            <a:avLst/>
          </a:prstGeom>
          <a:solidFill>
            <a:schemeClr val="bg1"/>
          </a:solidFill>
          <a:ln w="12700">
            <a:solidFill>
              <a:schemeClr val="tx1"/>
            </a:solidFill>
          </a:ln>
        </p:spPr>
        <p:txBody>
          <a:bodyPr wrap="square" lIns="68570" tIns="34285" rIns="68570" bIns="34285" rtlCol="0" anchor="ctr">
            <a:noAutofit/>
          </a:bodyPr>
          <a:lstStyle>
            <a:defPPr>
              <a:defRPr lang="en-US"/>
            </a:defPPr>
            <a:lvl1pPr>
              <a:defRPr sz="2400">
                <a:solidFill>
                  <a:srgbClr val="0078D7"/>
                </a:solidFill>
                <a:latin typeface="+mj-lt"/>
              </a:defRPr>
            </a:lvl1pPr>
          </a:lstStyle>
          <a:p>
            <a:pPr defTabSz="685669">
              <a:defRPr/>
            </a:pPr>
            <a:r>
              <a:rPr lang="en-US" sz="1050" b="1" dirty="0">
                <a:solidFill>
                  <a:schemeClr val="accent1"/>
                </a:solidFill>
                <a:latin typeface="Segoe UI Light"/>
              </a:rPr>
              <a:t>Goals</a:t>
            </a:r>
          </a:p>
        </p:txBody>
      </p:sp>
      <p:sp>
        <p:nvSpPr>
          <p:cNvPr id="11" name="Arrow: Down 10">
            <a:extLst>
              <a:ext uri="{FF2B5EF4-FFF2-40B4-BE49-F238E27FC236}">
                <a16:creationId xmlns:a16="http://schemas.microsoft.com/office/drawing/2014/main" id="{F67E61E6-AA38-485B-AE09-CD08BBD8FABF}"/>
              </a:ext>
            </a:extLst>
          </p:cNvPr>
          <p:cNvSpPr/>
          <p:nvPr userDrawn="1"/>
        </p:nvSpPr>
        <p:spPr bwMode="auto">
          <a:xfrm rot="16200000">
            <a:off x="2927137" y="1411179"/>
            <a:ext cx="470385" cy="2854139"/>
          </a:xfrm>
          <a:prstGeom prst="downArrow">
            <a:avLst>
              <a:gd name="adj1" fmla="val 31468"/>
              <a:gd name="adj2" fmla="val 37425"/>
            </a:avLst>
          </a:prstGeom>
          <a:gradFill flip="none" rotWithShape="1">
            <a:gsLst>
              <a:gs pos="0">
                <a:srgbClr val="0078D7">
                  <a:lumMod val="0"/>
                  <a:lumOff val="100000"/>
                  <a:alpha val="0"/>
                </a:srgbClr>
              </a:gs>
              <a:gs pos="100000">
                <a:srgbClr val="0078D7">
                  <a:lumMod val="45000"/>
                  <a:lumOff val="55000"/>
                </a:srgbClr>
              </a:gs>
              <a:gs pos="100000">
                <a:schemeClr val="accent6"/>
              </a:gs>
            </a:gsLst>
            <a:lin ang="5400000" scaled="1"/>
            <a:tileRect/>
          </a:gradFill>
          <a:ln>
            <a:noFill/>
          </a:ln>
          <a:effectLst/>
        </p:spPr>
        <p:txBody>
          <a:bodyPr rot="0" spcFirstLastPara="0" vertOverflow="overflow" horzOverflow="overflow" vert="horz" wrap="square" lIns="137141" tIns="109713" rIns="137141" bIns="109713" numCol="1" spcCol="0" rtlCol="0" fromWordArt="0" anchor="t" anchorCtr="0" forceAA="0" compatLnSpc="1">
            <a:prstTxWarp prst="textNoShape">
              <a:avLst/>
            </a:prstTxWarp>
            <a:noAutofit/>
          </a:bodyPr>
          <a:lstStyle/>
          <a:p>
            <a:pPr algn="ctr" defTabSz="699220" fontAlgn="base">
              <a:lnSpc>
                <a:spcPct val="90000"/>
              </a:lnSpc>
              <a:spcBef>
                <a:spcPct val="0"/>
              </a:spcBef>
              <a:spcAft>
                <a:spcPct val="0"/>
              </a:spcAft>
              <a:defRPr/>
            </a:pPr>
            <a:endParaRPr lang="en-US" sz="18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11379739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Question">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8074CDC-0128-42E8-B232-786D9C2CD277}"/>
              </a:ext>
            </a:extLst>
          </p:cNvPr>
          <p:cNvSpPr/>
          <p:nvPr userDrawn="1"/>
        </p:nvSpPr>
        <p:spPr>
          <a:xfrm>
            <a:off x="0" y="0"/>
            <a:ext cx="9144000" cy="2008094"/>
          </a:xfrm>
          <a:prstGeom prst="rect">
            <a:avLst/>
          </a:prstGeom>
          <a:solidFill>
            <a:srgbClr val="66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hasCustomPrompt="1"/>
          </p:nvPr>
        </p:nvSpPr>
        <p:spPr>
          <a:xfrm>
            <a:off x="93306" y="-4"/>
            <a:ext cx="8836089" cy="1824321"/>
          </a:xfrm>
        </p:spPr>
        <p:txBody>
          <a:bodyPr/>
          <a:lstStyle>
            <a:lvl1pPr>
              <a:defRPr>
                <a:solidFill>
                  <a:schemeClr val="bg1"/>
                </a:solidFill>
              </a:defRPr>
            </a:lvl1pPr>
          </a:lstStyle>
          <a:p>
            <a:r>
              <a:rPr lang="en-US" dirty="0"/>
              <a:t>Question…. This is a test</a:t>
            </a:r>
          </a:p>
        </p:txBody>
      </p:sp>
      <p:sp>
        <p:nvSpPr>
          <p:cNvPr id="3" name="Content Placeholder 2"/>
          <p:cNvSpPr>
            <a:spLocks noGrp="1"/>
          </p:cNvSpPr>
          <p:nvPr>
            <p:ph idx="1" hasCustomPrompt="1"/>
          </p:nvPr>
        </p:nvSpPr>
        <p:spPr>
          <a:xfrm>
            <a:off x="261187" y="2057400"/>
            <a:ext cx="8574837" cy="4138466"/>
          </a:xfrm>
        </p:spPr>
        <p:txBody>
          <a:bodyPr/>
          <a:lstStyle>
            <a:lvl1pPr marL="514350" indent="-514350">
              <a:buFont typeface="+mj-lt"/>
              <a:buAutoNum type="arabicParenR"/>
              <a:defRPr/>
            </a:lvl1pPr>
          </a:lstStyle>
          <a:p>
            <a:pPr lvl="0"/>
            <a:r>
              <a:rPr lang="en-US" dirty="0"/>
              <a:t>Edit Question</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a:extLst>
              <a:ext uri="{FF2B5EF4-FFF2-40B4-BE49-F238E27FC236}">
                <a16:creationId xmlns:a16="http://schemas.microsoft.com/office/drawing/2014/main" id="{7F35744D-EF33-49FA-9A3C-2D7BFFC7876A}"/>
              </a:ext>
            </a:extLst>
          </p:cNvPr>
          <p:cNvSpPr>
            <a:spLocks noGrp="1"/>
          </p:cNvSpPr>
          <p:nvPr>
            <p:ph type="body" sz="quarter" idx="10" hasCustomPrompt="1"/>
          </p:nvPr>
        </p:nvSpPr>
        <p:spPr>
          <a:xfrm>
            <a:off x="261188" y="6307137"/>
            <a:ext cx="8574837"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422124692"/>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29" y="2084187"/>
            <a:ext cx="7394337" cy="917880"/>
          </a:xfrm>
          <a:noFill/>
        </p:spPr>
        <p:txBody>
          <a:bodyPr tIns="91440" bIns="91440" anchor="t" anchorCtr="0">
            <a:spAutoFit/>
          </a:bodyPr>
          <a:lstStyle>
            <a:lvl1pPr>
              <a:defRPr sz="5294" spc="-74"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01930" y="3877277"/>
            <a:ext cx="7395506" cy="621324"/>
          </a:xfrm>
          <a:noFill/>
        </p:spPr>
        <p:txBody>
          <a:bodyPr lIns="182880" tIns="146304" rIns="182880" bIns="146304">
            <a:spAutoFit/>
          </a:bodyPr>
          <a:lstStyle>
            <a:lvl1pPr marL="0" indent="0">
              <a:spcBef>
                <a:spcPts val="0"/>
              </a:spcBef>
              <a:buNone/>
              <a:defRPr sz="2353"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95109118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0" y="2084187"/>
            <a:ext cx="7394337" cy="917880"/>
          </a:xfrm>
          <a:noFill/>
        </p:spPr>
        <p:txBody>
          <a:bodyPr tIns="91440" bIns="91440" anchor="t" anchorCtr="0">
            <a:spAutoFit/>
          </a:bodyPr>
          <a:lstStyle>
            <a:lvl1pPr>
              <a:defRPr lang="en-US" sz="5294" b="0" kern="1200" cap="none" spc="-74"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69028042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0" y="2084173"/>
            <a:ext cx="8740142" cy="917880"/>
          </a:xfrm>
          <a:noFill/>
        </p:spPr>
        <p:txBody>
          <a:bodyPr tIns="91440" bIns="91440" anchor="t" anchorCtr="0">
            <a:spAutoFit/>
          </a:bodyPr>
          <a:lstStyle>
            <a:lvl1pPr>
              <a:defRPr sz="5294" spc="-74"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6229184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0" y="2084173"/>
            <a:ext cx="8740142" cy="917880"/>
          </a:xfrm>
          <a:noFill/>
        </p:spPr>
        <p:txBody>
          <a:bodyPr tIns="91440" bIns="91440" anchor="t" anchorCtr="0">
            <a:spAutoFit/>
          </a:bodyPr>
          <a:lstStyle>
            <a:lvl1pPr>
              <a:defRPr sz="5294" spc="-74"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2274822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0" y="2847879"/>
            <a:ext cx="3596905" cy="1162241"/>
          </a:xfrm>
        </p:spPr>
        <p:txBody>
          <a:bodyPr wrap="square" anchor="ctr">
            <a:spAutoFit/>
          </a:bodyPr>
          <a:lstStyle>
            <a:lvl1pPr>
              <a:defRPr sz="3529"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4000762" y="0"/>
            <a:ext cx="5143238" cy="6856100"/>
          </a:xfrm>
          <a:prstGeom prst="rect">
            <a:avLst/>
          </a:prstGeom>
          <a:blipFill>
            <a:blip r:embed="rId2"/>
            <a:stretch>
              <a:fillRect/>
            </a:stretch>
          </a:blipFill>
        </p:spPr>
        <p:txBody>
          <a:bodyPr tIns="548640" anchor="ctr" anchorCtr="0">
            <a:noAutofit/>
          </a:bodyPr>
          <a:lstStyle>
            <a:lvl1pPr marL="0" indent="0" algn="ctr">
              <a:buNone/>
              <a:defRPr sz="1176"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2323994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350253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7809934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Developer Code Layou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9144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2" tIns="34292" rIns="34292" bIns="34292" numCol="1" spcCol="0" rtlCol="0" fromWordArt="0" anchor="ctr" anchorCtr="0" forceAA="0" compatLnSpc="1">
            <a:prstTxWarp prst="textNoShape">
              <a:avLst/>
            </a:prstTxWarp>
            <a:noAutofit/>
          </a:bodyPr>
          <a:lstStyle/>
          <a:p>
            <a:pPr algn="ctr" defTabSz="685577" fontAlgn="base">
              <a:spcBef>
                <a:spcPct val="0"/>
              </a:spcBef>
              <a:spcAft>
                <a:spcPct val="0"/>
              </a:spcAft>
            </a:pPr>
            <a:endParaRPr lang="en-US" sz="1324"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01929" y="1197322"/>
            <a:ext cx="8740142" cy="1715791"/>
          </a:xfrm>
        </p:spPr>
        <p:txBody>
          <a:bodyPr/>
          <a:lstStyle>
            <a:lvl1pPr marL="0" indent="0">
              <a:buNone/>
              <a:defRPr sz="2426">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254795"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429818"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59888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772719"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944128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01930" y="6099190"/>
            <a:ext cx="3361593" cy="350807"/>
          </a:xfrm>
          <a:prstGeom prst="rect">
            <a:avLst/>
          </a:prstGeom>
          <a:noFill/>
          <a:ln w="12700">
            <a:noFill/>
            <a:miter lim="800000"/>
            <a:headEnd type="none" w="sm" len="sm"/>
            <a:tailEnd type="none" w="sm" len="sm"/>
          </a:ln>
          <a:effectLst/>
        </p:spPr>
        <p:txBody>
          <a:bodyPr vert="horz" wrap="square" lIns="134464" tIns="134464" rIns="134464" bIns="134464" numCol="1" anchor="t" anchorCtr="0" compatLnSpc="1">
            <a:prstTxWarp prst="textNoShape">
              <a:avLst/>
            </a:prstTxWarp>
            <a:spAutoFit/>
          </a:bodyPr>
          <a:lstStyle/>
          <a:p>
            <a:pPr defTabSz="685443" eaLnBrk="0" hangingPunct="0"/>
            <a:r>
              <a:rPr lang="en-US" sz="515"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338725" y="470067"/>
            <a:ext cx="1067477" cy="304828"/>
          </a:xfrm>
          <a:prstGeom prst="rect">
            <a:avLst/>
          </a:prstGeom>
        </p:spPr>
      </p:pic>
    </p:spTree>
    <p:extLst>
      <p:ext uri="{BB962C8B-B14F-4D97-AF65-F5344CB8AC3E}">
        <p14:creationId xmlns:p14="http://schemas.microsoft.com/office/powerpoint/2010/main" val="13541956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01930" y="1189178"/>
            <a:ext cx="8740142" cy="1845826"/>
          </a:xfrm>
          <a:prstGeom prst="rect">
            <a:avLst/>
          </a:prstGeom>
        </p:spPr>
        <p:txBody>
          <a:bodyPr/>
          <a:lstStyle>
            <a:lvl1pPr marL="213593" indent="-213593">
              <a:buClr>
                <a:schemeClr val="tx1"/>
              </a:buClr>
              <a:buSzPct val="90000"/>
              <a:buFont typeface="Arial" pitchFamily="34" charset="0"/>
              <a:buChar char="•"/>
              <a:defRPr sz="264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420181" indent="-206590">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633773" indent="-213593">
              <a:buClr>
                <a:schemeClr val="tx1"/>
              </a:buClr>
              <a:buSzPct val="90000"/>
              <a:buFont typeface="Arial" pitchFamily="34" charset="0"/>
              <a:buChar char="•"/>
              <a:defRPr sz="2059">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801846" indent="-168073">
              <a:buClr>
                <a:schemeClr val="tx1"/>
              </a:buClr>
              <a:buSzPct val="90000"/>
              <a:buFont typeface="Arial" pitchFamily="34" charset="0"/>
              <a:buChar char="•"/>
              <a:defRPr sz="1765">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969919" indent="-168073">
              <a:buClr>
                <a:schemeClr val="tx1"/>
              </a:buClr>
              <a:buSzPct val="90000"/>
              <a:buFont typeface="Arial" pitchFamily="34" charset="0"/>
              <a:buChar char="•"/>
              <a:defRPr sz="147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7"/>
            <a:ext cx="9144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2720" spc="-3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92094965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Answer">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E17D637C-ACFC-4A4F-854E-9FA928AAF434}"/>
              </a:ext>
            </a:extLst>
          </p:cNvPr>
          <p:cNvSpPr/>
          <p:nvPr userDrawn="1"/>
        </p:nvSpPr>
        <p:spPr>
          <a:xfrm>
            <a:off x="0" y="0"/>
            <a:ext cx="9144000" cy="2008094"/>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hasCustomPrompt="1"/>
          </p:nvPr>
        </p:nvSpPr>
        <p:spPr>
          <a:xfrm>
            <a:off x="167054" y="-3"/>
            <a:ext cx="8862646" cy="1931897"/>
          </a:xfrm>
        </p:spPr>
        <p:txBody>
          <a:bodyPr/>
          <a:lstStyle>
            <a:lvl1pPr>
              <a:defRPr sz="2400">
                <a:solidFill>
                  <a:schemeClr val="bg1"/>
                </a:solidFill>
              </a:defRPr>
            </a:lvl1pPr>
          </a:lstStyle>
          <a:p>
            <a:r>
              <a:rPr lang="en-US" dirty="0"/>
              <a:t>Answer Repeat Question Here…</a:t>
            </a:r>
          </a:p>
        </p:txBody>
      </p:sp>
      <p:sp>
        <p:nvSpPr>
          <p:cNvPr id="3" name="Content Placeholder 2"/>
          <p:cNvSpPr>
            <a:spLocks noGrp="1"/>
          </p:cNvSpPr>
          <p:nvPr>
            <p:ph idx="1" hasCustomPrompt="1"/>
          </p:nvPr>
        </p:nvSpPr>
        <p:spPr>
          <a:xfrm>
            <a:off x="261187" y="2061882"/>
            <a:ext cx="8574837" cy="4133984"/>
          </a:xfrm>
        </p:spPr>
        <p:txBody>
          <a:bodyPr/>
          <a:lstStyle>
            <a:lvl1pPr marL="514350" indent="-514350">
              <a:buFont typeface="+mj-lt"/>
              <a:buAutoNum type="arabicParenR"/>
              <a:defRPr/>
            </a:lvl1pPr>
          </a:lstStyle>
          <a:p>
            <a:pPr lvl="0"/>
            <a:r>
              <a:rPr lang="en-US" dirty="0"/>
              <a:t>Paste Answers from Question Sli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a:extLst>
              <a:ext uri="{FF2B5EF4-FFF2-40B4-BE49-F238E27FC236}">
                <a16:creationId xmlns:a16="http://schemas.microsoft.com/office/drawing/2014/main" id="{7F35744D-EF33-49FA-9A3C-2D7BFFC7876A}"/>
              </a:ext>
            </a:extLst>
          </p:cNvPr>
          <p:cNvSpPr>
            <a:spLocks noGrp="1"/>
          </p:cNvSpPr>
          <p:nvPr>
            <p:ph type="body" sz="quarter" idx="10" hasCustomPrompt="1"/>
          </p:nvPr>
        </p:nvSpPr>
        <p:spPr>
          <a:xfrm>
            <a:off x="261188" y="6307137"/>
            <a:ext cx="8574837"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3205732288"/>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Title">
    <p:bg>
      <p:bgPr>
        <a:solidFill>
          <a:schemeClr val="accent1"/>
        </a:solidFill>
        <a:effectLst/>
      </p:bgPr>
    </p:bg>
    <p:spTree>
      <p:nvGrpSpPr>
        <p:cNvPr id="1" name=""/>
        <p:cNvGrpSpPr/>
        <p:nvPr/>
      </p:nvGrpSpPr>
      <p:grpSpPr>
        <a:xfrm>
          <a:off x="0" y="0"/>
          <a:ext cx="0" cy="0"/>
          <a:chOff x="0" y="0"/>
          <a:chExt cx="0" cy="0"/>
        </a:xfrm>
      </p:grpSpPr>
      <p:grpSp>
        <p:nvGrpSpPr>
          <p:cNvPr id="27" name="Group 17"/>
          <p:cNvGrpSpPr>
            <a:grpSpLocks noChangeAspect="1"/>
          </p:cNvGrpSpPr>
          <p:nvPr/>
        </p:nvGrpSpPr>
        <p:grpSpPr bwMode="auto">
          <a:xfrm>
            <a:off x="2317657" y="126993"/>
            <a:ext cx="6782801" cy="6634630"/>
            <a:chOff x="1951" y="0"/>
            <a:chExt cx="5890" cy="4321"/>
          </a:xfrm>
          <a:solidFill>
            <a:schemeClr val="accent1">
              <a:lumMod val="75000"/>
            </a:schemeClr>
          </a:solidFill>
        </p:grpSpPr>
        <p:grpSp>
          <p:nvGrpSpPr>
            <p:cNvPr id="29" name="Group 218"/>
            <p:cNvGrpSpPr>
              <a:grpSpLocks/>
            </p:cNvGrpSpPr>
            <p:nvPr userDrawn="1"/>
          </p:nvGrpSpPr>
          <p:grpSpPr bwMode="auto">
            <a:xfrm>
              <a:off x="1951" y="2190"/>
              <a:ext cx="5871" cy="2131"/>
              <a:chOff x="1951" y="2190"/>
              <a:chExt cx="5871" cy="2131"/>
            </a:xfrm>
            <a:grpFill/>
          </p:grpSpPr>
          <p:sp>
            <p:nvSpPr>
              <p:cNvPr id="1561" name="Freeform 18"/>
              <p:cNvSpPr>
                <a:spLocks noEditPoints="1"/>
              </p:cNvSpPr>
              <p:nvPr userDrawn="1"/>
            </p:nvSpPr>
            <p:spPr bwMode="auto">
              <a:xfrm>
                <a:off x="1951" y="2198"/>
                <a:ext cx="156" cy="248"/>
              </a:xfrm>
              <a:custGeom>
                <a:avLst/>
                <a:gdLst>
                  <a:gd name="T0" fmla="*/ 128 w 128"/>
                  <a:gd name="T1" fmla="*/ 101 h 203"/>
                  <a:gd name="T2" fmla="*/ 123 w 128"/>
                  <a:gd name="T3" fmla="*/ 144 h 203"/>
                  <a:gd name="T4" fmla="*/ 110 w 128"/>
                  <a:gd name="T5" fmla="*/ 176 h 203"/>
                  <a:gd name="T6" fmla="*/ 90 w 128"/>
                  <a:gd name="T7" fmla="*/ 196 h 203"/>
                  <a:gd name="T8" fmla="*/ 62 w 128"/>
                  <a:gd name="T9" fmla="*/ 203 h 203"/>
                  <a:gd name="T10" fmla="*/ 36 w 128"/>
                  <a:gd name="T11" fmla="*/ 196 h 203"/>
                  <a:gd name="T12" fmla="*/ 16 w 128"/>
                  <a:gd name="T13" fmla="*/ 177 h 203"/>
                  <a:gd name="T14" fmla="*/ 4 w 128"/>
                  <a:gd name="T15" fmla="*/ 147 h 203"/>
                  <a:gd name="T16" fmla="*/ 0 w 128"/>
                  <a:gd name="T17" fmla="*/ 105 h 203"/>
                  <a:gd name="T18" fmla="*/ 4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4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6" y="132"/>
                      <a:pt x="123" y="144"/>
                    </a:cubicBezTo>
                    <a:cubicBezTo>
                      <a:pt x="120" y="157"/>
                      <a:pt x="116" y="168"/>
                      <a:pt x="110" y="176"/>
                    </a:cubicBezTo>
                    <a:cubicBezTo>
                      <a:pt x="105" y="185"/>
                      <a:pt x="98" y="192"/>
                      <a:pt x="90" y="196"/>
                    </a:cubicBezTo>
                    <a:cubicBezTo>
                      <a:pt x="82" y="201"/>
                      <a:pt x="72" y="203"/>
                      <a:pt x="62" y="203"/>
                    </a:cubicBezTo>
                    <a:cubicBezTo>
                      <a:pt x="52" y="203"/>
                      <a:pt x="43" y="201"/>
                      <a:pt x="36" y="196"/>
                    </a:cubicBezTo>
                    <a:cubicBezTo>
                      <a:pt x="28" y="192"/>
                      <a:pt x="21" y="186"/>
                      <a:pt x="16" y="177"/>
                    </a:cubicBezTo>
                    <a:cubicBezTo>
                      <a:pt x="11" y="169"/>
                      <a:pt x="7" y="159"/>
                      <a:pt x="4" y="147"/>
                    </a:cubicBezTo>
                    <a:cubicBezTo>
                      <a:pt x="1" y="135"/>
                      <a:pt x="0" y="121"/>
                      <a:pt x="0" y="105"/>
                    </a:cubicBezTo>
                    <a:cubicBezTo>
                      <a:pt x="0" y="88"/>
                      <a:pt x="1" y="73"/>
                      <a:pt x="4" y="60"/>
                    </a:cubicBezTo>
                    <a:cubicBezTo>
                      <a:pt x="7" y="47"/>
                      <a:pt x="11" y="36"/>
                      <a:pt x="17" y="27"/>
                    </a:cubicBezTo>
                    <a:cubicBezTo>
                      <a:pt x="22" y="18"/>
                      <a:pt x="29" y="11"/>
                      <a:pt x="38" y="7"/>
                    </a:cubicBezTo>
                    <a:cubicBezTo>
                      <a:pt x="46" y="2"/>
                      <a:pt x="55" y="0"/>
                      <a:pt x="66" y="0"/>
                    </a:cubicBezTo>
                    <a:cubicBezTo>
                      <a:pt x="107" y="0"/>
                      <a:pt x="128" y="34"/>
                      <a:pt x="128" y="101"/>
                    </a:cubicBezTo>
                    <a:close/>
                    <a:moveTo>
                      <a:pt x="105" y="103"/>
                    </a:moveTo>
                    <a:cubicBezTo>
                      <a:pt x="105" y="47"/>
                      <a:pt x="91" y="19"/>
                      <a:pt x="65" y="19"/>
                    </a:cubicBezTo>
                    <a:cubicBezTo>
                      <a:pt x="37" y="19"/>
                      <a:pt x="23" y="48"/>
                      <a:pt x="23" y="104"/>
                    </a:cubicBezTo>
                    <a:cubicBezTo>
                      <a:pt x="23" y="157"/>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2" name="Freeform 19"/>
              <p:cNvSpPr>
                <a:spLocks/>
              </p:cNvSpPr>
              <p:nvPr userDrawn="1"/>
            </p:nvSpPr>
            <p:spPr bwMode="auto">
              <a:xfrm>
                <a:off x="2149" y="2197"/>
                <a:ext cx="83" cy="246"/>
              </a:xfrm>
              <a:custGeom>
                <a:avLst/>
                <a:gdLst>
                  <a:gd name="T0" fmla="*/ 68 w 68"/>
                  <a:gd name="T1" fmla="*/ 201 h 201"/>
                  <a:gd name="T2" fmla="*/ 45 w 68"/>
                  <a:gd name="T3" fmla="*/ 201 h 201"/>
                  <a:gd name="T4" fmla="*/ 45 w 68"/>
                  <a:gd name="T5" fmla="*/ 31 h 201"/>
                  <a:gd name="T6" fmla="*/ 38 w 68"/>
                  <a:gd name="T7" fmla="*/ 37 h 201"/>
                  <a:gd name="T8" fmla="*/ 27 w 68"/>
                  <a:gd name="T9" fmla="*/ 44 h 201"/>
                  <a:gd name="T10" fmla="*/ 13 w 68"/>
                  <a:gd name="T11" fmla="*/ 50 h 201"/>
                  <a:gd name="T12" fmla="*/ 0 w 68"/>
                  <a:gd name="T13" fmla="*/ 54 h 201"/>
                  <a:gd name="T14" fmla="*/ 0 w 68"/>
                  <a:gd name="T15" fmla="*/ 32 h 201"/>
                  <a:gd name="T16" fmla="*/ 16 w 68"/>
                  <a:gd name="T17" fmla="*/ 26 h 201"/>
                  <a:gd name="T18" fmla="*/ 32 w 68"/>
                  <a:gd name="T19" fmla="*/ 18 h 201"/>
                  <a:gd name="T20" fmla="*/ 47 w 68"/>
                  <a:gd name="T21" fmla="*/ 9 h 201"/>
                  <a:gd name="T22" fmla="*/ 59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5" y="201"/>
                      <a:pt x="45" y="201"/>
                      <a:pt x="45" y="201"/>
                    </a:cubicBezTo>
                    <a:cubicBezTo>
                      <a:pt x="45" y="31"/>
                      <a:pt x="45" y="31"/>
                      <a:pt x="45" y="31"/>
                    </a:cubicBezTo>
                    <a:cubicBezTo>
                      <a:pt x="44" y="33"/>
                      <a:pt x="41" y="35"/>
                      <a:pt x="38" y="37"/>
                    </a:cubicBezTo>
                    <a:cubicBezTo>
                      <a:pt x="34" y="39"/>
                      <a:pt x="31" y="42"/>
                      <a:pt x="27" y="44"/>
                    </a:cubicBezTo>
                    <a:cubicBezTo>
                      <a:pt x="22" y="46"/>
                      <a:pt x="18" y="48"/>
                      <a:pt x="13" y="50"/>
                    </a:cubicBezTo>
                    <a:cubicBezTo>
                      <a:pt x="9" y="52"/>
                      <a:pt x="4" y="53"/>
                      <a:pt x="0" y="54"/>
                    </a:cubicBezTo>
                    <a:cubicBezTo>
                      <a:pt x="0" y="32"/>
                      <a:pt x="0" y="32"/>
                      <a:pt x="0" y="32"/>
                    </a:cubicBezTo>
                    <a:cubicBezTo>
                      <a:pt x="5" y="30"/>
                      <a:pt x="10" y="28"/>
                      <a:pt x="16" y="26"/>
                    </a:cubicBezTo>
                    <a:cubicBezTo>
                      <a:pt x="21" y="24"/>
                      <a:pt x="27" y="21"/>
                      <a:pt x="32" y="18"/>
                    </a:cubicBezTo>
                    <a:cubicBezTo>
                      <a:pt x="37" y="15"/>
                      <a:pt x="42" y="12"/>
                      <a:pt x="47" y="9"/>
                    </a:cubicBezTo>
                    <a:cubicBezTo>
                      <a:pt x="52" y="6"/>
                      <a:pt x="56" y="3"/>
                      <a:pt x="59"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3" name="Freeform 20"/>
              <p:cNvSpPr>
                <a:spLocks/>
              </p:cNvSpPr>
              <p:nvPr userDrawn="1"/>
            </p:nvSpPr>
            <p:spPr bwMode="auto">
              <a:xfrm>
                <a:off x="2299" y="2197"/>
                <a:ext cx="81" cy="246"/>
              </a:xfrm>
              <a:custGeom>
                <a:avLst/>
                <a:gdLst>
                  <a:gd name="T0" fmla="*/ 67 w 67"/>
                  <a:gd name="T1" fmla="*/ 201 h 201"/>
                  <a:gd name="T2" fmla="*/ 45 w 67"/>
                  <a:gd name="T3" fmla="*/ 201 h 201"/>
                  <a:gd name="T4" fmla="*/ 45 w 67"/>
                  <a:gd name="T5" fmla="*/ 31 h 201"/>
                  <a:gd name="T6" fmla="*/ 37 w 67"/>
                  <a:gd name="T7" fmla="*/ 37 h 201"/>
                  <a:gd name="T8" fmla="*/ 26 w 67"/>
                  <a:gd name="T9" fmla="*/ 44 h 201"/>
                  <a:gd name="T10" fmla="*/ 13 w 67"/>
                  <a:gd name="T11" fmla="*/ 50 h 201"/>
                  <a:gd name="T12" fmla="*/ 0 w 67"/>
                  <a:gd name="T13" fmla="*/ 54 h 201"/>
                  <a:gd name="T14" fmla="*/ 0 w 67"/>
                  <a:gd name="T15" fmla="*/ 32 h 201"/>
                  <a:gd name="T16" fmla="*/ 15 w 67"/>
                  <a:gd name="T17" fmla="*/ 26 h 201"/>
                  <a:gd name="T18" fmla="*/ 31 w 67"/>
                  <a:gd name="T19" fmla="*/ 18 h 201"/>
                  <a:gd name="T20" fmla="*/ 47 w 67"/>
                  <a:gd name="T21" fmla="*/ 9 h 201"/>
                  <a:gd name="T22" fmla="*/ 59 w 67"/>
                  <a:gd name="T23" fmla="*/ 0 h 201"/>
                  <a:gd name="T24" fmla="*/ 67 w 67"/>
                  <a:gd name="T25" fmla="*/ 0 h 201"/>
                  <a:gd name="T26" fmla="*/ 67 w 67"/>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7" h="201">
                    <a:moveTo>
                      <a:pt x="67" y="201"/>
                    </a:moveTo>
                    <a:cubicBezTo>
                      <a:pt x="45" y="201"/>
                      <a:pt x="45" y="201"/>
                      <a:pt x="45" y="201"/>
                    </a:cubicBezTo>
                    <a:cubicBezTo>
                      <a:pt x="45" y="31"/>
                      <a:pt x="45" y="31"/>
                      <a:pt x="45" y="31"/>
                    </a:cubicBezTo>
                    <a:cubicBezTo>
                      <a:pt x="43" y="33"/>
                      <a:pt x="41" y="35"/>
                      <a:pt x="37" y="37"/>
                    </a:cubicBezTo>
                    <a:cubicBezTo>
                      <a:pt x="34" y="39"/>
                      <a:pt x="30" y="42"/>
                      <a:pt x="26" y="44"/>
                    </a:cubicBezTo>
                    <a:cubicBezTo>
                      <a:pt x="22" y="46"/>
                      <a:pt x="18" y="48"/>
                      <a:pt x="13" y="50"/>
                    </a:cubicBezTo>
                    <a:cubicBezTo>
                      <a:pt x="8" y="52"/>
                      <a:pt x="4" y="53"/>
                      <a:pt x="0" y="54"/>
                    </a:cubicBezTo>
                    <a:cubicBezTo>
                      <a:pt x="0" y="32"/>
                      <a:pt x="0" y="32"/>
                      <a:pt x="0" y="32"/>
                    </a:cubicBezTo>
                    <a:cubicBezTo>
                      <a:pt x="4" y="30"/>
                      <a:pt x="10" y="28"/>
                      <a:pt x="15" y="26"/>
                    </a:cubicBezTo>
                    <a:cubicBezTo>
                      <a:pt x="21" y="24"/>
                      <a:pt x="26" y="21"/>
                      <a:pt x="31" y="18"/>
                    </a:cubicBezTo>
                    <a:cubicBezTo>
                      <a:pt x="37" y="15"/>
                      <a:pt x="42" y="12"/>
                      <a:pt x="47" y="9"/>
                    </a:cubicBezTo>
                    <a:cubicBezTo>
                      <a:pt x="51" y="6"/>
                      <a:pt x="55" y="3"/>
                      <a:pt x="59" y="0"/>
                    </a:cubicBezTo>
                    <a:cubicBezTo>
                      <a:pt x="67" y="0"/>
                      <a:pt x="67" y="0"/>
                      <a:pt x="67" y="0"/>
                    </a:cubicBezTo>
                    <a:lnTo>
                      <a:pt x="67"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4" name="Freeform 21"/>
              <p:cNvSpPr>
                <a:spLocks noEditPoints="1"/>
              </p:cNvSpPr>
              <p:nvPr userDrawn="1"/>
            </p:nvSpPr>
            <p:spPr bwMode="auto">
              <a:xfrm>
                <a:off x="2446" y="2198"/>
                <a:ext cx="156" cy="248"/>
              </a:xfrm>
              <a:custGeom>
                <a:avLst/>
                <a:gdLst>
                  <a:gd name="T0" fmla="*/ 128 w 128"/>
                  <a:gd name="T1" fmla="*/ 101 h 203"/>
                  <a:gd name="T2" fmla="*/ 123 w 128"/>
                  <a:gd name="T3" fmla="*/ 144 h 203"/>
                  <a:gd name="T4" fmla="*/ 111 w 128"/>
                  <a:gd name="T5" fmla="*/ 176 h 203"/>
                  <a:gd name="T6" fmla="*/ 90 w 128"/>
                  <a:gd name="T7" fmla="*/ 196 h 203"/>
                  <a:gd name="T8" fmla="*/ 62 w 128"/>
                  <a:gd name="T9" fmla="*/ 203 h 203"/>
                  <a:gd name="T10" fmla="*/ 36 w 128"/>
                  <a:gd name="T11" fmla="*/ 196 h 203"/>
                  <a:gd name="T12" fmla="*/ 16 w 128"/>
                  <a:gd name="T13" fmla="*/ 177 h 203"/>
                  <a:gd name="T14" fmla="*/ 4 w 128"/>
                  <a:gd name="T15" fmla="*/ 147 h 203"/>
                  <a:gd name="T16" fmla="*/ 0 w 128"/>
                  <a:gd name="T17" fmla="*/ 105 h 203"/>
                  <a:gd name="T18" fmla="*/ 4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4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6" y="132"/>
                      <a:pt x="123" y="144"/>
                    </a:cubicBezTo>
                    <a:cubicBezTo>
                      <a:pt x="120" y="157"/>
                      <a:pt x="116" y="168"/>
                      <a:pt x="111" y="176"/>
                    </a:cubicBezTo>
                    <a:cubicBezTo>
                      <a:pt x="105" y="185"/>
                      <a:pt x="98" y="192"/>
                      <a:pt x="90" y="196"/>
                    </a:cubicBezTo>
                    <a:cubicBezTo>
                      <a:pt x="82" y="201"/>
                      <a:pt x="72" y="203"/>
                      <a:pt x="62" y="203"/>
                    </a:cubicBezTo>
                    <a:cubicBezTo>
                      <a:pt x="52" y="203"/>
                      <a:pt x="43" y="201"/>
                      <a:pt x="36" y="196"/>
                    </a:cubicBezTo>
                    <a:cubicBezTo>
                      <a:pt x="28" y="192"/>
                      <a:pt x="22" y="186"/>
                      <a:pt x="16" y="177"/>
                    </a:cubicBezTo>
                    <a:cubicBezTo>
                      <a:pt x="11" y="169"/>
                      <a:pt x="7" y="159"/>
                      <a:pt x="4" y="147"/>
                    </a:cubicBezTo>
                    <a:cubicBezTo>
                      <a:pt x="2" y="135"/>
                      <a:pt x="0" y="121"/>
                      <a:pt x="0" y="105"/>
                    </a:cubicBezTo>
                    <a:cubicBezTo>
                      <a:pt x="0" y="88"/>
                      <a:pt x="2" y="73"/>
                      <a:pt x="4" y="60"/>
                    </a:cubicBezTo>
                    <a:cubicBezTo>
                      <a:pt x="7" y="47"/>
                      <a:pt x="12" y="36"/>
                      <a:pt x="17" y="27"/>
                    </a:cubicBezTo>
                    <a:cubicBezTo>
                      <a:pt x="23" y="18"/>
                      <a:pt x="30" y="11"/>
                      <a:pt x="38" y="7"/>
                    </a:cubicBezTo>
                    <a:cubicBezTo>
                      <a:pt x="46" y="2"/>
                      <a:pt x="56" y="0"/>
                      <a:pt x="66" y="0"/>
                    </a:cubicBezTo>
                    <a:cubicBezTo>
                      <a:pt x="107" y="0"/>
                      <a:pt x="128" y="34"/>
                      <a:pt x="128" y="101"/>
                    </a:cubicBezTo>
                    <a:close/>
                    <a:moveTo>
                      <a:pt x="105" y="103"/>
                    </a:moveTo>
                    <a:cubicBezTo>
                      <a:pt x="105" y="47"/>
                      <a:pt x="92" y="19"/>
                      <a:pt x="65" y="19"/>
                    </a:cubicBezTo>
                    <a:cubicBezTo>
                      <a:pt x="37" y="19"/>
                      <a:pt x="23" y="48"/>
                      <a:pt x="23" y="104"/>
                    </a:cubicBezTo>
                    <a:cubicBezTo>
                      <a:pt x="23" y="157"/>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5" name="Freeform 22"/>
              <p:cNvSpPr>
                <a:spLocks/>
              </p:cNvSpPr>
              <p:nvPr userDrawn="1"/>
            </p:nvSpPr>
            <p:spPr bwMode="auto">
              <a:xfrm>
                <a:off x="2643" y="2197"/>
                <a:ext cx="83" cy="246"/>
              </a:xfrm>
              <a:custGeom>
                <a:avLst/>
                <a:gdLst>
                  <a:gd name="T0" fmla="*/ 68 w 68"/>
                  <a:gd name="T1" fmla="*/ 201 h 201"/>
                  <a:gd name="T2" fmla="*/ 46 w 68"/>
                  <a:gd name="T3" fmla="*/ 201 h 201"/>
                  <a:gd name="T4" fmla="*/ 46 w 68"/>
                  <a:gd name="T5" fmla="*/ 31 h 201"/>
                  <a:gd name="T6" fmla="*/ 38 w 68"/>
                  <a:gd name="T7" fmla="*/ 37 h 201"/>
                  <a:gd name="T8" fmla="*/ 27 w 68"/>
                  <a:gd name="T9" fmla="*/ 44 h 201"/>
                  <a:gd name="T10" fmla="*/ 14 w 68"/>
                  <a:gd name="T11" fmla="*/ 50 h 201"/>
                  <a:gd name="T12" fmla="*/ 0 w 68"/>
                  <a:gd name="T13" fmla="*/ 54 h 201"/>
                  <a:gd name="T14" fmla="*/ 0 w 68"/>
                  <a:gd name="T15" fmla="*/ 32 h 201"/>
                  <a:gd name="T16" fmla="*/ 16 w 68"/>
                  <a:gd name="T17" fmla="*/ 26 h 201"/>
                  <a:gd name="T18" fmla="*/ 32 w 68"/>
                  <a:gd name="T19" fmla="*/ 18 h 201"/>
                  <a:gd name="T20" fmla="*/ 47 w 68"/>
                  <a:gd name="T21" fmla="*/ 9 h 201"/>
                  <a:gd name="T22" fmla="*/ 60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6" y="201"/>
                      <a:pt x="46" y="201"/>
                      <a:pt x="46" y="201"/>
                    </a:cubicBezTo>
                    <a:cubicBezTo>
                      <a:pt x="46" y="31"/>
                      <a:pt x="46" y="31"/>
                      <a:pt x="46" y="31"/>
                    </a:cubicBezTo>
                    <a:cubicBezTo>
                      <a:pt x="44" y="33"/>
                      <a:pt x="41" y="35"/>
                      <a:pt x="38" y="37"/>
                    </a:cubicBezTo>
                    <a:cubicBezTo>
                      <a:pt x="35" y="39"/>
                      <a:pt x="31" y="42"/>
                      <a:pt x="27" y="44"/>
                    </a:cubicBezTo>
                    <a:cubicBezTo>
                      <a:pt x="23" y="46"/>
                      <a:pt x="18" y="48"/>
                      <a:pt x="14" y="50"/>
                    </a:cubicBezTo>
                    <a:cubicBezTo>
                      <a:pt x="9" y="52"/>
                      <a:pt x="5" y="53"/>
                      <a:pt x="0" y="54"/>
                    </a:cubicBezTo>
                    <a:cubicBezTo>
                      <a:pt x="0" y="32"/>
                      <a:pt x="0" y="32"/>
                      <a:pt x="0" y="32"/>
                    </a:cubicBezTo>
                    <a:cubicBezTo>
                      <a:pt x="5" y="30"/>
                      <a:pt x="10" y="28"/>
                      <a:pt x="16" y="26"/>
                    </a:cubicBezTo>
                    <a:cubicBezTo>
                      <a:pt x="21" y="24"/>
                      <a:pt x="27" y="21"/>
                      <a:pt x="32" y="18"/>
                    </a:cubicBezTo>
                    <a:cubicBezTo>
                      <a:pt x="38" y="15"/>
                      <a:pt x="43" y="12"/>
                      <a:pt x="47" y="9"/>
                    </a:cubicBezTo>
                    <a:cubicBezTo>
                      <a:pt x="52" y="6"/>
                      <a:pt x="56" y="3"/>
                      <a:pt x="60"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6" name="Freeform 23"/>
              <p:cNvSpPr>
                <a:spLocks noEditPoints="1"/>
              </p:cNvSpPr>
              <p:nvPr userDrawn="1"/>
            </p:nvSpPr>
            <p:spPr bwMode="auto">
              <a:xfrm>
                <a:off x="2792" y="2198"/>
                <a:ext cx="156" cy="248"/>
              </a:xfrm>
              <a:custGeom>
                <a:avLst/>
                <a:gdLst>
                  <a:gd name="T0" fmla="*/ 128 w 128"/>
                  <a:gd name="T1" fmla="*/ 101 h 203"/>
                  <a:gd name="T2" fmla="*/ 123 w 128"/>
                  <a:gd name="T3" fmla="*/ 144 h 203"/>
                  <a:gd name="T4" fmla="*/ 110 w 128"/>
                  <a:gd name="T5" fmla="*/ 176 h 203"/>
                  <a:gd name="T6" fmla="*/ 90 w 128"/>
                  <a:gd name="T7" fmla="*/ 196 h 203"/>
                  <a:gd name="T8" fmla="*/ 62 w 128"/>
                  <a:gd name="T9" fmla="*/ 203 h 203"/>
                  <a:gd name="T10" fmla="*/ 35 w 128"/>
                  <a:gd name="T11" fmla="*/ 196 h 203"/>
                  <a:gd name="T12" fmla="*/ 16 w 128"/>
                  <a:gd name="T13" fmla="*/ 177 h 203"/>
                  <a:gd name="T14" fmla="*/ 4 w 128"/>
                  <a:gd name="T15" fmla="*/ 147 h 203"/>
                  <a:gd name="T16" fmla="*/ 0 w 128"/>
                  <a:gd name="T17" fmla="*/ 105 h 203"/>
                  <a:gd name="T18" fmla="*/ 4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4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6" y="132"/>
                      <a:pt x="123" y="144"/>
                    </a:cubicBezTo>
                    <a:cubicBezTo>
                      <a:pt x="120" y="157"/>
                      <a:pt x="116" y="168"/>
                      <a:pt x="110" y="176"/>
                    </a:cubicBezTo>
                    <a:cubicBezTo>
                      <a:pt x="105" y="185"/>
                      <a:pt x="98" y="192"/>
                      <a:pt x="90" y="196"/>
                    </a:cubicBezTo>
                    <a:cubicBezTo>
                      <a:pt x="81" y="201"/>
                      <a:pt x="72" y="203"/>
                      <a:pt x="62" y="203"/>
                    </a:cubicBezTo>
                    <a:cubicBezTo>
                      <a:pt x="52" y="203"/>
                      <a:pt x="43" y="201"/>
                      <a:pt x="35" y="196"/>
                    </a:cubicBezTo>
                    <a:cubicBezTo>
                      <a:pt x="28" y="192"/>
                      <a:pt x="21" y="186"/>
                      <a:pt x="16" y="177"/>
                    </a:cubicBezTo>
                    <a:cubicBezTo>
                      <a:pt x="11" y="169"/>
                      <a:pt x="7" y="159"/>
                      <a:pt x="4" y="147"/>
                    </a:cubicBezTo>
                    <a:cubicBezTo>
                      <a:pt x="1" y="135"/>
                      <a:pt x="0" y="121"/>
                      <a:pt x="0" y="105"/>
                    </a:cubicBezTo>
                    <a:cubicBezTo>
                      <a:pt x="0" y="88"/>
                      <a:pt x="1" y="73"/>
                      <a:pt x="4" y="60"/>
                    </a:cubicBezTo>
                    <a:cubicBezTo>
                      <a:pt x="7" y="47"/>
                      <a:pt x="11" y="36"/>
                      <a:pt x="17" y="27"/>
                    </a:cubicBezTo>
                    <a:cubicBezTo>
                      <a:pt x="22" y="18"/>
                      <a:pt x="29" y="11"/>
                      <a:pt x="38" y="7"/>
                    </a:cubicBezTo>
                    <a:cubicBezTo>
                      <a:pt x="46" y="2"/>
                      <a:pt x="55" y="0"/>
                      <a:pt x="66" y="0"/>
                    </a:cubicBezTo>
                    <a:cubicBezTo>
                      <a:pt x="107" y="0"/>
                      <a:pt x="128" y="34"/>
                      <a:pt x="128" y="101"/>
                    </a:cubicBezTo>
                    <a:close/>
                    <a:moveTo>
                      <a:pt x="105" y="103"/>
                    </a:moveTo>
                    <a:cubicBezTo>
                      <a:pt x="105" y="47"/>
                      <a:pt x="91" y="19"/>
                      <a:pt x="65" y="19"/>
                    </a:cubicBezTo>
                    <a:cubicBezTo>
                      <a:pt x="37" y="19"/>
                      <a:pt x="23" y="48"/>
                      <a:pt x="23" y="104"/>
                    </a:cubicBezTo>
                    <a:cubicBezTo>
                      <a:pt x="23" y="157"/>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7" name="Freeform 24"/>
              <p:cNvSpPr>
                <a:spLocks/>
              </p:cNvSpPr>
              <p:nvPr userDrawn="1"/>
            </p:nvSpPr>
            <p:spPr bwMode="auto">
              <a:xfrm>
                <a:off x="2990" y="2197"/>
                <a:ext cx="82" cy="246"/>
              </a:xfrm>
              <a:custGeom>
                <a:avLst/>
                <a:gdLst>
                  <a:gd name="T0" fmla="*/ 68 w 68"/>
                  <a:gd name="T1" fmla="*/ 201 h 201"/>
                  <a:gd name="T2" fmla="*/ 45 w 68"/>
                  <a:gd name="T3" fmla="*/ 201 h 201"/>
                  <a:gd name="T4" fmla="*/ 45 w 68"/>
                  <a:gd name="T5" fmla="*/ 31 h 201"/>
                  <a:gd name="T6" fmla="*/ 38 w 68"/>
                  <a:gd name="T7" fmla="*/ 37 h 201"/>
                  <a:gd name="T8" fmla="*/ 27 w 68"/>
                  <a:gd name="T9" fmla="*/ 44 h 201"/>
                  <a:gd name="T10" fmla="*/ 13 w 68"/>
                  <a:gd name="T11" fmla="*/ 50 h 201"/>
                  <a:gd name="T12" fmla="*/ 0 w 68"/>
                  <a:gd name="T13" fmla="*/ 54 h 201"/>
                  <a:gd name="T14" fmla="*/ 0 w 68"/>
                  <a:gd name="T15" fmla="*/ 32 h 201"/>
                  <a:gd name="T16" fmla="*/ 16 w 68"/>
                  <a:gd name="T17" fmla="*/ 26 h 201"/>
                  <a:gd name="T18" fmla="*/ 32 w 68"/>
                  <a:gd name="T19" fmla="*/ 18 h 201"/>
                  <a:gd name="T20" fmla="*/ 47 w 68"/>
                  <a:gd name="T21" fmla="*/ 9 h 201"/>
                  <a:gd name="T22" fmla="*/ 59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5" y="201"/>
                      <a:pt x="45" y="201"/>
                      <a:pt x="45" y="201"/>
                    </a:cubicBezTo>
                    <a:cubicBezTo>
                      <a:pt x="45" y="31"/>
                      <a:pt x="45" y="31"/>
                      <a:pt x="45" y="31"/>
                    </a:cubicBezTo>
                    <a:cubicBezTo>
                      <a:pt x="44" y="33"/>
                      <a:pt x="41" y="35"/>
                      <a:pt x="38" y="37"/>
                    </a:cubicBezTo>
                    <a:cubicBezTo>
                      <a:pt x="34" y="39"/>
                      <a:pt x="31" y="42"/>
                      <a:pt x="27" y="44"/>
                    </a:cubicBezTo>
                    <a:cubicBezTo>
                      <a:pt x="22" y="46"/>
                      <a:pt x="18" y="48"/>
                      <a:pt x="13" y="50"/>
                    </a:cubicBezTo>
                    <a:cubicBezTo>
                      <a:pt x="9" y="52"/>
                      <a:pt x="4" y="53"/>
                      <a:pt x="0" y="54"/>
                    </a:cubicBezTo>
                    <a:cubicBezTo>
                      <a:pt x="0" y="32"/>
                      <a:pt x="0" y="32"/>
                      <a:pt x="0" y="32"/>
                    </a:cubicBezTo>
                    <a:cubicBezTo>
                      <a:pt x="5" y="30"/>
                      <a:pt x="10" y="28"/>
                      <a:pt x="16" y="26"/>
                    </a:cubicBezTo>
                    <a:cubicBezTo>
                      <a:pt x="21" y="24"/>
                      <a:pt x="27" y="21"/>
                      <a:pt x="32" y="18"/>
                    </a:cubicBezTo>
                    <a:cubicBezTo>
                      <a:pt x="37" y="15"/>
                      <a:pt x="42" y="12"/>
                      <a:pt x="47" y="9"/>
                    </a:cubicBezTo>
                    <a:cubicBezTo>
                      <a:pt x="52" y="6"/>
                      <a:pt x="56" y="3"/>
                      <a:pt x="59"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8" name="Freeform 25"/>
              <p:cNvSpPr>
                <a:spLocks/>
              </p:cNvSpPr>
              <p:nvPr userDrawn="1"/>
            </p:nvSpPr>
            <p:spPr bwMode="auto">
              <a:xfrm>
                <a:off x="3140" y="2197"/>
                <a:ext cx="81" cy="246"/>
              </a:xfrm>
              <a:custGeom>
                <a:avLst/>
                <a:gdLst>
                  <a:gd name="T0" fmla="*/ 67 w 67"/>
                  <a:gd name="T1" fmla="*/ 201 h 201"/>
                  <a:gd name="T2" fmla="*/ 45 w 67"/>
                  <a:gd name="T3" fmla="*/ 201 h 201"/>
                  <a:gd name="T4" fmla="*/ 45 w 67"/>
                  <a:gd name="T5" fmla="*/ 31 h 201"/>
                  <a:gd name="T6" fmla="*/ 37 w 67"/>
                  <a:gd name="T7" fmla="*/ 37 h 201"/>
                  <a:gd name="T8" fmla="*/ 26 w 67"/>
                  <a:gd name="T9" fmla="*/ 44 h 201"/>
                  <a:gd name="T10" fmla="*/ 13 w 67"/>
                  <a:gd name="T11" fmla="*/ 50 h 201"/>
                  <a:gd name="T12" fmla="*/ 0 w 67"/>
                  <a:gd name="T13" fmla="*/ 54 h 201"/>
                  <a:gd name="T14" fmla="*/ 0 w 67"/>
                  <a:gd name="T15" fmla="*/ 32 h 201"/>
                  <a:gd name="T16" fmla="*/ 15 w 67"/>
                  <a:gd name="T17" fmla="*/ 26 h 201"/>
                  <a:gd name="T18" fmla="*/ 31 w 67"/>
                  <a:gd name="T19" fmla="*/ 18 h 201"/>
                  <a:gd name="T20" fmla="*/ 47 w 67"/>
                  <a:gd name="T21" fmla="*/ 9 h 201"/>
                  <a:gd name="T22" fmla="*/ 59 w 67"/>
                  <a:gd name="T23" fmla="*/ 0 h 201"/>
                  <a:gd name="T24" fmla="*/ 67 w 67"/>
                  <a:gd name="T25" fmla="*/ 0 h 201"/>
                  <a:gd name="T26" fmla="*/ 67 w 67"/>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7" h="201">
                    <a:moveTo>
                      <a:pt x="67" y="201"/>
                    </a:moveTo>
                    <a:cubicBezTo>
                      <a:pt x="45" y="201"/>
                      <a:pt x="45" y="201"/>
                      <a:pt x="45" y="201"/>
                    </a:cubicBezTo>
                    <a:cubicBezTo>
                      <a:pt x="45" y="31"/>
                      <a:pt x="45" y="31"/>
                      <a:pt x="45" y="31"/>
                    </a:cubicBezTo>
                    <a:cubicBezTo>
                      <a:pt x="43" y="33"/>
                      <a:pt x="41" y="35"/>
                      <a:pt x="37" y="37"/>
                    </a:cubicBezTo>
                    <a:cubicBezTo>
                      <a:pt x="34" y="39"/>
                      <a:pt x="30" y="42"/>
                      <a:pt x="26" y="44"/>
                    </a:cubicBezTo>
                    <a:cubicBezTo>
                      <a:pt x="22" y="46"/>
                      <a:pt x="18" y="48"/>
                      <a:pt x="13" y="50"/>
                    </a:cubicBezTo>
                    <a:cubicBezTo>
                      <a:pt x="8" y="52"/>
                      <a:pt x="4" y="53"/>
                      <a:pt x="0" y="54"/>
                    </a:cubicBezTo>
                    <a:cubicBezTo>
                      <a:pt x="0" y="32"/>
                      <a:pt x="0" y="32"/>
                      <a:pt x="0" y="32"/>
                    </a:cubicBezTo>
                    <a:cubicBezTo>
                      <a:pt x="4" y="30"/>
                      <a:pt x="10" y="28"/>
                      <a:pt x="15" y="26"/>
                    </a:cubicBezTo>
                    <a:cubicBezTo>
                      <a:pt x="21" y="24"/>
                      <a:pt x="26" y="21"/>
                      <a:pt x="31" y="18"/>
                    </a:cubicBezTo>
                    <a:cubicBezTo>
                      <a:pt x="37" y="15"/>
                      <a:pt x="42" y="12"/>
                      <a:pt x="47" y="9"/>
                    </a:cubicBezTo>
                    <a:cubicBezTo>
                      <a:pt x="51" y="6"/>
                      <a:pt x="55" y="3"/>
                      <a:pt x="59" y="0"/>
                    </a:cubicBezTo>
                    <a:cubicBezTo>
                      <a:pt x="67" y="0"/>
                      <a:pt x="67" y="0"/>
                      <a:pt x="67" y="0"/>
                    </a:cubicBezTo>
                    <a:lnTo>
                      <a:pt x="67"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9" name="Freeform 26"/>
              <p:cNvSpPr>
                <a:spLocks/>
              </p:cNvSpPr>
              <p:nvPr userDrawn="1"/>
            </p:nvSpPr>
            <p:spPr bwMode="auto">
              <a:xfrm>
                <a:off x="3288" y="2197"/>
                <a:ext cx="83" cy="246"/>
              </a:xfrm>
              <a:custGeom>
                <a:avLst/>
                <a:gdLst>
                  <a:gd name="T0" fmla="*/ 68 w 68"/>
                  <a:gd name="T1" fmla="*/ 201 h 201"/>
                  <a:gd name="T2" fmla="*/ 45 w 68"/>
                  <a:gd name="T3" fmla="*/ 201 h 201"/>
                  <a:gd name="T4" fmla="*/ 45 w 68"/>
                  <a:gd name="T5" fmla="*/ 31 h 201"/>
                  <a:gd name="T6" fmla="*/ 38 w 68"/>
                  <a:gd name="T7" fmla="*/ 37 h 201"/>
                  <a:gd name="T8" fmla="*/ 27 w 68"/>
                  <a:gd name="T9" fmla="*/ 44 h 201"/>
                  <a:gd name="T10" fmla="*/ 14 w 68"/>
                  <a:gd name="T11" fmla="*/ 50 h 201"/>
                  <a:gd name="T12" fmla="*/ 0 w 68"/>
                  <a:gd name="T13" fmla="*/ 54 h 201"/>
                  <a:gd name="T14" fmla="*/ 0 w 68"/>
                  <a:gd name="T15" fmla="*/ 32 h 201"/>
                  <a:gd name="T16" fmla="*/ 16 w 68"/>
                  <a:gd name="T17" fmla="*/ 26 h 201"/>
                  <a:gd name="T18" fmla="*/ 32 w 68"/>
                  <a:gd name="T19" fmla="*/ 18 h 201"/>
                  <a:gd name="T20" fmla="*/ 47 w 68"/>
                  <a:gd name="T21" fmla="*/ 9 h 201"/>
                  <a:gd name="T22" fmla="*/ 59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5" y="201"/>
                      <a:pt x="45" y="201"/>
                      <a:pt x="45" y="201"/>
                    </a:cubicBezTo>
                    <a:cubicBezTo>
                      <a:pt x="45" y="31"/>
                      <a:pt x="45" y="31"/>
                      <a:pt x="45" y="31"/>
                    </a:cubicBezTo>
                    <a:cubicBezTo>
                      <a:pt x="44" y="33"/>
                      <a:pt x="41" y="35"/>
                      <a:pt x="38" y="37"/>
                    </a:cubicBezTo>
                    <a:cubicBezTo>
                      <a:pt x="35" y="39"/>
                      <a:pt x="31" y="42"/>
                      <a:pt x="27" y="44"/>
                    </a:cubicBezTo>
                    <a:cubicBezTo>
                      <a:pt x="22" y="46"/>
                      <a:pt x="18" y="48"/>
                      <a:pt x="14" y="50"/>
                    </a:cubicBezTo>
                    <a:cubicBezTo>
                      <a:pt x="9" y="52"/>
                      <a:pt x="4" y="53"/>
                      <a:pt x="0" y="54"/>
                    </a:cubicBezTo>
                    <a:cubicBezTo>
                      <a:pt x="0" y="32"/>
                      <a:pt x="0" y="32"/>
                      <a:pt x="0" y="32"/>
                    </a:cubicBezTo>
                    <a:cubicBezTo>
                      <a:pt x="5" y="30"/>
                      <a:pt x="10" y="28"/>
                      <a:pt x="16" y="26"/>
                    </a:cubicBezTo>
                    <a:cubicBezTo>
                      <a:pt x="21" y="24"/>
                      <a:pt x="27" y="21"/>
                      <a:pt x="32" y="18"/>
                    </a:cubicBezTo>
                    <a:cubicBezTo>
                      <a:pt x="37" y="15"/>
                      <a:pt x="42" y="12"/>
                      <a:pt x="47" y="9"/>
                    </a:cubicBezTo>
                    <a:cubicBezTo>
                      <a:pt x="52" y="6"/>
                      <a:pt x="56" y="3"/>
                      <a:pt x="59"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0" name="Freeform 27"/>
              <p:cNvSpPr>
                <a:spLocks noEditPoints="1"/>
              </p:cNvSpPr>
              <p:nvPr userDrawn="1"/>
            </p:nvSpPr>
            <p:spPr bwMode="auto">
              <a:xfrm>
                <a:off x="3437" y="2198"/>
                <a:ext cx="155" cy="248"/>
              </a:xfrm>
              <a:custGeom>
                <a:avLst/>
                <a:gdLst>
                  <a:gd name="T0" fmla="*/ 127 w 127"/>
                  <a:gd name="T1" fmla="*/ 101 h 203"/>
                  <a:gd name="T2" fmla="*/ 123 w 127"/>
                  <a:gd name="T3" fmla="*/ 144 h 203"/>
                  <a:gd name="T4" fmla="*/ 110 w 127"/>
                  <a:gd name="T5" fmla="*/ 176 h 203"/>
                  <a:gd name="T6" fmla="*/ 89 w 127"/>
                  <a:gd name="T7" fmla="*/ 196 h 203"/>
                  <a:gd name="T8" fmla="*/ 62 w 127"/>
                  <a:gd name="T9" fmla="*/ 203 h 203"/>
                  <a:gd name="T10" fmla="*/ 35 w 127"/>
                  <a:gd name="T11" fmla="*/ 196 h 203"/>
                  <a:gd name="T12" fmla="*/ 16 w 127"/>
                  <a:gd name="T13" fmla="*/ 177 h 203"/>
                  <a:gd name="T14" fmla="*/ 4 w 127"/>
                  <a:gd name="T15" fmla="*/ 147 h 203"/>
                  <a:gd name="T16" fmla="*/ 0 w 127"/>
                  <a:gd name="T17" fmla="*/ 105 h 203"/>
                  <a:gd name="T18" fmla="*/ 4 w 127"/>
                  <a:gd name="T19" fmla="*/ 60 h 203"/>
                  <a:gd name="T20" fmla="*/ 17 w 127"/>
                  <a:gd name="T21" fmla="*/ 27 h 203"/>
                  <a:gd name="T22" fmla="*/ 37 w 127"/>
                  <a:gd name="T23" fmla="*/ 7 h 203"/>
                  <a:gd name="T24" fmla="*/ 66 w 127"/>
                  <a:gd name="T25" fmla="*/ 0 h 203"/>
                  <a:gd name="T26" fmla="*/ 127 w 127"/>
                  <a:gd name="T27" fmla="*/ 101 h 203"/>
                  <a:gd name="T28" fmla="*/ 104 w 127"/>
                  <a:gd name="T29" fmla="*/ 103 h 203"/>
                  <a:gd name="T30" fmla="*/ 65 w 127"/>
                  <a:gd name="T31" fmla="*/ 19 h 203"/>
                  <a:gd name="T32" fmla="*/ 23 w 127"/>
                  <a:gd name="T33" fmla="*/ 104 h 203"/>
                  <a:gd name="T34" fmla="*/ 64 w 127"/>
                  <a:gd name="T35" fmla="*/ 184 h 203"/>
                  <a:gd name="T36" fmla="*/ 104 w 127"/>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7" h="203">
                    <a:moveTo>
                      <a:pt x="127" y="101"/>
                    </a:moveTo>
                    <a:cubicBezTo>
                      <a:pt x="127" y="117"/>
                      <a:pt x="126" y="132"/>
                      <a:pt x="123" y="144"/>
                    </a:cubicBezTo>
                    <a:cubicBezTo>
                      <a:pt x="120" y="157"/>
                      <a:pt x="116" y="168"/>
                      <a:pt x="110" y="176"/>
                    </a:cubicBezTo>
                    <a:cubicBezTo>
                      <a:pt x="104" y="185"/>
                      <a:pt x="98" y="192"/>
                      <a:pt x="89" y="196"/>
                    </a:cubicBezTo>
                    <a:cubicBezTo>
                      <a:pt x="81" y="201"/>
                      <a:pt x="72" y="203"/>
                      <a:pt x="62" y="203"/>
                    </a:cubicBezTo>
                    <a:cubicBezTo>
                      <a:pt x="52" y="203"/>
                      <a:pt x="43" y="201"/>
                      <a:pt x="35" y="196"/>
                    </a:cubicBezTo>
                    <a:cubicBezTo>
                      <a:pt x="28" y="192"/>
                      <a:pt x="21" y="186"/>
                      <a:pt x="16" y="177"/>
                    </a:cubicBezTo>
                    <a:cubicBezTo>
                      <a:pt x="11" y="169"/>
                      <a:pt x="6" y="159"/>
                      <a:pt x="4" y="147"/>
                    </a:cubicBezTo>
                    <a:cubicBezTo>
                      <a:pt x="1" y="135"/>
                      <a:pt x="0" y="121"/>
                      <a:pt x="0" y="105"/>
                    </a:cubicBezTo>
                    <a:cubicBezTo>
                      <a:pt x="0" y="88"/>
                      <a:pt x="1" y="73"/>
                      <a:pt x="4" y="60"/>
                    </a:cubicBezTo>
                    <a:cubicBezTo>
                      <a:pt x="7" y="47"/>
                      <a:pt x="11" y="36"/>
                      <a:pt x="17" y="27"/>
                    </a:cubicBezTo>
                    <a:cubicBezTo>
                      <a:pt x="22" y="18"/>
                      <a:pt x="29" y="11"/>
                      <a:pt x="37" y="7"/>
                    </a:cubicBezTo>
                    <a:cubicBezTo>
                      <a:pt x="46" y="2"/>
                      <a:pt x="55" y="0"/>
                      <a:pt x="66" y="0"/>
                    </a:cubicBezTo>
                    <a:cubicBezTo>
                      <a:pt x="107" y="0"/>
                      <a:pt x="127" y="34"/>
                      <a:pt x="127" y="101"/>
                    </a:cubicBezTo>
                    <a:close/>
                    <a:moveTo>
                      <a:pt x="104" y="103"/>
                    </a:moveTo>
                    <a:cubicBezTo>
                      <a:pt x="104" y="47"/>
                      <a:pt x="91" y="19"/>
                      <a:pt x="65" y="19"/>
                    </a:cubicBezTo>
                    <a:cubicBezTo>
                      <a:pt x="37" y="19"/>
                      <a:pt x="23" y="48"/>
                      <a:pt x="23" y="104"/>
                    </a:cubicBezTo>
                    <a:cubicBezTo>
                      <a:pt x="23" y="157"/>
                      <a:pt x="36" y="184"/>
                      <a:pt x="64" y="184"/>
                    </a:cubicBezTo>
                    <a:cubicBezTo>
                      <a:pt x="91" y="184"/>
                      <a:pt x="104" y="157"/>
                      <a:pt x="104"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1" name="Freeform 28"/>
              <p:cNvSpPr>
                <a:spLocks noEditPoints="1"/>
              </p:cNvSpPr>
              <p:nvPr userDrawn="1"/>
            </p:nvSpPr>
            <p:spPr bwMode="auto">
              <a:xfrm>
                <a:off x="3632" y="2198"/>
                <a:ext cx="155" cy="248"/>
              </a:xfrm>
              <a:custGeom>
                <a:avLst/>
                <a:gdLst>
                  <a:gd name="T0" fmla="*/ 127 w 127"/>
                  <a:gd name="T1" fmla="*/ 101 h 203"/>
                  <a:gd name="T2" fmla="*/ 123 w 127"/>
                  <a:gd name="T3" fmla="*/ 144 h 203"/>
                  <a:gd name="T4" fmla="*/ 110 w 127"/>
                  <a:gd name="T5" fmla="*/ 176 h 203"/>
                  <a:gd name="T6" fmla="*/ 89 w 127"/>
                  <a:gd name="T7" fmla="*/ 196 h 203"/>
                  <a:gd name="T8" fmla="*/ 62 w 127"/>
                  <a:gd name="T9" fmla="*/ 203 h 203"/>
                  <a:gd name="T10" fmla="*/ 35 w 127"/>
                  <a:gd name="T11" fmla="*/ 196 h 203"/>
                  <a:gd name="T12" fmla="*/ 16 w 127"/>
                  <a:gd name="T13" fmla="*/ 177 h 203"/>
                  <a:gd name="T14" fmla="*/ 4 w 127"/>
                  <a:gd name="T15" fmla="*/ 147 h 203"/>
                  <a:gd name="T16" fmla="*/ 0 w 127"/>
                  <a:gd name="T17" fmla="*/ 105 h 203"/>
                  <a:gd name="T18" fmla="*/ 4 w 127"/>
                  <a:gd name="T19" fmla="*/ 60 h 203"/>
                  <a:gd name="T20" fmla="*/ 17 w 127"/>
                  <a:gd name="T21" fmla="*/ 27 h 203"/>
                  <a:gd name="T22" fmla="*/ 37 w 127"/>
                  <a:gd name="T23" fmla="*/ 7 h 203"/>
                  <a:gd name="T24" fmla="*/ 66 w 127"/>
                  <a:gd name="T25" fmla="*/ 0 h 203"/>
                  <a:gd name="T26" fmla="*/ 127 w 127"/>
                  <a:gd name="T27" fmla="*/ 101 h 203"/>
                  <a:gd name="T28" fmla="*/ 104 w 127"/>
                  <a:gd name="T29" fmla="*/ 103 h 203"/>
                  <a:gd name="T30" fmla="*/ 65 w 127"/>
                  <a:gd name="T31" fmla="*/ 19 h 203"/>
                  <a:gd name="T32" fmla="*/ 23 w 127"/>
                  <a:gd name="T33" fmla="*/ 104 h 203"/>
                  <a:gd name="T34" fmla="*/ 64 w 127"/>
                  <a:gd name="T35" fmla="*/ 184 h 203"/>
                  <a:gd name="T36" fmla="*/ 104 w 127"/>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7" h="203">
                    <a:moveTo>
                      <a:pt x="127" y="101"/>
                    </a:moveTo>
                    <a:cubicBezTo>
                      <a:pt x="127" y="117"/>
                      <a:pt x="126" y="132"/>
                      <a:pt x="123" y="144"/>
                    </a:cubicBezTo>
                    <a:cubicBezTo>
                      <a:pt x="120" y="157"/>
                      <a:pt x="116" y="168"/>
                      <a:pt x="110" y="176"/>
                    </a:cubicBezTo>
                    <a:cubicBezTo>
                      <a:pt x="104" y="185"/>
                      <a:pt x="98" y="192"/>
                      <a:pt x="89" y="196"/>
                    </a:cubicBezTo>
                    <a:cubicBezTo>
                      <a:pt x="81" y="201"/>
                      <a:pt x="72" y="203"/>
                      <a:pt x="62" y="203"/>
                    </a:cubicBezTo>
                    <a:cubicBezTo>
                      <a:pt x="52" y="203"/>
                      <a:pt x="43" y="201"/>
                      <a:pt x="35" y="196"/>
                    </a:cubicBezTo>
                    <a:cubicBezTo>
                      <a:pt x="28" y="192"/>
                      <a:pt x="21" y="186"/>
                      <a:pt x="16" y="177"/>
                    </a:cubicBezTo>
                    <a:cubicBezTo>
                      <a:pt x="10" y="169"/>
                      <a:pt x="6" y="159"/>
                      <a:pt x="4" y="147"/>
                    </a:cubicBezTo>
                    <a:cubicBezTo>
                      <a:pt x="1" y="135"/>
                      <a:pt x="0" y="121"/>
                      <a:pt x="0" y="105"/>
                    </a:cubicBezTo>
                    <a:cubicBezTo>
                      <a:pt x="0" y="88"/>
                      <a:pt x="1" y="73"/>
                      <a:pt x="4" y="60"/>
                    </a:cubicBezTo>
                    <a:cubicBezTo>
                      <a:pt x="7" y="47"/>
                      <a:pt x="11" y="36"/>
                      <a:pt x="17" y="27"/>
                    </a:cubicBezTo>
                    <a:cubicBezTo>
                      <a:pt x="22" y="18"/>
                      <a:pt x="29" y="11"/>
                      <a:pt x="37" y="7"/>
                    </a:cubicBezTo>
                    <a:cubicBezTo>
                      <a:pt x="46" y="2"/>
                      <a:pt x="55" y="0"/>
                      <a:pt x="66" y="0"/>
                    </a:cubicBezTo>
                    <a:cubicBezTo>
                      <a:pt x="107" y="0"/>
                      <a:pt x="127" y="34"/>
                      <a:pt x="127" y="101"/>
                    </a:cubicBezTo>
                    <a:close/>
                    <a:moveTo>
                      <a:pt x="104" y="103"/>
                    </a:moveTo>
                    <a:cubicBezTo>
                      <a:pt x="104" y="47"/>
                      <a:pt x="91" y="19"/>
                      <a:pt x="65" y="19"/>
                    </a:cubicBezTo>
                    <a:cubicBezTo>
                      <a:pt x="37" y="19"/>
                      <a:pt x="23" y="48"/>
                      <a:pt x="23" y="104"/>
                    </a:cubicBezTo>
                    <a:cubicBezTo>
                      <a:pt x="23" y="157"/>
                      <a:pt x="36" y="184"/>
                      <a:pt x="64" y="184"/>
                    </a:cubicBezTo>
                    <a:cubicBezTo>
                      <a:pt x="91" y="184"/>
                      <a:pt x="104" y="157"/>
                      <a:pt x="104"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2" name="Freeform 29"/>
              <p:cNvSpPr>
                <a:spLocks noEditPoints="1"/>
              </p:cNvSpPr>
              <p:nvPr userDrawn="1"/>
            </p:nvSpPr>
            <p:spPr bwMode="auto">
              <a:xfrm>
                <a:off x="3827" y="2198"/>
                <a:ext cx="155" cy="248"/>
              </a:xfrm>
              <a:custGeom>
                <a:avLst/>
                <a:gdLst>
                  <a:gd name="T0" fmla="*/ 127 w 127"/>
                  <a:gd name="T1" fmla="*/ 101 h 203"/>
                  <a:gd name="T2" fmla="*/ 123 w 127"/>
                  <a:gd name="T3" fmla="*/ 144 h 203"/>
                  <a:gd name="T4" fmla="*/ 110 w 127"/>
                  <a:gd name="T5" fmla="*/ 176 h 203"/>
                  <a:gd name="T6" fmla="*/ 89 w 127"/>
                  <a:gd name="T7" fmla="*/ 196 h 203"/>
                  <a:gd name="T8" fmla="*/ 62 w 127"/>
                  <a:gd name="T9" fmla="*/ 203 h 203"/>
                  <a:gd name="T10" fmla="*/ 35 w 127"/>
                  <a:gd name="T11" fmla="*/ 196 h 203"/>
                  <a:gd name="T12" fmla="*/ 16 w 127"/>
                  <a:gd name="T13" fmla="*/ 177 h 203"/>
                  <a:gd name="T14" fmla="*/ 4 w 127"/>
                  <a:gd name="T15" fmla="*/ 147 h 203"/>
                  <a:gd name="T16" fmla="*/ 0 w 127"/>
                  <a:gd name="T17" fmla="*/ 105 h 203"/>
                  <a:gd name="T18" fmla="*/ 4 w 127"/>
                  <a:gd name="T19" fmla="*/ 60 h 203"/>
                  <a:gd name="T20" fmla="*/ 17 w 127"/>
                  <a:gd name="T21" fmla="*/ 27 h 203"/>
                  <a:gd name="T22" fmla="*/ 37 w 127"/>
                  <a:gd name="T23" fmla="*/ 7 h 203"/>
                  <a:gd name="T24" fmla="*/ 66 w 127"/>
                  <a:gd name="T25" fmla="*/ 0 h 203"/>
                  <a:gd name="T26" fmla="*/ 127 w 127"/>
                  <a:gd name="T27" fmla="*/ 101 h 203"/>
                  <a:gd name="T28" fmla="*/ 104 w 127"/>
                  <a:gd name="T29" fmla="*/ 103 h 203"/>
                  <a:gd name="T30" fmla="*/ 65 w 127"/>
                  <a:gd name="T31" fmla="*/ 19 h 203"/>
                  <a:gd name="T32" fmla="*/ 23 w 127"/>
                  <a:gd name="T33" fmla="*/ 104 h 203"/>
                  <a:gd name="T34" fmla="*/ 64 w 127"/>
                  <a:gd name="T35" fmla="*/ 184 h 203"/>
                  <a:gd name="T36" fmla="*/ 104 w 127"/>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7" h="203">
                    <a:moveTo>
                      <a:pt x="127" y="101"/>
                    </a:moveTo>
                    <a:cubicBezTo>
                      <a:pt x="127" y="117"/>
                      <a:pt x="126" y="132"/>
                      <a:pt x="123" y="144"/>
                    </a:cubicBezTo>
                    <a:cubicBezTo>
                      <a:pt x="120" y="157"/>
                      <a:pt x="116" y="168"/>
                      <a:pt x="110" y="176"/>
                    </a:cubicBezTo>
                    <a:cubicBezTo>
                      <a:pt x="104" y="185"/>
                      <a:pt x="98" y="192"/>
                      <a:pt x="89" y="196"/>
                    </a:cubicBezTo>
                    <a:cubicBezTo>
                      <a:pt x="81" y="201"/>
                      <a:pt x="72" y="203"/>
                      <a:pt x="62" y="203"/>
                    </a:cubicBezTo>
                    <a:cubicBezTo>
                      <a:pt x="52" y="203"/>
                      <a:pt x="43" y="201"/>
                      <a:pt x="35" y="196"/>
                    </a:cubicBezTo>
                    <a:cubicBezTo>
                      <a:pt x="28" y="192"/>
                      <a:pt x="21" y="186"/>
                      <a:pt x="16" y="177"/>
                    </a:cubicBezTo>
                    <a:cubicBezTo>
                      <a:pt x="10" y="169"/>
                      <a:pt x="6" y="159"/>
                      <a:pt x="4" y="147"/>
                    </a:cubicBezTo>
                    <a:cubicBezTo>
                      <a:pt x="1" y="135"/>
                      <a:pt x="0" y="121"/>
                      <a:pt x="0" y="105"/>
                    </a:cubicBezTo>
                    <a:cubicBezTo>
                      <a:pt x="0" y="88"/>
                      <a:pt x="1" y="73"/>
                      <a:pt x="4" y="60"/>
                    </a:cubicBezTo>
                    <a:cubicBezTo>
                      <a:pt x="7" y="47"/>
                      <a:pt x="11" y="36"/>
                      <a:pt x="17" y="27"/>
                    </a:cubicBezTo>
                    <a:cubicBezTo>
                      <a:pt x="22" y="18"/>
                      <a:pt x="29" y="11"/>
                      <a:pt x="37" y="7"/>
                    </a:cubicBezTo>
                    <a:cubicBezTo>
                      <a:pt x="46" y="2"/>
                      <a:pt x="55" y="0"/>
                      <a:pt x="66" y="0"/>
                    </a:cubicBezTo>
                    <a:cubicBezTo>
                      <a:pt x="107" y="0"/>
                      <a:pt x="127" y="34"/>
                      <a:pt x="127" y="101"/>
                    </a:cubicBezTo>
                    <a:close/>
                    <a:moveTo>
                      <a:pt x="104" y="103"/>
                    </a:moveTo>
                    <a:cubicBezTo>
                      <a:pt x="104" y="47"/>
                      <a:pt x="91" y="19"/>
                      <a:pt x="65" y="19"/>
                    </a:cubicBezTo>
                    <a:cubicBezTo>
                      <a:pt x="37" y="19"/>
                      <a:pt x="23" y="48"/>
                      <a:pt x="23" y="104"/>
                    </a:cubicBezTo>
                    <a:cubicBezTo>
                      <a:pt x="23" y="157"/>
                      <a:pt x="36" y="184"/>
                      <a:pt x="64" y="184"/>
                    </a:cubicBezTo>
                    <a:cubicBezTo>
                      <a:pt x="91" y="184"/>
                      <a:pt x="104" y="157"/>
                      <a:pt x="104"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3" name="Freeform 30"/>
              <p:cNvSpPr>
                <a:spLocks noEditPoints="1"/>
              </p:cNvSpPr>
              <p:nvPr userDrawn="1"/>
            </p:nvSpPr>
            <p:spPr bwMode="auto">
              <a:xfrm>
                <a:off x="4228" y="2198"/>
                <a:ext cx="156" cy="248"/>
              </a:xfrm>
              <a:custGeom>
                <a:avLst/>
                <a:gdLst>
                  <a:gd name="T0" fmla="*/ 128 w 128"/>
                  <a:gd name="T1" fmla="*/ 101 h 203"/>
                  <a:gd name="T2" fmla="*/ 123 w 128"/>
                  <a:gd name="T3" fmla="*/ 144 h 203"/>
                  <a:gd name="T4" fmla="*/ 111 w 128"/>
                  <a:gd name="T5" fmla="*/ 176 h 203"/>
                  <a:gd name="T6" fmla="*/ 90 w 128"/>
                  <a:gd name="T7" fmla="*/ 196 h 203"/>
                  <a:gd name="T8" fmla="*/ 62 w 128"/>
                  <a:gd name="T9" fmla="*/ 203 h 203"/>
                  <a:gd name="T10" fmla="*/ 36 w 128"/>
                  <a:gd name="T11" fmla="*/ 196 h 203"/>
                  <a:gd name="T12" fmla="*/ 16 w 128"/>
                  <a:gd name="T13" fmla="*/ 177 h 203"/>
                  <a:gd name="T14" fmla="*/ 4 w 128"/>
                  <a:gd name="T15" fmla="*/ 147 h 203"/>
                  <a:gd name="T16" fmla="*/ 0 w 128"/>
                  <a:gd name="T17" fmla="*/ 105 h 203"/>
                  <a:gd name="T18" fmla="*/ 4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4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6" y="132"/>
                      <a:pt x="123" y="144"/>
                    </a:cubicBezTo>
                    <a:cubicBezTo>
                      <a:pt x="120" y="157"/>
                      <a:pt x="116" y="168"/>
                      <a:pt x="111" y="176"/>
                    </a:cubicBezTo>
                    <a:cubicBezTo>
                      <a:pt x="105" y="185"/>
                      <a:pt x="98" y="192"/>
                      <a:pt x="90" y="196"/>
                    </a:cubicBezTo>
                    <a:cubicBezTo>
                      <a:pt x="82" y="201"/>
                      <a:pt x="72" y="203"/>
                      <a:pt x="62" y="203"/>
                    </a:cubicBezTo>
                    <a:cubicBezTo>
                      <a:pt x="52" y="203"/>
                      <a:pt x="43" y="201"/>
                      <a:pt x="36" y="196"/>
                    </a:cubicBezTo>
                    <a:cubicBezTo>
                      <a:pt x="28" y="192"/>
                      <a:pt x="22" y="186"/>
                      <a:pt x="16" y="177"/>
                    </a:cubicBezTo>
                    <a:cubicBezTo>
                      <a:pt x="11" y="169"/>
                      <a:pt x="7" y="159"/>
                      <a:pt x="4" y="147"/>
                    </a:cubicBezTo>
                    <a:cubicBezTo>
                      <a:pt x="2" y="135"/>
                      <a:pt x="0" y="121"/>
                      <a:pt x="0" y="105"/>
                    </a:cubicBezTo>
                    <a:cubicBezTo>
                      <a:pt x="0" y="88"/>
                      <a:pt x="2" y="73"/>
                      <a:pt x="4" y="60"/>
                    </a:cubicBezTo>
                    <a:cubicBezTo>
                      <a:pt x="7" y="47"/>
                      <a:pt x="12" y="36"/>
                      <a:pt x="17" y="27"/>
                    </a:cubicBezTo>
                    <a:cubicBezTo>
                      <a:pt x="23" y="18"/>
                      <a:pt x="30" y="11"/>
                      <a:pt x="38" y="7"/>
                    </a:cubicBezTo>
                    <a:cubicBezTo>
                      <a:pt x="46" y="2"/>
                      <a:pt x="56" y="0"/>
                      <a:pt x="66" y="0"/>
                    </a:cubicBezTo>
                    <a:cubicBezTo>
                      <a:pt x="107" y="0"/>
                      <a:pt x="128" y="34"/>
                      <a:pt x="128" y="101"/>
                    </a:cubicBezTo>
                    <a:close/>
                    <a:moveTo>
                      <a:pt x="105" y="103"/>
                    </a:moveTo>
                    <a:cubicBezTo>
                      <a:pt x="105" y="47"/>
                      <a:pt x="92" y="19"/>
                      <a:pt x="65" y="19"/>
                    </a:cubicBezTo>
                    <a:cubicBezTo>
                      <a:pt x="37" y="19"/>
                      <a:pt x="23" y="48"/>
                      <a:pt x="23" y="104"/>
                    </a:cubicBezTo>
                    <a:cubicBezTo>
                      <a:pt x="23" y="157"/>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4" name="Freeform 31"/>
              <p:cNvSpPr>
                <a:spLocks/>
              </p:cNvSpPr>
              <p:nvPr userDrawn="1"/>
            </p:nvSpPr>
            <p:spPr bwMode="auto">
              <a:xfrm>
                <a:off x="4425" y="2197"/>
                <a:ext cx="83" cy="246"/>
              </a:xfrm>
              <a:custGeom>
                <a:avLst/>
                <a:gdLst>
                  <a:gd name="T0" fmla="*/ 68 w 68"/>
                  <a:gd name="T1" fmla="*/ 201 h 201"/>
                  <a:gd name="T2" fmla="*/ 46 w 68"/>
                  <a:gd name="T3" fmla="*/ 201 h 201"/>
                  <a:gd name="T4" fmla="*/ 46 w 68"/>
                  <a:gd name="T5" fmla="*/ 31 h 201"/>
                  <a:gd name="T6" fmla="*/ 38 w 68"/>
                  <a:gd name="T7" fmla="*/ 37 h 201"/>
                  <a:gd name="T8" fmla="*/ 27 w 68"/>
                  <a:gd name="T9" fmla="*/ 44 h 201"/>
                  <a:gd name="T10" fmla="*/ 14 w 68"/>
                  <a:gd name="T11" fmla="*/ 50 h 201"/>
                  <a:gd name="T12" fmla="*/ 0 w 68"/>
                  <a:gd name="T13" fmla="*/ 54 h 201"/>
                  <a:gd name="T14" fmla="*/ 0 w 68"/>
                  <a:gd name="T15" fmla="*/ 32 h 201"/>
                  <a:gd name="T16" fmla="*/ 16 w 68"/>
                  <a:gd name="T17" fmla="*/ 26 h 201"/>
                  <a:gd name="T18" fmla="*/ 32 w 68"/>
                  <a:gd name="T19" fmla="*/ 18 h 201"/>
                  <a:gd name="T20" fmla="*/ 47 w 68"/>
                  <a:gd name="T21" fmla="*/ 9 h 201"/>
                  <a:gd name="T22" fmla="*/ 60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6" y="201"/>
                      <a:pt x="46" y="201"/>
                      <a:pt x="46" y="201"/>
                    </a:cubicBezTo>
                    <a:cubicBezTo>
                      <a:pt x="46" y="31"/>
                      <a:pt x="46" y="31"/>
                      <a:pt x="46" y="31"/>
                    </a:cubicBezTo>
                    <a:cubicBezTo>
                      <a:pt x="44" y="33"/>
                      <a:pt x="41" y="35"/>
                      <a:pt x="38" y="37"/>
                    </a:cubicBezTo>
                    <a:cubicBezTo>
                      <a:pt x="35" y="39"/>
                      <a:pt x="31" y="42"/>
                      <a:pt x="27" y="44"/>
                    </a:cubicBezTo>
                    <a:cubicBezTo>
                      <a:pt x="23" y="46"/>
                      <a:pt x="18" y="48"/>
                      <a:pt x="14" y="50"/>
                    </a:cubicBezTo>
                    <a:cubicBezTo>
                      <a:pt x="9" y="52"/>
                      <a:pt x="5" y="53"/>
                      <a:pt x="0" y="54"/>
                    </a:cubicBezTo>
                    <a:cubicBezTo>
                      <a:pt x="0" y="32"/>
                      <a:pt x="0" y="32"/>
                      <a:pt x="0" y="32"/>
                    </a:cubicBezTo>
                    <a:cubicBezTo>
                      <a:pt x="5" y="30"/>
                      <a:pt x="10" y="28"/>
                      <a:pt x="16" y="26"/>
                    </a:cubicBezTo>
                    <a:cubicBezTo>
                      <a:pt x="21" y="24"/>
                      <a:pt x="27" y="21"/>
                      <a:pt x="32" y="18"/>
                    </a:cubicBezTo>
                    <a:cubicBezTo>
                      <a:pt x="38" y="15"/>
                      <a:pt x="43" y="12"/>
                      <a:pt x="47" y="9"/>
                    </a:cubicBezTo>
                    <a:cubicBezTo>
                      <a:pt x="52" y="6"/>
                      <a:pt x="56" y="3"/>
                      <a:pt x="60"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5" name="Freeform 32"/>
              <p:cNvSpPr>
                <a:spLocks/>
              </p:cNvSpPr>
              <p:nvPr userDrawn="1"/>
            </p:nvSpPr>
            <p:spPr bwMode="auto">
              <a:xfrm>
                <a:off x="4575" y="2197"/>
                <a:ext cx="83" cy="246"/>
              </a:xfrm>
              <a:custGeom>
                <a:avLst/>
                <a:gdLst>
                  <a:gd name="T0" fmla="*/ 68 w 68"/>
                  <a:gd name="T1" fmla="*/ 201 h 201"/>
                  <a:gd name="T2" fmla="*/ 45 w 68"/>
                  <a:gd name="T3" fmla="*/ 201 h 201"/>
                  <a:gd name="T4" fmla="*/ 45 w 68"/>
                  <a:gd name="T5" fmla="*/ 31 h 201"/>
                  <a:gd name="T6" fmla="*/ 38 w 68"/>
                  <a:gd name="T7" fmla="*/ 37 h 201"/>
                  <a:gd name="T8" fmla="*/ 26 w 68"/>
                  <a:gd name="T9" fmla="*/ 44 h 201"/>
                  <a:gd name="T10" fmla="*/ 13 w 68"/>
                  <a:gd name="T11" fmla="*/ 50 h 201"/>
                  <a:gd name="T12" fmla="*/ 0 w 68"/>
                  <a:gd name="T13" fmla="*/ 54 h 201"/>
                  <a:gd name="T14" fmla="*/ 0 w 68"/>
                  <a:gd name="T15" fmla="*/ 32 h 201"/>
                  <a:gd name="T16" fmla="*/ 15 w 68"/>
                  <a:gd name="T17" fmla="*/ 26 h 201"/>
                  <a:gd name="T18" fmla="*/ 32 w 68"/>
                  <a:gd name="T19" fmla="*/ 18 h 201"/>
                  <a:gd name="T20" fmla="*/ 47 w 68"/>
                  <a:gd name="T21" fmla="*/ 9 h 201"/>
                  <a:gd name="T22" fmla="*/ 59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5" y="201"/>
                      <a:pt x="45" y="201"/>
                      <a:pt x="45" y="201"/>
                    </a:cubicBezTo>
                    <a:cubicBezTo>
                      <a:pt x="45" y="31"/>
                      <a:pt x="45" y="31"/>
                      <a:pt x="45" y="31"/>
                    </a:cubicBezTo>
                    <a:cubicBezTo>
                      <a:pt x="43" y="33"/>
                      <a:pt x="41" y="35"/>
                      <a:pt x="38" y="37"/>
                    </a:cubicBezTo>
                    <a:cubicBezTo>
                      <a:pt x="34" y="39"/>
                      <a:pt x="31" y="42"/>
                      <a:pt x="26" y="44"/>
                    </a:cubicBezTo>
                    <a:cubicBezTo>
                      <a:pt x="22" y="46"/>
                      <a:pt x="18" y="48"/>
                      <a:pt x="13" y="50"/>
                    </a:cubicBezTo>
                    <a:cubicBezTo>
                      <a:pt x="9" y="52"/>
                      <a:pt x="4" y="53"/>
                      <a:pt x="0" y="54"/>
                    </a:cubicBezTo>
                    <a:cubicBezTo>
                      <a:pt x="0" y="32"/>
                      <a:pt x="0" y="32"/>
                      <a:pt x="0" y="32"/>
                    </a:cubicBezTo>
                    <a:cubicBezTo>
                      <a:pt x="5" y="30"/>
                      <a:pt x="10" y="28"/>
                      <a:pt x="15" y="26"/>
                    </a:cubicBezTo>
                    <a:cubicBezTo>
                      <a:pt x="21" y="24"/>
                      <a:pt x="26" y="21"/>
                      <a:pt x="32" y="18"/>
                    </a:cubicBezTo>
                    <a:cubicBezTo>
                      <a:pt x="37" y="15"/>
                      <a:pt x="42" y="12"/>
                      <a:pt x="47" y="9"/>
                    </a:cubicBezTo>
                    <a:cubicBezTo>
                      <a:pt x="52" y="6"/>
                      <a:pt x="56" y="3"/>
                      <a:pt x="59"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6" name="Freeform 33"/>
              <p:cNvSpPr>
                <a:spLocks noEditPoints="1"/>
              </p:cNvSpPr>
              <p:nvPr userDrawn="1"/>
            </p:nvSpPr>
            <p:spPr bwMode="auto">
              <a:xfrm>
                <a:off x="4723" y="2198"/>
                <a:ext cx="156" cy="248"/>
              </a:xfrm>
              <a:custGeom>
                <a:avLst/>
                <a:gdLst>
                  <a:gd name="T0" fmla="*/ 128 w 128"/>
                  <a:gd name="T1" fmla="*/ 101 h 203"/>
                  <a:gd name="T2" fmla="*/ 124 w 128"/>
                  <a:gd name="T3" fmla="*/ 144 h 203"/>
                  <a:gd name="T4" fmla="*/ 111 w 128"/>
                  <a:gd name="T5" fmla="*/ 176 h 203"/>
                  <a:gd name="T6" fmla="*/ 90 w 128"/>
                  <a:gd name="T7" fmla="*/ 196 h 203"/>
                  <a:gd name="T8" fmla="*/ 62 w 128"/>
                  <a:gd name="T9" fmla="*/ 203 h 203"/>
                  <a:gd name="T10" fmla="*/ 36 w 128"/>
                  <a:gd name="T11" fmla="*/ 196 h 203"/>
                  <a:gd name="T12" fmla="*/ 17 w 128"/>
                  <a:gd name="T13" fmla="*/ 177 h 203"/>
                  <a:gd name="T14" fmla="*/ 5 w 128"/>
                  <a:gd name="T15" fmla="*/ 147 h 203"/>
                  <a:gd name="T16" fmla="*/ 0 w 128"/>
                  <a:gd name="T17" fmla="*/ 105 h 203"/>
                  <a:gd name="T18" fmla="*/ 5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4 h 203"/>
                  <a:gd name="T34" fmla="*/ 65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7" y="132"/>
                      <a:pt x="124" y="144"/>
                    </a:cubicBezTo>
                    <a:cubicBezTo>
                      <a:pt x="121" y="157"/>
                      <a:pt x="116" y="168"/>
                      <a:pt x="111" y="176"/>
                    </a:cubicBezTo>
                    <a:cubicBezTo>
                      <a:pt x="105" y="185"/>
                      <a:pt x="98" y="192"/>
                      <a:pt x="90" y="196"/>
                    </a:cubicBezTo>
                    <a:cubicBezTo>
                      <a:pt x="82" y="201"/>
                      <a:pt x="73" y="203"/>
                      <a:pt x="62" y="203"/>
                    </a:cubicBezTo>
                    <a:cubicBezTo>
                      <a:pt x="52" y="203"/>
                      <a:pt x="44" y="201"/>
                      <a:pt x="36" y="196"/>
                    </a:cubicBezTo>
                    <a:cubicBezTo>
                      <a:pt x="28" y="192"/>
                      <a:pt x="22" y="186"/>
                      <a:pt x="17" y="177"/>
                    </a:cubicBezTo>
                    <a:cubicBezTo>
                      <a:pt x="11" y="169"/>
                      <a:pt x="7" y="159"/>
                      <a:pt x="5" y="147"/>
                    </a:cubicBezTo>
                    <a:cubicBezTo>
                      <a:pt x="2" y="135"/>
                      <a:pt x="0" y="121"/>
                      <a:pt x="0" y="105"/>
                    </a:cubicBezTo>
                    <a:cubicBezTo>
                      <a:pt x="0" y="88"/>
                      <a:pt x="2" y="73"/>
                      <a:pt x="5" y="60"/>
                    </a:cubicBezTo>
                    <a:cubicBezTo>
                      <a:pt x="8" y="47"/>
                      <a:pt x="12" y="36"/>
                      <a:pt x="17" y="27"/>
                    </a:cubicBezTo>
                    <a:cubicBezTo>
                      <a:pt x="23" y="18"/>
                      <a:pt x="30" y="11"/>
                      <a:pt x="38" y="7"/>
                    </a:cubicBezTo>
                    <a:cubicBezTo>
                      <a:pt x="46" y="2"/>
                      <a:pt x="56" y="0"/>
                      <a:pt x="66" y="0"/>
                    </a:cubicBezTo>
                    <a:cubicBezTo>
                      <a:pt x="108" y="0"/>
                      <a:pt x="128" y="34"/>
                      <a:pt x="128" y="101"/>
                    </a:cubicBezTo>
                    <a:close/>
                    <a:moveTo>
                      <a:pt x="105" y="103"/>
                    </a:moveTo>
                    <a:cubicBezTo>
                      <a:pt x="105" y="47"/>
                      <a:pt x="92" y="19"/>
                      <a:pt x="65" y="19"/>
                    </a:cubicBezTo>
                    <a:cubicBezTo>
                      <a:pt x="37" y="19"/>
                      <a:pt x="23" y="48"/>
                      <a:pt x="23" y="104"/>
                    </a:cubicBezTo>
                    <a:cubicBezTo>
                      <a:pt x="23" y="157"/>
                      <a:pt x="37" y="184"/>
                      <a:pt x="65" y="184"/>
                    </a:cubicBezTo>
                    <a:cubicBezTo>
                      <a:pt x="92"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7" name="Freeform 34"/>
              <p:cNvSpPr>
                <a:spLocks/>
              </p:cNvSpPr>
              <p:nvPr userDrawn="1"/>
            </p:nvSpPr>
            <p:spPr bwMode="auto">
              <a:xfrm>
                <a:off x="4920" y="2197"/>
                <a:ext cx="83" cy="246"/>
              </a:xfrm>
              <a:custGeom>
                <a:avLst/>
                <a:gdLst>
                  <a:gd name="T0" fmla="*/ 68 w 68"/>
                  <a:gd name="T1" fmla="*/ 201 h 201"/>
                  <a:gd name="T2" fmla="*/ 46 w 68"/>
                  <a:gd name="T3" fmla="*/ 201 h 201"/>
                  <a:gd name="T4" fmla="*/ 46 w 68"/>
                  <a:gd name="T5" fmla="*/ 31 h 201"/>
                  <a:gd name="T6" fmla="*/ 38 w 68"/>
                  <a:gd name="T7" fmla="*/ 37 h 201"/>
                  <a:gd name="T8" fmla="*/ 27 w 68"/>
                  <a:gd name="T9" fmla="*/ 44 h 201"/>
                  <a:gd name="T10" fmla="*/ 14 w 68"/>
                  <a:gd name="T11" fmla="*/ 50 h 201"/>
                  <a:gd name="T12" fmla="*/ 0 w 68"/>
                  <a:gd name="T13" fmla="*/ 54 h 201"/>
                  <a:gd name="T14" fmla="*/ 0 w 68"/>
                  <a:gd name="T15" fmla="*/ 32 h 201"/>
                  <a:gd name="T16" fmla="*/ 16 w 68"/>
                  <a:gd name="T17" fmla="*/ 26 h 201"/>
                  <a:gd name="T18" fmla="*/ 32 w 68"/>
                  <a:gd name="T19" fmla="*/ 18 h 201"/>
                  <a:gd name="T20" fmla="*/ 48 w 68"/>
                  <a:gd name="T21" fmla="*/ 9 h 201"/>
                  <a:gd name="T22" fmla="*/ 60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6" y="201"/>
                      <a:pt x="46" y="201"/>
                      <a:pt x="46" y="201"/>
                    </a:cubicBezTo>
                    <a:cubicBezTo>
                      <a:pt x="46" y="31"/>
                      <a:pt x="46" y="31"/>
                      <a:pt x="46" y="31"/>
                    </a:cubicBezTo>
                    <a:cubicBezTo>
                      <a:pt x="44" y="33"/>
                      <a:pt x="42" y="35"/>
                      <a:pt x="38" y="37"/>
                    </a:cubicBezTo>
                    <a:cubicBezTo>
                      <a:pt x="35" y="39"/>
                      <a:pt x="31" y="42"/>
                      <a:pt x="27" y="44"/>
                    </a:cubicBezTo>
                    <a:cubicBezTo>
                      <a:pt x="23" y="46"/>
                      <a:pt x="19" y="48"/>
                      <a:pt x="14" y="50"/>
                    </a:cubicBezTo>
                    <a:cubicBezTo>
                      <a:pt x="9" y="52"/>
                      <a:pt x="5" y="53"/>
                      <a:pt x="0" y="54"/>
                    </a:cubicBezTo>
                    <a:cubicBezTo>
                      <a:pt x="0" y="32"/>
                      <a:pt x="0" y="32"/>
                      <a:pt x="0" y="32"/>
                    </a:cubicBezTo>
                    <a:cubicBezTo>
                      <a:pt x="5" y="30"/>
                      <a:pt x="11" y="28"/>
                      <a:pt x="16" y="26"/>
                    </a:cubicBezTo>
                    <a:cubicBezTo>
                      <a:pt x="22" y="24"/>
                      <a:pt x="27" y="21"/>
                      <a:pt x="32" y="18"/>
                    </a:cubicBezTo>
                    <a:cubicBezTo>
                      <a:pt x="38" y="15"/>
                      <a:pt x="43" y="12"/>
                      <a:pt x="48" y="9"/>
                    </a:cubicBezTo>
                    <a:cubicBezTo>
                      <a:pt x="52" y="6"/>
                      <a:pt x="56" y="3"/>
                      <a:pt x="60"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8" name="Freeform 35"/>
              <p:cNvSpPr>
                <a:spLocks/>
              </p:cNvSpPr>
              <p:nvPr userDrawn="1"/>
            </p:nvSpPr>
            <p:spPr bwMode="auto">
              <a:xfrm>
                <a:off x="5070" y="2197"/>
                <a:ext cx="83" cy="246"/>
              </a:xfrm>
              <a:custGeom>
                <a:avLst/>
                <a:gdLst>
                  <a:gd name="T0" fmla="*/ 68 w 68"/>
                  <a:gd name="T1" fmla="*/ 201 h 201"/>
                  <a:gd name="T2" fmla="*/ 45 w 68"/>
                  <a:gd name="T3" fmla="*/ 201 h 201"/>
                  <a:gd name="T4" fmla="*/ 45 w 68"/>
                  <a:gd name="T5" fmla="*/ 31 h 201"/>
                  <a:gd name="T6" fmla="*/ 38 w 68"/>
                  <a:gd name="T7" fmla="*/ 37 h 201"/>
                  <a:gd name="T8" fmla="*/ 27 w 68"/>
                  <a:gd name="T9" fmla="*/ 44 h 201"/>
                  <a:gd name="T10" fmla="*/ 14 w 68"/>
                  <a:gd name="T11" fmla="*/ 50 h 201"/>
                  <a:gd name="T12" fmla="*/ 0 w 68"/>
                  <a:gd name="T13" fmla="*/ 54 h 201"/>
                  <a:gd name="T14" fmla="*/ 0 w 68"/>
                  <a:gd name="T15" fmla="*/ 32 h 201"/>
                  <a:gd name="T16" fmla="*/ 16 w 68"/>
                  <a:gd name="T17" fmla="*/ 26 h 201"/>
                  <a:gd name="T18" fmla="*/ 32 w 68"/>
                  <a:gd name="T19" fmla="*/ 18 h 201"/>
                  <a:gd name="T20" fmla="*/ 47 w 68"/>
                  <a:gd name="T21" fmla="*/ 9 h 201"/>
                  <a:gd name="T22" fmla="*/ 59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5" y="201"/>
                      <a:pt x="45" y="201"/>
                      <a:pt x="45" y="201"/>
                    </a:cubicBezTo>
                    <a:cubicBezTo>
                      <a:pt x="45" y="31"/>
                      <a:pt x="45" y="31"/>
                      <a:pt x="45" y="31"/>
                    </a:cubicBezTo>
                    <a:cubicBezTo>
                      <a:pt x="44" y="33"/>
                      <a:pt x="41" y="35"/>
                      <a:pt x="38" y="37"/>
                    </a:cubicBezTo>
                    <a:cubicBezTo>
                      <a:pt x="35" y="39"/>
                      <a:pt x="31" y="42"/>
                      <a:pt x="27" y="44"/>
                    </a:cubicBezTo>
                    <a:cubicBezTo>
                      <a:pt x="22" y="46"/>
                      <a:pt x="18" y="48"/>
                      <a:pt x="14" y="50"/>
                    </a:cubicBezTo>
                    <a:cubicBezTo>
                      <a:pt x="9" y="52"/>
                      <a:pt x="4" y="53"/>
                      <a:pt x="0" y="54"/>
                    </a:cubicBezTo>
                    <a:cubicBezTo>
                      <a:pt x="0" y="32"/>
                      <a:pt x="0" y="32"/>
                      <a:pt x="0" y="32"/>
                    </a:cubicBezTo>
                    <a:cubicBezTo>
                      <a:pt x="5" y="30"/>
                      <a:pt x="10" y="28"/>
                      <a:pt x="16" y="26"/>
                    </a:cubicBezTo>
                    <a:cubicBezTo>
                      <a:pt x="21" y="24"/>
                      <a:pt x="27" y="21"/>
                      <a:pt x="32" y="18"/>
                    </a:cubicBezTo>
                    <a:cubicBezTo>
                      <a:pt x="37" y="15"/>
                      <a:pt x="42" y="12"/>
                      <a:pt x="47" y="9"/>
                    </a:cubicBezTo>
                    <a:cubicBezTo>
                      <a:pt x="52" y="6"/>
                      <a:pt x="56" y="3"/>
                      <a:pt x="59"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9" name="Freeform 36"/>
              <p:cNvSpPr>
                <a:spLocks noEditPoints="1"/>
              </p:cNvSpPr>
              <p:nvPr userDrawn="1"/>
            </p:nvSpPr>
            <p:spPr bwMode="auto">
              <a:xfrm>
                <a:off x="5219" y="2198"/>
                <a:ext cx="154" cy="248"/>
              </a:xfrm>
              <a:custGeom>
                <a:avLst/>
                <a:gdLst>
                  <a:gd name="T0" fmla="*/ 127 w 127"/>
                  <a:gd name="T1" fmla="*/ 101 h 203"/>
                  <a:gd name="T2" fmla="*/ 123 w 127"/>
                  <a:gd name="T3" fmla="*/ 144 h 203"/>
                  <a:gd name="T4" fmla="*/ 110 w 127"/>
                  <a:gd name="T5" fmla="*/ 176 h 203"/>
                  <a:gd name="T6" fmla="*/ 89 w 127"/>
                  <a:gd name="T7" fmla="*/ 196 h 203"/>
                  <a:gd name="T8" fmla="*/ 62 w 127"/>
                  <a:gd name="T9" fmla="*/ 203 h 203"/>
                  <a:gd name="T10" fmla="*/ 35 w 127"/>
                  <a:gd name="T11" fmla="*/ 196 h 203"/>
                  <a:gd name="T12" fmla="*/ 16 w 127"/>
                  <a:gd name="T13" fmla="*/ 177 h 203"/>
                  <a:gd name="T14" fmla="*/ 4 w 127"/>
                  <a:gd name="T15" fmla="*/ 147 h 203"/>
                  <a:gd name="T16" fmla="*/ 0 w 127"/>
                  <a:gd name="T17" fmla="*/ 105 h 203"/>
                  <a:gd name="T18" fmla="*/ 4 w 127"/>
                  <a:gd name="T19" fmla="*/ 60 h 203"/>
                  <a:gd name="T20" fmla="*/ 17 w 127"/>
                  <a:gd name="T21" fmla="*/ 27 h 203"/>
                  <a:gd name="T22" fmla="*/ 37 w 127"/>
                  <a:gd name="T23" fmla="*/ 7 h 203"/>
                  <a:gd name="T24" fmla="*/ 66 w 127"/>
                  <a:gd name="T25" fmla="*/ 0 h 203"/>
                  <a:gd name="T26" fmla="*/ 127 w 127"/>
                  <a:gd name="T27" fmla="*/ 101 h 203"/>
                  <a:gd name="T28" fmla="*/ 104 w 127"/>
                  <a:gd name="T29" fmla="*/ 103 h 203"/>
                  <a:gd name="T30" fmla="*/ 65 w 127"/>
                  <a:gd name="T31" fmla="*/ 19 h 203"/>
                  <a:gd name="T32" fmla="*/ 23 w 127"/>
                  <a:gd name="T33" fmla="*/ 104 h 203"/>
                  <a:gd name="T34" fmla="*/ 64 w 127"/>
                  <a:gd name="T35" fmla="*/ 184 h 203"/>
                  <a:gd name="T36" fmla="*/ 104 w 127"/>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7" h="203">
                    <a:moveTo>
                      <a:pt x="127" y="101"/>
                    </a:moveTo>
                    <a:cubicBezTo>
                      <a:pt x="127" y="117"/>
                      <a:pt x="126" y="132"/>
                      <a:pt x="123" y="144"/>
                    </a:cubicBezTo>
                    <a:cubicBezTo>
                      <a:pt x="120" y="157"/>
                      <a:pt x="116" y="168"/>
                      <a:pt x="110" y="176"/>
                    </a:cubicBezTo>
                    <a:cubicBezTo>
                      <a:pt x="104" y="185"/>
                      <a:pt x="98" y="192"/>
                      <a:pt x="89" y="196"/>
                    </a:cubicBezTo>
                    <a:cubicBezTo>
                      <a:pt x="81" y="201"/>
                      <a:pt x="72" y="203"/>
                      <a:pt x="62" y="203"/>
                    </a:cubicBezTo>
                    <a:cubicBezTo>
                      <a:pt x="52" y="203"/>
                      <a:pt x="43" y="201"/>
                      <a:pt x="35" y="196"/>
                    </a:cubicBezTo>
                    <a:cubicBezTo>
                      <a:pt x="28" y="192"/>
                      <a:pt x="21" y="186"/>
                      <a:pt x="16" y="177"/>
                    </a:cubicBezTo>
                    <a:cubicBezTo>
                      <a:pt x="10" y="169"/>
                      <a:pt x="6" y="159"/>
                      <a:pt x="4" y="147"/>
                    </a:cubicBezTo>
                    <a:cubicBezTo>
                      <a:pt x="1" y="135"/>
                      <a:pt x="0" y="121"/>
                      <a:pt x="0" y="105"/>
                    </a:cubicBezTo>
                    <a:cubicBezTo>
                      <a:pt x="0" y="88"/>
                      <a:pt x="1" y="73"/>
                      <a:pt x="4" y="60"/>
                    </a:cubicBezTo>
                    <a:cubicBezTo>
                      <a:pt x="7" y="47"/>
                      <a:pt x="11" y="36"/>
                      <a:pt x="17" y="27"/>
                    </a:cubicBezTo>
                    <a:cubicBezTo>
                      <a:pt x="22" y="18"/>
                      <a:pt x="29" y="11"/>
                      <a:pt x="37" y="7"/>
                    </a:cubicBezTo>
                    <a:cubicBezTo>
                      <a:pt x="46" y="2"/>
                      <a:pt x="55" y="0"/>
                      <a:pt x="66" y="0"/>
                    </a:cubicBezTo>
                    <a:cubicBezTo>
                      <a:pt x="107" y="0"/>
                      <a:pt x="127" y="34"/>
                      <a:pt x="127" y="101"/>
                    </a:cubicBezTo>
                    <a:close/>
                    <a:moveTo>
                      <a:pt x="104" y="103"/>
                    </a:moveTo>
                    <a:cubicBezTo>
                      <a:pt x="104" y="47"/>
                      <a:pt x="91" y="19"/>
                      <a:pt x="65" y="19"/>
                    </a:cubicBezTo>
                    <a:cubicBezTo>
                      <a:pt x="37" y="19"/>
                      <a:pt x="23" y="48"/>
                      <a:pt x="23" y="104"/>
                    </a:cubicBezTo>
                    <a:cubicBezTo>
                      <a:pt x="23" y="157"/>
                      <a:pt x="36" y="184"/>
                      <a:pt x="64" y="184"/>
                    </a:cubicBezTo>
                    <a:cubicBezTo>
                      <a:pt x="91" y="184"/>
                      <a:pt x="104" y="157"/>
                      <a:pt x="104"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0" name="Freeform 37"/>
              <p:cNvSpPr>
                <a:spLocks noEditPoints="1"/>
              </p:cNvSpPr>
              <p:nvPr userDrawn="1"/>
            </p:nvSpPr>
            <p:spPr bwMode="auto">
              <a:xfrm>
                <a:off x="5414" y="2198"/>
                <a:ext cx="154" cy="248"/>
              </a:xfrm>
              <a:custGeom>
                <a:avLst/>
                <a:gdLst>
                  <a:gd name="T0" fmla="*/ 127 w 127"/>
                  <a:gd name="T1" fmla="*/ 101 h 203"/>
                  <a:gd name="T2" fmla="*/ 123 w 127"/>
                  <a:gd name="T3" fmla="*/ 144 h 203"/>
                  <a:gd name="T4" fmla="*/ 110 w 127"/>
                  <a:gd name="T5" fmla="*/ 176 h 203"/>
                  <a:gd name="T6" fmla="*/ 89 w 127"/>
                  <a:gd name="T7" fmla="*/ 196 h 203"/>
                  <a:gd name="T8" fmla="*/ 62 w 127"/>
                  <a:gd name="T9" fmla="*/ 203 h 203"/>
                  <a:gd name="T10" fmla="*/ 35 w 127"/>
                  <a:gd name="T11" fmla="*/ 196 h 203"/>
                  <a:gd name="T12" fmla="*/ 16 w 127"/>
                  <a:gd name="T13" fmla="*/ 177 h 203"/>
                  <a:gd name="T14" fmla="*/ 4 w 127"/>
                  <a:gd name="T15" fmla="*/ 147 h 203"/>
                  <a:gd name="T16" fmla="*/ 0 w 127"/>
                  <a:gd name="T17" fmla="*/ 105 h 203"/>
                  <a:gd name="T18" fmla="*/ 4 w 127"/>
                  <a:gd name="T19" fmla="*/ 60 h 203"/>
                  <a:gd name="T20" fmla="*/ 17 w 127"/>
                  <a:gd name="T21" fmla="*/ 27 h 203"/>
                  <a:gd name="T22" fmla="*/ 37 w 127"/>
                  <a:gd name="T23" fmla="*/ 7 h 203"/>
                  <a:gd name="T24" fmla="*/ 66 w 127"/>
                  <a:gd name="T25" fmla="*/ 0 h 203"/>
                  <a:gd name="T26" fmla="*/ 127 w 127"/>
                  <a:gd name="T27" fmla="*/ 101 h 203"/>
                  <a:gd name="T28" fmla="*/ 104 w 127"/>
                  <a:gd name="T29" fmla="*/ 103 h 203"/>
                  <a:gd name="T30" fmla="*/ 65 w 127"/>
                  <a:gd name="T31" fmla="*/ 19 h 203"/>
                  <a:gd name="T32" fmla="*/ 23 w 127"/>
                  <a:gd name="T33" fmla="*/ 104 h 203"/>
                  <a:gd name="T34" fmla="*/ 64 w 127"/>
                  <a:gd name="T35" fmla="*/ 184 h 203"/>
                  <a:gd name="T36" fmla="*/ 104 w 127"/>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7" h="203">
                    <a:moveTo>
                      <a:pt x="127" y="101"/>
                    </a:moveTo>
                    <a:cubicBezTo>
                      <a:pt x="127" y="117"/>
                      <a:pt x="126" y="132"/>
                      <a:pt x="123" y="144"/>
                    </a:cubicBezTo>
                    <a:cubicBezTo>
                      <a:pt x="120" y="157"/>
                      <a:pt x="116" y="168"/>
                      <a:pt x="110" y="176"/>
                    </a:cubicBezTo>
                    <a:cubicBezTo>
                      <a:pt x="104" y="185"/>
                      <a:pt x="98" y="192"/>
                      <a:pt x="89" y="196"/>
                    </a:cubicBezTo>
                    <a:cubicBezTo>
                      <a:pt x="81" y="201"/>
                      <a:pt x="72" y="203"/>
                      <a:pt x="62" y="203"/>
                    </a:cubicBezTo>
                    <a:cubicBezTo>
                      <a:pt x="52" y="203"/>
                      <a:pt x="43" y="201"/>
                      <a:pt x="35" y="196"/>
                    </a:cubicBezTo>
                    <a:cubicBezTo>
                      <a:pt x="28" y="192"/>
                      <a:pt x="21" y="186"/>
                      <a:pt x="16" y="177"/>
                    </a:cubicBezTo>
                    <a:cubicBezTo>
                      <a:pt x="10" y="169"/>
                      <a:pt x="6" y="159"/>
                      <a:pt x="4" y="147"/>
                    </a:cubicBezTo>
                    <a:cubicBezTo>
                      <a:pt x="1" y="135"/>
                      <a:pt x="0" y="121"/>
                      <a:pt x="0" y="105"/>
                    </a:cubicBezTo>
                    <a:cubicBezTo>
                      <a:pt x="0" y="88"/>
                      <a:pt x="1" y="73"/>
                      <a:pt x="4" y="60"/>
                    </a:cubicBezTo>
                    <a:cubicBezTo>
                      <a:pt x="7" y="47"/>
                      <a:pt x="11" y="36"/>
                      <a:pt x="17" y="27"/>
                    </a:cubicBezTo>
                    <a:cubicBezTo>
                      <a:pt x="22" y="18"/>
                      <a:pt x="29" y="11"/>
                      <a:pt x="37" y="7"/>
                    </a:cubicBezTo>
                    <a:cubicBezTo>
                      <a:pt x="46" y="2"/>
                      <a:pt x="55" y="0"/>
                      <a:pt x="66" y="0"/>
                    </a:cubicBezTo>
                    <a:cubicBezTo>
                      <a:pt x="107" y="0"/>
                      <a:pt x="127" y="34"/>
                      <a:pt x="127" y="101"/>
                    </a:cubicBezTo>
                    <a:close/>
                    <a:moveTo>
                      <a:pt x="104" y="103"/>
                    </a:moveTo>
                    <a:cubicBezTo>
                      <a:pt x="104" y="47"/>
                      <a:pt x="91" y="19"/>
                      <a:pt x="65" y="19"/>
                    </a:cubicBezTo>
                    <a:cubicBezTo>
                      <a:pt x="37" y="19"/>
                      <a:pt x="23" y="48"/>
                      <a:pt x="23" y="104"/>
                    </a:cubicBezTo>
                    <a:cubicBezTo>
                      <a:pt x="23" y="157"/>
                      <a:pt x="36" y="184"/>
                      <a:pt x="64" y="184"/>
                    </a:cubicBezTo>
                    <a:cubicBezTo>
                      <a:pt x="91" y="184"/>
                      <a:pt x="104" y="157"/>
                      <a:pt x="104"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1" name="Freeform 38"/>
              <p:cNvSpPr>
                <a:spLocks noEditPoints="1"/>
              </p:cNvSpPr>
              <p:nvPr userDrawn="1"/>
            </p:nvSpPr>
            <p:spPr bwMode="auto">
              <a:xfrm>
                <a:off x="5609" y="2198"/>
                <a:ext cx="154" cy="248"/>
              </a:xfrm>
              <a:custGeom>
                <a:avLst/>
                <a:gdLst>
                  <a:gd name="T0" fmla="*/ 127 w 127"/>
                  <a:gd name="T1" fmla="*/ 101 h 203"/>
                  <a:gd name="T2" fmla="*/ 123 w 127"/>
                  <a:gd name="T3" fmla="*/ 144 h 203"/>
                  <a:gd name="T4" fmla="*/ 110 w 127"/>
                  <a:gd name="T5" fmla="*/ 176 h 203"/>
                  <a:gd name="T6" fmla="*/ 89 w 127"/>
                  <a:gd name="T7" fmla="*/ 196 h 203"/>
                  <a:gd name="T8" fmla="*/ 62 w 127"/>
                  <a:gd name="T9" fmla="*/ 203 h 203"/>
                  <a:gd name="T10" fmla="*/ 35 w 127"/>
                  <a:gd name="T11" fmla="*/ 196 h 203"/>
                  <a:gd name="T12" fmla="*/ 16 w 127"/>
                  <a:gd name="T13" fmla="*/ 177 h 203"/>
                  <a:gd name="T14" fmla="*/ 4 w 127"/>
                  <a:gd name="T15" fmla="*/ 147 h 203"/>
                  <a:gd name="T16" fmla="*/ 0 w 127"/>
                  <a:gd name="T17" fmla="*/ 105 h 203"/>
                  <a:gd name="T18" fmla="*/ 4 w 127"/>
                  <a:gd name="T19" fmla="*/ 60 h 203"/>
                  <a:gd name="T20" fmla="*/ 17 w 127"/>
                  <a:gd name="T21" fmla="*/ 27 h 203"/>
                  <a:gd name="T22" fmla="*/ 37 w 127"/>
                  <a:gd name="T23" fmla="*/ 7 h 203"/>
                  <a:gd name="T24" fmla="*/ 66 w 127"/>
                  <a:gd name="T25" fmla="*/ 0 h 203"/>
                  <a:gd name="T26" fmla="*/ 127 w 127"/>
                  <a:gd name="T27" fmla="*/ 101 h 203"/>
                  <a:gd name="T28" fmla="*/ 104 w 127"/>
                  <a:gd name="T29" fmla="*/ 103 h 203"/>
                  <a:gd name="T30" fmla="*/ 65 w 127"/>
                  <a:gd name="T31" fmla="*/ 19 h 203"/>
                  <a:gd name="T32" fmla="*/ 23 w 127"/>
                  <a:gd name="T33" fmla="*/ 104 h 203"/>
                  <a:gd name="T34" fmla="*/ 64 w 127"/>
                  <a:gd name="T35" fmla="*/ 184 h 203"/>
                  <a:gd name="T36" fmla="*/ 104 w 127"/>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7" h="203">
                    <a:moveTo>
                      <a:pt x="127" y="101"/>
                    </a:moveTo>
                    <a:cubicBezTo>
                      <a:pt x="127" y="117"/>
                      <a:pt x="126" y="132"/>
                      <a:pt x="123" y="144"/>
                    </a:cubicBezTo>
                    <a:cubicBezTo>
                      <a:pt x="120" y="157"/>
                      <a:pt x="116" y="168"/>
                      <a:pt x="110" y="176"/>
                    </a:cubicBezTo>
                    <a:cubicBezTo>
                      <a:pt x="104" y="185"/>
                      <a:pt x="98" y="192"/>
                      <a:pt x="89" y="196"/>
                    </a:cubicBezTo>
                    <a:cubicBezTo>
                      <a:pt x="81" y="201"/>
                      <a:pt x="72" y="203"/>
                      <a:pt x="62" y="203"/>
                    </a:cubicBezTo>
                    <a:cubicBezTo>
                      <a:pt x="52" y="203"/>
                      <a:pt x="43" y="201"/>
                      <a:pt x="35" y="196"/>
                    </a:cubicBezTo>
                    <a:cubicBezTo>
                      <a:pt x="28" y="192"/>
                      <a:pt x="21" y="186"/>
                      <a:pt x="16" y="177"/>
                    </a:cubicBezTo>
                    <a:cubicBezTo>
                      <a:pt x="10" y="169"/>
                      <a:pt x="6" y="159"/>
                      <a:pt x="4" y="147"/>
                    </a:cubicBezTo>
                    <a:cubicBezTo>
                      <a:pt x="1" y="135"/>
                      <a:pt x="0" y="121"/>
                      <a:pt x="0" y="105"/>
                    </a:cubicBezTo>
                    <a:cubicBezTo>
                      <a:pt x="0" y="88"/>
                      <a:pt x="1" y="73"/>
                      <a:pt x="4" y="60"/>
                    </a:cubicBezTo>
                    <a:cubicBezTo>
                      <a:pt x="7" y="47"/>
                      <a:pt x="11" y="36"/>
                      <a:pt x="17" y="27"/>
                    </a:cubicBezTo>
                    <a:cubicBezTo>
                      <a:pt x="22" y="18"/>
                      <a:pt x="29" y="11"/>
                      <a:pt x="37" y="7"/>
                    </a:cubicBezTo>
                    <a:cubicBezTo>
                      <a:pt x="46" y="2"/>
                      <a:pt x="55" y="0"/>
                      <a:pt x="66" y="0"/>
                    </a:cubicBezTo>
                    <a:cubicBezTo>
                      <a:pt x="107" y="0"/>
                      <a:pt x="127" y="34"/>
                      <a:pt x="127" y="101"/>
                    </a:cubicBezTo>
                    <a:close/>
                    <a:moveTo>
                      <a:pt x="104" y="103"/>
                    </a:moveTo>
                    <a:cubicBezTo>
                      <a:pt x="104" y="47"/>
                      <a:pt x="91" y="19"/>
                      <a:pt x="65" y="19"/>
                    </a:cubicBezTo>
                    <a:cubicBezTo>
                      <a:pt x="37" y="19"/>
                      <a:pt x="23" y="48"/>
                      <a:pt x="23" y="104"/>
                    </a:cubicBezTo>
                    <a:cubicBezTo>
                      <a:pt x="23" y="157"/>
                      <a:pt x="36" y="184"/>
                      <a:pt x="64" y="184"/>
                    </a:cubicBezTo>
                    <a:cubicBezTo>
                      <a:pt x="91" y="184"/>
                      <a:pt x="104" y="157"/>
                      <a:pt x="104"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2" name="Freeform 39"/>
              <p:cNvSpPr>
                <a:spLocks/>
              </p:cNvSpPr>
              <p:nvPr userDrawn="1"/>
            </p:nvSpPr>
            <p:spPr bwMode="auto">
              <a:xfrm>
                <a:off x="5806" y="2197"/>
                <a:ext cx="83" cy="246"/>
              </a:xfrm>
              <a:custGeom>
                <a:avLst/>
                <a:gdLst>
                  <a:gd name="T0" fmla="*/ 68 w 68"/>
                  <a:gd name="T1" fmla="*/ 201 h 201"/>
                  <a:gd name="T2" fmla="*/ 45 w 68"/>
                  <a:gd name="T3" fmla="*/ 201 h 201"/>
                  <a:gd name="T4" fmla="*/ 45 w 68"/>
                  <a:gd name="T5" fmla="*/ 31 h 201"/>
                  <a:gd name="T6" fmla="*/ 38 w 68"/>
                  <a:gd name="T7" fmla="*/ 37 h 201"/>
                  <a:gd name="T8" fmla="*/ 26 w 68"/>
                  <a:gd name="T9" fmla="*/ 44 h 201"/>
                  <a:gd name="T10" fmla="*/ 13 w 68"/>
                  <a:gd name="T11" fmla="*/ 50 h 201"/>
                  <a:gd name="T12" fmla="*/ 0 w 68"/>
                  <a:gd name="T13" fmla="*/ 54 h 201"/>
                  <a:gd name="T14" fmla="*/ 0 w 68"/>
                  <a:gd name="T15" fmla="*/ 32 h 201"/>
                  <a:gd name="T16" fmla="*/ 15 w 68"/>
                  <a:gd name="T17" fmla="*/ 26 h 201"/>
                  <a:gd name="T18" fmla="*/ 32 w 68"/>
                  <a:gd name="T19" fmla="*/ 18 h 201"/>
                  <a:gd name="T20" fmla="*/ 47 w 68"/>
                  <a:gd name="T21" fmla="*/ 9 h 201"/>
                  <a:gd name="T22" fmla="*/ 59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5" y="201"/>
                      <a:pt x="45" y="201"/>
                      <a:pt x="45" y="201"/>
                    </a:cubicBezTo>
                    <a:cubicBezTo>
                      <a:pt x="45" y="31"/>
                      <a:pt x="45" y="31"/>
                      <a:pt x="45" y="31"/>
                    </a:cubicBezTo>
                    <a:cubicBezTo>
                      <a:pt x="43" y="33"/>
                      <a:pt x="41" y="35"/>
                      <a:pt x="38" y="37"/>
                    </a:cubicBezTo>
                    <a:cubicBezTo>
                      <a:pt x="34" y="39"/>
                      <a:pt x="30" y="42"/>
                      <a:pt x="26" y="44"/>
                    </a:cubicBezTo>
                    <a:cubicBezTo>
                      <a:pt x="22" y="46"/>
                      <a:pt x="18" y="48"/>
                      <a:pt x="13" y="50"/>
                    </a:cubicBezTo>
                    <a:cubicBezTo>
                      <a:pt x="9" y="52"/>
                      <a:pt x="4" y="53"/>
                      <a:pt x="0" y="54"/>
                    </a:cubicBezTo>
                    <a:cubicBezTo>
                      <a:pt x="0" y="32"/>
                      <a:pt x="0" y="32"/>
                      <a:pt x="0" y="32"/>
                    </a:cubicBezTo>
                    <a:cubicBezTo>
                      <a:pt x="5" y="30"/>
                      <a:pt x="10" y="28"/>
                      <a:pt x="15" y="26"/>
                    </a:cubicBezTo>
                    <a:cubicBezTo>
                      <a:pt x="21" y="24"/>
                      <a:pt x="26" y="21"/>
                      <a:pt x="32" y="18"/>
                    </a:cubicBezTo>
                    <a:cubicBezTo>
                      <a:pt x="37" y="15"/>
                      <a:pt x="42" y="12"/>
                      <a:pt x="47" y="9"/>
                    </a:cubicBezTo>
                    <a:cubicBezTo>
                      <a:pt x="51" y="6"/>
                      <a:pt x="56" y="3"/>
                      <a:pt x="59"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3" name="Freeform 40"/>
              <p:cNvSpPr>
                <a:spLocks noEditPoints="1"/>
              </p:cNvSpPr>
              <p:nvPr userDrawn="1"/>
            </p:nvSpPr>
            <p:spPr bwMode="auto">
              <a:xfrm>
                <a:off x="5943" y="2202"/>
                <a:ext cx="188" cy="220"/>
              </a:xfrm>
              <a:custGeom>
                <a:avLst/>
                <a:gdLst>
                  <a:gd name="T0" fmla="*/ 188 w 188"/>
                  <a:gd name="T1" fmla="*/ 67 h 220"/>
                  <a:gd name="T2" fmla="*/ 185 w 188"/>
                  <a:gd name="T3" fmla="*/ 86 h 220"/>
                  <a:gd name="T4" fmla="*/ 141 w 188"/>
                  <a:gd name="T5" fmla="*/ 86 h 220"/>
                  <a:gd name="T6" fmla="*/ 130 w 188"/>
                  <a:gd name="T7" fmla="*/ 136 h 220"/>
                  <a:gd name="T8" fmla="*/ 177 w 188"/>
                  <a:gd name="T9" fmla="*/ 136 h 220"/>
                  <a:gd name="T10" fmla="*/ 173 w 188"/>
                  <a:gd name="T11" fmla="*/ 153 h 220"/>
                  <a:gd name="T12" fmla="*/ 126 w 188"/>
                  <a:gd name="T13" fmla="*/ 153 h 220"/>
                  <a:gd name="T14" fmla="*/ 112 w 188"/>
                  <a:gd name="T15" fmla="*/ 220 h 220"/>
                  <a:gd name="T16" fmla="*/ 91 w 188"/>
                  <a:gd name="T17" fmla="*/ 220 h 220"/>
                  <a:gd name="T18" fmla="*/ 106 w 188"/>
                  <a:gd name="T19" fmla="*/ 153 h 220"/>
                  <a:gd name="T20" fmla="*/ 64 w 188"/>
                  <a:gd name="T21" fmla="*/ 153 h 220"/>
                  <a:gd name="T22" fmla="*/ 49 w 188"/>
                  <a:gd name="T23" fmla="*/ 220 h 220"/>
                  <a:gd name="T24" fmla="*/ 29 w 188"/>
                  <a:gd name="T25" fmla="*/ 220 h 220"/>
                  <a:gd name="T26" fmla="*/ 43 w 188"/>
                  <a:gd name="T27" fmla="*/ 153 h 220"/>
                  <a:gd name="T28" fmla="*/ 0 w 188"/>
                  <a:gd name="T29" fmla="*/ 153 h 220"/>
                  <a:gd name="T30" fmla="*/ 3 w 188"/>
                  <a:gd name="T31" fmla="*/ 136 h 220"/>
                  <a:gd name="T32" fmla="*/ 47 w 188"/>
                  <a:gd name="T33" fmla="*/ 136 h 220"/>
                  <a:gd name="T34" fmla="*/ 57 w 188"/>
                  <a:gd name="T35" fmla="*/ 86 h 220"/>
                  <a:gd name="T36" fmla="*/ 10 w 188"/>
                  <a:gd name="T37" fmla="*/ 86 h 220"/>
                  <a:gd name="T38" fmla="*/ 14 w 188"/>
                  <a:gd name="T39" fmla="*/ 67 h 220"/>
                  <a:gd name="T40" fmla="*/ 60 w 188"/>
                  <a:gd name="T41" fmla="*/ 67 h 220"/>
                  <a:gd name="T42" fmla="*/ 74 w 188"/>
                  <a:gd name="T43" fmla="*/ 0 h 220"/>
                  <a:gd name="T44" fmla="*/ 96 w 188"/>
                  <a:gd name="T45" fmla="*/ 0 h 220"/>
                  <a:gd name="T46" fmla="*/ 81 w 188"/>
                  <a:gd name="T47" fmla="*/ 67 h 220"/>
                  <a:gd name="T48" fmla="*/ 124 w 188"/>
                  <a:gd name="T49" fmla="*/ 67 h 220"/>
                  <a:gd name="T50" fmla="*/ 137 w 188"/>
                  <a:gd name="T51" fmla="*/ 0 h 220"/>
                  <a:gd name="T52" fmla="*/ 158 w 188"/>
                  <a:gd name="T53" fmla="*/ 0 h 220"/>
                  <a:gd name="T54" fmla="*/ 145 w 188"/>
                  <a:gd name="T55" fmla="*/ 67 h 220"/>
                  <a:gd name="T56" fmla="*/ 188 w 188"/>
                  <a:gd name="T57" fmla="*/ 67 h 220"/>
                  <a:gd name="T58" fmla="*/ 120 w 188"/>
                  <a:gd name="T59" fmla="*/ 86 h 220"/>
                  <a:gd name="T60" fmla="*/ 78 w 188"/>
                  <a:gd name="T61" fmla="*/ 86 h 220"/>
                  <a:gd name="T62" fmla="*/ 67 w 188"/>
                  <a:gd name="T63" fmla="*/ 136 h 220"/>
                  <a:gd name="T64" fmla="*/ 109 w 188"/>
                  <a:gd name="T65" fmla="*/ 136 h 220"/>
                  <a:gd name="T66" fmla="*/ 120 w 188"/>
                  <a:gd name="T67" fmla="*/ 86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8" h="220">
                    <a:moveTo>
                      <a:pt x="188" y="67"/>
                    </a:moveTo>
                    <a:lnTo>
                      <a:pt x="185" y="86"/>
                    </a:lnTo>
                    <a:lnTo>
                      <a:pt x="141" y="86"/>
                    </a:lnTo>
                    <a:lnTo>
                      <a:pt x="130" y="136"/>
                    </a:lnTo>
                    <a:lnTo>
                      <a:pt x="177" y="136"/>
                    </a:lnTo>
                    <a:lnTo>
                      <a:pt x="173" y="153"/>
                    </a:lnTo>
                    <a:lnTo>
                      <a:pt x="126" y="153"/>
                    </a:lnTo>
                    <a:lnTo>
                      <a:pt x="112" y="220"/>
                    </a:lnTo>
                    <a:lnTo>
                      <a:pt x="91" y="220"/>
                    </a:lnTo>
                    <a:lnTo>
                      <a:pt x="106" y="153"/>
                    </a:lnTo>
                    <a:lnTo>
                      <a:pt x="64" y="153"/>
                    </a:lnTo>
                    <a:lnTo>
                      <a:pt x="49" y="220"/>
                    </a:lnTo>
                    <a:lnTo>
                      <a:pt x="29" y="220"/>
                    </a:lnTo>
                    <a:lnTo>
                      <a:pt x="43" y="153"/>
                    </a:lnTo>
                    <a:lnTo>
                      <a:pt x="0" y="153"/>
                    </a:lnTo>
                    <a:lnTo>
                      <a:pt x="3" y="136"/>
                    </a:lnTo>
                    <a:lnTo>
                      <a:pt x="47" y="136"/>
                    </a:lnTo>
                    <a:lnTo>
                      <a:pt x="57" y="86"/>
                    </a:lnTo>
                    <a:lnTo>
                      <a:pt x="10" y="86"/>
                    </a:lnTo>
                    <a:lnTo>
                      <a:pt x="14" y="67"/>
                    </a:lnTo>
                    <a:lnTo>
                      <a:pt x="60" y="67"/>
                    </a:lnTo>
                    <a:lnTo>
                      <a:pt x="74" y="0"/>
                    </a:lnTo>
                    <a:lnTo>
                      <a:pt x="96" y="0"/>
                    </a:lnTo>
                    <a:lnTo>
                      <a:pt x="81" y="67"/>
                    </a:lnTo>
                    <a:lnTo>
                      <a:pt x="124" y="67"/>
                    </a:lnTo>
                    <a:lnTo>
                      <a:pt x="137" y="0"/>
                    </a:lnTo>
                    <a:lnTo>
                      <a:pt x="158" y="0"/>
                    </a:lnTo>
                    <a:lnTo>
                      <a:pt x="145" y="67"/>
                    </a:lnTo>
                    <a:lnTo>
                      <a:pt x="188" y="67"/>
                    </a:lnTo>
                    <a:close/>
                    <a:moveTo>
                      <a:pt x="120" y="86"/>
                    </a:moveTo>
                    <a:lnTo>
                      <a:pt x="78" y="86"/>
                    </a:lnTo>
                    <a:lnTo>
                      <a:pt x="67" y="136"/>
                    </a:lnTo>
                    <a:lnTo>
                      <a:pt x="109" y="136"/>
                    </a:lnTo>
                    <a:lnTo>
                      <a:pt x="120" y="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4" name="Freeform 41"/>
              <p:cNvSpPr>
                <a:spLocks noEditPoints="1"/>
              </p:cNvSpPr>
              <p:nvPr userDrawn="1"/>
            </p:nvSpPr>
            <p:spPr bwMode="auto">
              <a:xfrm>
                <a:off x="6159" y="2198"/>
                <a:ext cx="156" cy="248"/>
              </a:xfrm>
              <a:custGeom>
                <a:avLst/>
                <a:gdLst>
                  <a:gd name="T0" fmla="*/ 128 w 128"/>
                  <a:gd name="T1" fmla="*/ 101 h 203"/>
                  <a:gd name="T2" fmla="*/ 123 w 128"/>
                  <a:gd name="T3" fmla="*/ 144 h 203"/>
                  <a:gd name="T4" fmla="*/ 110 w 128"/>
                  <a:gd name="T5" fmla="*/ 176 h 203"/>
                  <a:gd name="T6" fmla="*/ 90 w 128"/>
                  <a:gd name="T7" fmla="*/ 196 h 203"/>
                  <a:gd name="T8" fmla="*/ 62 w 128"/>
                  <a:gd name="T9" fmla="*/ 203 h 203"/>
                  <a:gd name="T10" fmla="*/ 36 w 128"/>
                  <a:gd name="T11" fmla="*/ 196 h 203"/>
                  <a:gd name="T12" fmla="*/ 16 w 128"/>
                  <a:gd name="T13" fmla="*/ 177 h 203"/>
                  <a:gd name="T14" fmla="*/ 4 w 128"/>
                  <a:gd name="T15" fmla="*/ 147 h 203"/>
                  <a:gd name="T16" fmla="*/ 0 w 128"/>
                  <a:gd name="T17" fmla="*/ 105 h 203"/>
                  <a:gd name="T18" fmla="*/ 4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4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6" y="132"/>
                      <a:pt x="123" y="144"/>
                    </a:cubicBezTo>
                    <a:cubicBezTo>
                      <a:pt x="120" y="157"/>
                      <a:pt x="116" y="168"/>
                      <a:pt x="110" y="176"/>
                    </a:cubicBezTo>
                    <a:cubicBezTo>
                      <a:pt x="105" y="185"/>
                      <a:pt x="98" y="192"/>
                      <a:pt x="90" y="196"/>
                    </a:cubicBezTo>
                    <a:cubicBezTo>
                      <a:pt x="82" y="201"/>
                      <a:pt x="72" y="203"/>
                      <a:pt x="62" y="203"/>
                    </a:cubicBezTo>
                    <a:cubicBezTo>
                      <a:pt x="52" y="203"/>
                      <a:pt x="43" y="201"/>
                      <a:pt x="36" y="196"/>
                    </a:cubicBezTo>
                    <a:cubicBezTo>
                      <a:pt x="28" y="192"/>
                      <a:pt x="21" y="186"/>
                      <a:pt x="16" y="177"/>
                    </a:cubicBezTo>
                    <a:cubicBezTo>
                      <a:pt x="11" y="169"/>
                      <a:pt x="7" y="159"/>
                      <a:pt x="4" y="147"/>
                    </a:cubicBezTo>
                    <a:cubicBezTo>
                      <a:pt x="1" y="135"/>
                      <a:pt x="0" y="121"/>
                      <a:pt x="0" y="105"/>
                    </a:cubicBezTo>
                    <a:cubicBezTo>
                      <a:pt x="0" y="88"/>
                      <a:pt x="1" y="73"/>
                      <a:pt x="4" y="60"/>
                    </a:cubicBezTo>
                    <a:cubicBezTo>
                      <a:pt x="7" y="47"/>
                      <a:pt x="11" y="36"/>
                      <a:pt x="17" y="27"/>
                    </a:cubicBezTo>
                    <a:cubicBezTo>
                      <a:pt x="23" y="18"/>
                      <a:pt x="29" y="11"/>
                      <a:pt x="38" y="7"/>
                    </a:cubicBezTo>
                    <a:cubicBezTo>
                      <a:pt x="46" y="2"/>
                      <a:pt x="55" y="0"/>
                      <a:pt x="66" y="0"/>
                    </a:cubicBezTo>
                    <a:cubicBezTo>
                      <a:pt x="107" y="0"/>
                      <a:pt x="128" y="34"/>
                      <a:pt x="128" y="101"/>
                    </a:cubicBezTo>
                    <a:close/>
                    <a:moveTo>
                      <a:pt x="105" y="103"/>
                    </a:moveTo>
                    <a:cubicBezTo>
                      <a:pt x="105" y="47"/>
                      <a:pt x="92" y="19"/>
                      <a:pt x="65" y="19"/>
                    </a:cubicBezTo>
                    <a:cubicBezTo>
                      <a:pt x="37" y="19"/>
                      <a:pt x="23" y="48"/>
                      <a:pt x="23" y="104"/>
                    </a:cubicBezTo>
                    <a:cubicBezTo>
                      <a:pt x="23" y="157"/>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5" name="Freeform 42"/>
              <p:cNvSpPr>
                <a:spLocks/>
              </p:cNvSpPr>
              <p:nvPr userDrawn="1"/>
            </p:nvSpPr>
            <p:spPr bwMode="auto">
              <a:xfrm>
                <a:off x="6357" y="2197"/>
                <a:ext cx="83" cy="246"/>
              </a:xfrm>
              <a:custGeom>
                <a:avLst/>
                <a:gdLst>
                  <a:gd name="T0" fmla="*/ 68 w 68"/>
                  <a:gd name="T1" fmla="*/ 201 h 201"/>
                  <a:gd name="T2" fmla="*/ 46 w 68"/>
                  <a:gd name="T3" fmla="*/ 201 h 201"/>
                  <a:gd name="T4" fmla="*/ 46 w 68"/>
                  <a:gd name="T5" fmla="*/ 31 h 201"/>
                  <a:gd name="T6" fmla="*/ 38 w 68"/>
                  <a:gd name="T7" fmla="*/ 37 h 201"/>
                  <a:gd name="T8" fmla="*/ 27 w 68"/>
                  <a:gd name="T9" fmla="*/ 44 h 201"/>
                  <a:gd name="T10" fmla="*/ 14 w 68"/>
                  <a:gd name="T11" fmla="*/ 50 h 201"/>
                  <a:gd name="T12" fmla="*/ 0 w 68"/>
                  <a:gd name="T13" fmla="*/ 54 h 201"/>
                  <a:gd name="T14" fmla="*/ 0 w 68"/>
                  <a:gd name="T15" fmla="*/ 32 h 201"/>
                  <a:gd name="T16" fmla="*/ 16 w 68"/>
                  <a:gd name="T17" fmla="*/ 26 h 201"/>
                  <a:gd name="T18" fmla="*/ 32 w 68"/>
                  <a:gd name="T19" fmla="*/ 18 h 201"/>
                  <a:gd name="T20" fmla="*/ 47 w 68"/>
                  <a:gd name="T21" fmla="*/ 9 h 201"/>
                  <a:gd name="T22" fmla="*/ 59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6" y="201"/>
                      <a:pt x="46" y="201"/>
                      <a:pt x="46" y="201"/>
                    </a:cubicBezTo>
                    <a:cubicBezTo>
                      <a:pt x="46" y="31"/>
                      <a:pt x="46" y="31"/>
                      <a:pt x="46" y="31"/>
                    </a:cubicBezTo>
                    <a:cubicBezTo>
                      <a:pt x="44" y="33"/>
                      <a:pt x="41" y="35"/>
                      <a:pt x="38" y="37"/>
                    </a:cubicBezTo>
                    <a:cubicBezTo>
                      <a:pt x="35" y="39"/>
                      <a:pt x="31" y="42"/>
                      <a:pt x="27" y="44"/>
                    </a:cubicBezTo>
                    <a:cubicBezTo>
                      <a:pt x="23" y="46"/>
                      <a:pt x="18" y="48"/>
                      <a:pt x="14" y="50"/>
                    </a:cubicBezTo>
                    <a:cubicBezTo>
                      <a:pt x="9" y="52"/>
                      <a:pt x="5" y="53"/>
                      <a:pt x="0" y="54"/>
                    </a:cubicBezTo>
                    <a:cubicBezTo>
                      <a:pt x="0" y="32"/>
                      <a:pt x="0" y="32"/>
                      <a:pt x="0" y="32"/>
                    </a:cubicBezTo>
                    <a:cubicBezTo>
                      <a:pt x="5" y="30"/>
                      <a:pt x="10" y="28"/>
                      <a:pt x="16" y="26"/>
                    </a:cubicBezTo>
                    <a:cubicBezTo>
                      <a:pt x="21" y="24"/>
                      <a:pt x="27" y="21"/>
                      <a:pt x="32" y="18"/>
                    </a:cubicBezTo>
                    <a:cubicBezTo>
                      <a:pt x="37" y="15"/>
                      <a:pt x="42" y="12"/>
                      <a:pt x="47" y="9"/>
                    </a:cubicBezTo>
                    <a:cubicBezTo>
                      <a:pt x="52" y="6"/>
                      <a:pt x="56" y="3"/>
                      <a:pt x="59"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6" name="Freeform 43"/>
              <p:cNvSpPr>
                <a:spLocks noEditPoints="1"/>
              </p:cNvSpPr>
              <p:nvPr userDrawn="1"/>
            </p:nvSpPr>
            <p:spPr bwMode="auto">
              <a:xfrm>
                <a:off x="6506" y="2198"/>
                <a:ext cx="154" cy="248"/>
              </a:xfrm>
              <a:custGeom>
                <a:avLst/>
                <a:gdLst>
                  <a:gd name="T0" fmla="*/ 127 w 127"/>
                  <a:gd name="T1" fmla="*/ 101 h 203"/>
                  <a:gd name="T2" fmla="*/ 123 w 127"/>
                  <a:gd name="T3" fmla="*/ 144 h 203"/>
                  <a:gd name="T4" fmla="*/ 110 w 127"/>
                  <a:gd name="T5" fmla="*/ 176 h 203"/>
                  <a:gd name="T6" fmla="*/ 90 w 127"/>
                  <a:gd name="T7" fmla="*/ 196 h 203"/>
                  <a:gd name="T8" fmla="*/ 62 w 127"/>
                  <a:gd name="T9" fmla="*/ 203 h 203"/>
                  <a:gd name="T10" fmla="*/ 35 w 127"/>
                  <a:gd name="T11" fmla="*/ 196 h 203"/>
                  <a:gd name="T12" fmla="*/ 16 w 127"/>
                  <a:gd name="T13" fmla="*/ 177 h 203"/>
                  <a:gd name="T14" fmla="*/ 4 w 127"/>
                  <a:gd name="T15" fmla="*/ 147 h 203"/>
                  <a:gd name="T16" fmla="*/ 0 w 127"/>
                  <a:gd name="T17" fmla="*/ 105 h 203"/>
                  <a:gd name="T18" fmla="*/ 4 w 127"/>
                  <a:gd name="T19" fmla="*/ 60 h 203"/>
                  <a:gd name="T20" fmla="*/ 17 w 127"/>
                  <a:gd name="T21" fmla="*/ 27 h 203"/>
                  <a:gd name="T22" fmla="*/ 37 w 127"/>
                  <a:gd name="T23" fmla="*/ 7 h 203"/>
                  <a:gd name="T24" fmla="*/ 66 w 127"/>
                  <a:gd name="T25" fmla="*/ 0 h 203"/>
                  <a:gd name="T26" fmla="*/ 127 w 127"/>
                  <a:gd name="T27" fmla="*/ 101 h 203"/>
                  <a:gd name="T28" fmla="*/ 104 w 127"/>
                  <a:gd name="T29" fmla="*/ 103 h 203"/>
                  <a:gd name="T30" fmla="*/ 65 w 127"/>
                  <a:gd name="T31" fmla="*/ 19 h 203"/>
                  <a:gd name="T32" fmla="*/ 23 w 127"/>
                  <a:gd name="T33" fmla="*/ 104 h 203"/>
                  <a:gd name="T34" fmla="*/ 64 w 127"/>
                  <a:gd name="T35" fmla="*/ 184 h 203"/>
                  <a:gd name="T36" fmla="*/ 104 w 127"/>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7" h="203">
                    <a:moveTo>
                      <a:pt x="127" y="101"/>
                    </a:moveTo>
                    <a:cubicBezTo>
                      <a:pt x="127" y="117"/>
                      <a:pt x="126" y="132"/>
                      <a:pt x="123" y="144"/>
                    </a:cubicBezTo>
                    <a:cubicBezTo>
                      <a:pt x="120" y="157"/>
                      <a:pt x="116" y="168"/>
                      <a:pt x="110" y="176"/>
                    </a:cubicBezTo>
                    <a:cubicBezTo>
                      <a:pt x="105" y="185"/>
                      <a:pt x="98" y="192"/>
                      <a:pt x="90" y="196"/>
                    </a:cubicBezTo>
                    <a:cubicBezTo>
                      <a:pt x="81" y="201"/>
                      <a:pt x="72" y="203"/>
                      <a:pt x="62" y="203"/>
                    </a:cubicBezTo>
                    <a:cubicBezTo>
                      <a:pt x="52" y="203"/>
                      <a:pt x="43" y="201"/>
                      <a:pt x="35" y="196"/>
                    </a:cubicBezTo>
                    <a:cubicBezTo>
                      <a:pt x="28" y="192"/>
                      <a:pt x="21" y="186"/>
                      <a:pt x="16" y="177"/>
                    </a:cubicBezTo>
                    <a:cubicBezTo>
                      <a:pt x="11" y="169"/>
                      <a:pt x="7" y="159"/>
                      <a:pt x="4" y="147"/>
                    </a:cubicBezTo>
                    <a:cubicBezTo>
                      <a:pt x="1" y="135"/>
                      <a:pt x="0" y="121"/>
                      <a:pt x="0" y="105"/>
                    </a:cubicBezTo>
                    <a:cubicBezTo>
                      <a:pt x="0" y="88"/>
                      <a:pt x="1" y="73"/>
                      <a:pt x="4" y="60"/>
                    </a:cubicBezTo>
                    <a:cubicBezTo>
                      <a:pt x="7" y="47"/>
                      <a:pt x="11" y="36"/>
                      <a:pt x="17" y="27"/>
                    </a:cubicBezTo>
                    <a:cubicBezTo>
                      <a:pt x="22" y="18"/>
                      <a:pt x="29" y="11"/>
                      <a:pt x="37" y="7"/>
                    </a:cubicBezTo>
                    <a:cubicBezTo>
                      <a:pt x="46" y="2"/>
                      <a:pt x="55" y="0"/>
                      <a:pt x="66" y="0"/>
                    </a:cubicBezTo>
                    <a:cubicBezTo>
                      <a:pt x="107" y="0"/>
                      <a:pt x="127" y="34"/>
                      <a:pt x="127" y="101"/>
                    </a:cubicBezTo>
                    <a:close/>
                    <a:moveTo>
                      <a:pt x="104" y="103"/>
                    </a:moveTo>
                    <a:cubicBezTo>
                      <a:pt x="104" y="47"/>
                      <a:pt x="91" y="19"/>
                      <a:pt x="65" y="19"/>
                    </a:cubicBezTo>
                    <a:cubicBezTo>
                      <a:pt x="37" y="19"/>
                      <a:pt x="23" y="48"/>
                      <a:pt x="23" y="104"/>
                    </a:cubicBezTo>
                    <a:cubicBezTo>
                      <a:pt x="23" y="157"/>
                      <a:pt x="36" y="184"/>
                      <a:pt x="64" y="184"/>
                    </a:cubicBezTo>
                    <a:cubicBezTo>
                      <a:pt x="91" y="184"/>
                      <a:pt x="104" y="157"/>
                      <a:pt x="104"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7" name="Freeform 44"/>
              <p:cNvSpPr>
                <a:spLocks noEditPoints="1"/>
              </p:cNvSpPr>
              <p:nvPr userDrawn="1"/>
            </p:nvSpPr>
            <p:spPr bwMode="auto">
              <a:xfrm>
                <a:off x="6701" y="2198"/>
                <a:ext cx="154" cy="248"/>
              </a:xfrm>
              <a:custGeom>
                <a:avLst/>
                <a:gdLst>
                  <a:gd name="T0" fmla="*/ 127 w 127"/>
                  <a:gd name="T1" fmla="*/ 101 h 203"/>
                  <a:gd name="T2" fmla="*/ 123 w 127"/>
                  <a:gd name="T3" fmla="*/ 144 h 203"/>
                  <a:gd name="T4" fmla="*/ 110 w 127"/>
                  <a:gd name="T5" fmla="*/ 176 h 203"/>
                  <a:gd name="T6" fmla="*/ 89 w 127"/>
                  <a:gd name="T7" fmla="*/ 196 h 203"/>
                  <a:gd name="T8" fmla="*/ 62 w 127"/>
                  <a:gd name="T9" fmla="*/ 203 h 203"/>
                  <a:gd name="T10" fmla="*/ 35 w 127"/>
                  <a:gd name="T11" fmla="*/ 196 h 203"/>
                  <a:gd name="T12" fmla="*/ 16 w 127"/>
                  <a:gd name="T13" fmla="*/ 177 h 203"/>
                  <a:gd name="T14" fmla="*/ 4 w 127"/>
                  <a:gd name="T15" fmla="*/ 147 h 203"/>
                  <a:gd name="T16" fmla="*/ 0 w 127"/>
                  <a:gd name="T17" fmla="*/ 105 h 203"/>
                  <a:gd name="T18" fmla="*/ 4 w 127"/>
                  <a:gd name="T19" fmla="*/ 60 h 203"/>
                  <a:gd name="T20" fmla="*/ 17 w 127"/>
                  <a:gd name="T21" fmla="*/ 27 h 203"/>
                  <a:gd name="T22" fmla="*/ 37 w 127"/>
                  <a:gd name="T23" fmla="*/ 7 h 203"/>
                  <a:gd name="T24" fmla="*/ 66 w 127"/>
                  <a:gd name="T25" fmla="*/ 0 h 203"/>
                  <a:gd name="T26" fmla="*/ 127 w 127"/>
                  <a:gd name="T27" fmla="*/ 101 h 203"/>
                  <a:gd name="T28" fmla="*/ 104 w 127"/>
                  <a:gd name="T29" fmla="*/ 103 h 203"/>
                  <a:gd name="T30" fmla="*/ 65 w 127"/>
                  <a:gd name="T31" fmla="*/ 19 h 203"/>
                  <a:gd name="T32" fmla="*/ 23 w 127"/>
                  <a:gd name="T33" fmla="*/ 104 h 203"/>
                  <a:gd name="T34" fmla="*/ 64 w 127"/>
                  <a:gd name="T35" fmla="*/ 184 h 203"/>
                  <a:gd name="T36" fmla="*/ 104 w 127"/>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7" h="203">
                    <a:moveTo>
                      <a:pt x="127" y="101"/>
                    </a:moveTo>
                    <a:cubicBezTo>
                      <a:pt x="127" y="117"/>
                      <a:pt x="126" y="132"/>
                      <a:pt x="123" y="144"/>
                    </a:cubicBezTo>
                    <a:cubicBezTo>
                      <a:pt x="120" y="157"/>
                      <a:pt x="116" y="168"/>
                      <a:pt x="110" y="176"/>
                    </a:cubicBezTo>
                    <a:cubicBezTo>
                      <a:pt x="105" y="185"/>
                      <a:pt x="98" y="192"/>
                      <a:pt x="89" y="196"/>
                    </a:cubicBezTo>
                    <a:cubicBezTo>
                      <a:pt x="81" y="201"/>
                      <a:pt x="72" y="203"/>
                      <a:pt x="62" y="203"/>
                    </a:cubicBezTo>
                    <a:cubicBezTo>
                      <a:pt x="52" y="203"/>
                      <a:pt x="43" y="201"/>
                      <a:pt x="35" y="196"/>
                    </a:cubicBezTo>
                    <a:cubicBezTo>
                      <a:pt x="28" y="192"/>
                      <a:pt x="21" y="186"/>
                      <a:pt x="16" y="177"/>
                    </a:cubicBezTo>
                    <a:cubicBezTo>
                      <a:pt x="11" y="169"/>
                      <a:pt x="7" y="159"/>
                      <a:pt x="4" y="147"/>
                    </a:cubicBezTo>
                    <a:cubicBezTo>
                      <a:pt x="1" y="135"/>
                      <a:pt x="0" y="121"/>
                      <a:pt x="0" y="105"/>
                    </a:cubicBezTo>
                    <a:cubicBezTo>
                      <a:pt x="0" y="88"/>
                      <a:pt x="1" y="73"/>
                      <a:pt x="4" y="60"/>
                    </a:cubicBezTo>
                    <a:cubicBezTo>
                      <a:pt x="7" y="47"/>
                      <a:pt x="11" y="36"/>
                      <a:pt x="17" y="27"/>
                    </a:cubicBezTo>
                    <a:cubicBezTo>
                      <a:pt x="22" y="18"/>
                      <a:pt x="29" y="11"/>
                      <a:pt x="37" y="7"/>
                    </a:cubicBezTo>
                    <a:cubicBezTo>
                      <a:pt x="46" y="2"/>
                      <a:pt x="55" y="0"/>
                      <a:pt x="66" y="0"/>
                    </a:cubicBezTo>
                    <a:cubicBezTo>
                      <a:pt x="107" y="0"/>
                      <a:pt x="127" y="34"/>
                      <a:pt x="127" y="101"/>
                    </a:cubicBezTo>
                    <a:close/>
                    <a:moveTo>
                      <a:pt x="104" y="103"/>
                    </a:moveTo>
                    <a:cubicBezTo>
                      <a:pt x="104" y="47"/>
                      <a:pt x="91" y="19"/>
                      <a:pt x="65" y="19"/>
                    </a:cubicBezTo>
                    <a:cubicBezTo>
                      <a:pt x="37" y="19"/>
                      <a:pt x="23" y="48"/>
                      <a:pt x="23" y="104"/>
                    </a:cubicBezTo>
                    <a:cubicBezTo>
                      <a:pt x="23" y="157"/>
                      <a:pt x="36" y="184"/>
                      <a:pt x="64" y="184"/>
                    </a:cubicBezTo>
                    <a:cubicBezTo>
                      <a:pt x="91" y="184"/>
                      <a:pt x="104" y="157"/>
                      <a:pt x="104"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8" name="Freeform 45"/>
              <p:cNvSpPr>
                <a:spLocks/>
              </p:cNvSpPr>
              <p:nvPr userDrawn="1"/>
            </p:nvSpPr>
            <p:spPr bwMode="auto">
              <a:xfrm>
                <a:off x="6898" y="2197"/>
                <a:ext cx="83" cy="246"/>
              </a:xfrm>
              <a:custGeom>
                <a:avLst/>
                <a:gdLst>
                  <a:gd name="T0" fmla="*/ 68 w 68"/>
                  <a:gd name="T1" fmla="*/ 201 h 201"/>
                  <a:gd name="T2" fmla="*/ 45 w 68"/>
                  <a:gd name="T3" fmla="*/ 201 h 201"/>
                  <a:gd name="T4" fmla="*/ 45 w 68"/>
                  <a:gd name="T5" fmla="*/ 31 h 201"/>
                  <a:gd name="T6" fmla="*/ 38 w 68"/>
                  <a:gd name="T7" fmla="*/ 37 h 201"/>
                  <a:gd name="T8" fmla="*/ 26 w 68"/>
                  <a:gd name="T9" fmla="*/ 44 h 201"/>
                  <a:gd name="T10" fmla="*/ 13 w 68"/>
                  <a:gd name="T11" fmla="*/ 50 h 201"/>
                  <a:gd name="T12" fmla="*/ 0 w 68"/>
                  <a:gd name="T13" fmla="*/ 54 h 201"/>
                  <a:gd name="T14" fmla="*/ 0 w 68"/>
                  <a:gd name="T15" fmla="*/ 32 h 201"/>
                  <a:gd name="T16" fmla="*/ 15 w 68"/>
                  <a:gd name="T17" fmla="*/ 26 h 201"/>
                  <a:gd name="T18" fmla="*/ 32 w 68"/>
                  <a:gd name="T19" fmla="*/ 18 h 201"/>
                  <a:gd name="T20" fmla="*/ 47 w 68"/>
                  <a:gd name="T21" fmla="*/ 9 h 201"/>
                  <a:gd name="T22" fmla="*/ 59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5" y="201"/>
                      <a:pt x="45" y="201"/>
                      <a:pt x="45" y="201"/>
                    </a:cubicBezTo>
                    <a:cubicBezTo>
                      <a:pt x="45" y="31"/>
                      <a:pt x="45" y="31"/>
                      <a:pt x="45" y="31"/>
                    </a:cubicBezTo>
                    <a:cubicBezTo>
                      <a:pt x="43" y="33"/>
                      <a:pt x="41" y="35"/>
                      <a:pt x="38" y="37"/>
                    </a:cubicBezTo>
                    <a:cubicBezTo>
                      <a:pt x="34" y="39"/>
                      <a:pt x="31" y="42"/>
                      <a:pt x="26" y="44"/>
                    </a:cubicBezTo>
                    <a:cubicBezTo>
                      <a:pt x="22" y="46"/>
                      <a:pt x="18" y="48"/>
                      <a:pt x="13" y="50"/>
                    </a:cubicBezTo>
                    <a:cubicBezTo>
                      <a:pt x="9" y="52"/>
                      <a:pt x="4" y="53"/>
                      <a:pt x="0" y="54"/>
                    </a:cubicBezTo>
                    <a:cubicBezTo>
                      <a:pt x="0" y="32"/>
                      <a:pt x="0" y="32"/>
                      <a:pt x="0" y="32"/>
                    </a:cubicBezTo>
                    <a:cubicBezTo>
                      <a:pt x="5" y="30"/>
                      <a:pt x="10" y="28"/>
                      <a:pt x="15" y="26"/>
                    </a:cubicBezTo>
                    <a:cubicBezTo>
                      <a:pt x="21" y="24"/>
                      <a:pt x="26" y="21"/>
                      <a:pt x="32" y="18"/>
                    </a:cubicBezTo>
                    <a:cubicBezTo>
                      <a:pt x="37" y="15"/>
                      <a:pt x="42" y="12"/>
                      <a:pt x="47" y="9"/>
                    </a:cubicBezTo>
                    <a:cubicBezTo>
                      <a:pt x="52" y="6"/>
                      <a:pt x="56" y="3"/>
                      <a:pt x="59"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9" name="Freeform 46"/>
              <p:cNvSpPr>
                <a:spLocks noEditPoints="1"/>
              </p:cNvSpPr>
              <p:nvPr userDrawn="1"/>
            </p:nvSpPr>
            <p:spPr bwMode="auto">
              <a:xfrm>
                <a:off x="7045" y="2198"/>
                <a:ext cx="156" cy="248"/>
              </a:xfrm>
              <a:custGeom>
                <a:avLst/>
                <a:gdLst>
                  <a:gd name="T0" fmla="*/ 128 w 128"/>
                  <a:gd name="T1" fmla="*/ 101 h 203"/>
                  <a:gd name="T2" fmla="*/ 124 w 128"/>
                  <a:gd name="T3" fmla="*/ 144 h 203"/>
                  <a:gd name="T4" fmla="*/ 111 w 128"/>
                  <a:gd name="T5" fmla="*/ 176 h 203"/>
                  <a:gd name="T6" fmla="*/ 90 w 128"/>
                  <a:gd name="T7" fmla="*/ 196 h 203"/>
                  <a:gd name="T8" fmla="*/ 62 w 128"/>
                  <a:gd name="T9" fmla="*/ 203 h 203"/>
                  <a:gd name="T10" fmla="*/ 36 w 128"/>
                  <a:gd name="T11" fmla="*/ 196 h 203"/>
                  <a:gd name="T12" fmla="*/ 17 w 128"/>
                  <a:gd name="T13" fmla="*/ 177 h 203"/>
                  <a:gd name="T14" fmla="*/ 5 w 128"/>
                  <a:gd name="T15" fmla="*/ 147 h 203"/>
                  <a:gd name="T16" fmla="*/ 0 w 128"/>
                  <a:gd name="T17" fmla="*/ 105 h 203"/>
                  <a:gd name="T18" fmla="*/ 5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4 h 203"/>
                  <a:gd name="T34" fmla="*/ 65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7" y="132"/>
                      <a:pt x="124" y="144"/>
                    </a:cubicBezTo>
                    <a:cubicBezTo>
                      <a:pt x="121" y="157"/>
                      <a:pt x="116" y="168"/>
                      <a:pt x="111" y="176"/>
                    </a:cubicBezTo>
                    <a:cubicBezTo>
                      <a:pt x="105" y="185"/>
                      <a:pt x="98" y="192"/>
                      <a:pt x="90" y="196"/>
                    </a:cubicBezTo>
                    <a:cubicBezTo>
                      <a:pt x="82" y="201"/>
                      <a:pt x="73" y="203"/>
                      <a:pt x="62" y="203"/>
                    </a:cubicBezTo>
                    <a:cubicBezTo>
                      <a:pt x="53" y="203"/>
                      <a:pt x="44" y="201"/>
                      <a:pt x="36" y="196"/>
                    </a:cubicBezTo>
                    <a:cubicBezTo>
                      <a:pt x="28" y="192"/>
                      <a:pt x="22" y="186"/>
                      <a:pt x="17" y="177"/>
                    </a:cubicBezTo>
                    <a:cubicBezTo>
                      <a:pt x="11" y="169"/>
                      <a:pt x="7" y="159"/>
                      <a:pt x="5" y="147"/>
                    </a:cubicBezTo>
                    <a:cubicBezTo>
                      <a:pt x="2" y="135"/>
                      <a:pt x="0" y="121"/>
                      <a:pt x="0" y="105"/>
                    </a:cubicBezTo>
                    <a:cubicBezTo>
                      <a:pt x="0" y="88"/>
                      <a:pt x="2" y="73"/>
                      <a:pt x="5" y="60"/>
                    </a:cubicBezTo>
                    <a:cubicBezTo>
                      <a:pt x="8" y="47"/>
                      <a:pt x="12" y="36"/>
                      <a:pt x="17" y="27"/>
                    </a:cubicBezTo>
                    <a:cubicBezTo>
                      <a:pt x="23" y="18"/>
                      <a:pt x="30" y="11"/>
                      <a:pt x="38" y="7"/>
                    </a:cubicBezTo>
                    <a:cubicBezTo>
                      <a:pt x="46" y="2"/>
                      <a:pt x="56" y="0"/>
                      <a:pt x="66" y="0"/>
                    </a:cubicBezTo>
                    <a:cubicBezTo>
                      <a:pt x="108" y="0"/>
                      <a:pt x="128" y="34"/>
                      <a:pt x="128" y="101"/>
                    </a:cubicBezTo>
                    <a:close/>
                    <a:moveTo>
                      <a:pt x="105" y="103"/>
                    </a:moveTo>
                    <a:cubicBezTo>
                      <a:pt x="105" y="47"/>
                      <a:pt x="92" y="19"/>
                      <a:pt x="65" y="19"/>
                    </a:cubicBezTo>
                    <a:cubicBezTo>
                      <a:pt x="37" y="19"/>
                      <a:pt x="23" y="48"/>
                      <a:pt x="23" y="104"/>
                    </a:cubicBezTo>
                    <a:cubicBezTo>
                      <a:pt x="23" y="157"/>
                      <a:pt x="37" y="184"/>
                      <a:pt x="65" y="184"/>
                    </a:cubicBezTo>
                    <a:cubicBezTo>
                      <a:pt x="92"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0" name="Freeform 47"/>
              <p:cNvSpPr>
                <a:spLocks/>
              </p:cNvSpPr>
              <p:nvPr userDrawn="1"/>
            </p:nvSpPr>
            <p:spPr bwMode="auto">
              <a:xfrm>
                <a:off x="7244" y="2197"/>
                <a:ext cx="82" cy="246"/>
              </a:xfrm>
              <a:custGeom>
                <a:avLst/>
                <a:gdLst>
                  <a:gd name="T0" fmla="*/ 67 w 67"/>
                  <a:gd name="T1" fmla="*/ 201 h 201"/>
                  <a:gd name="T2" fmla="*/ 45 w 67"/>
                  <a:gd name="T3" fmla="*/ 201 h 201"/>
                  <a:gd name="T4" fmla="*/ 45 w 67"/>
                  <a:gd name="T5" fmla="*/ 31 h 201"/>
                  <a:gd name="T6" fmla="*/ 37 w 67"/>
                  <a:gd name="T7" fmla="*/ 37 h 201"/>
                  <a:gd name="T8" fmla="*/ 26 w 67"/>
                  <a:gd name="T9" fmla="*/ 44 h 201"/>
                  <a:gd name="T10" fmla="*/ 13 w 67"/>
                  <a:gd name="T11" fmla="*/ 50 h 201"/>
                  <a:gd name="T12" fmla="*/ 0 w 67"/>
                  <a:gd name="T13" fmla="*/ 54 h 201"/>
                  <a:gd name="T14" fmla="*/ 0 w 67"/>
                  <a:gd name="T15" fmla="*/ 32 h 201"/>
                  <a:gd name="T16" fmla="*/ 15 w 67"/>
                  <a:gd name="T17" fmla="*/ 26 h 201"/>
                  <a:gd name="T18" fmla="*/ 31 w 67"/>
                  <a:gd name="T19" fmla="*/ 18 h 201"/>
                  <a:gd name="T20" fmla="*/ 47 w 67"/>
                  <a:gd name="T21" fmla="*/ 9 h 201"/>
                  <a:gd name="T22" fmla="*/ 59 w 67"/>
                  <a:gd name="T23" fmla="*/ 0 h 201"/>
                  <a:gd name="T24" fmla="*/ 67 w 67"/>
                  <a:gd name="T25" fmla="*/ 0 h 201"/>
                  <a:gd name="T26" fmla="*/ 67 w 67"/>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7" h="201">
                    <a:moveTo>
                      <a:pt x="67" y="201"/>
                    </a:moveTo>
                    <a:cubicBezTo>
                      <a:pt x="45" y="201"/>
                      <a:pt x="45" y="201"/>
                      <a:pt x="45" y="201"/>
                    </a:cubicBezTo>
                    <a:cubicBezTo>
                      <a:pt x="45" y="31"/>
                      <a:pt x="45" y="31"/>
                      <a:pt x="45" y="31"/>
                    </a:cubicBezTo>
                    <a:cubicBezTo>
                      <a:pt x="43" y="33"/>
                      <a:pt x="41" y="35"/>
                      <a:pt x="37" y="37"/>
                    </a:cubicBezTo>
                    <a:cubicBezTo>
                      <a:pt x="34" y="39"/>
                      <a:pt x="30" y="42"/>
                      <a:pt x="26" y="44"/>
                    </a:cubicBezTo>
                    <a:cubicBezTo>
                      <a:pt x="22" y="46"/>
                      <a:pt x="18" y="48"/>
                      <a:pt x="13" y="50"/>
                    </a:cubicBezTo>
                    <a:cubicBezTo>
                      <a:pt x="8" y="52"/>
                      <a:pt x="4" y="53"/>
                      <a:pt x="0" y="54"/>
                    </a:cubicBezTo>
                    <a:cubicBezTo>
                      <a:pt x="0" y="32"/>
                      <a:pt x="0" y="32"/>
                      <a:pt x="0" y="32"/>
                    </a:cubicBezTo>
                    <a:cubicBezTo>
                      <a:pt x="4" y="30"/>
                      <a:pt x="10" y="28"/>
                      <a:pt x="15" y="26"/>
                    </a:cubicBezTo>
                    <a:cubicBezTo>
                      <a:pt x="21" y="24"/>
                      <a:pt x="26" y="21"/>
                      <a:pt x="31" y="18"/>
                    </a:cubicBezTo>
                    <a:cubicBezTo>
                      <a:pt x="37" y="15"/>
                      <a:pt x="42" y="12"/>
                      <a:pt x="47" y="9"/>
                    </a:cubicBezTo>
                    <a:cubicBezTo>
                      <a:pt x="51" y="6"/>
                      <a:pt x="55" y="3"/>
                      <a:pt x="59" y="0"/>
                    </a:cubicBezTo>
                    <a:cubicBezTo>
                      <a:pt x="67" y="0"/>
                      <a:pt x="67" y="0"/>
                      <a:pt x="67" y="0"/>
                    </a:cubicBezTo>
                    <a:lnTo>
                      <a:pt x="67"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1" name="Freeform 48"/>
              <p:cNvSpPr>
                <a:spLocks noEditPoints="1"/>
              </p:cNvSpPr>
              <p:nvPr userDrawn="1"/>
            </p:nvSpPr>
            <p:spPr bwMode="auto">
              <a:xfrm>
                <a:off x="7392" y="2198"/>
                <a:ext cx="156" cy="248"/>
              </a:xfrm>
              <a:custGeom>
                <a:avLst/>
                <a:gdLst>
                  <a:gd name="T0" fmla="*/ 128 w 128"/>
                  <a:gd name="T1" fmla="*/ 101 h 203"/>
                  <a:gd name="T2" fmla="*/ 123 w 128"/>
                  <a:gd name="T3" fmla="*/ 144 h 203"/>
                  <a:gd name="T4" fmla="*/ 111 w 128"/>
                  <a:gd name="T5" fmla="*/ 176 h 203"/>
                  <a:gd name="T6" fmla="*/ 90 w 128"/>
                  <a:gd name="T7" fmla="*/ 196 h 203"/>
                  <a:gd name="T8" fmla="*/ 62 w 128"/>
                  <a:gd name="T9" fmla="*/ 203 h 203"/>
                  <a:gd name="T10" fmla="*/ 36 w 128"/>
                  <a:gd name="T11" fmla="*/ 196 h 203"/>
                  <a:gd name="T12" fmla="*/ 16 w 128"/>
                  <a:gd name="T13" fmla="*/ 177 h 203"/>
                  <a:gd name="T14" fmla="*/ 4 w 128"/>
                  <a:gd name="T15" fmla="*/ 147 h 203"/>
                  <a:gd name="T16" fmla="*/ 0 w 128"/>
                  <a:gd name="T17" fmla="*/ 105 h 203"/>
                  <a:gd name="T18" fmla="*/ 4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4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6" y="132"/>
                      <a:pt x="123" y="144"/>
                    </a:cubicBezTo>
                    <a:cubicBezTo>
                      <a:pt x="120" y="157"/>
                      <a:pt x="116" y="168"/>
                      <a:pt x="111" y="176"/>
                    </a:cubicBezTo>
                    <a:cubicBezTo>
                      <a:pt x="105" y="185"/>
                      <a:pt x="98" y="192"/>
                      <a:pt x="90" y="196"/>
                    </a:cubicBezTo>
                    <a:cubicBezTo>
                      <a:pt x="82" y="201"/>
                      <a:pt x="72" y="203"/>
                      <a:pt x="62" y="203"/>
                    </a:cubicBezTo>
                    <a:cubicBezTo>
                      <a:pt x="52" y="203"/>
                      <a:pt x="43" y="201"/>
                      <a:pt x="36" y="196"/>
                    </a:cubicBezTo>
                    <a:cubicBezTo>
                      <a:pt x="28" y="192"/>
                      <a:pt x="22" y="186"/>
                      <a:pt x="16" y="177"/>
                    </a:cubicBezTo>
                    <a:cubicBezTo>
                      <a:pt x="11" y="169"/>
                      <a:pt x="7" y="159"/>
                      <a:pt x="4" y="147"/>
                    </a:cubicBezTo>
                    <a:cubicBezTo>
                      <a:pt x="2" y="135"/>
                      <a:pt x="0" y="121"/>
                      <a:pt x="0" y="105"/>
                    </a:cubicBezTo>
                    <a:cubicBezTo>
                      <a:pt x="0" y="88"/>
                      <a:pt x="2" y="73"/>
                      <a:pt x="4" y="60"/>
                    </a:cubicBezTo>
                    <a:cubicBezTo>
                      <a:pt x="7" y="47"/>
                      <a:pt x="12" y="36"/>
                      <a:pt x="17" y="27"/>
                    </a:cubicBezTo>
                    <a:cubicBezTo>
                      <a:pt x="23" y="18"/>
                      <a:pt x="30" y="11"/>
                      <a:pt x="38" y="7"/>
                    </a:cubicBezTo>
                    <a:cubicBezTo>
                      <a:pt x="46" y="2"/>
                      <a:pt x="56" y="0"/>
                      <a:pt x="66" y="0"/>
                    </a:cubicBezTo>
                    <a:cubicBezTo>
                      <a:pt x="107" y="0"/>
                      <a:pt x="128" y="34"/>
                      <a:pt x="128" y="101"/>
                    </a:cubicBezTo>
                    <a:close/>
                    <a:moveTo>
                      <a:pt x="105" y="103"/>
                    </a:moveTo>
                    <a:cubicBezTo>
                      <a:pt x="105" y="47"/>
                      <a:pt x="92" y="19"/>
                      <a:pt x="65" y="19"/>
                    </a:cubicBezTo>
                    <a:cubicBezTo>
                      <a:pt x="37" y="19"/>
                      <a:pt x="23" y="48"/>
                      <a:pt x="23" y="104"/>
                    </a:cubicBezTo>
                    <a:cubicBezTo>
                      <a:pt x="23" y="157"/>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2" name="Freeform 49"/>
              <p:cNvSpPr>
                <a:spLocks/>
              </p:cNvSpPr>
              <p:nvPr userDrawn="1"/>
            </p:nvSpPr>
            <p:spPr bwMode="auto">
              <a:xfrm>
                <a:off x="7589" y="2197"/>
                <a:ext cx="83" cy="246"/>
              </a:xfrm>
              <a:custGeom>
                <a:avLst/>
                <a:gdLst>
                  <a:gd name="T0" fmla="*/ 68 w 68"/>
                  <a:gd name="T1" fmla="*/ 201 h 201"/>
                  <a:gd name="T2" fmla="*/ 46 w 68"/>
                  <a:gd name="T3" fmla="*/ 201 h 201"/>
                  <a:gd name="T4" fmla="*/ 46 w 68"/>
                  <a:gd name="T5" fmla="*/ 31 h 201"/>
                  <a:gd name="T6" fmla="*/ 38 w 68"/>
                  <a:gd name="T7" fmla="*/ 37 h 201"/>
                  <a:gd name="T8" fmla="*/ 27 w 68"/>
                  <a:gd name="T9" fmla="*/ 44 h 201"/>
                  <a:gd name="T10" fmla="*/ 14 w 68"/>
                  <a:gd name="T11" fmla="*/ 50 h 201"/>
                  <a:gd name="T12" fmla="*/ 0 w 68"/>
                  <a:gd name="T13" fmla="*/ 54 h 201"/>
                  <a:gd name="T14" fmla="*/ 0 w 68"/>
                  <a:gd name="T15" fmla="*/ 32 h 201"/>
                  <a:gd name="T16" fmla="*/ 16 w 68"/>
                  <a:gd name="T17" fmla="*/ 26 h 201"/>
                  <a:gd name="T18" fmla="*/ 32 w 68"/>
                  <a:gd name="T19" fmla="*/ 18 h 201"/>
                  <a:gd name="T20" fmla="*/ 47 w 68"/>
                  <a:gd name="T21" fmla="*/ 9 h 201"/>
                  <a:gd name="T22" fmla="*/ 60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6" y="201"/>
                      <a:pt x="46" y="201"/>
                      <a:pt x="46" y="201"/>
                    </a:cubicBezTo>
                    <a:cubicBezTo>
                      <a:pt x="46" y="31"/>
                      <a:pt x="46" y="31"/>
                      <a:pt x="46" y="31"/>
                    </a:cubicBezTo>
                    <a:cubicBezTo>
                      <a:pt x="44" y="33"/>
                      <a:pt x="41" y="35"/>
                      <a:pt x="38" y="37"/>
                    </a:cubicBezTo>
                    <a:cubicBezTo>
                      <a:pt x="35" y="39"/>
                      <a:pt x="31" y="42"/>
                      <a:pt x="27" y="44"/>
                    </a:cubicBezTo>
                    <a:cubicBezTo>
                      <a:pt x="23" y="46"/>
                      <a:pt x="18" y="48"/>
                      <a:pt x="14" y="50"/>
                    </a:cubicBezTo>
                    <a:cubicBezTo>
                      <a:pt x="9" y="52"/>
                      <a:pt x="5" y="53"/>
                      <a:pt x="0" y="54"/>
                    </a:cubicBezTo>
                    <a:cubicBezTo>
                      <a:pt x="0" y="32"/>
                      <a:pt x="0" y="32"/>
                      <a:pt x="0" y="32"/>
                    </a:cubicBezTo>
                    <a:cubicBezTo>
                      <a:pt x="5" y="30"/>
                      <a:pt x="10" y="28"/>
                      <a:pt x="16" y="26"/>
                    </a:cubicBezTo>
                    <a:cubicBezTo>
                      <a:pt x="21" y="24"/>
                      <a:pt x="27" y="21"/>
                      <a:pt x="32" y="18"/>
                    </a:cubicBezTo>
                    <a:cubicBezTo>
                      <a:pt x="37" y="15"/>
                      <a:pt x="43" y="12"/>
                      <a:pt x="47" y="9"/>
                    </a:cubicBezTo>
                    <a:cubicBezTo>
                      <a:pt x="52" y="6"/>
                      <a:pt x="56" y="3"/>
                      <a:pt x="60"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3" name="Freeform 50"/>
              <p:cNvSpPr>
                <a:spLocks/>
              </p:cNvSpPr>
              <p:nvPr userDrawn="1"/>
            </p:nvSpPr>
            <p:spPr bwMode="auto">
              <a:xfrm>
                <a:off x="7739" y="2197"/>
                <a:ext cx="83" cy="246"/>
              </a:xfrm>
              <a:custGeom>
                <a:avLst/>
                <a:gdLst>
                  <a:gd name="T0" fmla="*/ 68 w 68"/>
                  <a:gd name="T1" fmla="*/ 201 h 201"/>
                  <a:gd name="T2" fmla="*/ 45 w 68"/>
                  <a:gd name="T3" fmla="*/ 201 h 201"/>
                  <a:gd name="T4" fmla="*/ 45 w 68"/>
                  <a:gd name="T5" fmla="*/ 31 h 201"/>
                  <a:gd name="T6" fmla="*/ 38 w 68"/>
                  <a:gd name="T7" fmla="*/ 37 h 201"/>
                  <a:gd name="T8" fmla="*/ 26 w 68"/>
                  <a:gd name="T9" fmla="*/ 44 h 201"/>
                  <a:gd name="T10" fmla="*/ 13 w 68"/>
                  <a:gd name="T11" fmla="*/ 50 h 201"/>
                  <a:gd name="T12" fmla="*/ 0 w 68"/>
                  <a:gd name="T13" fmla="*/ 54 h 201"/>
                  <a:gd name="T14" fmla="*/ 0 w 68"/>
                  <a:gd name="T15" fmla="*/ 32 h 201"/>
                  <a:gd name="T16" fmla="*/ 15 w 68"/>
                  <a:gd name="T17" fmla="*/ 26 h 201"/>
                  <a:gd name="T18" fmla="*/ 32 w 68"/>
                  <a:gd name="T19" fmla="*/ 18 h 201"/>
                  <a:gd name="T20" fmla="*/ 47 w 68"/>
                  <a:gd name="T21" fmla="*/ 9 h 201"/>
                  <a:gd name="T22" fmla="*/ 59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5" y="201"/>
                      <a:pt x="45" y="201"/>
                      <a:pt x="45" y="201"/>
                    </a:cubicBezTo>
                    <a:cubicBezTo>
                      <a:pt x="45" y="31"/>
                      <a:pt x="45" y="31"/>
                      <a:pt x="45" y="31"/>
                    </a:cubicBezTo>
                    <a:cubicBezTo>
                      <a:pt x="43" y="33"/>
                      <a:pt x="41" y="35"/>
                      <a:pt x="38" y="37"/>
                    </a:cubicBezTo>
                    <a:cubicBezTo>
                      <a:pt x="34" y="39"/>
                      <a:pt x="31" y="42"/>
                      <a:pt x="26" y="44"/>
                    </a:cubicBezTo>
                    <a:cubicBezTo>
                      <a:pt x="22" y="46"/>
                      <a:pt x="18" y="48"/>
                      <a:pt x="13" y="50"/>
                    </a:cubicBezTo>
                    <a:cubicBezTo>
                      <a:pt x="9" y="52"/>
                      <a:pt x="4" y="53"/>
                      <a:pt x="0" y="54"/>
                    </a:cubicBezTo>
                    <a:cubicBezTo>
                      <a:pt x="0" y="32"/>
                      <a:pt x="0" y="32"/>
                      <a:pt x="0" y="32"/>
                    </a:cubicBezTo>
                    <a:cubicBezTo>
                      <a:pt x="5" y="30"/>
                      <a:pt x="10" y="28"/>
                      <a:pt x="15" y="26"/>
                    </a:cubicBezTo>
                    <a:cubicBezTo>
                      <a:pt x="21" y="24"/>
                      <a:pt x="26" y="21"/>
                      <a:pt x="32" y="18"/>
                    </a:cubicBezTo>
                    <a:cubicBezTo>
                      <a:pt x="37" y="15"/>
                      <a:pt x="42" y="12"/>
                      <a:pt x="47" y="9"/>
                    </a:cubicBezTo>
                    <a:cubicBezTo>
                      <a:pt x="52" y="6"/>
                      <a:pt x="56" y="3"/>
                      <a:pt x="59"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4" name="Freeform 51"/>
              <p:cNvSpPr>
                <a:spLocks noEditPoints="1"/>
              </p:cNvSpPr>
              <p:nvPr userDrawn="1"/>
            </p:nvSpPr>
            <p:spPr bwMode="auto">
              <a:xfrm>
                <a:off x="3986" y="2190"/>
                <a:ext cx="219" cy="255"/>
              </a:xfrm>
              <a:custGeom>
                <a:avLst/>
                <a:gdLst>
                  <a:gd name="T0" fmla="*/ 175 w 179"/>
                  <a:gd name="T1" fmla="*/ 174 h 209"/>
                  <a:gd name="T2" fmla="*/ 134 w 179"/>
                  <a:gd name="T3" fmla="*/ 208 h 209"/>
                  <a:gd name="T4" fmla="*/ 80 w 179"/>
                  <a:gd name="T5" fmla="*/ 198 h 209"/>
                  <a:gd name="T6" fmla="*/ 32 w 179"/>
                  <a:gd name="T7" fmla="*/ 202 h 209"/>
                  <a:gd name="T8" fmla="*/ 2 w 179"/>
                  <a:gd name="T9" fmla="*/ 184 h 209"/>
                  <a:gd name="T10" fmla="*/ 14 w 179"/>
                  <a:gd name="T11" fmla="*/ 159 h 209"/>
                  <a:gd name="T12" fmla="*/ 9 w 179"/>
                  <a:gd name="T13" fmla="*/ 162 h 209"/>
                  <a:gd name="T14" fmla="*/ 6 w 179"/>
                  <a:gd name="T15" fmla="*/ 183 h 209"/>
                  <a:gd name="T16" fmla="*/ 45 w 179"/>
                  <a:gd name="T17" fmla="*/ 202 h 209"/>
                  <a:gd name="T18" fmla="*/ 42 w 179"/>
                  <a:gd name="T19" fmla="*/ 152 h 209"/>
                  <a:gd name="T20" fmla="*/ 25 w 179"/>
                  <a:gd name="T21" fmla="*/ 134 h 209"/>
                  <a:gd name="T22" fmla="*/ 52 w 179"/>
                  <a:gd name="T23" fmla="*/ 83 h 209"/>
                  <a:gd name="T24" fmla="*/ 58 w 179"/>
                  <a:gd name="T25" fmla="*/ 27 h 209"/>
                  <a:gd name="T26" fmla="*/ 117 w 179"/>
                  <a:gd name="T27" fmla="*/ 18 h 209"/>
                  <a:gd name="T28" fmla="*/ 159 w 179"/>
                  <a:gd name="T29" fmla="*/ 128 h 209"/>
                  <a:gd name="T30" fmla="*/ 153 w 179"/>
                  <a:gd name="T31" fmla="*/ 152 h 209"/>
                  <a:gd name="T32" fmla="*/ 128 w 179"/>
                  <a:gd name="T33" fmla="*/ 151 h 209"/>
                  <a:gd name="T34" fmla="*/ 122 w 179"/>
                  <a:gd name="T35" fmla="*/ 186 h 209"/>
                  <a:gd name="T36" fmla="*/ 165 w 179"/>
                  <a:gd name="T37" fmla="*/ 186 h 209"/>
                  <a:gd name="T38" fmla="*/ 171 w 179"/>
                  <a:gd name="T39" fmla="*/ 174 h 209"/>
                  <a:gd name="T40" fmla="*/ 161 w 179"/>
                  <a:gd name="T41" fmla="*/ 153 h 209"/>
                  <a:gd name="T42" fmla="*/ 88 w 179"/>
                  <a:gd name="T43" fmla="*/ 71 h 209"/>
                  <a:gd name="T44" fmla="*/ 101 w 179"/>
                  <a:gd name="T45" fmla="*/ 68 h 209"/>
                  <a:gd name="T46" fmla="*/ 73 w 179"/>
                  <a:gd name="T47" fmla="*/ 79 h 209"/>
                  <a:gd name="T48" fmla="*/ 63 w 179"/>
                  <a:gd name="T49" fmla="*/ 77 h 209"/>
                  <a:gd name="T50" fmla="*/ 56 w 179"/>
                  <a:gd name="T51" fmla="*/ 100 h 209"/>
                  <a:gd name="T52" fmla="*/ 45 w 179"/>
                  <a:gd name="T53" fmla="*/ 140 h 209"/>
                  <a:gd name="T54" fmla="*/ 38 w 179"/>
                  <a:gd name="T55" fmla="*/ 121 h 209"/>
                  <a:gd name="T56" fmla="*/ 40 w 179"/>
                  <a:gd name="T57" fmla="*/ 143 h 209"/>
                  <a:gd name="T58" fmla="*/ 64 w 179"/>
                  <a:gd name="T59" fmla="*/ 177 h 209"/>
                  <a:gd name="T60" fmla="*/ 70 w 179"/>
                  <a:gd name="T61" fmla="*/ 197 h 209"/>
                  <a:gd name="T62" fmla="*/ 68 w 179"/>
                  <a:gd name="T63" fmla="*/ 183 h 209"/>
                  <a:gd name="T64" fmla="*/ 109 w 179"/>
                  <a:gd name="T65" fmla="*/ 179 h 209"/>
                  <a:gd name="T66" fmla="*/ 115 w 179"/>
                  <a:gd name="T67" fmla="*/ 186 h 209"/>
                  <a:gd name="T68" fmla="*/ 119 w 179"/>
                  <a:gd name="T69" fmla="*/ 171 h 209"/>
                  <a:gd name="T70" fmla="*/ 126 w 179"/>
                  <a:gd name="T71" fmla="*/ 146 h 209"/>
                  <a:gd name="T72" fmla="*/ 126 w 179"/>
                  <a:gd name="T73" fmla="*/ 92 h 209"/>
                  <a:gd name="T74" fmla="*/ 128 w 179"/>
                  <a:gd name="T75" fmla="*/ 135 h 209"/>
                  <a:gd name="T76" fmla="*/ 117 w 179"/>
                  <a:gd name="T77" fmla="*/ 94 h 209"/>
                  <a:gd name="T78" fmla="*/ 104 w 179"/>
                  <a:gd name="T79" fmla="*/ 53 h 209"/>
                  <a:gd name="T80" fmla="*/ 98 w 179"/>
                  <a:gd name="T81" fmla="*/ 37 h 209"/>
                  <a:gd name="T82" fmla="*/ 107 w 179"/>
                  <a:gd name="T83" fmla="*/ 48 h 209"/>
                  <a:gd name="T84" fmla="*/ 86 w 179"/>
                  <a:gd name="T85" fmla="*/ 42 h 209"/>
                  <a:gd name="T86" fmla="*/ 78 w 179"/>
                  <a:gd name="T87" fmla="*/ 44 h 209"/>
                  <a:gd name="T88" fmla="*/ 65 w 179"/>
                  <a:gd name="T89" fmla="*/ 34 h 209"/>
                  <a:gd name="T90" fmla="*/ 67 w 179"/>
                  <a:gd name="T91" fmla="*/ 47 h 209"/>
                  <a:gd name="T92" fmla="*/ 73 w 179"/>
                  <a:gd name="T93" fmla="*/ 48 h 209"/>
                  <a:gd name="T94" fmla="*/ 65 w 179"/>
                  <a:gd name="T95" fmla="*/ 60 h 209"/>
                  <a:gd name="T96" fmla="*/ 101 w 179"/>
                  <a:gd name="T97" fmla="*/ 58 h 209"/>
                  <a:gd name="T98" fmla="*/ 86 w 179"/>
                  <a:gd name="T99" fmla="*/ 67 h 209"/>
                  <a:gd name="T100" fmla="*/ 72 w 179"/>
                  <a:gd name="T101" fmla="*/ 40 h 209"/>
                  <a:gd name="T102" fmla="*/ 73 w 179"/>
                  <a:gd name="T103" fmla="*/ 45 h 209"/>
                  <a:gd name="T104" fmla="*/ 99 w 179"/>
                  <a:gd name="T105" fmla="*/ 39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79" h="209">
                    <a:moveTo>
                      <a:pt x="161" y="153"/>
                    </a:moveTo>
                    <a:cubicBezTo>
                      <a:pt x="161" y="156"/>
                      <a:pt x="162" y="158"/>
                      <a:pt x="163" y="161"/>
                    </a:cubicBezTo>
                    <a:cubicBezTo>
                      <a:pt x="164" y="165"/>
                      <a:pt x="167" y="168"/>
                      <a:pt x="170" y="171"/>
                    </a:cubicBezTo>
                    <a:cubicBezTo>
                      <a:pt x="172" y="172"/>
                      <a:pt x="174" y="173"/>
                      <a:pt x="175" y="174"/>
                    </a:cubicBezTo>
                    <a:cubicBezTo>
                      <a:pt x="179" y="176"/>
                      <a:pt x="179" y="180"/>
                      <a:pt x="176" y="183"/>
                    </a:cubicBezTo>
                    <a:cubicBezTo>
                      <a:pt x="173" y="186"/>
                      <a:pt x="170" y="188"/>
                      <a:pt x="166" y="189"/>
                    </a:cubicBezTo>
                    <a:cubicBezTo>
                      <a:pt x="157" y="193"/>
                      <a:pt x="148" y="199"/>
                      <a:pt x="141" y="206"/>
                    </a:cubicBezTo>
                    <a:cubicBezTo>
                      <a:pt x="139" y="208"/>
                      <a:pt x="137" y="208"/>
                      <a:pt x="134" y="208"/>
                    </a:cubicBezTo>
                    <a:cubicBezTo>
                      <a:pt x="131" y="209"/>
                      <a:pt x="128" y="209"/>
                      <a:pt x="125" y="208"/>
                    </a:cubicBezTo>
                    <a:cubicBezTo>
                      <a:pt x="122" y="207"/>
                      <a:pt x="119" y="206"/>
                      <a:pt x="118" y="203"/>
                    </a:cubicBezTo>
                    <a:cubicBezTo>
                      <a:pt x="116" y="200"/>
                      <a:pt x="113" y="198"/>
                      <a:pt x="109" y="198"/>
                    </a:cubicBezTo>
                    <a:cubicBezTo>
                      <a:pt x="100" y="198"/>
                      <a:pt x="90" y="198"/>
                      <a:pt x="80" y="198"/>
                    </a:cubicBezTo>
                    <a:cubicBezTo>
                      <a:pt x="76" y="198"/>
                      <a:pt x="72" y="199"/>
                      <a:pt x="68" y="202"/>
                    </a:cubicBezTo>
                    <a:cubicBezTo>
                      <a:pt x="66" y="203"/>
                      <a:pt x="64" y="204"/>
                      <a:pt x="63" y="205"/>
                    </a:cubicBezTo>
                    <a:cubicBezTo>
                      <a:pt x="58" y="208"/>
                      <a:pt x="53" y="209"/>
                      <a:pt x="48" y="207"/>
                    </a:cubicBezTo>
                    <a:cubicBezTo>
                      <a:pt x="43" y="205"/>
                      <a:pt x="38" y="203"/>
                      <a:pt x="32" y="202"/>
                    </a:cubicBezTo>
                    <a:cubicBezTo>
                      <a:pt x="25" y="200"/>
                      <a:pt x="18" y="199"/>
                      <a:pt x="11" y="197"/>
                    </a:cubicBezTo>
                    <a:cubicBezTo>
                      <a:pt x="9" y="197"/>
                      <a:pt x="7" y="196"/>
                      <a:pt x="5" y="195"/>
                    </a:cubicBezTo>
                    <a:cubicBezTo>
                      <a:pt x="1" y="194"/>
                      <a:pt x="0" y="191"/>
                      <a:pt x="1" y="188"/>
                    </a:cubicBezTo>
                    <a:cubicBezTo>
                      <a:pt x="1" y="186"/>
                      <a:pt x="2" y="185"/>
                      <a:pt x="2" y="184"/>
                    </a:cubicBezTo>
                    <a:cubicBezTo>
                      <a:pt x="4" y="180"/>
                      <a:pt x="4" y="176"/>
                      <a:pt x="3" y="172"/>
                    </a:cubicBezTo>
                    <a:cubicBezTo>
                      <a:pt x="3" y="170"/>
                      <a:pt x="2" y="168"/>
                      <a:pt x="2" y="166"/>
                    </a:cubicBezTo>
                    <a:cubicBezTo>
                      <a:pt x="1" y="162"/>
                      <a:pt x="3" y="160"/>
                      <a:pt x="7" y="160"/>
                    </a:cubicBezTo>
                    <a:cubicBezTo>
                      <a:pt x="9" y="160"/>
                      <a:pt x="12" y="160"/>
                      <a:pt x="14" y="159"/>
                    </a:cubicBezTo>
                    <a:cubicBezTo>
                      <a:pt x="19" y="158"/>
                      <a:pt x="22" y="155"/>
                      <a:pt x="23" y="150"/>
                    </a:cubicBezTo>
                    <a:cubicBezTo>
                      <a:pt x="23" y="150"/>
                      <a:pt x="23" y="150"/>
                      <a:pt x="23" y="149"/>
                    </a:cubicBezTo>
                    <a:cubicBezTo>
                      <a:pt x="25" y="153"/>
                      <a:pt x="23" y="160"/>
                      <a:pt x="17" y="161"/>
                    </a:cubicBezTo>
                    <a:cubicBezTo>
                      <a:pt x="15" y="162"/>
                      <a:pt x="12" y="162"/>
                      <a:pt x="9" y="162"/>
                    </a:cubicBezTo>
                    <a:cubicBezTo>
                      <a:pt x="9" y="162"/>
                      <a:pt x="9" y="162"/>
                      <a:pt x="9" y="162"/>
                    </a:cubicBezTo>
                    <a:cubicBezTo>
                      <a:pt x="5" y="162"/>
                      <a:pt x="3" y="164"/>
                      <a:pt x="4" y="168"/>
                    </a:cubicBezTo>
                    <a:cubicBezTo>
                      <a:pt x="5" y="169"/>
                      <a:pt x="5" y="171"/>
                      <a:pt x="6" y="172"/>
                    </a:cubicBezTo>
                    <a:cubicBezTo>
                      <a:pt x="8" y="176"/>
                      <a:pt x="8" y="180"/>
                      <a:pt x="6" y="183"/>
                    </a:cubicBezTo>
                    <a:cubicBezTo>
                      <a:pt x="6" y="185"/>
                      <a:pt x="5" y="186"/>
                      <a:pt x="4" y="188"/>
                    </a:cubicBezTo>
                    <a:cubicBezTo>
                      <a:pt x="4" y="190"/>
                      <a:pt x="4" y="191"/>
                      <a:pt x="6" y="192"/>
                    </a:cubicBezTo>
                    <a:cubicBezTo>
                      <a:pt x="9" y="193"/>
                      <a:pt x="11" y="194"/>
                      <a:pt x="13" y="194"/>
                    </a:cubicBezTo>
                    <a:cubicBezTo>
                      <a:pt x="24" y="196"/>
                      <a:pt x="35" y="199"/>
                      <a:pt x="45" y="202"/>
                    </a:cubicBezTo>
                    <a:cubicBezTo>
                      <a:pt x="49" y="203"/>
                      <a:pt x="52" y="204"/>
                      <a:pt x="55" y="203"/>
                    </a:cubicBezTo>
                    <a:cubicBezTo>
                      <a:pt x="63" y="202"/>
                      <a:pt x="66" y="197"/>
                      <a:pt x="64" y="190"/>
                    </a:cubicBezTo>
                    <a:cubicBezTo>
                      <a:pt x="64" y="186"/>
                      <a:pt x="62" y="182"/>
                      <a:pt x="60" y="179"/>
                    </a:cubicBezTo>
                    <a:cubicBezTo>
                      <a:pt x="54" y="170"/>
                      <a:pt x="49" y="160"/>
                      <a:pt x="42" y="152"/>
                    </a:cubicBezTo>
                    <a:cubicBezTo>
                      <a:pt x="40" y="149"/>
                      <a:pt x="37" y="147"/>
                      <a:pt x="35" y="145"/>
                    </a:cubicBezTo>
                    <a:cubicBezTo>
                      <a:pt x="32" y="143"/>
                      <a:pt x="29" y="143"/>
                      <a:pt x="27" y="144"/>
                    </a:cubicBezTo>
                    <a:cubicBezTo>
                      <a:pt x="26" y="145"/>
                      <a:pt x="25" y="145"/>
                      <a:pt x="25" y="143"/>
                    </a:cubicBezTo>
                    <a:cubicBezTo>
                      <a:pt x="24" y="140"/>
                      <a:pt x="24" y="137"/>
                      <a:pt x="25" y="134"/>
                    </a:cubicBezTo>
                    <a:cubicBezTo>
                      <a:pt x="26" y="132"/>
                      <a:pt x="26" y="131"/>
                      <a:pt x="27" y="130"/>
                    </a:cubicBezTo>
                    <a:cubicBezTo>
                      <a:pt x="30" y="125"/>
                      <a:pt x="32" y="119"/>
                      <a:pt x="35" y="112"/>
                    </a:cubicBezTo>
                    <a:cubicBezTo>
                      <a:pt x="37" y="106"/>
                      <a:pt x="39" y="100"/>
                      <a:pt x="43" y="94"/>
                    </a:cubicBezTo>
                    <a:cubicBezTo>
                      <a:pt x="46" y="90"/>
                      <a:pt x="49" y="87"/>
                      <a:pt x="52" y="83"/>
                    </a:cubicBezTo>
                    <a:cubicBezTo>
                      <a:pt x="54" y="80"/>
                      <a:pt x="56" y="77"/>
                      <a:pt x="58" y="73"/>
                    </a:cubicBezTo>
                    <a:cubicBezTo>
                      <a:pt x="60" y="71"/>
                      <a:pt x="60" y="68"/>
                      <a:pt x="60" y="65"/>
                    </a:cubicBezTo>
                    <a:cubicBezTo>
                      <a:pt x="59" y="58"/>
                      <a:pt x="59" y="51"/>
                      <a:pt x="59" y="44"/>
                    </a:cubicBezTo>
                    <a:cubicBezTo>
                      <a:pt x="58" y="38"/>
                      <a:pt x="58" y="33"/>
                      <a:pt x="58" y="27"/>
                    </a:cubicBezTo>
                    <a:cubicBezTo>
                      <a:pt x="59" y="16"/>
                      <a:pt x="63" y="8"/>
                      <a:pt x="73" y="3"/>
                    </a:cubicBezTo>
                    <a:cubicBezTo>
                      <a:pt x="77" y="1"/>
                      <a:pt x="81" y="0"/>
                      <a:pt x="85" y="0"/>
                    </a:cubicBezTo>
                    <a:cubicBezTo>
                      <a:pt x="91" y="0"/>
                      <a:pt x="97" y="1"/>
                      <a:pt x="102" y="3"/>
                    </a:cubicBezTo>
                    <a:cubicBezTo>
                      <a:pt x="109" y="6"/>
                      <a:pt x="114" y="11"/>
                      <a:pt x="117" y="18"/>
                    </a:cubicBezTo>
                    <a:cubicBezTo>
                      <a:pt x="120" y="23"/>
                      <a:pt x="122" y="30"/>
                      <a:pt x="122" y="36"/>
                    </a:cubicBezTo>
                    <a:cubicBezTo>
                      <a:pt x="122" y="40"/>
                      <a:pt x="122" y="43"/>
                      <a:pt x="123" y="47"/>
                    </a:cubicBezTo>
                    <a:cubicBezTo>
                      <a:pt x="124" y="61"/>
                      <a:pt x="128" y="74"/>
                      <a:pt x="138" y="85"/>
                    </a:cubicBezTo>
                    <a:cubicBezTo>
                      <a:pt x="150" y="97"/>
                      <a:pt x="156" y="112"/>
                      <a:pt x="159" y="128"/>
                    </a:cubicBezTo>
                    <a:cubicBezTo>
                      <a:pt x="160" y="133"/>
                      <a:pt x="161" y="138"/>
                      <a:pt x="160" y="143"/>
                    </a:cubicBezTo>
                    <a:cubicBezTo>
                      <a:pt x="159" y="144"/>
                      <a:pt x="159" y="145"/>
                      <a:pt x="159" y="146"/>
                    </a:cubicBezTo>
                    <a:cubicBezTo>
                      <a:pt x="158" y="147"/>
                      <a:pt x="158" y="148"/>
                      <a:pt x="157" y="148"/>
                    </a:cubicBezTo>
                    <a:cubicBezTo>
                      <a:pt x="155" y="149"/>
                      <a:pt x="154" y="150"/>
                      <a:pt x="153" y="152"/>
                    </a:cubicBezTo>
                    <a:cubicBezTo>
                      <a:pt x="151" y="154"/>
                      <a:pt x="149" y="156"/>
                      <a:pt x="147" y="158"/>
                    </a:cubicBezTo>
                    <a:cubicBezTo>
                      <a:pt x="143" y="160"/>
                      <a:pt x="139" y="161"/>
                      <a:pt x="135" y="159"/>
                    </a:cubicBezTo>
                    <a:cubicBezTo>
                      <a:pt x="133" y="159"/>
                      <a:pt x="132" y="157"/>
                      <a:pt x="131" y="155"/>
                    </a:cubicBezTo>
                    <a:cubicBezTo>
                      <a:pt x="130" y="154"/>
                      <a:pt x="129" y="152"/>
                      <a:pt x="128" y="151"/>
                    </a:cubicBezTo>
                    <a:cubicBezTo>
                      <a:pt x="127" y="149"/>
                      <a:pt x="126" y="148"/>
                      <a:pt x="124" y="148"/>
                    </a:cubicBezTo>
                    <a:cubicBezTo>
                      <a:pt x="123" y="148"/>
                      <a:pt x="122" y="150"/>
                      <a:pt x="121" y="151"/>
                    </a:cubicBezTo>
                    <a:cubicBezTo>
                      <a:pt x="120" y="155"/>
                      <a:pt x="120" y="159"/>
                      <a:pt x="121" y="163"/>
                    </a:cubicBezTo>
                    <a:cubicBezTo>
                      <a:pt x="123" y="171"/>
                      <a:pt x="123" y="178"/>
                      <a:pt x="122" y="186"/>
                    </a:cubicBezTo>
                    <a:cubicBezTo>
                      <a:pt x="121" y="189"/>
                      <a:pt x="121" y="191"/>
                      <a:pt x="122" y="194"/>
                    </a:cubicBezTo>
                    <a:cubicBezTo>
                      <a:pt x="123" y="201"/>
                      <a:pt x="129" y="205"/>
                      <a:pt x="136" y="202"/>
                    </a:cubicBezTo>
                    <a:cubicBezTo>
                      <a:pt x="139" y="201"/>
                      <a:pt x="142" y="199"/>
                      <a:pt x="144" y="197"/>
                    </a:cubicBezTo>
                    <a:cubicBezTo>
                      <a:pt x="150" y="192"/>
                      <a:pt x="158" y="189"/>
                      <a:pt x="165" y="186"/>
                    </a:cubicBezTo>
                    <a:cubicBezTo>
                      <a:pt x="168" y="185"/>
                      <a:pt x="170" y="184"/>
                      <a:pt x="173" y="183"/>
                    </a:cubicBezTo>
                    <a:cubicBezTo>
                      <a:pt x="174" y="182"/>
                      <a:pt x="174" y="181"/>
                      <a:pt x="175" y="181"/>
                    </a:cubicBezTo>
                    <a:cubicBezTo>
                      <a:pt x="176" y="180"/>
                      <a:pt x="176" y="178"/>
                      <a:pt x="175" y="177"/>
                    </a:cubicBezTo>
                    <a:cubicBezTo>
                      <a:pt x="174" y="176"/>
                      <a:pt x="172" y="175"/>
                      <a:pt x="171" y="174"/>
                    </a:cubicBezTo>
                    <a:cubicBezTo>
                      <a:pt x="170" y="173"/>
                      <a:pt x="169" y="173"/>
                      <a:pt x="168" y="173"/>
                    </a:cubicBezTo>
                    <a:cubicBezTo>
                      <a:pt x="163" y="171"/>
                      <a:pt x="161" y="168"/>
                      <a:pt x="160" y="163"/>
                    </a:cubicBezTo>
                    <a:cubicBezTo>
                      <a:pt x="159" y="160"/>
                      <a:pt x="160" y="158"/>
                      <a:pt x="160" y="155"/>
                    </a:cubicBezTo>
                    <a:cubicBezTo>
                      <a:pt x="160" y="154"/>
                      <a:pt x="160" y="154"/>
                      <a:pt x="161" y="153"/>
                    </a:cubicBezTo>
                    <a:close/>
                    <a:moveTo>
                      <a:pt x="71" y="69"/>
                    </a:moveTo>
                    <a:cubicBezTo>
                      <a:pt x="71" y="69"/>
                      <a:pt x="71" y="69"/>
                      <a:pt x="71" y="69"/>
                    </a:cubicBezTo>
                    <a:cubicBezTo>
                      <a:pt x="72" y="71"/>
                      <a:pt x="74" y="73"/>
                      <a:pt x="77" y="73"/>
                    </a:cubicBezTo>
                    <a:cubicBezTo>
                      <a:pt x="81" y="74"/>
                      <a:pt x="85" y="73"/>
                      <a:pt x="88" y="71"/>
                    </a:cubicBezTo>
                    <a:cubicBezTo>
                      <a:pt x="91" y="70"/>
                      <a:pt x="94" y="68"/>
                      <a:pt x="97" y="67"/>
                    </a:cubicBezTo>
                    <a:cubicBezTo>
                      <a:pt x="98" y="66"/>
                      <a:pt x="100" y="66"/>
                      <a:pt x="101" y="66"/>
                    </a:cubicBezTo>
                    <a:cubicBezTo>
                      <a:pt x="101" y="65"/>
                      <a:pt x="102" y="66"/>
                      <a:pt x="102" y="66"/>
                    </a:cubicBezTo>
                    <a:cubicBezTo>
                      <a:pt x="102" y="67"/>
                      <a:pt x="102" y="68"/>
                      <a:pt x="101" y="68"/>
                    </a:cubicBezTo>
                    <a:cubicBezTo>
                      <a:pt x="101" y="68"/>
                      <a:pt x="100" y="69"/>
                      <a:pt x="99" y="69"/>
                    </a:cubicBezTo>
                    <a:cubicBezTo>
                      <a:pt x="94" y="71"/>
                      <a:pt x="90" y="74"/>
                      <a:pt x="86" y="77"/>
                    </a:cubicBezTo>
                    <a:cubicBezTo>
                      <a:pt x="85" y="78"/>
                      <a:pt x="83" y="80"/>
                      <a:pt x="81" y="81"/>
                    </a:cubicBezTo>
                    <a:cubicBezTo>
                      <a:pt x="78" y="82"/>
                      <a:pt x="75" y="82"/>
                      <a:pt x="73" y="79"/>
                    </a:cubicBezTo>
                    <a:cubicBezTo>
                      <a:pt x="71" y="77"/>
                      <a:pt x="69" y="74"/>
                      <a:pt x="67" y="71"/>
                    </a:cubicBezTo>
                    <a:cubicBezTo>
                      <a:pt x="67" y="71"/>
                      <a:pt x="66" y="70"/>
                      <a:pt x="65" y="69"/>
                    </a:cubicBezTo>
                    <a:cubicBezTo>
                      <a:pt x="65" y="70"/>
                      <a:pt x="65" y="70"/>
                      <a:pt x="65" y="71"/>
                    </a:cubicBezTo>
                    <a:cubicBezTo>
                      <a:pt x="64" y="73"/>
                      <a:pt x="64" y="75"/>
                      <a:pt x="63" y="77"/>
                    </a:cubicBezTo>
                    <a:cubicBezTo>
                      <a:pt x="63" y="79"/>
                      <a:pt x="61" y="81"/>
                      <a:pt x="60" y="83"/>
                    </a:cubicBezTo>
                    <a:cubicBezTo>
                      <a:pt x="59" y="86"/>
                      <a:pt x="57" y="89"/>
                      <a:pt x="57" y="92"/>
                    </a:cubicBezTo>
                    <a:cubicBezTo>
                      <a:pt x="57" y="94"/>
                      <a:pt x="58" y="96"/>
                      <a:pt x="58" y="98"/>
                    </a:cubicBezTo>
                    <a:cubicBezTo>
                      <a:pt x="57" y="99"/>
                      <a:pt x="57" y="99"/>
                      <a:pt x="56" y="100"/>
                    </a:cubicBezTo>
                    <a:cubicBezTo>
                      <a:pt x="54" y="104"/>
                      <a:pt x="51" y="108"/>
                      <a:pt x="50" y="112"/>
                    </a:cubicBezTo>
                    <a:cubicBezTo>
                      <a:pt x="47" y="117"/>
                      <a:pt x="46" y="122"/>
                      <a:pt x="46" y="127"/>
                    </a:cubicBezTo>
                    <a:cubicBezTo>
                      <a:pt x="45" y="130"/>
                      <a:pt x="46" y="133"/>
                      <a:pt x="46" y="136"/>
                    </a:cubicBezTo>
                    <a:cubicBezTo>
                      <a:pt x="45" y="137"/>
                      <a:pt x="45" y="139"/>
                      <a:pt x="45" y="140"/>
                    </a:cubicBezTo>
                    <a:cubicBezTo>
                      <a:pt x="44" y="141"/>
                      <a:pt x="43" y="142"/>
                      <a:pt x="42" y="141"/>
                    </a:cubicBezTo>
                    <a:cubicBezTo>
                      <a:pt x="42" y="140"/>
                      <a:pt x="41" y="139"/>
                      <a:pt x="40" y="138"/>
                    </a:cubicBezTo>
                    <a:cubicBezTo>
                      <a:pt x="38" y="134"/>
                      <a:pt x="37" y="129"/>
                      <a:pt x="37" y="125"/>
                    </a:cubicBezTo>
                    <a:cubicBezTo>
                      <a:pt x="38" y="123"/>
                      <a:pt x="38" y="122"/>
                      <a:pt x="38" y="121"/>
                    </a:cubicBezTo>
                    <a:cubicBezTo>
                      <a:pt x="38" y="121"/>
                      <a:pt x="38" y="121"/>
                      <a:pt x="38" y="121"/>
                    </a:cubicBezTo>
                    <a:cubicBezTo>
                      <a:pt x="37" y="122"/>
                      <a:pt x="37" y="122"/>
                      <a:pt x="36" y="123"/>
                    </a:cubicBezTo>
                    <a:cubicBezTo>
                      <a:pt x="35" y="127"/>
                      <a:pt x="35" y="131"/>
                      <a:pt x="36" y="135"/>
                    </a:cubicBezTo>
                    <a:cubicBezTo>
                      <a:pt x="37" y="138"/>
                      <a:pt x="38" y="141"/>
                      <a:pt x="40" y="143"/>
                    </a:cubicBezTo>
                    <a:cubicBezTo>
                      <a:pt x="44" y="146"/>
                      <a:pt x="48" y="150"/>
                      <a:pt x="52" y="153"/>
                    </a:cubicBezTo>
                    <a:cubicBezTo>
                      <a:pt x="57" y="157"/>
                      <a:pt x="62" y="161"/>
                      <a:pt x="67" y="165"/>
                    </a:cubicBezTo>
                    <a:cubicBezTo>
                      <a:pt x="69" y="167"/>
                      <a:pt x="69" y="169"/>
                      <a:pt x="69" y="172"/>
                    </a:cubicBezTo>
                    <a:cubicBezTo>
                      <a:pt x="68" y="175"/>
                      <a:pt x="67" y="176"/>
                      <a:pt x="64" y="177"/>
                    </a:cubicBezTo>
                    <a:cubicBezTo>
                      <a:pt x="64" y="178"/>
                      <a:pt x="63" y="178"/>
                      <a:pt x="62" y="178"/>
                    </a:cubicBezTo>
                    <a:cubicBezTo>
                      <a:pt x="63" y="180"/>
                      <a:pt x="64" y="181"/>
                      <a:pt x="66" y="183"/>
                    </a:cubicBezTo>
                    <a:cubicBezTo>
                      <a:pt x="68" y="186"/>
                      <a:pt x="69" y="189"/>
                      <a:pt x="69" y="192"/>
                    </a:cubicBezTo>
                    <a:cubicBezTo>
                      <a:pt x="70" y="194"/>
                      <a:pt x="70" y="195"/>
                      <a:pt x="70" y="197"/>
                    </a:cubicBezTo>
                    <a:cubicBezTo>
                      <a:pt x="70" y="197"/>
                      <a:pt x="70" y="197"/>
                      <a:pt x="70" y="197"/>
                    </a:cubicBezTo>
                    <a:cubicBezTo>
                      <a:pt x="73" y="195"/>
                      <a:pt x="73" y="193"/>
                      <a:pt x="72" y="191"/>
                    </a:cubicBezTo>
                    <a:cubicBezTo>
                      <a:pt x="72" y="188"/>
                      <a:pt x="70" y="186"/>
                      <a:pt x="69" y="184"/>
                    </a:cubicBezTo>
                    <a:cubicBezTo>
                      <a:pt x="68" y="184"/>
                      <a:pt x="68" y="183"/>
                      <a:pt x="68" y="183"/>
                    </a:cubicBezTo>
                    <a:cubicBezTo>
                      <a:pt x="69" y="181"/>
                      <a:pt x="71" y="181"/>
                      <a:pt x="72" y="182"/>
                    </a:cubicBezTo>
                    <a:cubicBezTo>
                      <a:pt x="74" y="184"/>
                      <a:pt x="76" y="185"/>
                      <a:pt x="79" y="186"/>
                    </a:cubicBezTo>
                    <a:cubicBezTo>
                      <a:pt x="85" y="187"/>
                      <a:pt x="91" y="187"/>
                      <a:pt x="97" y="185"/>
                    </a:cubicBezTo>
                    <a:cubicBezTo>
                      <a:pt x="101" y="184"/>
                      <a:pt x="106" y="182"/>
                      <a:pt x="109" y="179"/>
                    </a:cubicBezTo>
                    <a:cubicBezTo>
                      <a:pt x="111" y="177"/>
                      <a:pt x="112" y="175"/>
                      <a:pt x="113" y="174"/>
                    </a:cubicBezTo>
                    <a:cubicBezTo>
                      <a:pt x="114" y="173"/>
                      <a:pt x="115" y="172"/>
                      <a:pt x="115" y="173"/>
                    </a:cubicBezTo>
                    <a:cubicBezTo>
                      <a:pt x="116" y="173"/>
                      <a:pt x="116" y="174"/>
                      <a:pt x="117" y="174"/>
                    </a:cubicBezTo>
                    <a:cubicBezTo>
                      <a:pt x="117" y="178"/>
                      <a:pt x="116" y="182"/>
                      <a:pt x="115" y="186"/>
                    </a:cubicBezTo>
                    <a:cubicBezTo>
                      <a:pt x="115" y="188"/>
                      <a:pt x="114" y="190"/>
                      <a:pt x="113" y="193"/>
                    </a:cubicBezTo>
                    <a:cubicBezTo>
                      <a:pt x="113" y="195"/>
                      <a:pt x="114" y="195"/>
                      <a:pt x="116" y="195"/>
                    </a:cubicBezTo>
                    <a:cubicBezTo>
                      <a:pt x="117" y="191"/>
                      <a:pt x="118" y="187"/>
                      <a:pt x="119" y="182"/>
                    </a:cubicBezTo>
                    <a:cubicBezTo>
                      <a:pt x="119" y="179"/>
                      <a:pt x="120" y="175"/>
                      <a:pt x="119" y="171"/>
                    </a:cubicBezTo>
                    <a:cubicBezTo>
                      <a:pt x="119" y="167"/>
                      <a:pt x="118" y="163"/>
                      <a:pt x="118" y="160"/>
                    </a:cubicBezTo>
                    <a:cubicBezTo>
                      <a:pt x="118" y="156"/>
                      <a:pt x="118" y="153"/>
                      <a:pt x="119" y="150"/>
                    </a:cubicBezTo>
                    <a:cubicBezTo>
                      <a:pt x="120" y="147"/>
                      <a:pt x="122" y="146"/>
                      <a:pt x="125" y="146"/>
                    </a:cubicBezTo>
                    <a:cubicBezTo>
                      <a:pt x="126" y="146"/>
                      <a:pt x="126" y="146"/>
                      <a:pt x="126" y="146"/>
                    </a:cubicBezTo>
                    <a:cubicBezTo>
                      <a:pt x="127" y="142"/>
                      <a:pt x="129" y="140"/>
                      <a:pt x="132" y="139"/>
                    </a:cubicBezTo>
                    <a:cubicBezTo>
                      <a:pt x="137" y="138"/>
                      <a:pt x="141" y="138"/>
                      <a:pt x="146" y="141"/>
                    </a:cubicBezTo>
                    <a:cubicBezTo>
                      <a:pt x="145" y="138"/>
                      <a:pt x="142" y="137"/>
                      <a:pt x="140" y="136"/>
                    </a:cubicBezTo>
                    <a:cubicBezTo>
                      <a:pt x="145" y="119"/>
                      <a:pt x="135" y="97"/>
                      <a:pt x="126" y="92"/>
                    </a:cubicBezTo>
                    <a:cubicBezTo>
                      <a:pt x="131" y="97"/>
                      <a:pt x="134" y="103"/>
                      <a:pt x="136" y="110"/>
                    </a:cubicBezTo>
                    <a:cubicBezTo>
                      <a:pt x="139" y="117"/>
                      <a:pt x="140" y="124"/>
                      <a:pt x="139" y="131"/>
                    </a:cubicBezTo>
                    <a:cubicBezTo>
                      <a:pt x="138" y="136"/>
                      <a:pt x="136" y="138"/>
                      <a:pt x="132" y="138"/>
                    </a:cubicBezTo>
                    <a:cubicBezTo>
                      <a:pt x="130" y="138"/>
                      <a:pt x="128" y="137"/>
                      <a:pt x="128" y="135"/>
                    </a:cubicBezTo>
                    <a:cubicBezTo>
                      <a:pt x="127" y="133"/>
                      <a:pt x="127" y="131"/>
                      <a:pt x="127" y="129"/>
                    </a:cubicBezTo>
                    <a:cubicBezTo>
                      <a:pt x="127" y="121"/>
                      <a:pt x="126" y="114"/>
                      <a:pt x="124" y="107"/>
                    </a:cubicBezTo>
                    <a:cubicBezTo>
                      <a:pt x="122" y="103"/>
                      <a:pt x="121" y="98"/>
                      <a:pt x="117" y="95"/>
                    </a:cubicBezTo>
                    <a:cubicBezTo>
                      <a:pt x="117" y="95"/>
                      <a:pt x="117" y="94"/>
                      <a:pt x="117" y="94"/>
                    </a:cubicBezTo>
                    <a:cubicBezTo>
                      <a:pt x="115" y="86"/>
                      <a:pt x="112" y="79"/>
                      <a:pt x="107" y="73"/>
                    </a:cubicBezTo>
                    <a:cubicBezTo>
                      <a:pt x="105" y="70"/>
                      <a:pt x="105" y="67"/>
                      <a:pt x="105" y="64"/>
                    </a:cubicBezTo>
                    <a:cubicBezTo>
                      <a:pt x="106" y="62"/>
                      <a:pt x="106" y="60"/>
                      <a:pt x="107" y="59"/>
                    </a:cubicBezTo>
                    <a:cubicBezTo>
                      <a:pt x="107" y="56"/>
                      <a:pt x="106" y="54"/>
                      <a:pt x="104" y="53"/>
                    </a:cubicBezTo>
                    <a:cubicBezTo>
                      <a:pt x="100" y="53"/>
                      <a:pt x="97" y="51"/>
                      <a:pt x="94" y="50"/>
                    </a:cubicBezTo>
                    <a:cubicBezTo>
                      <a:pt x="91" y="49"/>
                      <a:pt x="91" y="47"/>
                      <a:pt x="91" y="45"/>
                    </a:cubicBezTo>
                    <a:cubicBezTo>
                      <a:pt x="91" y="43"/>
                      <a:pt x="91" y="42"/>
                      <a:pt x="92" y="40"/>
                    </a:cubicBezTo>
                    <a:cubicBezTo>
                      <a:pt x="93" y="37"/>
                      <a:pt x="95" y="36"/>
                      <a:pt x="98" y="37"/>
                    </a:cubicBezTo>
                    <a:cubicBezTo>
                      <a:pt x="99" y="37"/>
                      <a:pt x="101" y="38"/>
                      <a:pt x="102" y="40"/>
                    </a:cubicBezTo>
                    <a:cubicBezTo>
                      <a:pt x="103" y="42"/>
                      <a:pt x="103" y="45"/>
                      <a:pt x="102" y="48"/>
                    </a:cubicBezTo>
                    <a:cubicBezTo>
                      <a:pt x="102" y="49"/>
                      <a:pt x="101" y="50"/>
                      <a:pt x="102" y="50"/>
                    </a:cubicBezTo>
                    <a:cubicBezTo>
                      <a:pt x="104" y="51"/>
                      <a:pt x="107" y="50"/>
                      <a:pt x="107" y="48"/>
                    </a:cubicBezTo>
                    <a:cubicBezTo>
                      <a:pt x="107" y="44"/>
                      <a:pt x="107" y="40"/>
                      <a:pt x="105" y="35"/>
                    </a:cubicBezTo>
                    <a:cubicBezTo>
                      <a:pt x="103" y="32"/>
                      <a:pt x="100" y="29"/>
                      <a:pt x="96" y="30"/>
                    </a:cubicBezTo>
                    <a:cubicBezTo>
                      <a:pt x="91" y="30"/>
                      <a:pt x="88" y="33"/>
                      <a:pt x="87" y="38"/>
                    </a:cubicBezTo>
                    <a:cubicBezTo>
                      <a:pt x="87" y="39"/>
                      <a:pt x="86" y="40"/>
                      <a:pt x="86" y="42"/>
                    </a:cubicBezTo>
                    <a:cubicBezTo>
                      <a:pt x="87" y="44"/>
                      <a:pt x="87" y="45"/>
                      <a:pt x="87" y="47"/>
                    </a:cubicBezTo>
                    <a:cubicBezTo>
                      <a:pt x="85" y="46"/>
                      <a:pt x="83" y="46"/>
                      <a:pt x="80" y="46"/>
                    </a:cubicBezTo>
                    <a:cubicBezTo>
                      <a:pt x="80" y="46"/>
                      <a:pt x="80" y="46"/>
                      <a:pt x="79" y="46"/>
                    </a:cubicBezTo>
                    <a:cubicBezTo>
                      <a:pt x="78" y="46"/>
                      <a:pt x="78" y="46"/>
                      <a:pt x="78" y="44"/>
                    </a:cubicBezTo>
                    <a:cubicBezTo>
                      <a:pt x="77" y="41"/>
                      <a:pt x="77" y="39"/>
                      <a:pt x="76" y="36"/>
                    </a:cubicBezTo>
                    <a:cubicBezTo>
                      <a:pt x="76" y="35"/>
                      <a:pt x="76" y="35"/>
                      <a:pt x="76" y="34"/>
                    </a:cubicBezTo>
                    <a:cubicBezTo>
                      <a:pt x="74" y="32"/>
                      <a:pt x="73" y="31"/>
                      <a:pt x="70" y="31"/>
                    </a:cubicBezTo>
                    <a:cubicBezTo>
                      <a:pt x="68" y="31"/>
                      <a:pt x="66" y="33"/>
                      <a:pt x="65" y="34"/>
                    </a:cubicBezTo>
                    <a:cubicBezTo>
                      <a:pt x="63" y="40"/>
                      <a:pt x="63" y="45"/>
                      <a:pt x="66" y="50"/>
                    </a:cubicBezTo>
                    <a:cubicBezTo>
                      <a:pt x="66" y="50"/>
                      <a:pt x="67" y="51"/>
                      <a:pt x="68" y="51"/>
                    </a:cubicBezTo>
                    <a:cubicBezTo>
                      <a:pt x="69" y="51"/>
                      <a:pt x="69" y="50"/>
                      <a:pt x="69" y="49"/>
                    </a:cubicBezTo>
                    <a:cubicBezTo>
                      <a:pt x="68" y="48"/>
                      <a:pt x="68" y="48"/>
                      <a:pt x="67" y="47"/>
                    </a:cubicBezTo>
                    <a:cubicBezTo>
                      <a:pt x="66" y="45"/>
                      <a:pt x="65" y="42"/>
                      <a:pt x="66" y="40"/>
                    </a:cubicBezTo>
                    <a:cubicBezTo>
                      <a:pt x="67" y="37"/>
                      <a:pt x="71" y="36"/>
                      <a:pt x="73" y="38"/>
                    </a:cubicBezTo>
                    <a:cubicBezTo>
                      <a:pt x="74" y="40"/>
                      <a:pt x="75" y="42"/>
                      <a:pt x="75" y="44"/>
                    </a:cubicBezTo>
                    <a:cubicBezTo>
                      <a:pt x="75" y="46"/>
                      <a:pt x="74" y="47"/>
                      <a:pt x="73" y="48"/>
                    </a:cubicBezTo>
                    <a:cubicBezTo>
                      <a:pt x="73" y="48"/>
                      <a:pt x="72" y="49"/>
                      <a:pt x="72" y="49"/>
                    </a:cubicBezTo>
                    <a:cubicBezTo>
                      <a:pt x="71" y="51"/>
                      <a:pt x="69" y="52"/>
                      <a:pt x="66" y="54"/>
                    </a:cubicBezTo>
                    <a:cubicBezTo>
                      <a:pt x="65" y="54"/>
                      <a:pt x="65" y="56"/>
                      <a:pt x="64" y="57"/>
                    </a:cubicBezTo>
                    <a:cubicBezTo>
                      <a:pt x="63" y="58"/>
                      <a:pt x="64" y="59"/>
                      <a:pt x="65" y="60"/>
                    </a:cubicBezTo>
                    <a:cubicBezTo>
                      <a:pt x="66" y="60"/>
                      <a:pt x="67" y="61"/>
                      <a:pt x="68" y="62"/>
                    </a:cubicBezTo>
                    <a:cubicBezTo>
                      <a:pt x="70" y="66"/>
                      <a:pt x="74" y="66"/>
                      <a:pt x="78" y="66"/>
                    </a:cubicBezTo>
                    <a:cubicBezTo>
                      <a:pt x="82" y="66"/>
                      <a:pt x="86" y="65"/>
                      <a:pt x="91" y="64"/>
                    </a:cubicBezTo>
                    <a:cubicBezTo>
                      <a:pt x="94" y="62"/>
                      <a:pt x="98" y="62"/>
                      <a:pt x="101" y="58"/>
                    </a:cubicBezTo>
                    <a:cubicBezTo>
                      <a:pt x="101" y="58"/>
                      <a:pt x="102" y="58"/>
                      <a:pt x="103" y="58"/>
                    </a:cubicBezTo>
                    <a:cubicBezTo>
                      <a:pt x="103" y="59"/>
                      <a:pt x="103" y="60"/>
                      <a:pt x="103" y="60"/>
                    </a:cubicBezTo>
                    <a:cubicBezTo>
                      <a:pt x="103" y="61"/>
                      <a:pt x="102" y="61"/>
                      <a:pt x="102" y="61"/>
                    </a:cubicBezTo>
                    <a:cubicBezTo>
                      <a:pt x="96" y="63"/>
                      <a:pt x="91" y="65"/>
                      <a:pt x="86" y="67"/>
                    </a:cubicBezTo>
                    <a:cubicBezTo>
                      <a:pt x="82" y="69"/>
                      <a:pt x="78" y="70"/>
                      <a:pt x="74" y="69"/>
                    </a:cubicBezTo>
                    <a:cubicBezTo>
                      <a:pt x="73" y="69"/>
                      <a:pt x="72" y="69"/>
                      <a:pt x="71" y="69"/>
                    </a:cubicBezTo>
                    <a:close/>
                    <a:moveTo>
                      <a:pt x="73" y="45"/>
                    </a:moveTo>
                    <a:cubicBezTo>
                      <a:pt x="73" y="43"/>
                      <a:pt x="73" y="41"/>
                      <a:pt x="72" y="40"/>
                    </a:cubicBezTo>
                    <a:cubicBezTo>
                      <a:pt x="71" y="40"/>
                      <a:pt x="71" y="40"/>
                      <a:pt x="70" y="40"/>
                    </a:cubicBezTo>
                    <a:cubicBezTo>
                      <a:pt x="70" y="40"/>
                      <a:pt x="70" y="41"/>
                      <a:pt x="70" y="41"/>
                    </a:cubicBezTo>
                    <a:cubicBezTo>
                      <a:pt x="72" y="41"/>
                      <a:pt x="71" y="43"/>
                      <a:pt x="71" y="44"/>
                    </a:cubicBezTo>
                    <a:cubicBezTo>
                      <a:pt x="71" y="45"/>
                      <a:pt x="72" y="45"/>
                      <a:pt x="73" y="45"/>
                    </a:cubicBezTo>
                    <a:close/>
                    <a:moveTo>
                      <a:pt x="97" y="39"/>
                    </a:moveTo>
                    <a:cubicBezTo>
                      <a:pt x="99" y="40"/>
                      <a:pt x="99" y="42"/>
                      <a:pt x="100" y="44"/>
                    </a:cubicBezTo>
                    <a:cubicBezTo>
                      <a:pt x="100" y="43"/>
                      <a:pt x="101" y="43"/>
                      <a:pt x="101" y="43"/>
                    </a:cubicBezTo>
                    <a:cubicBezTo>
                      <a:pt x="101" y="41"/>
                      <a:pt x="100" y="40"/>
                      <a:pt x="99" y="39"/>
                    </a:cubicBezTo>
                    <a:cubicBezTo>
                      <a:pt x="98" y="39"/>
                      <a:pt x="98" y="38"/>
                      <a:pt x="97" y="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5" name="Freeform 52"/>
              <p:cNvSpPr>
                <a:spLocks/>
              </p:cNvSpPr>
              <p:nvPr userDrawn="1"/>
            </p:nvSpPr>
            <p:spPr bwMode="auto">
              <a:xfrm>
                <a:off x="4077" y="2249"/>
                <a:ext cx="2" cy="2"/>
              </a:xfrm>
              <a:custGeom>
                <a:avLst/>
                <a:gdLst>
                  <a:gd name="T0" fmla="*/ 2 w 2"/>
                  <a:gd name="T1" fmla="*/ 0 h 2"/>
                  <a:gd name="T2" fmla="*/ 1 w 2"/>
                  <a:gd name="T3" fmla="*/ 2 h 2"/>
                  <a:gd name="T4" fmla="*/ 0 w 2"/>
                  <a:gd name="T5" fmla="*/ 2 h 2"/>
                  <a:gd name="T6" fmla="*/ 0 w 2"/>
                  <a:gd name="T7" fmla="*/ 1 h 2"/>
                  <a:gd name="T8" fmla="*/ 2 w 2"/>
                  <a:gd name="T9" fmla="*/ 0 h 2"/>
                  <a:gd name="T10" fmla="*/ 2 w 2"/>
                  <a:gd name="T11" fmla="*/ 0 h 2"/>
                </a:gdLst>
                <a:ahLst/>
                <a:cxnLst>
                  <a:cxn ang="0">
                    <a:pos x="T0" y="T1"/>
                  </a:cxn>
                  <a:cxn ang="0">
                    <a:pos x="T2" y="T3"/>
                  </a:cxn>
                  <a:cxn ang="0">
                    <a:pos x="T4" y="T5"/>
                  </a:cxn>
                  <a:cxn ang="0">
                    <a:pos x="T6" y="T7"/>
                  </a:cxn>
                  <a:cxn ang="0">
                    <a:pos x="T8" y="T9"/>
                  </a:cxn>
                  <a:cxn ang="0">
                    <a:pos x="T10" y="T11"/>
                  </a:cxn>
                </a:cxnLst>
                <a:rect l="0" t="0" r="r" b="b"/>
                <a:pathLst>
                  <a:path w="2" h="2">
                    <a:moveTo>
                      <a:pt x="2" y="0"/>
                    </a:moveTo>
                    <a:cubicBezTo>
                      <a:pt x="2" y="1"/>
                      <a:pt x="1" y="1"/>
                      <a:pt x="1" y="2"/>
                    </a:cubicBezTo>
                    <a:cubicBezTo>
                      <a:pt x="1" y="2"/>
                      <a:pt x="0" y="2"/>
                      <a:pt x="0" y="2"/>
                    </a:cubicBezTo>
                    <a:cubicBezTo>
                      <a:pt x="0" y="2"/>
                      <a:pt x="0" y="1"/>
                      <a:pt x="0" y="1"/>
                    </a:cubicBezTo>
                    <a:cubicBezTo>
                      <a:pt x="1" y="0"/>
                      <a:pt x="1" y="0"/>
                      <a:pt x="2" y="0"/>
                    </a:cubicBezTo>
                    <a:cubicBezTo>
                      <a:pt x="2" y="0"/>
                      <a:pt x="2" y="0"/>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6" name="Freeform 53"/>
              <p:cNvSpPr>
                <a:spLocks/>
              </p:cNvSpPr>
              <p:nvPr userDrawn="1"/>
            </p:nvSpPr>
            <p:spPr bwMode="auto">
              <a:xfrm>
                <a:off x="4089" y="2249"/>
                <a:ext cx="4" cy="1"/>
              </a:xfrm>
              <a:custGeom>
                <a:avLst/>
                <a:gdLst>
                  <a:gd name="T0" fmla="*/ 0 w 3"/>
                  <a:gd name="T1" fmla="*/ 0 h 1"/>
                  <a:gd name="T2" fmla="*/ 3 w 3"/>
                  <a:gd name="T3" fmla="*/ 0 h 1"/>
                  <a:gd name="T4" fmla="*/ 3 w 3"/>
                  <a:gd name="T5" fmla="*/ 1 h 1"/>
                  <a:gd name="T6" fmla="*/ 2 w 3"/>
                  <a:gd name="T7" fmla="*/ 1 h 1"/>
                  <a:gd name="T8" fmla="*/ 0 w 3"/>
                  <a:gd name="T9" fmla="*/ 0 h 1"/>
                </a:gdLst>
                <a:ahLst/>
                <a:cxnLst>
                  <a:cxn ang="0">
                    <a:pos x="T0" y="T1"/>
                  </a:cxn>
                  <a:cxn ang="0">
                    <a:pos x="T2" y="T3"/>
                  </a:cxn>
                  <a:cxn ang="0">
                    <a:pos x="T4" y="T5"/>
                  </a:cxn>
                  <a:cxn ang="0">
                    <a:pos x="T6" y="T7"/>
                  </a:cxn>
                  <a:cxn ang="0">
                    <a:pos x="T8" y="T9"/>
                  </a:cxn>
                </a:cxnLst>
                <a:rect l="0" t="0" r="r" b="b"/>
                <a:pathLst>
                  <a:path w="3" h="1">
                    <a:moveTo>
                      <a:pt x="0" y="0"/>
                    </a:moveTo>
                    <a:cubicBezTo>
                      <a:pt x="1" y="0"/>
                      <a:pt x="2" y="0"/>
                      <a:pt x="3" y="0"/>
                    </a:cubicBezTo>
                    <a:cubicBezTo>
                      <a:pt x="3" y="0"/>
                      <a:pt x="3" y="1"/>
                      <a:pt x="3" y="1"/>
                    </a:cubicBezTo>
                    <a:cubicBezTo>
                      <a:pt x="3" y="1"/>
                      <a:pt x="3" y="1"/>
                      <a:pt x="2" y="1"/>
                    </a:cubicBezTo>
                    <a:cubicBezTo>
                      <a:pt x="2" y="1"/>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7" name="Freeform 54"/>
              <p:cNvSpPr>
                <a:spLocks noEditPoints="1"/>
              </p:cNvSpPr>
              <p:nvPr userDrawn="1"/>
            </p:nvSpPr>
            <p:spPr bwMode="auto">
              <a:xfrm>
                <a:off x="2033" y="2929"/>
                <a:ext cx="156" cy="248"/>
              </a:xfrm>
              <a:custGeom>
                <a:avLst/>
                <a:gdLst>
                  <a:gd name="T0" fmla="*/ 128 w 128"/>
                  <a:gd name="T1" fmla="*/ 100 h 203"/>
                  <a:gd name="T2" fmla="*/ 123 w 128"/>
                  <a:gd name="T3" fmla="*/ 144 h 203"/>
                  <a:gd name="T4" fmla="*/ 111 w 128"/>
                  <a:gd name="T5" fmla="*/ 176 h 203"/>
                  <a:gd name="T6" fmla="*/ 90 w 128"/>
                  <a:gd name="T7" fmla="*/ 196 h 203"/>
                  <a:gd name="T8" fmla="*/ 62 w 128"/>
                  <a:gd name="T9" fmla="*/ 203 h 203"/>
                  <a:gd name="T10" fmla="*/ 36 w 128"/>
                  <a:gd name="T11" fmla="*/ 196 h 203"/>
                  <a:gd name="T12" fmla="*/ 16 w 128"/>
                  <a:gd name="T13" fmla="*/ 177 h 203"/>
                  <a:gd name="T14" fmla="*/ 4 w 128"/>
                  <a:gd name="T15" fmla="*/ 147 h 203"/>
                  <a:gd name="T16" fmla="*/ 0 w 128"/>
                  <a:gd name="T17" fmla="*/ 105 h 203"/>
                  <a:gd name="T18" fmla="*/ 4 w 128"/>
                  <a:gd name="T19" fmla="*/ 60 h 203"/>
                  <a:gd name="T20" fmla="*/ 17 w 128"/>
                  <a:gd name="T21" fmla="*/ 27 h 203"/>
                  <a:gd name="T22" fmla="*/ 38 w 128"/>
                  <a:gd name="T23" fmla="*/ 7 h 203"/>
                  <a:gd name="T24" fmla="*/ 66 w 128"/>
                  <a:gd name="T25" fmla="*/ 0 h 203"/>
                  <a:gd name="T26" fmla="*/ 128 w 128"/>
                  <a:gd name="T27" fmla="*/ 100 h 203"/>
                  <a:gd name="T28" fmla="*/ 105 w 128"/>
                  <a:gd name="T29" fmla="*/ 102 h 203"/>
                  <a:gd name="T30" fmla="*/ 65 w 128"/>
                  <a:gd name="T31" fmla="*/ 19 h 203"/>
                  <a:gd name="T32" fmla="*/ 23 w 128"/>
                  <a:gd name="T33" fmla="*/ 104 h 203"/>
                  <a:gd name="T34" fmla="*/ 64 w 128"/>
                  <a:gd name="T35" fmla="*/ 183 h 203"/>
                  <a:gd name="T36" fmla="*/ 105 w 128"/>
                  <a:gd name="T37" fmla="*/ 102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0"/>
                    </a:moveTo>
                    <a:cubicBezTo>
                      <a:pt x="128" y="117"/>
                      <a:pt x="126" y="131"/>
                      <a:pt x="123" y="144"/>
                    </a:cubicBezTo>
                    <a:cubicBezTo>
                      <a:pt x="120" y="157"/>
                      <a:pt x="116" y="167"/>
                      <a:pt x="111" y="176"/>
                    </a:cubicBezTo>
                    <a:cubicBezTo>
                      <a:pt x="105" y="185"/>
                      <a:pt x="98" y="191"/>
                      <a:pt x="90" y="196"/>
                    </a:cubicBezTo>
                    <a:cubicBezTo>
                      <a:pt x="82" y="200"/>
                      <a:pt x="72" y="203"/>
                      <a:pt x="62" y="203"/>
                    </a:cubicBezTo>
                    <a:cubicBezTo>
                      <a:pt x="52" y="203"/>
                      <a:pt x="43" y="200"/>
                      <a:pt x="36" y="196"/>
                    </a:cubicBezTo>
                    <a:cubicBezTo>
                      <a:pt x="28" y="192"/>
                      <a:pt x="22" y="185"/>
                      <a:pt x="16" y="177"/>
                    </a:cubicBezTo>
                    <a:cubicBezTo>
                      <a:pt x="11" y="169"/>
                      <a:pt x="7" y="159"/>
                      <a:pt x="4" y="147"/>
                    </a:cubicBezTo>
                    <a:cubicBezTo>
                      <a:pt x="2" y="134"/>
                      <a:pt x="0" y="121"/>
                      <a:pt x="0" y="105"/>
                    </a:cubicBezTo>
                    <a:cubicBezTo>
                      <a:pt x="0" y="88"/>
                      <a:pt x="2" y="73"/>
                      <a:pt x="4" y="60"/>
                    </a:cubicBezTo>
                    <a:cubicBezTo>
                      <a:pt x="7" y="47"/>
                      <a:pt x="12" y="36"/>
                      <a:pt x="17" y="27"/>
                    </a:cubicBezTo>
                    <a:cubicBezTo>
                      <a:pt x="23" y="18"/>
                      <a:pt x="30" y="11"/>
                      <a:pt x="38" y="7"/>
                    </a:cubicBezTo>
                    <a:cubicBezTo>
                      <a:pt x="46" y="2"/>
                      <a:pt x="56" y="0"/>
                      <a:pt x="66" y="0"/>
                    </a:cubicBezTo>
                    <a:cubicBezTo>
                      <a:pt x="107" y="0"/>
                      <a:pt x="128" y="33"/>
                      <a:pt x="128" y="100"/>
                    </a:cubicBezTo>
                    <a:close/>
                    <a:moveTo>
                      <a:pt x="105" y="102"/>
                    </a:moveTo>
                    <a:cubicBezTo>
                      <a:pt x="105" y="47"/>
                      <a:pt x="92" y="19"/>
                      <a:pt x="65" y="19"/>
                    </a:cubicBezTo>
                    <a:cubicBezTo>
                      <a:pt x="37" y="19"/>
                      <a:pt x="23" y="47"/>
                      <a:pt x="23" y="104"/>
                    </a:cubicBezTo>
                    <a:cubicBezTo>
                      <a:pt x="23" y="157"/>
                      <a:pt x="37" y="183"/>
                      <a:pt x="64" y="183"/>
                    </a:cubicBezTo>
                    <a:cubicBezTo>
                      <a:pt x="91" y="183"/>
                      <a:pt x="105" y="156"/>
                      <a:pt x="105"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8" name="Freeform 55"/>
              <p:cNvSpPr>
                <a:spLocks noEditPoints="1"/>
              </p:cNvSpPr>
              <p:nvPr userDrawn="1"/>
            </p:nvSpPr>
            <p:spPr bwMode="auto">
              <a:xfrm>
                <a:off x="2228" y="2929"/>
                <a:ext cx="156" cy="248"/>
              </a:xfrm>
              <a:custGeom>
                <a:avLst/>
                <a:gdLst>
                  <a:gd name="T0" fmla="*/ 128 w 128"/>
                  <a:gd name="T1" fmla="*/ 100 h 203"/>
                  <a:gd name="T2" fmla="*/ 123 w 128"/>
                  <a:gd name="T3" fmla="*/ 144 h 203"/>
                  <a:gd name="T4" fmla="*/ 111 w 128"/>
                  <a:gd name="T5" fmla="*/ 176 h 203"/>
                  <a:gd name="T6" fmla="*/ 90 w 128"/>
                  <a:gd name="T7" fmla="*/ 196 h 203"/>
                  <a:gd name="T8" fmla="*/ 62 w 128"/>
                  <a:gd name="T9" fmla="*/ 203 h 203"/>
                  <a:gd name="T10" fmla="*/ 36 w 128"/>
                  <a:gd name="T11" fmla="*/ 196 h 203"/>
                  <a:gd name="T12" fmla="*/ 16 w 128"/>
                  <a:gd name="T13" fmla="*/ 177 h 203"/>
                  <a:gd name="T14" fmla="*/ 4 w 128"/>
                  <a:gd name="T15" fmla="*/ 147 h 203"/>
                  <a:gd name="T16" fmla="*/ 0 w 128"/>
                  <a:gd name="T17" fmla="*/ 105 h 203"/>
                  <a:gd name="T18" fmla="*/ 4 w 128"/>
                  <a:gd name="T19" fmla="*/ 60 h 203"/>
                  <a:gd name="T20" fmla="*/ 17 w 128"/>
                  <a:gd name="T21" fmla="*/ 27 h 203"/>
                  <a:gd name="T22" fmla="*/ 38 w 128"/>
                  <a:gd name="T23" fmla="*/ 7 h 203"/>
                  <a:gd name="T24" fmla="*/ 66 w 128"/>
                  <a:gd name="T25" fmla="*/ 0 h 203"/>
                  <a:gd name="T26" fmla="*/ 128 w 128"/>
                  <a:gd name="T27" fmla="*/ 100 h 203"/>
                  <a:gd name="T28" fmla="*/ 105 w 128"/>
                  <a:gd name="T29" fmla="*/ 102 h 203"/>
                  <a:gd name="T30" fmla="*/ 65 w 128"/>
                  <a:gd name="T31" fmla="*/ 19 h 203"/>
                  <a:gd name="T32" fmla="*/ 23 w 128"/>
                  <a:gd name="T33" fmla="*/ 104 h 203"/>
                  <a:gd name="T34" fmla="*/ 64 w 128"/>
                  <a:gd name="T35" fmla="*/ 183 h 203"/>
                  <a:gd name="T36" fmla="*/ 105 w 128"/>
                  <a:gd name="T37" fmla="*/ 102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0"/>
                    </a:moveTo>
                    <a:cubicBezTo>
                      <a:pt x="128" y="117"/>
                      <a:pt x="126" y="131"/>
                      <a:pt x="123" y="144"/>
                    </a:cubicBezTo>
                    <a:cubicBezTo>
                      <a:pt x="120" y="157"/>
                      <a:pt x="116" y="167"/>
                      <a:pt x="111" y="176"/>
                    </a:cubicBezTo>
                    <a:cubicBezTo>
                      <a:pt x="105" y="185"/>
                      <a:pt x="98" y="191"/>
                      <a:pt x="90" y="196"/>
                    </a:cubicBezTo>
                    <a:cubicBezTo>
                      <a:pt x="82" y="200"/>
                      <a:pt x="72" y="203"/>
                      <a:pt x="62" y="203"/>
                    </a:cubicBezTo>
                    <a:cubicBezTo>
                      <a:pt x="52" y="203"/>
                      <a:pt x="43" y="200"/>
                      <a:pt x="36" y="196"/>
                    </a:cubicBezTo>
                    <a:cubicBezTo>
                      <a:pt x="28" y="192"/>
                      <a:pt x="22" y="185"/>
                      <a:pt x="16" y="177"/>
                    </a:cubicBezTo>
                    <a:cubicBezTo>
                      <a:pt x="11" y="169"/>
                      <a:pt x="7" y="159"/>
                      <a:pt x="4" y="147"/>
                    </a:cubicBezTo>
                    <a:cubicBezTo>
                      <a:pt x="2" y="134"/>
                      <a:pt x="0" y="121"/>
                      <a:pt x="0" y="105"/>
                    </a:cubicBezTo>
                    <a:cubicBezTo>
                      <a:pt x="0" y="88"/>
                      <a:pt x="2" y="73"/>
                      <a:pt x="4" y="60"/>
                    </a:cubicBezTo>
                    <a:cubicBezTo>
                      <a:pt x="7" y="47"/>
                      <a:pt x="12" y="36"/>
                      <a:pt x="17" y="27"/>
                    </a:cubicBezTo>
                    <a:cubicBezTo>
                      <a:pt x="23" y="18"/>
                      <a:pt x="30" y="11"/>
                      <a:pt x="38" y="7"/>
                    </a:cubicBezTo>
                    <a:cubicBezTo>
                      <a:pt x="46" y="2"/>
                      <a:pt x="56" y="0"/>
                      <a:pt x="66" y="0"/>
                    </a:cubicBezTo>
                    <a:cubicBezTo>
                      <a:pt x="107" y="0"/>
                      <a:pt x="128" y="33"/>
                      <a:pt x="128" y="100"/>
                    </a:cubicBezTo>
                    <a:close/>
                    <a:moveTo>
                      <a:pt x="105" y="102"/>
                    </a:moveTo>
                    <a:cubicBezTo>
                      <a:pt x="105" y="47"/>
                      <a:pt x="92" y="19"/>
                      <a:pt x="65" y="19"/>
                    </a:cubicBezTo>
                    <a:cubicBezTo>
                      <a:pt x="37" y="19"/>
                      <a:pt x="23" y="47"/>
                      <a:pt x="23" y="104"/>
                    </a:cubicBezTo>
                    <a:cubicBezTo>
                      <a:pt x="23" y="157"/>
                      <a:pt x="37" y="183"/>
                      <a:pt x="64" y="183"/>
                    </a:cubicBezTo>
                    <a:cubicBezTo>
                      <a:pt x="91" y="183"/>
                      <a:pt x="105" y="156"/>
                      <a:pt x="105"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9" name="Freeform 56"/>
              <p:cNvSpPr>
                <a:spLocks noEditPoints="1"/>
              </p:cNvSpPr>
              <p:nvPr userDrawn="1"/>
            </p:nvSpPr>
            <p:spPr bwMode="auto">
              <a:xfrm>
                <a:off x="2423" y="2929"/>
                <a:ext cx="156" cy="248"/>
              </a:xfrm>
              <a:custGeom>
                <a:avLst/>
                <a:gdLst>
                  <a:gd name="T0" fmla="*/ 128 w 128"/>
                  <a:gd name="T1" fmla="*/ 100 h 203"/>
                  <a:gd name="T2" fmla="*/ 123 w 128"/>
                  <a:gd name="T3" fmla="*/ 144 h 203"/>
                  <a:gd name="T4" fmla="*/ 111 w 128"/>
                  <a:gd name="T5" fmla="*/ 176 h 203"/>
                  <a:gd name="T6" fmla="*/ 90 w 128"/>
                  <a:gd name="T7" fmla="*/ 196 h 203"/>
                  <a:gd name="T8" fmla="*/ 62 w 128"/>
                  <a:gd name="T9" fmla="*/ 203 h 203"/>
                  <a:gd name="T10" fmla="*/ 36 w 128"/>
                  <a:gd name="T11" fmla="*/ 196 h 203"/>
                  <a:gd name="T12" fmla="*/ 16 w 128"/>
                  <a:gd name="T13" fmla="*/ 177 h 203"/>
                  <a:gd name="T14" fmla="*/ 4 w 128"/>
                  <a:gd name="T15" fmla="*/ 147 h 203"/>
                  <a:gd name="T16" fmla="*/ 0 w 128"/>
                  <a:gd name="T17" fmla="*/ 105 h 203"/>
                  <a:gd name="T18" fmla="*/ 4 w 128"/>
                  <a:gd name="T19" fmla="*/ 60 h 203"/>
                  <a:gd name="T20" fmla="*/ 17 w 128"/>
                  <a:gd name="T21" fmla="*/ 27 h 203"/>
                  <a:gd name="T22" fmla="*/ 38 w 128"/>
                  <a:gd name="T23" fmla="*/ 7 h 203"/>
                  <a:gd name="T24" fmla="*/ 66 w 128"/>
                  <a:gd name="T25" fmla="*/ 0 h 203"/>
                  <a:gd name="T26" fmla="*/ 128 w 128"/>
                  <a:gd name="T27" fmla="*/ 100 h 203"/>
                  <a:gd name="T28" fmla="*/ 105 w 128"/>
                  <a:gd name="T29" fmla="*/ 102 h 203"/>
                  <a:gd name="T30" fmla="*/ 65 w 128"/>
                  <a:gd name="T31" fmla="*/ 19 h 203"/>
                  <a:gd name="T32" fmla="*/ 23 w 128"/>
                  <a:gd name="T33" fmla="*/ 104 h 203"/>
                  <a:gd name="T34" fmla="*/ 64 w 128"/>
                  <a:gd name="T35" fmla="*/ 183 h 203"/>
                  <a:gd name="T36" fmla="*/ 105 w 128"/>
                  <a:gd name="T37" fmla="*/ 102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0"/>
                    </a:moveTo>
                    <a:cubicBezTo>
                      <a:pt x="128" y="117"/>
                      <a:pt x="126" y="131"/>
                      <a:pt x="123" y="144"/>
                    </a:cubicBezTo>
                    <a:cubicBezTo>
                      <a:pt x="120" y="157"/>
                      <a:pt x="116" y="167"/>
                      <a:pt x="111" y="176"/>
                    </a:cubicBezTo>
                    <a:cubicBezTo>
                      <a:pt x="105" y="185"/>
                      <a:pt x="98" y="191"/>
                      <a:pt x="90" y="196"/>
                    </a:cubicBezTo>
                    <a:cubicBezTo>
                      <a:pt x="82" y="200"/>
                      <a:pt x="72" y="203"/>
                      <a:pt x="62" y="203"/>
                    </a:cubicBezTo>
                    <a:cubicBezTo>
                      <a:pt x="52" y="203"/>
                      <a:pt x="43" y="200"/>
                      <a:pt x="36" y="196"/>
                    </a:cubicBezTo>
                    <a:cubicBezTo>
                      <a:pt x="28" y="192"/>
                      <a:pt x="22" y="185"/>
                      <a:pt x="16" y="177"/>
                    </a:cubicBezTo>
                    <a:cubicBezTo>
                      <a:pt x="11" y="169"/>
                      <a:pt x="7" y="159"/>
                      <a:pt x="4" y="147"/>
                    </a:cubicBezTo>
                    <a:cubicBezTo>
                      <a:pt x="2" y="134"/>
                      <a:pt x="0" y="121"/>
                      <a:pt x="0" y="105"/>
                    </a:cubicBezTo>
                    <a:cubicBezTo>
                      <a:pt x="0" y="88"/>
                      <a:pt x="2" y="73"/>
                      <a:pt x="4" y="60"/>
                    </a:cubicBezTo>
                    <a:cubicBezTo>
                      <a:pt x="7" y="47"/>
                      <a:pt x="12" y="36"/>
                      <a:pt x="17" y="27"/>
                    </a:cubicBezTo>
                    <a:cubicBezTo>
                      <a:pt x="23" y="18"/>
                      <a:pt x="30" y="11"/>
                      <a:pt x="38" y="7"/>
                    </a:cubicBezTo>
                    <a:cubicBezTo>
                      <a:pt x="46" y="2"/>
                      <a:pt x="56" y="0"/>
                      <a:pt x="66" y="0"/>
                    </a:cubicBezTo>
                    <a:cubicBezTo>
                      <a:pt x="107" y="0"/>
                      <a:pt x="128" y="33"/>
                      <a:pt x="128" y="100"/>
                    </a:cubicBezTo>
                    <a:close/>
                    <a:moveTo>
                      <a:pt x="105" y="102"/>
                    </a:moveTo>
                    <a:cubicBezTo>
                      <a:pt x="105" y="47"/>
                      <a:pt x="92" y="19"/>
                      <a:pt x="65" y="19"/>
                    </a:cubicBezTo>
                    <a:cubicBezTo>
                      <a:pt x="37" y="19"/>
                      <a:pt x="23" y="47"/>
                      <a:pt x="23" y="104"/>
                    </a:cubicBezTo>
                    <a:cubicBezTo>
                      <a:pt x="23" y="157"/>
                      <a:pt x="37" y="183"/>
                      <a:pt x="64" y="183"/>
                    </a:cubicBezTo>
                    <a:cubicBezTo>
                      <a:pt x="91" y="183"/>
                      <a:pt x="105" y="156"/>
                      <a:pt x="105"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0" name="Freeform 57"/>
              <p:cNvSpPr>
                <a:spLocks/>
              </p:cNvSpPr>
              <p:nvPr userDrawn="1"/>
            </p:nvSpPr>
            <p:spPr bwMode="auto">
              <a:xfrm>
                <a:off x="2620" y="2928"/>
                <a:ext cx="83" cy="244"/>
              </a:xfrm>
              <a:custGeom>
                <a:avLst/>
                <a:gdLst>
                  <a:gd name="T0" fmla="*/ 68 w 68"/>
                  <a:gd name="T1" fmla="*/ 200 h 200"/>
                  <a:gd name="T2" fmla="*/ 46 w 68"/>
                  <a:gd name="T3" fmla="*/ 200 h 200"/>
                  <a:gd name="T4" fmla="*/ 46 w 68"/>
                  <a:gd name="T5" fmla="*/ 31 h 200"/>
                  <a:gd name="T6" fmla="*/ 38 w 68"/>
                  <a:gd name="T7" fmla="*/ 37 h 200"/>
                  <a:gd name="T8" fmla="*/ 27 w 68"/>
                  <a:gd name="T9" fmla="*/ 43 h 200"/>
                  <a:gd name="T10" fmla="*/ 14 w 68"/>
                  <a:gd name="T11" fmla="*/ 49 h 200"/>
                  <a:gd name="T12" fmla="*/ 0 w 68"/>
                  <a:gd name="T13" fmla="*/ 54 h 200"/>
                  <a:gd name="T14" fmla="*/ 0 w 68"/>
                  <a:gd name="T15" fmla="*/ 31 h 200"/>
                  <a:gd name="T16" fmla="*/ 16 w 68"/>
                  <a:gd name="T17" fmla="*/ 26 h 200"/>
                  <a:gd name="T18" fmla="*/ 32 w 68"/>
                  <a:gd name="T19" fmla="*/ 18 h 200"/>
                  <a:gd name="T20" fmla="*/ 47 w 68"/>
                  <a:gd name="T21" fmla="*/ 9 h 200"/>
                  <a:gd name="T22" fmla="*/ 60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6" y="200"/>
                      <a:pt x="46" y="200"/>
                      <a:pt x="46" y="200"/>
                    </a:cubicBezTo>
                    <a:cubicBezTo>
                      <a:pt x="46" y="31"/>
                      <a:pt x="46" y="31"/>
                      <a:pt x="46" y="31"/>
                    </a:cubicBezTo>
                    <a:cubicBezTo>
                      <a:pt x="44" y="32"/>
                      <a:pt x="41" y="34"/>
                      <a:pt x="38" y="37"/>
                    </a:cubicBezTo>
                    <a:cubicBezTo>
                      <a:pt x="35" y="39"/>
                      <a:pt x="31" y="41"/>
                      <a:pt x="27" y="43"/>
                    </a:cubicBezTo>
                    <a:cubicBezTo>
                      <a:pt x="23" y="45"/>
                      <a:pt x="18" y="48"/>
                      <a:pt x="14" y="49"/>
                    </a:cubicBezTo>
                    <a:cubicBezTo>
                      <a:pt x="9" y="51"/>
                      <a:pt x="5" y="53"/>
                      <a:pt x="0" y="54"/>
                    </a:cubicBezTo>
                    <a:cubicBezTo>
                      <a:pt x="0" y="31"/>
                      <a:pt x="0" y="31"/>
                      <a:pt x="0" y="31"/>
                    </a:cubicBezTo>
                    <a:cubicBezTo>
                      <a:pt x="5" y="30"/>
                      <a:pt x="10" y="28"/>
                      <a:pt x="16" y="26"/>
                    </a:cubicBezTo>
                    <a:cubicBezTo>
                      <a:pt x="21" y="23"/>
                      <a:pt x="27" y="21"/>
                      <a:pt x="32" y="18"/>
                    </a:cubicBezTo>
                    <a:cubicBezTo>
                      <a:pt x="37" y="15"/>
                      <a:pt x="43" y="12"/>
                      <a:pt x="47" y="9"/>
                    </a:cubicBezTo>
                    <a:cubicBezTo>
                      <a:pt x="52" y="6"/>
                      <a:pt x="56" y="3"/>
                      <a:pt x="60"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1" name="Freeform 58"/>
              <p:cNvSpPr>
                <a:spLocks/>
              </p:cNvSpPr>
              <p:nvPr userDrawn="1"/>
            </p:nvSpPr>
            <p:spPr bwMode="auto">
              <a:xfrm>
                <a:off x="2770" y="2928"/>
                <a:ext cx="83" cy="244"/>
              </a:xfrm>
              <a:custGeom>
                <a:avLst/>
                <a:gdLst>
                  <a:gd name="T0" fmla="*/ 68 w 68"/>
                  <a:gd name="T1" fmla="*/ 200 h 200"/>
                  <a:gd name="T2" fmla="*/ 45 w 68"/>
                  <a:gd name="T3" fmla="*/ 200 h 200"/>
                  <a:gd name="T4" fmla="*/ 45 w 68"/>
                  <a:gd name="T5" fmla="*/ 31 h 200"/>
                  <a:gd name="T6" fmla="*/ 38 w 68"/>
                  <a:gd name="T7" fmla="*/ 37 h 200"/>
                  <a:gd name="T8" fmla="*/ 26 w 68"/>
                  <a:gd name="T9" fmla="*/ 43 h 200"/>
                  <a:gd name="T10" fmla="*/ 13 w 68"/>
                  <a:gd name="T11" fmla="*/ 49 h 200"/>
                  <a:gd name="T12" fmla="*/ 0 w 68"/>
                  <a:gd name="T13" fmla="*/ 54 h 200"/>
                  <a:gd name="T14" fmla="*/ 0 w 68"/>
                  <a:gd name="T15" fmla="*/ 31 h 200"/>
                  <a:gd name="T16" fmla="*/ 15 w 68"/>
                  <a:gd name="T17" fmla="*/ 26 h 200"/>
                  <a:gd name="T18" fmla="*/ 32 w 68"/>
                  <a:gd name="T19" fmla="*/ 18 h 200"/>
                  <a:gd name="T20" fmla="*/ 47 w 68"/>
                  <a:gd name="T21" fmla="*/ 9 h 200"/>
                  <a:gd name="T22" fmla="*/ 59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5" y="200"/>
                      <a:pt x="45" y="200"/>
                      <a:pt x="45" y="200"/>
                    </a:cubicBezTo>
                    <a:cubicBezTo>
                      <a:pt x="45" y="31"/>
                      <a:pt x="45" y="31"/>
                      <a:pt x="45" y="31"/>
                    </a:cubicBezTo>
                    <a:cubicBezTo>
                      <a:pt x="43" y="32"/>
                      <a:pt x="41" y="34"/>
                      <a:pt x="38" y="37"/>
                    </a:cubicBezTo>
                    <a:cubicBezTo>
                      <a:pt x="34" y="39"/>
                      <a:pt x="31" y="41"/>
                      <a:pt x="26" y="43"/>
                    </a:cubicBezTo>
                    <a:cubicBezTo>
                      <a:pt x="22" y="45"/>
                      <a:pt x="18" y="48"/>
                      <a:pt x="13" y="49"/>
                    </a:cubicBezTo>
                    <a:cubicBezTo>
                      <a:pt x="9" y="51"/>
                      <a:pt x="4" y="53"/>
                      <a:pt x="0" y="54"/>
                    </a:cubicBezTo>
                    <a:cubicBezTo>
                      <a:pt x="0" y="31"/>
                      <a:pt x="0" y="31"/>
                      <a:pt x="0" y="31"/>
                    </a:cubicBezTo>
                    <a:cubicBezTo>
                      <a:pt x="5" y="30"/>
                      <a:pt x="10" y="28"/>
                      <a:pt x="15" y="26"/>
                    </a:cubicBezTo>
                    <a:cubicBezTo>
                      <a:pt x="21" y="23"/>
                      <a:pt x="26" y="21"/>
                      <a:pt x="32" y="18"/>
                    </a:cubicBezTo>
                    <a:cubicBezTo>
                      <a:pt x="37" y="15"/>
                      <a:pt x="42" y="12"/>
                      <a:pt x="47" y="9"/>
                    </a:cubicBezTo>
                    <a:cubicBezTo>
                      <a:pt x="52" y="6"/>
                      <a:pt x="56" y="3"/>
                      <a:pt x="59"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2" name="Freeform 59"/>
              <p:cNvSpPr>
                <a:spLocks noEditPoints="1"/>
              </p:cNvSpPr>
              <p:nvPr userDrawn="1"/>
            </p:nvSpPr>
            <p:spPr bwMode="auto">
              <a:xfrm>
                <a:off x="2918" y="2929"/>
                <a:ext cx="156" cy="248"/>
              </a:xfrm>
              <a:custGeom>
                <a:avLst/>
                <a:gdLst>
                  <a:gd name="T0" fmla="*/ 128 w 128"/>
                  <a:gd name="T1" fmla="*/ 100 h 203"/>
                  <a:gd name="T2" fmla="*/ 124 w 128"/>
                  <a:gd name="T3" fmla="*/ 144 h 203"/>
                  <a:gd name="T4" fmla="*/ 111 w 128"/>
                  <a:gd name="T5" fmla="*/ 176 h 203"/>
                  <a:gd name="T6" fmla="*/ 90 w 128"/>
                  <a:gd name="T7" fmla="*/ 196 h 203"/>
                  <a:gd name="T8" fmla="*/ 62 w 128"/>
                  <a:gd name="T9" fmla="*/ 203 h 203"/>
                  <a:gd name="T10" fmla="*/ 36 w 128"/>
                  <a:gd name="T11" fmla="*/ 196 h 203"/>
                  <a:gd name="T12" fmla="*/ 17 w 128"/>
                  <a:gd name="T13" fmla="*/ 177 h 203"/>
                  <a:gd name="T14" fmla="*/ 4 w 128"/>
                  <a:gd name="T15" fmla="*/ 147 h 203"/>
                  <a:gd name="T16" fmla="*/ 0 w 128"/>
                  <a:gd name="T17" fmla="*/ 105 h 203"/>
                  <a:gd name="T18" fmla="*/ 5 w 128"/>
                  <a:gd name="T19" fmla="*/ 60 h 203"/>
                  <a:gd name="T20" fmla="*/ 17 w 128"/>
                  <a:gd name="T21" fmla="*/ 27 h 203"/>
                  <a:gd name="T22" fmla="*/ 38 w 128"/>
                  <a:gd name="T23" fmla="*/ 7 h 203"/>
                  <a:gd name="T24" fmla="*/ 66 w 128"/>
                  <a:gd name="T25" fmla="*/ 0 h 203"/>
                  <a:gd name="T26" fmla="*/ 128 w 128"/>
                  <a:gd name="T27" fmla="*/ 100 h 203"/>
                  <a:gd name="T28" fmla="*/ 105 w 128"/>
                  <a:gd name="T29" fmla="*/ 102 h 203"/>
                  <a:gd name="T30" fmla="*/ 65 w 128"/>
                  <a:gd name="T31" fmla="*/ 19 h 203"/>
                  <a:gd name="T32" fmla="*/ 23 w 128"/>
                  <a:gd name="T33" fmla="*/ 104 h 203"/>
                  <a:gd name="T34" fmla="*/ 65 w 128"/>
                  <a:gd name="T35" fmla="*/ 183 h 203"/>
                  <a:gd name="T36" fmla="*/ 105 w 128"/>
                  <a:gd name="T37" fmla="*/ 102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0"/>
                    </a:moveTo>
                    <a:cubicBezTo>
                      <a:pt x="128" y="117"/>
                      <a:pt x="127" y="131"/>
                      <a:pt x="124" y="144"/>
                    </a:cubicBezTo>
                    <a:cubicBezTo>
                      <a:pt x="121" y="157"/>
                      <a:pt x="116" y="167"/>
                      <a:pt x="111" y="176"/>
                    </a:cubicBezTo>
                    <a:cubicBezTo>
                      <a:pt x="105" y="185"/>
                      <a:pt x="98" y="191"/>
                      <a:pt x="90" y="196"/>
                    </a:cubicBezTo>
                    <a:cubicBezTo>
                      <a:pt x="82" y="200"/>
                      <a:pt x="73" y="203"/>
                      <a:pt x="62" y="203"/>
                    </a:cubicBezTo>
                    <a:cubicBezTo>
                      <a:pt x="52" y="203"/>
                      <a:pt x="44" y="200"/>
                      <a:pt x="36" y="196"/>
                    </a:cubicBezTo>
                    <a:cubicBezTo>
                      <a:pt x="28" y="192"/>
                      <a:pt x="22" y="185"/>
                      <a:pt x="17" y="177"/>
                    </a:cubicBezTo>
                    <a:cubicBezTo>
                      <a:pt x="11" y="169"/>
                      <a:pt x="7" y="159"/>
                      <a:pt x="4" y="147"/>
                    </a:cubicBezTo>
                    <a:cubicBezTo>
                      <a:pt x="2" y="134"/>
                      <a:pt x="0" y="121"/>
                      <a:pt x="0" y="105"/>
                    </a:cubicBezTo>
                    <a:cubicBezTo>
                      <a:pt x="0" y="88"/>
                      <a:pt x="2" y="73"/>
                      <a:pt x="5" y="60"/>
                    </a:cubicBezTo>
                    <a:cubicBezTo>
                      <a:pt x="8" y="47"/>
                      <a:pt x="12" y="36"/>
                      <a:pt x="17" y="27"/>
                    </a:cubicBezTo>
                    <a:cubicBezTo>
                      <a:pt x="23" y="18"/>
                      <a:pt x="30" y="11"/>
                      <a:pt x="38" y="7"/>
                    </a:cubicBezTo>
                    <a:cubicBezTo>
                      <a:pt x="46" y="2"/>
                      <a:pt x="56" y="0"/>
                      <a:pt x="66" y="0"/>
                    </a:cubicBezTo>
                    <a:cubicBezTo>
                      <a:pt x="108" y="0"/>
                      <a:pt x="128" y="33"/>
                      <a:pt x="128" y="100"/>
                    </a:cubicBezTo>
                    <a:close/>
                    <a:moveTo>
                      <a:pt x="105" y="102"/>
                    </a:moveTo>
                    <a:cubicBezTo>
                      <a:pt x="105" y="47"/>
                      <a:pt x="92" y="19"/>
                      <a:pt x="65" y="19"/>
                    </a:cubicBezTo>
                    <a:cubicBezTo>
                      <a:pt x="37" y="19"/>
                      <a:pt x="23" y="47"/>
                      <a:pt x="23" y="104"/>
                    </a:cubicBezTo>
                    <a:cubicBezTo>
                      <a:pt x="23" y="157"/>
                      <a:pt x="37" y="183"/>
                      <a:pt x="65" y="183"/>
                    </a:cubicBezTo>
                    <a:cubicBezTo>
                      <a:pt x="92" y="183"/>
                      <a:pt x="105" y="156"/>
                      <a:pt x="105"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3" name="Freeform 60"/>
              <p:cNvSpPr>
                <a:spLocks/>
              </p:cNvSpPr>
              <p:nvPr userDrawn="1"/>
            </p:nvSpPr>
            <p:spPr bwMode="auto">
              <a:xfrm>
                <a:off x="3115" y="2928"/>
                <a:ext cx="83" cy="244"/>
              </a:xfrm>
              <a:custGeom>
                <a:avLst/>
                <a:gdLst>
                  <a:gd name="T0" fmla="*/ 68 w 68"/>
                  <a:gd name="T1" fmla="*/ 200 h 200"/>
                  <a:gd name="T2" fmla="*/ 46 w 68"/>
                  <a:gd name="T3" fmla="*/ 200 h 200"/>
                  <a:gd name="T4" fmla="*/ 46 w 68"/>
                  <a:gd name="T5" fmla="*/ 31 h 200"/>
                  <a:gd name="T6" fmla="*/ 38 w 68"/>
                  <a:gd name="T7" fmla="*/ 37 h 200"/>
                  <a:gd name="T8" fmla="*/ 27 w 68"/>
                  <a:gd name="T9" fmla="*/ 43 h 200"/>
                  <a:gd name="T10" fmla="*/ 14 w 68"/>
                  <a:gd name="T11" fmla="*/ 49 h 200"/>
                  <a:gd name="T12" fmla="*/ 0 w 68"/>
                  <a:gd name="T13" fmla="*/ 54 h 200"/>
                  <a:gd name="T14" fmla="*/ 0 w 68"/>
                  <a:gd name="T15" fmla="*/ 31 h 200"/>
                  <a:gd name="T16" fmla="*/ 16 w 68"/>
                  <a:gd name="T17" fmla="*/ 26 h 200"/>
                  <a:gd name="T18" fmla="*/ 32 w 68"/>
                  <a:gd name="T19" fmla="*/ 18 h 200"/>
                  <a:gd name="T20" fmla="*/ 48 w 68"/>
                  <a:gd name="T21" fmla="*/ 9 h 200"/>
                  <a:gd name="T22" fmla="*/ 60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6" y="200"/>
                      <a:pt x="46" y="200"/>
                      <a:pt x="46" y="200"/>
                    </a:cubicBezTo>
                    <a:cubicBezTo>
                      <a:pt x="46" y="31"/>
                      <a:pt x="46" y="31"/>
                      <a:pt x="46" y="31"/>
                    </a:cubicBezTo>
                    <a:cubicBezTo>
                      <a:pt x="44" y="32"/>
                      <a:pt x="42" y="34"/>
                      <a:pt x="38" y="37"/>
                    </a:cubicBezTo>
                    <a:cubicBezTo>
                      <a:pt x="35" y="39"/>
                      <a:pt x="31" y="41"/>
                      <a:pt x="27" y="43"/>
                    </a:cubicBezTo>
                    <a:cubicBezTo>
                      <a:pt x="23" y="45"/>
                      <a:pt x="19" y="48"/>
                      <a:pt x="14" y="49"/>
                    </a:cubicBezTo>
                    <a:cubicBezTo>
                      <a:pt x="9" y="51"/>
                      <a:pt x="5" y="53"/>
                      <a:pt x="0" y="54"/>
                    </a:cubicBezTo>
                    <a:cubicBezTo>
                      <a:pt x="0" y="31"/>
                      <a:pt x="0" y="31"/>
                      <a:pt x="0" y="31"/>
                    </a:cubicBezTo>
                    <a:cubicBezTo>
                      <a:pt x="5" y="30"/>
                      <a:pt x="11" y="28"/>
                      <a:pt x="16" y="26"/>
                    </a:cubicBezTo>
                    <a:cubicBezTo>
                      <a:pt x="22" y="23"/>
                      <a:pt x="27" y="21"/>
                      <a:pt x="32" y="18"/>
                    </a:cubicBezTo>
                    <a:cubicBezTo>
                      <a:pt x="38" y="15"/>
                      <a:pt x="43" y="12"/>
                      <a:pt x="48" y="9"/>
                    </a:cubicBezTo>
                    <a:cubicBezTo>
                      <a:pt x="52" y="6"/>
                      <a:pt x="56" y="3"/>
                      <a:pt x="60"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4" name="Freeform 61"/>
              <p:cNvSpPr>
                <a:spLocks noEditPoints="1"/>
              </p:cNvSpPr>
              <p:nvPr userDrawn="1"/>
            </p:nvSpPr>
            <p:spPr bwMode="auto">
              <a:xfrm>
                <a:off x="3264" y="2929"/>
                <a:ext cx="156" cy="248"/>
              </a:xfrm>
              <a:custGeom>
                <a:avLst/>
                <a:gdLst>
                  <a:gd name="T0" fmla="*/ 128 w 128"/>
                  <a:gd name="T1" fmla="*/ 100 h 203"/>
                  <a:gd name="T2" fmla="*/ 123 w 128"/>
                  <a:gd name="T3" fmla="*/ 144 h 203"/>
                  <a:gd name="T4" fmla="*/ 110 w 128"/>
                  <a:gd name="T5" fmla="*/ 176 h 203"/>
                  <a:gd name="T6" fmla="*/ 90 w 128"/>
                  <a:gd name="T7" fmla="*/ 196 h 203"/>
                  <a:gd name="T8" fmla="*/ 62 w 128"/>
                  <a:gd name="T9" fmla="*/ 203 h 203"/>
                  <a:gd name="T10" fmla="*/ 36 w 128"/>
                  <a:gd name="T11" fmla="*/ 196 h 203"/>
                  <a:gd name="T12" fmla="*/ 16 w 128"/>
                  <a:gd name="T13" fmla="*/ 177 h 203"/>
                  <a:gd name="T14" fmla="*/ 4 w 128"/>
                  <a:gd name="T15" fmla="*/ 147 h 203"/>
                  <a:gd name="T16" fmla="*/ 0 w 128"/>
                  <a:gd name="T17" fmla="*/ 105 h 203"/>
                  <a:gd name="T18" fmla="*/ 4 w 128"/>
                  <a:gd name="T19" fmla="*/ 60 h 203"/>
                  <a:gd name="T20" fmla="*/ 17 w 128"/>
                  <a:gd name="T21" fmla="*/ 27 h 203"/>
                  <a:gd name="T22" fmla="*/ 38 w 128"/>
                  <a:gd name="T23" fmla="*/ 7 h 203"/>
                  <a:gd name="T24" fmla="*/ 66 w 128"/>
                  <a:gd name="T25" fmla="*/ 0 h 203"/>
                  <a:gd name="T26" fmla="*/ 128 w 128"/>
                  <a:gd name="T27" fmla="*/ 100 h 203"/>
                  <a:gd name="T28" fmla="*/ 105 w 128"/>
                  <a:gd name="T29" fmla="*/ 102 h 203"/>
                  <a:gd name="T30" fmla="*/ 65 w 128"/>
                  <a:gd name="T31" fmla="*/ 19 h 203"/>
                  <a:gd name="T32" fmla="*/ 23 w 128"/>
                  <a:gd name="T33" fmla="*/ 104 h 203"/>
                  <a:gd name="T34" fmla="*/ 64 w 128"/>
                  <a:gd name="T35" fmla="*/ 183 h 203"/>
                  <a:gd name="T36" fmla="*/ 105 w 128"/>
                  <a:gd name="T37" fmla="*/ 102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0"/>
                    </a:moveTo>
                    <a:cubicBezTo>
                      <a:pt x="128" y="117"/>
                      <a:pt x="126" y="131"/>
                      <a:pt x="123" y="144"/>
                    </a:cubicBezTo>
                    <a:cubicBezTo>
                      <a:pt x="120" y="157"/>
                      <a:pt x="116" y="167"/>
                      <a:pt x="110" y="176"/>
                    </a:cubicBezTo>
                    <a:cubicBezTo>
                      <a:pt x="105" y="185"/>
                      <a:pt x="98" y="191"/>
                      <a:pt x="90" y="196"/>
                    </a:cubicBezTo>
                    <a:cubicBezTo>
                      <a:pt x="82" y="200"/>
                      <a:pt x="72" y="203"/>
                      <a:pt x="62" y="203"/>
                    </a:cubicBezTo>
                    <a:cubicBezTo>
                      <a:pt x="52" y="203"/>
                      <a:pt x="43" y="200"/>
                      <a:pt x="36" y="196"/>
                    </a:cubicBezTo>
                    <a:cubicBezTo>
                      <a:pt x="28" y="192"/>
                      <a:pt x="22" y="185"/>
                      <a:pt x="16" y="177"/>
                    </a:cubicBezTo>
                    <a:cubicBezTo>
                      <a:pt x="11" y="169"/>
                      <a:pt x="7" y="159"/>
                      <a:pt x="4" y="147"/>
                    </a:cubicBezTo>
                    <a:cubicBezTo>
                      <a:pt x="1" y="134"/>
                      <a:pt x="0" y="121"/>
                      <a:pt x="0" y="105"/>
                    </a:cubicBezTo>
                    <a:cubicBezTo>
                      <a:pt x="0" y="88"/>
                      <a:pt x="2" y="73"/>
                      <a:pt x="4" y="60"/>
                    </a:cubicBezTo>
                    <a:cubicBezTo>
                      <a:pt x="7" y="47"/>
                      <a:pt x="11" y="36"/>
                      <a:pt x="17" y="27"/>
                    </a:cubicBezTo>
                    <a:cubicBezTo>
                      <a:pt x="23" y="18"/>
                      <a:pt x="30" y="11"/>
                      <a:pt x="38" y="7"/>
                    </a:cubicBezTo>
                    <a:cubicBezTo>
                      <a:pt x="46" y="2"/>
                      <a:pt x="55" y="0"/>
                      <a:pt x="66" y="0"/>
                    </a:cubicBezTo>
                    <a:cubicBezTo>
                      <a:pt x="107" y="0"/>
                      <a:pt x="128" y="33"/>
                      <a:pt x="128" y="100"/>
                    </a:cubicBezTo>
                    <a:close/>
                    <a:moveTo>
                      <a:pt x="105" y="102"/>
                    </a:moveTo>
                    <a:cubicBezTo>
                      <a:pt x="105" y="47"/>
                      <a:pt x="92" y="19"/>
                      <a:pt x="65" y="19"/>
                    </a:cubicBezTo>
                    <a:cubicBezTo>
                      <a:pt x="37" y="19"/>
                      <a:pt x="23" y="47"/>
                      <a:pt x="23" y="104"/>
                    </a:cubicBezTo>
                    <a:cubicBezTo>
                      <a:pt x="23" y="157"/>
                      <a:pt x="37" y="183"/>
                      <a:pt x="64" y="183"/>
                    </a:cubicBezTo>
                    <a:cubicBezTo>
                      <a:pt x="91" y="183"/>
                      <a:pt x="105" y="156"/>
                      <a:pt x="105"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5" name="Freeform 62"/>
              <p:cNvSpPr>
                <a:spLocks noEditPoints="1"/>
              </p:cNvSpPr>
              <p:nvPr userDrawn="1"/>
            </p:nvSpPr>
            <p:spPr bwMode="auto">
              <a:xfrm>
                <a:off x="3459" y="2929"/>
                <a:ext cx="156" cy="248"/>
              </a:xfrm>
              <a:custGeom>
                <a:avLst/>
                <a:gdLst>
                  <a:gd name="T0" fmla="*/ 128 w 128"/>
                  <a:gd name="T1" fmla="*/ 100 h 203"/>
                  <a:gd name="T2" fmla="*/ 123 w 128"/>
                  <a:gd name="T3" fmla="*/ 144 h 203"/>
                  <a:gd name="T4" fmla="*/ 110 w 128"/>
                  <a:gd name="T5" fmla="*/ 176 h 203"/>
                  <a:gd name="T6" fmla="*/ 90 w 128"/>
                  <a:gd name="T7" fmla="*/ 196 h 203"/>
                  <a:gd name="T8" fmla="*/ 62 w 128"/>
                  <a:gd name="T9" fmla="*/ 203 h 203"/>
                  <a:gd name="T10" fmla="*/ 36 w 128"/>
                  <a:gd name="T11" fmla="*/ 196 h 203"/>
                  <a:gd name="T12" fmla="*/ 16 w 128"/>
                  <a:gd name="T13" fmla="*/ 177 h 203"/>
                  <a:gd name="T14" fmla="*/ 4 w 128"/>
                  <a:gd name="T15" fmla="*/ 147 h 203"/>
                  <a:gd name="T16" fmla="*/ 0 w 128"/>
                  <a:gd name="T17" fmla="*/ 105 h 203"/>
                  <a:gd name="T18" fmla="*/ 4 w 128"/>
                  <a:gd name="T19" fmla="*/ 60 h 203"/>
                  <a:gd name="T20" fmla="*/ 17 w 128"/>
                  <a:gd name="T21" fmla="*/ 27 h 203"/>
                  <a:gd name="T22" fmla="*/ 38 w 128"/>
                  <a:gd name="T23" fmla="*/ 7 h 203"/>
                  <a:gd name="T24" fmla="*/ 66 w 128"/>
                  <a:gd name="T25" fmla="*/ 0 h 203"/>
                  <a:gd name="T26" fmla="*/ 128 w 128"/>
                  <a:gd name="T27" fmla="*/ 100 h 203"/>
                  <a:gd name="T28" fmla="*/ 105 w 128"/>
                  <a:gd name="T29" fmla="*/ 102 h 203"/>
                  <a:gd name="T30" fmla="*/ 65 w 128"/>
                  <a:gd name="T31" fmla="*/ 19 h 203"/>
                  <a:gd name="T32" fmla="*/ 23 w 128"/>
                  <a:gd name="T33" fmla="*/ 104 h 203"/>
                  <a:gd name="T34" fmla="*/ 64 w 128"/>
                  <a:gd name="T35" fmla="*/ 183 h 203"/>
                  <a:gd name="T36" fmla="*/ 105 w 128"/>
                  <a:gd name="T37" fmla="*/ 102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0"/>
                    </a:moveTo>
                    <a:cubicBezTo>
                      <a:pt x="128" y="117"/>
                      <a:pt x="126" y="131"/>
                      <a:pt x="123" y="144"/>
                    </a:cubicBezTo>
                    <a:cubicBezTo>
                      <a:pt x="120" y="157"/>
                      <a:pt x="116" y="167"/>
                      <a:pt x="110" y="176"/>
                    </a:cubicBezTo>
                    <a:cubicBezTo>
                      <a:pt x="105" y="185"/>
                      <a:pt x="98" y="191"/>
                      <a:pt x="90" y="196"/>
                    </a:cubicBezTo>
                    <a:cubicBezTo>
                      <a:pt x="82" y="200"/>
                      <a:pt x="72" y="203"/>
                      <a:pt x="62" y="203"/>
                    </a:cubicBezTo>
                    <a:cubicBezTo>
                      <a:pt x="52" y="203"/>
                      <a:pt x="43" y="200"/>
                      <a:pt x="36" y="196"/>
                    </a:cubicBezTo>
                    <a:cubicBezTo>
                      <a:pt x="28" y="192"/>
                      <a:pt x="21" y="185"/>
                      <a:pt x="16" y="177"/>
                    </a:cubicBezTo>
                    <a:cubicBezTo>
                      <a:pt x="11" y="169"/>
                      <a:pt x="7" y="159"/>
                      <a:pt x="4" y="147"/>
                    </a:cubicBezTo>
                    <a:cubicBezTo>
                      <a:pt x="1" y="134"/>
                      <a:pt x="0" y="121"/>
                      <a:pt x="0" y="105"/>
                    </a:cubicBezTo>
                    <a:cubicBezTo>
                      <a:pt x="0" y="88"/>
                      <a:pt x="2" y="73"/>
                      <a:pt x="4" y="60"/>
                    </a:cubicBezTo>
                    <a:cubicBezTo>
                      <a:pt x="7" y="47"/>
                      <a:pt x="11" y="36"/>
                      <a:pt x="17" y="27"/>
                    </a:cubicBezTo>
                    <a:cubicBezTo>
                      <a:pt x="23" y="18"/>
                      <a:pt x="29" y="11"/>
                      <a:pt x="38" y="7"/>
                    </a:cubicBezTo>
                    <a:cubicBezTo>
                      <a:pt x="46" y="2"/>
                      <a:pt x="55" y="0"/>
                      <a:pt x="66" y="0"/>
                    </a:cubicBezTo>
                    <a:cubicBezTo>
                      <a:pt x="107" y="0"/>
                      <a:pt x="128" y="33"/>
                      <a:pt x="128" y="100"/>
                    </a:cubicBezTo>
                    <a:close/>
                    <a:moveTo>
                      <a:pt x="105" y="102"/>
                    </a:moveTo>
                    <a:cubicBezTo>
                      <a:pt x="105" y="47"/>
                      <a:pt x="92" y="19"/>
                      <a:pt x="65" y="19"/>
                    </a:cubicBezTo>
                    <a:cubicBezTo>
                      <a:pt x="37" y="19"/>
                      <a:pt x="23" y="47"/>
                      <a:pt x="23" y="104"/>
                    </a:cubicBezTo>
                    <a:cubicBezTo>
                      <a:pt x="23" y="157"/>
                      <a:pt x="37" y="183"/>
                      <a:pt x="64" y="183"/>
                    </a:cubicBezTo>
                    <a:cubicBezTo>
                      <a:pt x="91" y="183"/>
                      <a:pt x="105" y="156"/>
                      <a:pt x="105"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6" name="Freeform 63"/>
              <p:cNvSpPr>
                <a:spLocks/>
              </p:cNvSpPr>
              <p:nvPr userDrawn="1"/>
            </p:nvSpPr>
            <p:spPr bwMode="auto">
              <a:xfrm>
                <a:off x="3656" y="2928"/>
                <a:ext cx="83" cy="244"/>
              </a:xfrm>
              <a:custGeom>
                <a:avLst/>
                <a:gdLst>
                  <a:gd name="T0" fmla="*/ 68 w 68"/>
                  <a:gd name="T1" fmla="*/ 200 h 200"/>
                  <a:gd name="T2" fmla="*/ 46 w 68"/>
                  <a:gd name="T3" fmla="*/ 200 h 200"/>
                  <a:gd name="T4" fmla="*/ 46 w 68"/>
                  <a:gd name="T5" fmla="*/ 31 h 200"/>
                  <a:gd name="T6" fmla="*/ 38 w 68"/>
                  <a:gd name="T7" fmla="*/ 37 h 200"/>
                  <a:gd name="T8" fmla="*/ 27 w 68"/>
                  <a:gd name="T9" fmla="*/ 43 h 200"/>
                  <a:gd name="T10" fmla="*/ 14 w 68"/>
                  <a:gd name="T11" fmla="*/ 49 h 200"/>
                  <a:gd name="T12" fmla="*/ 0 w 68"/>
                  <a:gd name="T13" fmla="*/ 54 h 200"/>
                  <a:gd name="T14" fmla="*/ 0 w 68"/>
                  <a:gd name="T15" fmla="*/ 31 h 200"/>
                  <a:gd name="T16" fmla="*/ 16 w 68"/>
                  <a:gd name="T17" fmla="*/ 26 h 200"/>
                  <a:gd name="T18" fmla="*/ 32 w 68"/>
                  <a:gd name="T19" fmla="*/ 18 h 200"/>
                  <a:gd name="T20" fmla="*/ 47 w 68"/>
                  <a:gd name="T21" fmla="*/ 9 h 200"/>
                  <a:gd name="T22" fmla="*/ 59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6" y="200"/>
                      <a:pt x="46" y="200"/>
                      <a:pt x="46" y="200"/>
                    </a:cubicBezTo>
                    <a:cubicBezTo>
                      <a:pt x="46" y="31"/>
                      <a:pt x="46" y="31"/>
                      <a:pt x="46" y="31"/>
                    </a:cubicBezTo>
                    <a:cubicBezTo>
                      <a:pt x="44" y="32"/>
                      <a:pt x="41" y="34"/>
                      <a:pt x="38" y="37"/>
                    </a:cubicBezTo>
                    <a:cubicBezTo>
                      <a:pt x="35" y="39"/>
                      <a:pt x="31" y="41"/>
                      <a:pt x="27" y="43"/>
                    </a:cubicBezTo>
                    <a:cubicBezTo>
                      <a:pt x="23" y="45"/>
                      <a:pt x="18" y="48"/>
                      <a:pt x="14" y="49"/>
                    </a:cubicBezTo>
                    <a:cubicBezTo>
                      <a:pt x="9" y="51"/>
                      <a:pt x="5" y="53"/>
                      <a:pt x="0" y="54"/>
                    </a:cubicBezTo>
                    <a:cubicBezTo>
                      <a:pt x="0" y="31"/>
                      <a:pt x="0" y="31"/>
                      <a:pt x="0" y="31"/>
                    </a:cubicBezTo>
                    <a:cubicBezTo>
                      <a:pt x="5" y="30"/>
                      <a:pt x="10" y="28"/>
                      <a:pt x="16" y="26"/>
                    </a:cubicBezTo>
                    <a:cubicBezTo>
                      <a:pt x="21" y="23"/>
                      <a:pt x="27" y="21"/>
                      <a:pt x="32" y="18"/>
                    </a:cubicBezTo>
                    <a:cubicBezTo>
                      <a:pt x="37" y="15"/>
                      <a:pt x="42" y="12"/>
                      <a:pt x="47" y="9"/>
                    </a:cubicBezTo>
                    <a:cubicBezTo>
                      <a:pt x="52" y="6"/>
                      <a:pt x="56" y="3"/>
                      <a:pt x="59"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7" name="Freeform 64"/>
              <p:cNvSpPr>
                <a:spLocks noEditPoints="1"/>
              </p:cNvSpPr>
              <p:nvPr userDrawn="1"/>
            </p:nvSpPr>
            <p:spPr bwMode="auto">
              <a:xfrm>
                <a:off x="3805" y="2929"/>
                <a:ext cx="155" cy="248"/>
              </a:xfrm>
              <a:custGeom>
                <a:avLst/>
                <a:gdLst>
                  <a:gd name="T0" fmla="*/ 127 w 127"/>
                  <a:gd name="T1" fmla="*/ 100 h 203"/>
                  <a:gd name="T2" fmla="*/ 123 w 127"/>
                  <a:gd name="T3" fmla="*/ 144 h 203"/>
                  <a:gd name="T4" fmla="*/ 110 w 127"/>
                  <a:gd name="T5" fmla="*/ 176 h 203"/>
                  <a:gd name="T6" fmla="*/ 90 w 127"/>
                  <a:gd name="T7" fmla="*/ 196 h 203"/>
                  <a:gd name="T8" fmla="*/ 62 w 127"/>
                  <a:gd name="T9" fmla="*/ 203 h 203"/>
                  <a:gd name="T10" fmla="*/ 35 w 127"/>
                  <a:gd name="T11" fmla="*/ 196 h 203"/>
                  <a:gd name="T12" fmla="*/ 16 w 127"/>
                  <a:gd name="T13" fmla="*/ 177 h 203"/>
                  <a:gd name="T14" fmla="*/ 4 w 127"/>
                  <a:gd name="T15" fmla="*/ 147 h 203"/>
                  <a:gd name="T16" fmla="*/ 0 w 127"/>
                  <a:gd name="T17" fmla="*/ 105 h 203"/>
                  <a:gd name="T18" fmla="*/ 4 w 127"/>
                  <a:gd name="T19" fmla="*/ 60 h 203"/>
                  <a:gd name="T20" fmla="*/ 17 w 127"/>
                  <a:gd name="T21" fmla="*/ 27 h 203"/>
                  <a:gd name="T22" fmla="*/ 37 w 127"/>
                  <a:gd name="T23" fmla="*/ 7 h 203"/>
                  <a:gd name="T24" fmla="*/ 66 w 127"/>
                  <a:gd name="T25" fmla="*/ 0 h 203"/>
                  <a:gd name="T26" fmla="*/ 127 w 127"/>
                  <a:gd name="T27" fmla="*/ 100 h 203"/>
                  <a:gd name="T28" fmla="*/ 104 w 127"/>
                  <a:gd name="T29" fmla="*/ 102 h 203"/>
                  <a:gd name="T30" fmla="*/ 65 w 127"/>
                  <a:gd name="T31" fmla="*/ 19 h 203"/>
                  <a:gd name="T32" fmla="*/ 23 w 127"/>
                  <a:gd name="T33" fmla="*/ 104 h 203"/>
                  <a:gd name="T34" fmla="*/ 64 w 127"/>
                  <a:gd name="T35" fmla="*/ 183 h 203"/>
                  <a:gd name="T36" fmla="*/ 104 w 127"/>
                  <a:gd name="T37" fmla="*/ 102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7" h="203">
                    <a:moveTo>
                      <a:pt x="127" y="100"/>
                    </a:moveTo>
                    <a:cubicBezTo>
                      <a:pt x="127" y="117"/>
                      <a:pt x="126" y="131"/>
                      <a:pt x="123" y="144"/>
                    </a:cubicBezTo>
                    <a:cubicBezTo>
                      <a:pt x="120" y="157"/>
                      <a:pt x="116" y="167"/>
                      <a:pt x="110" y="176"/>
                    </a:cubicBezTo>
                    <a:cubicBezTo>
                      <a:pt x="105" y="185"/>
                      <a:pt x="98" y="191"/>
                      <a:pt x="90" y="196"/>
                    </a:cubicBezTo>
                    <a:cubicBezTo>
                      <a:pt x="81" y="200"/>
                      <a:pt x="72" y="203"/>
                      <a:pt x="62" y="203"/>
                    </a:cubicBezTo>
                    <a:cubicBezTo>
                      <a:pt x="52" y="203"/>
                      <a:pt x="43" y="200"/>
                      <a:pt x="35" y="196"/>
                    </a:cubicBezTo>
                    <a:cubicBezTo>
                      <a:pt x="28" y="192"/>
                      <a:pt x="21" y="185"/>
                      <a:pt x="16" y="177"/>
                    </a:cubicBezTo>
                    <a:cubicBezTo>
                      <a:pt x="11" y="169"/>
                      <a:pt x="7" y="159"/>
                      <a:pt x="4" y="147"/>
                    </a:cubicBezTo>
                    <a:cubicBezTo>
                      <a:pt x="1" y="134"/>
                      <a:pt x="0" y="121"/>
                      <a:pt x="0" y="105"/>
                    </a:cubicBezTo>
                    <a:cubicBezTo>
                      <a:pt x="0" y="88"/>
                      <a:pt x="1" y="73"/>
                      <a:pt x="4" y="60"/>
                    </a:cubicBezTo>
                    <a:cubicBezTo>
                      <a:pt x="7" y="47"/>
                      <a:pt x="11" y="36"/>
                      <a:pt x="17" y="27"/>
                    </a:cubicBezTo>
                    <a:cubicBezTo>
                      <a:pt x="22" y="18"/>
                      <a:pt x="29" y="11"/>
                      <a:pt x="37" y="7"/>
                    </a:cubicBezTo>
                    <a:cubicBezTo>
                      <a:pt x="46" y="2"/>
                      <a:pt x="55" y="0"/>
                      <a:pt x="66" y="0"/>
                    </a:cubicBezTo>
                    <a:cubicBezTo>
                      <a:pt x="107" y="0"/>
                      <a:pt x="127" y="33"/>
                      <a:pt x="127" y="100"/>
                    </a:cubicBezTo>
                    <a:close/>
                    <a:moveTo>
                      <a:pt x="104" y="102"/>
                    </a:moveTo>
                    <a:cubicBezTo>
                      <a:pt x="104" y="47"/>
                      <a:pt x="91" y="19"/>
                      <a:pt x="65" y="19"/>
                    </a:cubicBezTo>
                    <a:cubicBezTo>
                      <a:pt x="37" y="19"/>
                      <a:pt x="23" y="47"/>
                      <a:pt x="23" y="104"/>
                    </a:cubicBezTo>
                    <a:cubicBezTo>
                      <a:pt x="23" y="157"/>
                      <a:pt x="36" y="183"/>
                      <a:pt x="64" y="183"/>
                    </a:cubicBezTo>
                    <a:cubicBezTo>
                      <a:pt x="91" y="183"/>
                      <a:pt x="104" y="156"/>
                      <a:pt x="104"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8" name="Freeform 65"/>
              <p:cNvSpPr>
                <a:spLocks noEditPoints="1"/>
              </p:cNvSpPr>
              <p:nvPr userDrawn="1"/>
            </p:nvSpPr>
            <p:spPr bwMode="auto">
              <a:xfrm>
                <a:off x="3989" y="2933"/>
                <a:ext cx="189" cy="218"/>
              </a:xfrm>
              <a:custGeom>
                <a:avLst/>
                <a:gdLst>
                  <a:gd name="T0" fmla="*/ 189 w 189"/>
                  <a:gd name="T1" fmla="*/ 67 h 218"/>
                  <a:gd name="T2" fmla="*/ 185 w 189"/>
                  <a:gd name="T3" fmla="*/ 84 h 218"/>
                  <a:gd name="T4" fmla="*/ 141 w 189"/>
                  <a:gd name="T5" fmla="*/ 84 h 218"/>
                  <a:gd name="T6" fmla="*/ 132 w 189"/>
                  <a:gd name="T7" fmla="*/ 134 h 218"/>
                  <a:gd name="T8" fmla="*/ 178 w 189"/>
                  <a:gd name="T9" fmla="*/ 134 h 218"/>
                  <a:gd name="T10" fmla="*/ 173 w 189"/>
                  <a:gd name="T11" fmla="*/ 152 h 218"/>
                  <a:gd name="T12" fmla="*/ 128 w 189"/>
                  <a:gd name="T13" fmla="*/ 152 h 218"/>
                  <a:gd name="T14" fmla="*/ 113 w 189"/>
                  <a:gd name="T15" fmla="*/ 218 h 218"/>
                  <a:gd name="T16" fmla="*/ 93 w 189"/>
                  <a:gd name="T17" fmla="*/ 218 h 218"/>
                  <a:gd name="T18" fmla="*/ 106 w 189"/>
                  <a:gd name="T19" fmla="*/ 152 h 218"/>
                  <a:gd name="T20" fmla="*/ 65 w 189"/>
                  <a:gd name="T21" fmla="*/ 152 h 218"/>
                  <a:gd name="T22" fmla="*/ 51 w 189"/>
                  <a:gd name="T23" fmla="*/ 218 h 218"/>
                  <a:gd name="T24" fmla="*/ 30 w 189"/>
                  <a:gd name="T25" fmla="*/ 218 h 218"/>
                  <a:gd name="T26" fmla="*/ 44 w 189"/>
                  <a:gd name="T27" fmla="*/ 152 h 218"/>
                  <a:gd name="T28" fmla="*/ 0 w 189"/>
                  <a:gd name="T29" fmla="*/ 152 h 218"/>
                  <a:gd name="T30" fmla="*/ 4 w 189"/>
                  <a:gd name="T31" fmla="*/ 134 h 218"/>
                  <a:gd name="T32" fmla="*/ 47 w 189"/>
                  <a:gd name="T33" fmla="*/ 134 h 218"/>
                  <a:gd name="T34" fmla="*/ 58 w 189"/>
                  <a:gd name="T35" fmla="*/ 84 h 218"/>
                  <a:gd name="T36" fmla="*/ 12 w 189"/>
                  <a:gd name="T37" fmla="*/ 84 h 218"/>
                  <a:gd name="T38" fmla="*/ 16 w 189"/>
                  <a:gd name="T39" fmla="*/ 67 h 218"/>
                  <a:gd name="T40" fmla="*/ 61 w 189"/>
                  <a:gd name="T41" fmla="*/ 67 h 218"/>
                  <a:gd name="T42" fmla="*/ 75 w 189"/>
                  <a:gd name="T43" fmla="*/ 0 h 218"/>
                  <a:gd name="T44" fmla="*/ 96 w 189"/>
                  <a:gd name="T45" fmla="*/ 0 h 218"/>
                  <a:gd name="T46" fmla="*/ 83 w 189"/>
                  <a:gd name="T47" fmla="*/ 67 h 218"/>
                  <a:gd name="T48" fmla="*/ 124 w 189"/>
                  <a:gd name="T49" fmla="*/ 67 h 218"/>
                  <a:gd name="T50" fmla="*/ 139 w 189"/>
                  <a:gd name="T51" fmla="*/ 0 h 218"/>
                  <a:gd name="T52" fmla="*/ 160 w 189"/>
                  <a:gd name="T53" fmla="*/ 0 h 218"/>
                  <a:gd name="T54" fmla="*/ 145 w 189"/>
                  <a:gd name="T55" fmla="*/ 67 h 218"/>
                  <a:gd name="T56" fmla="*/ 189 w 189"/>
                  <a:gd name="T57" fmla="*/ 67 h 218"/>
                  <a:gd name="T58" fmla="*/ 121 w 189"/>
                  <a:gd name="T59" fmla="*/ 84 h 218"/>
                  <a:gd name="T60" fmla="*/ 79 w 189"/>
                  <a:gd name="T61" fmla="*/ 84 h 218"/>
                  <a:gd name="T62" fmla="*/ 68 w 189"/>
                  <a:gd name="T63" fmla="*/ 134 h 218"/>
                  <a:gd name="T64" fmla="*/ 111 w 189"/>
                  <a:gd name="T65" fmla="*/ 134 h 218"/>
                  <a:gd name="T66" fmla="*/ 121 w 189"/>
                  <a:gd name="T67" fmla="*/ 84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9" h="218">
                    <a:moveTo>
                      <a:pt x="189" y="67"/>
                    </a:moveTo>
                    <a:lnTo>
                      <a:pt x="185" y="84"/>
                    </a:lnTo>
                    <a:lnTo>
                      <a:pt x="141" y="84"/>
                    </a:lnTo>
                    <a:lnTo>
                      <a:pt x="132" y="134"/>
                    </a:lnTo>
                    <a:lnTo>
                      <a:pt x="178" y="134"/>
                    </a:lnTo>
                    <a:lnTo>
                      <a:pt x="173" y="152"/>
                    </a:lnTo>
                    <a:lnTo>
                      <a:pt x="128" y="152"/>
                    </a:lnTo>
                    <a:lnTo>
                      <a:pt x="113" y="218"/>
                    </a:lnTo>
                    <a:lnTo>
                      <a:pt x="93" y="218"/>
                    </a:lnTo>
                    <a:lnTo>
                      <a:pt x="106" y="152"/>
                    </a:lnTo>
                    <a:lnTo>
                      <a:pt x="65" y="152"/>
                    </a:lnTo>
                    <a:lnTo>
                      <a:pt x="51" y="218"/>
                    </a:lnTo>
                    <a:lnTo>
                      <a:pt x="30" y="218"/>
                    </a:lnTo>
                    <a:lnTo>
                      <a:pt x="44" y="152"/>
                    </a:lnTo>
                    <a:lnTo>
                      <a:pt x="0" y="152"/>
                    </a:lnTo>
                    <a:lnTo>
                      <a:pt x="4" y="134"/>
                    </a:lnTo>
                    <a:lnTo>
                      <a:pt x="47" y="134"/>
                    </a:lnTo>
                    <a:lnTo>
                      <a:pt x="58" y="84"/>
                    </a:lnTo>
                    <a:lnTo>
                      <a:pt x="12" y="84"/>
                    </a:lnTo>
                    <a:lnTo>
                      <a:pt x="16" y="67"/>
                    </a:lnTo>
                    <a:lnTo>
                      <a:pt x="61" y="67"/>
                    </a:lnTo>
                    <a:lnTo>
                      <a:pt x="75" y="0"/>
                    </a:lnTo>
                    <a:lnTo>
                      <a:pt x="96" y="0"/>
                    </a:lnTo>
                    <a:lnTo>
                      <a:pt x="83" y="67"/>
                    </a:lnTo>
                    <a:lnTo>
                      <a:pt x="124" y="67"/>
                    </a:lnTo>
                    <a:lnTo>
                      <a:pt x="139" y="0"/>
                    </a:lnTo>
                    <a:lnTo>
                      <a:pt x="160" y="0"/>
                    </a:lnTo>
                    <a:lnTo>
                      <a:pt x="145" y="67"/>
                    </a:lnTo>
                    <a:lnTo>
                      <a:pt x="189" y="67"/>
                    </a:lnTo>
                    <a:close/>
                    <a:moveTo>
                      <a:pt x="121" y="84"/>
                    </a:moveTo>
                    <a:lnTo>
                      <a:pt x="79" y="84"/>
                    </a:lnTo>
                    <a:lnTo>
                      <a:pt x="68" y="134"/>
                    </a:lnTo>
                    <a:lnTo>
                      <a:pt x="111" y="134"/>
                    </a:lnTo>
                    <a:lnTo>
                      <a:pt x="121"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9" name="Freeform 66"/>
              <p:cNvSpPr>
                <a:spLocks noEditPoints="1"/>
              </p:cNvSpPr>
              <p:nvPr userDrawn="1"/>
            </p:nvSpPr>
            <p:spPr bwMode="auto">
              <a:xfrm>
                <a:off x="4207" y="2929"/>
                <a:ext cx="155" cy="248"/>
              </a:xfrm>
              <a:custGeom>
                <a:avLst/>
                <a:gdLst>
                  <a:gd name="T0" fmla="*/ 127 w 127"/>
                  <a:gd name="T1" fmla="*/ 100 h 203"/>
                  <a:gd name="T2" fmla="*/ 123 w 127"/>
                  <a:gd name="T3" fmla="*/ 144 h 203"/>
                  <a:gd name="T4" fmla="*/ 110 w 127"/>
                  <a:gd name="T5" fmla="*/ 176 h 203"/>
                  <a:gd name="T6" fmla="*/ 89 w 127"/>
                  <a:gd name="T7" fmla="*/ 196 h 203"/>
                  <a:gd name="T8" fmla="*/ 62 w 127"/>
                  <a:gd name="T9" fmla="*/ 203 h 203"/>
                  <a:gd name="T10" fmla="*/ 35 w 127"/>
                  <a:gd name="T11" fmla="*/ 196 h 203"/>
                  <a:gd name="T12" fmla="*/ 16 w 127"/>
                  <a:gd name="T13" fmla="*/ 177 h 203"/>
                  <a:gd name="T14" fmla="*/ 4 w 127"/>
                  <a:gd name="T15" fmla="*/ 147 h 203"/>
                  <a:gd name="T16" fmla="*/ 0 w 127"/>
                  <a:gd name="T17" fmla="*/ 105 h 203"/>
                  <a:gd name="T18" fmla="*/ 4 w 127"/>
                  <a:gd name="T19" fmla="*/ 60 h 203"/>
                  <a:gd name="T20" fmla="*/ 17 w 127"/>
                  <a:gd name="T21" fmla="*/ 27 h 203"/>
                  <a:gd name="T22" fmla="*/ 37 w 127"/>
                  <a:gd name="T23" fmla="*/ 7 h 203"/>
                  <a:gd name="T24" fmla="*/ 66 w 127"/>
                  <a:gd name="T25" fmla="*/ 0 h 203"/>
                  <a:gd name="T26" fmla="*/ 127 w 127"/>
                  <a:gd name="T27" fmla="*/ 100 h 203"/>
                  <a:gd name="T28" fmla="*/ 104 w 127"/>
                  <a:gd name="T29" fmla="*/ 102 h 203"/>
                  <a:gd name="T30" fmla="*/ 65 w 127"/>
                  <a:gd name="T31" fmla="*/ 19 h 203"/>
                  <a:gd name="T32" fmla="*/ 23 w 127"/>
                  <a:gd name="T33" fmla="*/ 104 h 203"/>
                  <a:gd name="T34" fmla="*/ 64 w 127"/>
                  <a:gd name="T35" fmla="*/ 183 h 203"/>
                  <a:gd name="T36" fmla="*/ 104 w 127"/>
                  <a:gd name="T37" fmla="*/ 102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7" h="203">
                    <a:moveTo>
                      <a:pt x="127" y="100"/>
                    </a:moveTo>
                    <a:cubicBezTo>
                      <a:pt x="127" y="117"/>
                      <a:pt x="126" y="131"/>
                      <a:pt x="123" y="144"/>
                    </a:cubicBezTo>
                    <a:cubicBezTo>
                      <a:pt x="120" y="157"/>
                      <a:pt x="116" y="167"/>
                      <a:pt x="110" y="176"/>
                    </a:cubicBezTo>
                    <a:cubicBezTo>
                      <a:pt x="104" y="185"/>
                      <a:pt x="97" y="191"/>
                      <a:pt x="89" y="196"/>
                    </a:cubicBezTo>
                    <a:cubicBezTo>
                      <a:pt x="81" y="200"/>
                      <a:pt x="72" y="203"/>
                      <a:pt x="62" y="203"/>
                    </a:cubicBezTo>
                    <a:cubicBezTo>
                      <a:pt x="52" y="203"/>
                      <a:pt x="43" y="200"/>
                      <a:pt x="35" y="196"/>
                    </a:cubicBezTo>
                    <a:cubicBezTo>
                      <a:pt x="27" y="192"/>
                      <a:pt x="21" y="185"/>
                      <a:pt x="16" y="177"/>
                    </a:cubicBezTo>
                    <a:cubicBezTo>
                      <a:pt x="10" y="169"/>
                      <a:pt x="6" y="159"/>
                      <a:pt x="4" y="147"/>
                    </a:cubicBezTo>
                    <a:cubicBezTo>
                      <a:pt x="1" y="134"/>
                      <a:pt x="0" y="121"/>
                      <a:pt x="0" y="105"/>
                    </a:cubicBezTo>
                    <a:cubicBezTo>
                      <a:pt x="0" y="88"/>
                      <a:pt x="1" y="73"/>
                      <a:pt x="4" y="60"/>
                    </a:cubicBezTo>
                    <a:cubicBezTo>
                      <a:pt x="7" y="47"/>
                      <a:pt x="11" y="36"/>
                      <a:pt x="17" y="27"/>
                    </a:cubicBezTo>
                    <a:cubicBezTo>
                      <a:pt x="22" y="18"/>
                      <a:pt x="29" y="11"/>
                      <a:pt x="37" y="7"/>
                    </a:cubicBezTo>
                    <a:cubicBezTo>
                      <a:pt x="45" y="2"/>
                      <a:pt x="55" y="0"/>
                      <a:pt x="66" y="0"/>
                    </a:cubicBezTo>
                    <a:cubicBezTo>
                      <a:pt x="107" y="0"/>
                      <a:pt x="127" y="33"/>
                      <a:pt x="127" y="100"/>
                    </a:cubicBezTo>
                    <a:close/>
                    <a:moveTo>
                      <a:pt x="104" y="102"/>
                    </a:moveTo>
                    <a:cubicBezTo>
                      <a:pt x="104" y="47"/>
                      <a:pt x="91" y="19"/>
                      <a:pt x="65" y="19"/>
                    </a:cubicBezTo>
                    <a:cubicBezTo>
                      <a:pt x="37" y="19"/>
                      <a:pt x="23" y="47"/>
                      <a:pt x="23" y="104"/>
                    </a:cubicBezTo>
                    <a:cubicBezTo>
                      <a:pt x="23" y="157"/>
                      <a:pt x="36" y="183"/>
                      <a:pt x="64" y="183"/>
                    </a:cubicBezTo>
                    <a:cubicBezTo>
                      <a:pt x="91" y="183"/>
                      <a:pt x="104" y="156"/>
                      <a:pt x="104"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0" name="Freeform 67"/>
              <p:cNvSpPr>
                <a:spLocks noEditPoints="1"/>
              </p:cNvSpPr>
              <p:nvPr userDrawn="1"/>
            </p:nvSpPr>
            <p:spPr bwMode="auto">
              <a:xfrm>
                <a:off x="4402" y="2929"/>
                <a:ext cx="155" cy="248"/>
              </a:xfrm>
              <a:custGeom>
                <a:avLst/>
                <a:gdLst>
                  <a:gd name="T0" fmla="*/ 127 w 127"/>
                  <a:gd name="T1" fmla="*/ 100 h 203"/>
                  <a:gd name="T2" fmla="*/ 123 w 127"/>
                  <a:gd name="T3" fmla="*/ 144 h 203"/>
                  <a:gd name="T4" fmla="*/ 110 w 127"/>
                  <a:gd name="T5" fmla="*/ 176 h 203"/>
                  <a:gd name="T6" fmla="*/ 89 w 127"/>
                  <a:gd name="T7" fmla="*/ 196 h 203"/>
                  <a:gd name="T8" fmla="*/ 61 w 127"/>
                  <a:gd name="T9" fmla="*/ 203 h 203"/>
                  <a:gd name="T10" fmla="*/ 35 w 127"/>
                  <a:gd name="T11" fmla="*/ 196 h 203"/>
                  <a:gd name="T12" fmla="*/ 16 w 127"/>
                  <a:gd name="T13" fmla="*/ 177 h 203"/>
                  <a:gd name="T14" fmla="*/ 4 w 127"/>
                  <a:gd name="T15" fmla="*/ 147 h 203"/>
                  <a:gd name="T16" fmla="*/ 0 w 127"/>
                  <a:gd name="T17" fmla="*/ 105 h 203"/>
                  <a:gd name="T18" fmla="*/ 4 w 127"/>
                  <a:gd name="T19" fmla="*/ 60 h 203"/>
                  <a:gd name="T20" fmla="*/ 17 w 127"/>
                  <a:gd name="T21" fmla="*/ 27 h 203"/>
                  <a:gd name="T22" fmla="*/ 37 w 127"/>
                  <a:gd name="T23" fmla="*/ 7 h 203"/>
                  <a:gd name="T24" fmla="*/ 66 w 127"/>
                  <a:gd name="T25" fmla="*/ 0 h 203"/>
                  <a:gd name="T26" fmla="*/ 127 w 127"/>
                  <a:gd name="T27" fmla="*/ 100 h 203"/>
                  <a:gd name="T28" fmla="*/ 104 w 127"/>
                  <a:gd name="T29" fmla="*/ 102 h 203"/>
                  <a:gd name="T30" fmla="*/ 65 w 127"/>
                  <a:gd name="T31" fmla="*/ 19 h 203"/>
                  <a:gd name="T32" fmla="*/ 23 w 127"/>
                  <a:gd name="T33" fmla="*/ 104 h 203"/>
                  <a:gd name="T34" fmla="*/ 64 w 127"/>
                  <a:gd name="T35" fmla="*/ 183 h 203"/>
                  <a:gd name="T36" fmla="*/ 104 w 127"/>
                  <a:gd name="T37" fmla="*/ 102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7" h="203">
                    <a:moveTo>
                      <a:pt x="127" y="100"/>
                    </a:moveTo>
                    <a:cubicBezTo>
                      <a:pt x="127" y="117"/>
                      <a:pt x="126" y="131"/>
                      <a:pt x="123" y="144"/>
                    </a:cubicBezTo>
                    <a:cubicBezTo>
                      <a:pt x="120" y="157"/>
                      <a:pt x="116" y="167"/>
                      <a:pt x="110" y="176"/>
                    </a:cubicBezTo>
                    <a:cubicBezTo>
                      <a:pt x="104" y="185"/>
                      <a:pt x="97" y="191"/>
                      <a:pt x="89" y="196"/>
                    </a:cubicBezTo>
                    <a:cubicBezTo>
                      <a:pt x="81" y="200"/>
                      <a:pt x="72" y="203"/>
                      <a:pt x="61" y="203"/>
                    </a:cubicBezTo>
                    <a:cubicBezTo>
                      <a:pt x="52" y="203"/>
                      <a:pt x="43" y="200"/>
                      <a:pt x="35" y="196"/>
                    </a:cubicBezTo>
                    <a:cubicBezTo>
                      <a:pt x="27" y="192"/>
                      <a:pt x="21" y="185"/>
                      <a:pt x="16" y="177"/>
                    </a:cubicBezTo>
                    <a:cubicBezTo>
                      <a:pt x="10" y="169"/>
                      <a:pt x="6" y="159"/>
                      <a:pt x="4" y="147"/>
                    </a:cubicBezTo>
                    <a:cubicBezTo>
                      <a:pt x="1" y="134"/>
                      <a:pt x="0" y="121"/>
                      <a:pt x="0" y="105"/>
                    </a:cubicBezTo>
                    <a:cubicBezTo>
                      <a:pt x="0" y="88"/>
                      <a:pt x="1" y="73"/>
                      <a:pt x="4" y="60"/>
                    </a:cubicBezTo>
                    <a:cubicBezTo>
                      <a:pt x="7" y="47"/>
                      <a:pt x="11" y="36"/>
                      <a:pt x="17" y="27"/>
                    </a:cubicBezTo>
                    <a:cubicBezTo>
                      <a:pt x="22" y="18"/>
                      <a:pt x="29" y="11"/>
                      <a:pt x="37" y="7"/>
                    </a:cubicBezTo>
                    <a:cubicBezTo>
                      <a:pt x="45" y="2"/>
                      <a:pt x="55" y="0"/>
                      <a:pt x="66" y="0"/>
                    </a:cubicBezTo>
                    <a:cubicBezTo>
                      <a:pt x="107" y="0"/>
                      <a:pt x="127" y="33"/>
                      <a:pt x="127" y="100"/>
                    </a:cubicBezTo>
                    <a:close/>
                    <a:moveTo>
                      <a:pt x="104" y="102"/>
                    </a:moveTo>
                    <a:cubicBezTo>
                      <a:pt x="104" y="47"/>
                      <a:pt x="91" y="19"/>
                      <a:pt x="65" y="19"/>
                    </a:cubicBezTo>
                    <a:cubicBezTo>
                      <a:pt x="37" y="19"/>
                      <a:pt x="23" y="47"/>
                      <a:pt x="23" y="104"/>
                    </a:cubicBezTo>
                    <a:cubicBezTo>
                      <a:pt x="23" y="157"/>
                      <a:pt x="36" y="183"/>
                      <a:pt x="64" y="183"/>
                    </a:cubicBezTo>
                    <a:cubicBezTo>
                      <a:pt x="91" y="183"/>
                      <a:pt x="104" y="156"/>
                      <a:pt x="104"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1" name="Freeform 68"/>
              <p:cNvSpPr>
                <a:spLocks/>
              </p:cNvSpPr>
              <p:nvPr userDrawn="1"/>
            </p:nvSpPr>
            <p:spPr bwMode="auto">
              <a:xfrm>
                <a:off x="4600" y="2928"/>
                <a:ext cx="81" cy="244"/>
              </a:xfrm>
              <a:custGeom>
                <a:avLst/>
                <a:gdLst>
                  <a:gd name="T0" fmla="*/ 67 w 67"/>
                  <a:gd name="T1" fmla="*/ 200 h 200"/>
                  <a:gd name="T2" fmla="*/ 45 w 67"/>
                  <a:gd name="T3" fmla="*/ 200 h 200"/>
                  <a:gd name="T4" fmla="*/ 45 w 67"/>
                  <a:gd name="T5" fmla="*/ 31 h 200"/>
                  <a:gd name="T6" fmla="*/ 37 w 67"/>
                  <a:gd name="T7" fmla="*/ 37 h 200"/>
                  <a:gd name="T8" fmla="*/ 26 w 67"/>
                  <a:gd name="T9" fmla="*/ 43 h 200"/>
                  <a:gd name="T10" fmla="*/ 13 w 67"/>
                  <a:gd name="T11" fmla="*/ 49 h 200"/>
                  <a:gd name="T12" fmla="*/ 0 w 67"/>
                  <a:gd name="T13" fmla="*/ 54 h 200"/>
                  <a:gd name="T14" fmla="*/ 0 w 67"/>
                  <a:gd name="T15" fmla="*/ 31 h 200"/>
                  <a:gd name="T16" fmla="*/ 15 w 67"/>
                  <a:gd name="T17" fmla="*/ 26 h 200"/>
                  <a:gd name="T18" fmla="*/ 32 w 67"/>
                  <a:gd name="T19" fmla="*/ 18 h 200"/>
                  <a:gd name="T20" fmla="*/ 47 w 67"/>
                  <a:gd name="T21" fmla="*/ 9 h 200"/>
                  <a:gd name="T22" fmla="*/ 59 w 67"/>
                  <a:gd name="T23" fmla="*/ 0 h 200"/>
                  <a:gd name="T24" fmla="*/ 67 w 67"/>
                  <a:gd name="T25" fmla="*/ 0 h 200"/>
                  <a:gd name="T26" fmla="*/ 67 w 67"/>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7" h="200">
                    <a:moveTo>
                      <a:pt x="67" y="200"/>
                    </a:moveTo>
                    <a:cubicBezTo>
                      <a:pt x="45" y="200"/>
                      <a:pt x="45" y="200"/>
                      <a:pt x="45" y="200"/>
                    </a:cubicBezTo>
                    <a:cubicBezTo>
                      <a:pt x="45" y="31"/>
                      <a:pt x="45" y="31"/>
                      <a:pt x="45" y="31"/>
                    </a:cubicBezTo>
                    <a:cubicBezTo>
                      <a:pt x="43" y="32"/>
                      <a:pt x="41" y="34"/>
                      <a:pt x="37" y="37"/>
                    </a:cubicBezTo>
                    <a:cubicBezTo>
                      <a:pt x="34" y="39"/>
                      <a:pt x="30" y="41"/>
                      <a:pt x="26" y="43"/>
                    </a:cubicBezTo>
                    <a:cubicBezTo>
                      <a:pt x="22" y="45"/>
                      <a:pt x="18" y="48"/>
                      <a:pt x="13" y="49"/>
                    </a:cubicBezTo>
                    <a:cubicBezTo>
                      <a:pt x="9" y="51"/>
                      <a:pt x="4" y="53"/>
                      <a:pt x="0" y="54"/>
                    </a:cubicBezTo>
                    <a:cubicBezTo>
                      <a:pt x="0" y="31"/>
                      <a:pt x="0" y="31"/>
                      <a:pt x="0" y="31"/>
                    </a:cubicBezTo>
                    <a:cubicBezTo>
                      <a:pt x="5" y="30"/>
                      <a:pt x="10" y="28"/>
                      <a:pt x="15" y="26"/>
                    </a:cubicBezTo>
                    <a:cubicBezTo>
                      <a:pt x="21" y="23"/>
                      <a:pt x="26" y="21"/>
                      <a:pt x="32" y="18"/>
                    </a:cubicBezTo>
                    <a:cubicBezTo>
                      <a:pt x="37" y="15"/>
                      <a:pt x="42" y="12"/>
                      <a:pt x="47" y="9"/>
                    </a:cubicBezTo>
                    <a:cubicBezTo>
                      <a:pt x="51" y="6"/>
                      <a:pt x="56" y="3"/>
                      <a:pt x="59" y="0"/>
                    </a:cubicBezTo>
                    <a:cubicBezTo>
                      <a:pt x="67" y="0"/>
                      <a:pt x="67" y="0"/>
                      <a:pt x="67" y="0"/>
                    </a:cubicBezTo>
                    <a:lnTo>
                      <a:pt x="67"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2" name="Freeform 69"/>
              <p:cNvSpPr>
                <a:spLocks noEditPoints="1"/>
              </p:cNvSpPr>
              <p:nvPr userDrawn="1"/>
            </p:nvSpPr>
            <p:spPr bwMode="auto">
              <a:xfrm>
                <a:off x="4747" y="2929"/>
                <a:ext cx="156" cy="248"/>
              </a:xfrm>
              <a:custGeom>
                <a:avLst/>
                <a:gdLst>
                  <a:gd name="T0" fmla="*/ 128 w 128"/>
                  <a:gd name="T1" fmla="*/ 100 h 203"/>
                  <a:gd name="T2" fmla="*/ 124 w 128"/>
                  <a:gd name="T3" fmla="*/ 144 h 203"/>
                  <a:gd name="T4" fmla="*/ 111 w 128"/>
                  <a:gd name="T5" fmla="*/ 176 h 203"/>
                  <a:gd name="T6" fmla="*/ 90 w 128"/>
                  <a:gd name="T7" fmla="*/ 196 h 203"/>
                  <a:gd name="T8" fmla="*/ 62 w 128"/>
                  <a:gd name="T9" fmla="*/ 203 h 203"/>
                  <a:gd name="T10" fmla="*/ 36 w 128"/>
                  <a:gd name="T11" fmla="*/ 196 h 203"/>
                  <a:gd name="T12" fmla="*/ 16 w 128"/>
                  <a:gd name="T13" fmla="*/ 177 h 203"/>
                  <a:gd name="T14" fmla="*/ 4 w 128"/>
                  <a:gd name="T15" fmla="*/ 147 h 203"/>
                  <a:gd name="T16" fmla="*/ 0 w 128"/>
                  <a:gd name="T17" fmla="*/ 105 h 203"/>
                  <a:gd name="T18" fmla="*/ 5 w 128"/>
                  <a:gd name="T19" fmla="*/ 60 h 203"/>
                  <a:gd name="T20" fmla="*/ 17 w 128"/>
                  <a:gd name="T21" fmla="*/ 27 h 203"/>
                  <a:gd name="T22" fmla="*/ 38 w 128"/>
                  <a:gd name="T23" fmla="*/ 7 h 203"/>
                  <a:gd name="T24" fmla="*/ 66 w 128"/>
                  <a:gd name="T25" fmla="*/ 0 h 203"/>
                  <a:gd name="T26" fmla="*/ 128 w 128"/>
                  <a:gd name="T27" fmla="*/ 100 h 203"/>
                  <a:gd name="T28" fmla="*/ 105 w 128"/>
                  <a:gd name="T29" fmla="*/ 102 h 203"/>
                  <a:gd name="T30" fmla="*/ 65 w 128"/>
                  <a:gd name="T31" fmla="*/ 19 h 203"/>
                  <a:gd name="T32" fmla="*/ 23 w 128"/>
                  <a:gd name="T33" fmla="*/ 104 h 203"/>
                  <a:gd name="T34" fmla="*/ 64 w 128"/>
                  <a:gd name="T35" fmla="*/ 183 h 203"/>
                  <a:gd name="T36" fmla="*/ 105 w 128"/>
                  <a:gd name="T37" fmla="*/ 102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0"/>
                    </a:moveTo>
                    <a:cubicBezTo>
                      <a:pt x="128" y="117"/>
                      <a:pt x="126" y="131"/>
                      <a:pt x="124" y="144"/>
                    </a:cubicBezTo>
                    <a:cubicBezTo>
                      <a:pt x="121" y="157"/>
                      <a:pt x="116" y="167"/>
                      <a:pt x="111" y="176"/>
                    </a:cubicBezTo>
                    <a:cubicBezTo>
                      <a:pt x="105" y="185"/>
                      <a:pt x="98" y="191"/>
                      <a:pt x="90" y="196"/>
                    </a:cubicBezTo>
                    <a:cubicBezTo>
                      <a:pt x="82" y="200"/>
                      <a:pt x="73" y="203"/>
                      <a:pt x="62" y="203"/>
                    </a:cubicBezTo>
                    <a:cubicBezTo>
                      <a:pt x="52" y="203"/>
                      <a:pt x="44" y="200"/>
                      <a:pt x="36" y="196"/>
                    </a:cubicBezTo>
                    <a:cubicBezTo>
                      <a:pt x="28" y="192"/>
                      <a:pt x="22" y="185"/>
                      <a:pt x="16" y="177"/>
                    </a:cubicBezTo>
                    <a:cubicBezTo>
                      <a:pt x="11" y="169"/>
                      <a:pt x="7" y="159"/>
                      <a:pt x="4" y="147"/>
                    </a:cubicBezTo>
                    <a:cubicBezTo>
                      <a:pt x="2" y="134"/>
                      <a:pt x="0" y="121"/>
                      <a:pt x="0" y="105"/>
                    </a:cubicBezTo>
                    <a:cubicBezTo>
                      <a:pt x="0" y="88"/>
                      <a:pt x="2" y="73"/>
                      <a:pt x="5" y="60"/>
                    </a:cubicBezTo>
                    <a:cubicBezTo>
                      <a:pt x="7" y="47"/>
                      <a:pt x="12" y="36"/>
                      <a:pt x="17" y="27"/>
                    </a:cubicBezTo>
                    <a:cubicBezTo>
                      <a:pt x="23" y="18"/>
                      <a:pt x="30" y="11"/>
                      <a:pt x="38" y="7"/>
                    </a:cubicBezTo>
                    <a:cubicBezTo>
                      <a:pt x="46" y="2"/>
                      <a:pt x="56" y="0"/>
                      <a:pt x="66" y="0"/>
                    </a:cubicBezTo>
                    <a:cubicBezTo>
                      <a:pt x="107" y="0"/>
                      <a:pt x="128" y="33"/>
                      <a:pt x="128" y="100"/>
                    </a:cubicBezTo>
                    <a:close/>
                    <a:moveTo>
                      <a:pt x="105" y="102"/>
                    </a:moveTo>
                    <a:cubicBezTo>
                      <a:pt x="105" y="47"/>
                      <a:pt x="92" y="19"/>
                      <a:pt x="65" y="19"/>
                    </a:cubicBezTo>
                    <a:cubicBezTo>
                      <a:pt x="37" y="19"/>
                      <a:pt x="23" y="47"/>
                      <a:pt x="23" y="104"/>
                    </a:cubicBezTo>
                    <a:cubicBezTo>
                      <a:pt x="23" y="157"/>
                      <a:pt x="37" y="183"/>
                      <a:pt x="64" y="183"/>
                    </a:cubicBezTo>
                    <a:cubicBezTo>
                      <a:pt x="91" y="183"/>
                      <a:pt x="105" y="156"/>
                      <a:pt x="105"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3" name="Freeform 70"/>
              <p:cNvSpPr>
                <a:spLocks noEditPoints="1"/>
              </p:cNvSpPr>
              <p:nvPr userDrawn="1"/>
            </p:nvSpPr>
            <p:spPr bwMode="auto">
              <a:xfrm>
                <a:off x="4942" y="2929"/>
                <a:ext cx="156" cy="248"/>
              </a:xfrm>
              <a:custGeom>
                <a:avLst/>
                <a:gdLst>
                  <a:gd name="T0" fmla="*/ 128 w 128"/>
                  <a:gd name="T1" fmla="*/ 100 h 203"/>
                  <a:gd name="T2" fmla="*/ 123 w 128"/>
                  <a:gd name="T3" fmla="*/ 144 h 203"/>
                  <a:gd name="T4" fmla="*/ 111 w 128"/>
                  <a:gd name="T5" fmla="*/ 176 h 203"/>
                  <a:gd name="T6" fmla="*/ 90 w 128"/>
                  <a:gd name="T7" fmla="*/ 196 h 203"/>
                  <a:gd name="T8" fmla="*/ 62 w 128"/>
                  <a:gd name="T9" fmla="*/ 203 h 203"/>
                  <a:gd name="T10" fmla="*/ 36 w 128"/>
                  <a:gd name="T11" fmla="*/ 196 h 203"/>
                  <a:gd name="T12" fmla="*/ 16 w 128"/>
                  <a:gd name="T13" fmla="*/ 177 h 203"/>
                  <a:gd name="T14" fmla="*/ 4 w 128"/>
                  <a:gd name="T15" fmla="*/ 147 h 203"/>
                  <a:gd name="T16" fmla="*/ 0 w 128"/>
                  <a:gd name="T17" fmla="*/ 105 h 203"/>
                  <a:gd name="T18" fmla="*/ 5 w 128"/>
                  <a:gd name="T19" fmla="*/ 60 h 203"/>
                  <a:gd name="T20" fmla="*/ 17 w 128"/>
                  <a:gd name="T21" fmla="*/ 27 h 203"/>
                  <a:gd name="T22" fmla="*/ 38 w 128"/>
                  <a:gd name="T23" fmla="*/ 7 h 203"/>
                  <a:gd name="T24" fmla="*/ 66 w 128"/>
                  <a:gd name="T25" fmla="*/ 0 h 203"/>
                  <a:gd name="T26" fmla="*/ 128 w 128"/>
                  <a:gd name="T27" fmla="*/ 100 h 203"/>
                  <a:gd name="T28" fmla="*/ 105 w 128"/>
                  <a:gd name="T29" fmla="*/ 102 h 203"/>
                  <a:gd name="T30" fmla="*/ 65 w 128"/>
                  <a:gd name="T31" fmla="*/ 19 h 203"/>
                  <a:gd name="T32" fmla="*/ 23 w 128"/>
                  <a:gd name="T33" fmla="*/ 104 h 203"/>
                  <a:gd name="T34" fmla="*/ 64 w 128"/>
                  <a:gd name="T35" fmla="*/ 183 h 203"/>
                  <a:gd name="T36" fmla="*/ 105 w 128"/>
                  <a:gd name="T37" fmla="*/ 102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0"/>
                    </a:moveTo>
                    <a:cubicBezTo>
                      <a:pt x="128" y="117"/>
                      <a:pt x="126" y="131"/>
                      <a:pt x="123" y="144"/>
                    </a:cubicBezTo>
                    <a:cubicBezTo>
                      <a:pt x="121" y="157"/>
                      <a:pt x="116" y="167"/>
                      <a:pt x="111" y="176"/>
                    </a:cubicBezTo>
                    <a:cubicBezTo>
                      <a:pt x="105" y="185"/>
                      <a:pt x="98" y="191"/>
                      <a:pt x="90" y="196"/>
                    </a:cubicBezTo>
                    <a:cubicBezTo>
                      <a:pt x="82" y="200"/>
                      <a:pt x="73" y="203"/>
                      <a:pt x="62" y="203"/>
                    </a:cubicBezTo>
                    <a:cubicBezTo>
                      <a:pt x="52" y="203"/>
                      <a:pt x="44" y="200"/>
                      <a:pt x="36" y="196"/>
                    </a:cubicBezTo>
                    <a:cubicBezTo>
                      <a:pt x="28" y="192"/>
                      <a:pt x="22" y="185"/>
                      <a:pt x="16" y="177"/>
                    </a:cubicBezTo>
                    <a:cubicBezTo>
                      <a:pt x="11" y="169"/>
                      <a:pt x="7" y="159"/>
                      <a:pt x="4" y="147"/>
                    </a:cubicBezTo>
                    <a:cubicBezTo>
                      <a:pt x="2" y="134"/>
                      <a:pt x="0" y="121"/>
                      <a:pt x="0" y="105"/>
                    </a:cubicBezTo>
                    <a:cubicBezTo>
                      <a:pt x="0" y="88"/>
                      <a:pt x="2" y="73"/>
                      <a:pt x="5" y="60"/>
                    </a:cubicBezTo>
                    <a:cubicBezTo>
                      <a:pt x="7" y="47"/>
                      <a:pt x="12" y="36"/>
                      <a:pt x="17" y="27"/>
                    </a:cubicBezTo>
                    <a:cubicBezTo>
                      <a:pt x="23" y="18"/>
                      <a:pt x="30" y="11"/>
                      <a:pt x="38" y="7"/>
                    </a:cubicBezTo>
                    <a:cubicBezTo>
                      <a:pt x="46" y="2"/>
                      <a:pt x="56" y="0"/>
                      <a:pt x="66" y="0"/>
                    </a:cubicBezTo>
                    <a:cubicBezTo>
                      <a:pt x="107" y="0"/>
                      <a:pt x="128" y="33"/>
                      <a:pt x="128" y="100"/>
                    </a:cubicBezTo>
                    <a:close/>
                    <a:moveTo>
                      <a:pt x="105" y="102"/>
                    </a:moveTo>
                    <a:cubicBezTo>
                      <a:pt x="105" y="47"/>
                      <a:pt x="92" y="19"/>
                      <a:pt x="65" y="19"/>
                    </a:cubicBezTo>
                    <a:cubicBezTo>
                      <a:pt x="37" y="19"/>
                      <a:pt x="23" y="47"/>
                      <a:pt x="23" y="104"/>
                    </a:cubicBezTo>
                    <a:cubicBezTo>
                      <a:pt x="23" y="157"/>
                      <a:pt x="37" y="183"/>
                      <a:pt x="64" y="183"/>
                    </a:cubicBezTo>
                    <a:cubicBezTo>
                      <a:pt x="91" y="183"/>
                      <a:pt x="105" y="156"/>
                      <a:pt x="105"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4" name="Freeform 71"/>
              <p:cNvSpPr>
                <a:spLocks noEditPoints="1"/>
              </p:cNvSpPr>
              <p:nvPr userDrawn="1"/>
            </p:nvSpPr>
            <p:spPr bwMode="auto">
              <a:xfrm>
                <a:off x="5137" y="2929"/>
                <a:ext cx="156" cy="248"/>
              </a:xfrm>
              <a:custGeom>
                <a:avLst/>
                <a:gdLst>
                  <a:gd name="T0" fmla="*/ 128 w 128"/>
                  <a:gd name="T1" fmla="*/ 100 h 203"/>
                  <a:gd name="T2" fmla="*/ 123 w 128"/>
                  <a:gd name="T3" fmla="*/ 144 h 203"/>
                  <a:gd name="T4" fmla="*/ 111 w 128"/>
                  <a:gd name="T5" fmla="*/ 176 h 203"/>
                  <a:gd name="T6" fmla="*/ 90 w 128"/>
                  <a:gd name="T7" fmla="*/ 196 h 203"/>
                  <a:gd name="T8" fmla="*/ 62 w 128"/>
                  <a:gd name="T9" fmla="*/ 203 h 203"/>
                  <a:gd name="T10" fmla="*/ 36 w 128"/>
                  <a:gd name="T11" fmla="*/ 196 h 203"/>
                  <a:gd name="T12" fmla="*/ 16 w 128"/>
                  <a:gd name="T13" fmla="*/ 177 h 203"/>
                  <a:gd name="T14" fmla="*/ 4 w 128"/>
                  <a:gd name="T15" fmla="*/ 147 h 203"/>
                  <a:gd name="T16" fmla="*/ 0 w 128"/>
                  <a:gd name="T17" fmla="*/ 105 h 203"/>
                  <a:gd name="T18" fmla="*/ 5 w 128"/>
                  <a:gd name="T19" fmla="*/ 60 h 203"/>
                  <a:gd name="T20" fmla="*/ 17 w 128"/>
                  <a:gd name="T21" fmla="*/ 27 h 203"/>
                  <a:gd name="T22" fmla="*/ 38 w 128"/>
                  <a:gd name="T23" fmla="*/ 7 h 203"/>
                  <a:gd name="T24" fmla="*/ 66 w 128"/>
                  <a:gd name="T25" fmla="*/ 0 h 203"/>
                  <a:gd name="T26" fmla="*/ 128 w 128"/>
                  <a:gd name="T27" fmla="*/ 100 h 203"/>
                  <a:gd name="T28" fmla="*/ 105 w 128"/>
                  <a:gd name="T29" fmla="*/ 102 h 203"/>
                  <a:gd name="T30" fmla="*/ 65 w 128"/>
                  <a:gd name="T31" fmla="*/ 19 h 203"/>
                  <a:gd name="T32" fmla="*/ 23 w 128"/>
                  <a:gd name="T33" fmla="*/ 104 h 203"/>
                  <a:gd name="T34" fmla="*/ 64 w 128"/>
                  <a:gd name="T35" fmla="*/ 183 h 203"/>
                  <a:gd name="T36" fmla="*/ 105 w 128"/>
                  <a:gd name="T37" fmla="*/ 102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0"/>
                    </a:moveTo>
                    <a:cubicBezTo>
                      <a:pt x="128" y="117"/>
                      <a:pt x="126" y="131"/>
                      <a:pt x="123" y="144"/>
                    </a:cubicBezTo>
                    <a:cubicBezTo>
                      <a:pt x="121" y="157"/>
                      <a:pt x="116" y="167"/>
                      <a:pt x="111" y="176"/>
                    </a:cubicBezTo>
                    <a:cubicBezTo>
                      <a:pt x="105" y="185"/>
                      <a:pt x="98" y="191"/>
                      <a:pt x="90" y="196"/>
                    </a:cubicBezTo>
                    <a:cubicBezTo>
                      <a:pt x="82" y="200"/>
                      <a:pt x="73" y="203"/>
                      <a:pt x="62" y="203"/>
                    </a:cubicBezTo>
                    <a:cubicBezTo>
                      <a:pt x="52" y="203"/>
                      <a:pt x="44" y="200"/>
                      <a:pt x="36" y="196"/>
                    </a:cubicBezTo>
                    <a:cubicBezTo>
                      <a:pt x="28" y="192"/>
                      <a:pt x="22" y="185"/>
                      <a:pt x="16" y="177"/>
                    </a:cubicBezTo>
                    <a:cubicBezTo>
                      <a:pt x="11" y="169"/>
                      <a:pt x="7" y="159"/>
                      <a:pt x="4" y="147"/>
                    </a:cubicBezTo>
                    <a:cubicBezTo>
                      <a:pt x="2" y="134"/>
                      <a:pt x="0" y="121"/>
                      <a:pt x="0" y="105"/>
                    </a:cubicBezTo>
                    <a:cubicBezTo>
                      <a:pt x="0" y="88"/>
                      <a:pt x="2" y="73"/>
                      <a:pt x="5" y="60"/>
                    </a:cubicBezTo>
                    <a:cubicBezTo>
                      <a:pt x="7" y="47"/>
                      <a:pt x="12" y="36"/>
                      <a:pt x="17" y="27"/>
                    </a:cubicBezTo>
                    <a:cubicBezTo>
                      <a:pt x="23" y="18"/>
                      <a:pt x="30" y="11"/>
                      <a:pt x="38" y="7"/>
                    </a:cubicBezTo>
                    <a:cubicBezTo>
                      <a:pt x="46" y="2"/>
                      <a:pt x="56" y="0"/>
                      <a:pt x="66" y="0"/>
                    </a:cubicBezTo>
                    <a:cubicBezTo>
                      <a:pt x="107" y="0"/>
                      <a:pt x="128" y="33"/>
                      <a:pt x="128" y="100"/>
                    </a:cubicBezTo>
                    <a:close/>
                    <a:moveTo>
                      <a:pt x="105" y="102"/>
                    </a:moveTo>
                    <a:cubicBezTo>
                      <a:pt x="105" y="47"/>
                      <a:pt x="92" y="19"/>
                      <a:pt x="65" y="19"/>
                    </a:cubicBezTo>
                    <a:cubicBezTo>
                      <a:pt x="37" y="19"/>
                      <a:pt x="23" y="47"/>
                      <a:pt x="23" y="104"/>
                    </a:cubicBezTo>
                    <a:cubicBezTo>
                      <a:pt x="23" y="157"/>
                      <a:pt x="37" y="183"/>
                      <a:pt x="64" y="183"/>
                    </a:cubicBezTo>
                    <a:cubicBezTo>
                      <a:pt x="91" y="183"/>
                      <a:pt x="105" y="156"/>
                      <a:pt x="105"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5" name="Freeform 72"/>
              <p:cNvSpPr>
                <a:spLocks/>
              </p:cNvSpPr>
              <p:nvPr userDrawn="1"/>
            </p:nvSpPr>
            <p:spPr bwMode="auto">
              <a:xfrm>
                <a:off x="5334" y="2928"/>
                <a:ext cx="83" cy="244"/>
              </a:xfrm>
              <a:custGeom>
                <a:avLst/>
                <a:gdLst>
                  <a:gd name="T0" fmla="*/ 68 w 68"/>
                  <a:gd name="T1" fmla="*/ 200 h 200"/>
                  <a:gd name="T2" fmla="*/ 46 w 68"/>
                  <a:gd name="T3" fmla="*/ 200 h 200"/>
                  <a:gd name="T4" fmla="*/ 46 w 68"/>
                  <a:gd name="T5" fmla="*/ 31 h 200"/>
                  <a:gd name="T6" fmla="*/ 38 w 68"/>
                  <a:gd name="T7" fmla="*/ 37 h 200"/>
                  <a:gd name="T8" fmla="*/ 27 w 68"/>
                  <a:gd name="T9" fmla="*/ 43 h 200"/>
                  <a:gd name="T10" fmla="*/ 14 w 68"/>
                  <a:gd name="T11" fmla="*/ 49 h 200"/>
                  <a:gd name="T12" fmla="*/ 0 w 68"/>
                  <a:gd name="T13" fmla="*/ 54 h 200"/>
                  <a:gd name="T14" fmla="*/ 0 w 68"/>
                  <a:gd name="T15" fmla="*/ 31 h 200"/>
                  <a:gd name="T16" fmla="*/ 16 w 68"/>
                  <a:gd name="T17" fmla="*/ 26 h 200"/>
                  <a:gd name="T18" fmla="*/ 32 w 68"/>
                  <a:gd name="T19" fmla="*/ 18 h 200"/>
                  <a:gd name="T20" fmla="*/ 47 w 68"/>
                  <a:gd name="T21" fmla="*/ 9 h 200"/>
                  <a:gd name="T22" fmla="*/ 60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6" y="200"/>
                      <a:pt x="46" y="200"/>
                      <a:pt x="46" y="200"/>
                    </a:cubicBezTo>
                    <a:cubicBezTo>
                      <a:pt x="46" y="31"/>
                      <a:pt x="46" y="31"/>
                      <a:pt x="46" y="31"/>
                    </a:cubicBezTo>
                    <a:cubicBezTo>
                      <a:pt x="44" y="32"/>
                      <a:pt x="41" y="34"/>
                      <a:pt x="38" y="37"/>
                    </a:cubicBezTo>
                    <a:cubicBezTo>
                      <a:pt x="35" y="39"/>
                      <a:pt x="31" y="41"/>
                      <a:pt x="27" y="43"/>
                    </a:cubicBezTo>
                    <a:cubicBezTo>
                      <a:pt x="23" y="45"/>
                      <a:pt x="18" y="48"/>
                      <a:pt x="14" y="49"/>
                    </a:cubicBezTo>
                    <a:cubicBezTo>
                      <a:pt x="9" y="51"/>
                      <a:pt x="5" y="53"/>
                      <a:pt x="0" y="54"/>
                    </a:cubicBezTo>
                    <a:cubicBezTo>
                      <a:pt x="0" y="31"/>
                      <a:pt x="0" y="31"/>
                      <a:pt x="0" y="31"/>
                    </a:cubicBezTo>
                    <a:cubicBezTo>
                      <a:pt x="5" y="30"/>
                      <a:pt x="10" y="28"/>
                      <a:pt x="16" y="26"/>
                    </a:cubicBezTo>
                    <a:cubicBezTo>
                      <a:pt x="21" y="23"/>
                      <a:pt x="27" y="21"/>
                      <a:pt x="32" y="18"/>
                    </a:cubicBezTo>
                    <a:cubicBezTo>
                      <a:pt x="38" y="15"/>
                      <a:pt x="43" y="12"/>
                      <a:pt x="47" y="9"/>
                    </a:cubicBezTo>
                    <a:cubicBezTo>
                      <a:pt x="52" y="6"/>
                      <a:pt x="56" y="3"/>
                      <a:pt x="60"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6" name="Freeform 73"/>
              <p:cNvSpPr>
                <a:spLocks noEditPoints="1"/>
              </p:cNvSpPr>
              <p:nvPr userDrawn="1"/>
            </p:nvSpPr>
            <p:spPr bwMode="auto">
              <a:xfrm>
                <a:off x="5483" y="2929"/>
                <a:ext cx="156" cy="248"/>
              </a:xfrm>
              <a:custGeom>
                <a:avLst/>
                <a:gdLst>
                  <a:gd name="T0" fmla="*/ 128 w 128"/>
                  <a:gd name="T1" fmla="*/ 100 h 203"/>
                  <a:gd name="T2" fmla="*/ 123 w 128"/>
                  <a:gd name="T3" fmla="*/ 144 h 203"/>
                  <a:gd name="T4" fmla="*/ 110 w 128"/>
                  <a:gd name="T5" fmla="*/ 176 h 203"/>
                  <a:gd name="T6" fmla="*/ 90 w 128"/>
                  <a:gd name="T7" fmla="*/ 196 h 203"/>
                  <a:gd name="T8" fmla="*/ 62 w 128"/>
                  <a:gd name="T9" fmla="*/ 203 h 203"/>
                  <a:gd name="T10" fmla="*/ 36 w 128"/>
                  <a:gd name="T11" fmla="*/ 196 h 203"/>
                  <a:gd name="T12" fmla="*/ 16 w 128"/>
                  <a:gd name="T13" fmla="*/ 177 h 203"/>
                  <a:gd name="T14" fmla="*/ 4 w 128"/>
                  <a:gd name="T15" fmla="*/ 147 h 203"/>
                  <a:gd name="T16" fmla="*/ 0 w 128"/>
                  <a:gd name="T17" fmla="*/ 105 h 203"/>
                  <a:gd name="T18" fmla="*/ 4 w 128"/>
                  <a:gd name="T19" fmla="*/ 60 h 203"/>
                  <a:gd name="T20" fmla="*/ 17 w 128"/>
                  <a:gd name="T21" fmla="*/ 27 h 203"/>
                  <a:gd name="T22" fmla="*/ 38 w 128"/>
                  <a:gd name="T23" fmla="*/ 7 h 203"/>
                  <a:gd name="T24" fmla="*/ 66 w 128"/>
                  <a:gd name="T25" fmla="*/ 0 h 203"/>
                  <a:gd name="T26" fmla="*/ 128 w 128"/>
                  <a:gd name="T27" fmla="*/ 100 h 203"/>
                  <a:gd name="T28" fmla="*/ 105 w 128"/>
                  <a:gd name="T29" fmla="*/ 102 h 203"/>
                  <a:gd name="T30" fmla="*/ 65 w 128"/>
                  <a:gd name="T31" fmla="*/ 19 h 203"/>
                  <a:gd name="T32" fmla="*/ 23 w 128"/>
                  <a:gd name="T33" fmla="*/ 104 h 203"/>
                  <a:gd name="T34" fmla="*/ 64 w 128"/>
                  <a:gd name="T35" fmla="*/ 183 h 203"/>
                  <a:gd name="T36" fmla="*/ 105 w 128"/>
                  <a:gd name="T37" fmla="*/ 102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0"/>
                    </a:moveTo>
                    <a:cubicBezTo>
                      <a:pt x="128" y="117"/>
                      <a:pt x="126" y="131"/>
                      <a:pt x="123" y="144"/>
                    </a:cubicBezTo>
                    <a:cubicBezTo>
                      <a:pt x="120" y="157"/>
                      <a:pt x="116" y="167"/>
                      <a:pt x="110" y="176"/>
                    </a:cubicBezTo>
                    <a:cubicBezTo>
                      <a:pt x="105" y="185"/>
                      <a:pt x="98" y="191"/>
                      <a:pt x="90" y="196"/>
                    </a:cubicBezTo>
                    <a:cubicBezTo>
                      <a:pt x="82" y="200"/>
                      <a:pt x="72" y="203"/>
                      <a:pt x="62" y="203"/>
                    </a:cubicBezTo>
                    <a:cubicBezTo>
                      <a:pt x="52" y="203"/>
                      <a:pt x="43" y="200"/>
                      <a:pt x="36" y="196"/>
                    </a:cubicBezTo>
                    <a:cubicBezTo>
                      <a:pt x="28" y="192"/>
                      <a:pt x="21" y="185"/>
                      <a:pt x="16" y="177"/>
                    </a:cubicBezTo>
                    <a:cubicBezTo>
                      <a:pt x="11" y="169"/>
                      <a:pt x="7" y="159"/>
                      <a:pt x="4" y="147"/>
                    </a:cubicBezTo>
                    <a:cubicBezTo>
                      <a:pt x="1" y="134"/>
                      <a:pt x="0" y="121"/>
                      <a:pt x="0" y="105"/>
                    </a:cubicBezTo>
                    <a:cubicBezTo>
                      <a:pt x="0" y="88"/>
                      <a:pt x="1" y="73"/>
                      <a:pt x="4" y="60"/>
                    </a:cubicBezTo>
                    <a:cubicBezTo>
                      <a:pt x="7" y="47"/>
                      <a:pt x="11" y="36"/>
                      <a:pt x="17" y="27"/>
                    </a:cubicBezTo>
                    <a:cubicBezTo>
                      <a:pt x="22" y="18"/>
                      <a:pt x="29" y="11"/>
                      <a:pt x="38" y="7"/>
                    </a:cubicBezTo>
                    <a:cubicBezTo>
                      <a:pt x="46" y="2"/>
                      <a:pt x="55" y="0"/>
                      <a:pt x="66" y="0"/>
                    </a:cubicBezTo>
                    <a:cubicBezTo>
                      <a:pt x="107" y="0"/>
                      <a:pt x="128" y="33"/>
                      <a:pt x="128" y="100"/>
                    </a:cubicBezTo>
                    <a:close/>
                    <a:moveTo>
                      <a:pt x="105" y="102"/>
                    </a:moveTo>
                    <a:cubicBezTo>
                      <a:pt x="105" y="47"/>
                      <a:pt x="91" y="19"/>
                      <a:pt x="65" y="19"/>
                    </a:cubicBezTo>
                    <a:cubicBezTo>
                      <a:pt x="37" y="19"/>
                      <a:pt x="23" y="47"/>
                      <a:pt x="23" y="104"/>
                    </a:cubicBezTo>
                    <a:cubicBezTo>
                      <a:pt x="23" y="157"/>
                      <a:pt x="37" y="183"/>
                      <a:pt x="64" y="183"/>
                    </a:cubicBezTo>
                    <a:cubicBezTo>
                      <a:pt x="91" y="183"/>
                      <a:pt x="105" y="156"/>
                      <a:pt x="105"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7" name="Freeform 74"/>
              <p:cNvSpPr>
                <a:spLocks/>
              </p:cNvSpPr>
              <p:nvPr userDrawn="1"/>
            </p:nvSpPr>
            <p:spPr bwMode="auto">
              <a:xfrm>
                <a:off x="5680" y="2928"/>
                <a:ext cx="83" cy="244"/>
              </a:xfrm>
              <a:custGeom>
                <a:avLst/>
                <a:gdLst>
                  <a:gd name="T0" fmla="*/ 68 w 68"/>
                  <a:gd name="T1" fmla="*/ 200 h 200"/>
                  <a:gd name="T2" fmla="*/ 45 w 68"/>
                  <a:gd name="T3" fmla="*/ 200 h 200"/>
                  <a:gd name="T4" fmla="*/ 45 w 68"/>
                  <a:gd name="T5" fmla="*/ 31 h 200"/>
                  <a:gd name="T6" fmla="*/ 38 w 68"/>
                  <a:gd name="T7" fmla="*/ 37 h 200"/>
                  <a:gd name="T8" fmla="*/ 27 w 68"/>
                  <a:gd name="T9" fmla="*/ 43 h 200"/>
                  <a:gd name="T10" fmla="*/ 13 w 68"/>
                  <a:gd name="T11" fmla="*/ 49 h 200"/>
                  <a:gd name="T12" fmla="*/ 0 w 68"/>
                  <a:gd name="T13" fmla="*/ 54 h 200"/>
                  <a:gd name="T14" fmla="*/ 0 w 68"/>
                  <a:gd name="T15" fmla="*/ 31 h 200"/>
                  <a:gd name="T16" fmla="*/ 16 w 68"/>
                  <a:gd name="T17" fmla="*/ 26 h 200"/>
                  <a:gd name="T18" fmla="*/ 32 w 68"/>
                  <a:gd name="T19" fmla="*/ 18 h 200"/>
                  <a:gd name="T20" fmla="*/ 47 w 68"/>
                  <a:gd name="T21" fmla="*/ 9 h 200"/>
                  <a:gd name="T22" fmla="*/ 59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5" y="200"/>
                      <a:pt x="45" y="200"/>
                      <a:pt x="45" y="200"/>
                    </a:cubicBezTo>
                    <a:cubicBezTo>
                      <a:pt x="45" y="31"/>
                      <a:pt x="45" y="31"/>
                      <a:pt x="45" y="31"/>
                    </a:cubicBezTo>
                    <a:cubicBezTo>
                      <a:pt x="44" y="32"/>
                      <a:pt x="41" y="34"/>
                      <a:pt x="38" y="37"/>
                    </a:cubicBezTo>
                    <a:cubicBezTo>
                      <a:pt x="34" y="39"/>
                      <a:pt x="31" y="41"/>
                      <a:pt x="27" y="43"/>
                    </a:cubicBezTo>
                    <a:cubicBezTo>
                      <a:pt x="22" y="45"/>
                      <a:pt x="18" y="48"/>
                      <a:pt x="13" y="49"/>
                    </a:cubicBezTo>
                    <a:cubicBezTo>
                      <a:pt x="9" y="51"/>
                      <a:pt x="4" y="53"/>
                      <a:pt x="0" y="54"/>
                    </a:cubicBezTo>
                    <a:cubicBezTo>
                      <a:pt x="0" y="31"/>
                      <a:pt x="0" y="31"/>
                      <a:pt x="0" y="31"/>
                    </a:cubicBezTo>
                    <a:cubicBezTo>
                      <a:pt x="5" y="30"/>
                      <a:pt x="10" y="28"/>
                      <a:pt x="16" y="26"/>
                    </a:cubicBezTo>
                    <a:cubicBezTo>
                      <a:pt x="21" y="23"/>
                      <a:pt x="27" y="21"/>
                      <a:pt x="32" y="18"/>
                    </a:cubicBezTo>
                    <a:cubicBezTo>
                      <a:pt x="37" y="15"/>
                      <a:pt x="42" y="12"/>
                      <a:pt x="47" y="9"/>
                    </a:cubicBezTo>
                    <a:cubicBezTo>
                      <a:pt x="52" y="6"/>
                      <a:pt x="56" y="3"/>
                      <a:pt x="59"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8" name="Freeform 75"/>
              <p:cNvSpPr>
                <a:spLocks/>
              </p:cNvSpPr>
              <p:nvPr userDrawn="1"/>
            </p:nvSpPr>
            <p:spPr bwMode="auto">
              <a:xfrm>
                <a:off x="5830" y="2928"/>
                <a:ext cx="82" cy="244"/>
              </a:xfrm>
              <a:custGeom>
                <a:avLst/>
                <a:gdLst>
                  <a:gd name="T0" fmla="*/ 67 w 67"/>
                  <a:gd name="T1" fmla="*/ 200 h 200"/>
                  <a:gd name="T2" fmla="*/ 45 w 67"/>
                  <a:gd name="T3" fmla="*/ 200 h 200"/>
                  <a:gd name="T4" fmla="*/ 45 w 67"/>
                  <a:gd name="T5" fmla="*/ 31 h 200"/>
                  <a:gd name="T6" fmla="*/ 37 w 67"/>
                  <a:gd name="T7" fmla="*/ 37 h 200"/>
                  <a:gd name="T8" fmla="*/ 26 w 67"/>
                  <a:gd name="T9" fmla="*/ 43 h 200"/>
                  <a:gd name="T10" fmla="*/ 13 w 67"/>
                  <a:gd name="T11" fmla="*/ 49 h 200"/>
                  <a:gd name="T12" fmla="*/ 0 w 67"/>
                  <a:gd name="T13" fmla="*/ 54 h 200"/>
                  <a:gd name="T14" fmla="*/ 0 w 67"/>
                  <a:gd name="T15" fmla="*/ 31 h 200"/>
                  <a:gd name="T16" fmla="*/ 15 w 67"/>
                  <a:gd name="T17" fmla="*/ 26 h 200"/>
                  <a:gd name="T18" fmla="*/ 31 w 67"/>
                  <a:gd name="T19" fmla="*/ 18 h 200"/>
                  <a:gd name="T20" fmla="*/ 47 w 67"/>
                  <a:gd name="T21" fmla="*/ 9 h 200"/>
                  <a:gd name="T22" fmla="*/ 59 w 67"/>
                  <a:gd name="T23" fmla="*/ 0 h 200"/>
                  <a:gd name="T24" fmla="*/ 67 w 67"/>
                  <a:gd name="T25" fmla="*/ 0 h 200"/>
                  <a:gd name="T26" fmla="*/ 67 w 67"/>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7" h="200">
                    <a:moveTo>
                      <a:pt x="67" y="200"/>
                    </a:moveTo>
                    <a:cubicBezTo>
                      <a:pt x="45" y="200"/>
                      <a:pt x="45" y="200"/>
                      <a:pt x="45" y="200"/>
                    </a:cubicBezTo>
                    <a:cubicBezTo>
                      <a:pt x="45" y="31"/>
                      <a:pt x="45" y="31"/>
                      <a:pt x="45" y="31"/>
                    </a:cubicBezTo>
                    <a:cubicBezTo>
                      <a:pt x="43" y="32"/>
                      <a:pt x="41" y="34"/>
                      <a:pt x="37" y="37"/>
                    </a:cubicBezTo>
                    <a:cubicBezTo>
                      <a:pt x="34" y="39"/>
                      <a:pt x="30" y="41"/>
                      <a:pt x="26" y="43"/>
                    </a:cubicBezTo>
                    <a:cubicBezTo>
                      <a:pt x="22" y="45"/>
                      <a:pt x="18" y="48"/>
                      <a:pt x="13" y="49"/>
                    </a:cubicBezTo>
                    <a:cubicBezTo>
                      <a:pt x="8" y="51"/>
                      <a:pt x="4" y="53"/>
                      <a:pt x="0" y="54"/>
                    </a:cubicBezTo>
                    <a:cubicBezTo>
                      <a:pt x="0" y="31"/>
                      <a:pt x="0" y="31"/>
                      <a:pt x="0" y="31"/>
                    </a:cubicBezTo>
                    <a:cubicBezTo>
                      <a:pt x="4" y="30"/>
                      <a:pt x="10" y="28"/>
                      <a:pt x="15" y="26"/>
                    </a:cubicBezTo>
                    <a:cubicBezTo>
                      <a:pt x="21" y="23"/>
                      <a:pt x="26" y="21"/>
                      <a:pt x="31" y="18"/>
                    </a:cubicBezTo>
                    <a:cubicBezTo>
                      <a:pt x="37" y="15"/>
                      <a:pt x="42" y="12"/>
                      <a:pt x="47" y="9"/>
                    </a:cubicBezTo>
                    <a:cubicBezTo>
                      <a:pt x="51" y="6"/>
                      <a:pt x="55" y="3"/>
                      <a:pt x="59" y="0"/>
                    </a:cubicBezTo>
                    <a:cubicBezTo>
                      <a:pt x="67" y="0"/>
                      <a:pt x="67" y="0"/>
                      <a:pt x="67" y="0"/>
                    </a:cubicBezTo>
                    <a:lnTo>
                      <a:pt x="67"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9" name="Freeform 76"/>
              <p:cNvSpPr>
                <a:spLocks noEditPoints="1"/>
              </p:cNvSpPr>
              <p:nvPr userDrawn="1"/>
            </p:nvSpPr>
            <p:spPr bwMode="auto">
              <a:xfrm>
                <a:off x="5978" y="2929"/>
                <a:ext cx="156" cy="248"/>
              </a:xfrm>
              <a:custGeom>
                <a:avLst/>
                <a:gdLst>
                  <a:gd name="T0" fmla="*/ 128 w 128"/>
                  <a:gd name="T1" fmla="*/ 100 h 203"/>
                  <a:gd name="T2" fmla="*/ 123 w 128"/>
                  <a:gd name="T3" fmla="*/ 144 h 203"/>
                  <a:gd name="T4" fmla="*/ 111 w 128"/>
                  <a:gd name="T5" fmla="*/ 176 h 203"/>
                  <a:gd name="T6" fmla="*/ 90 w 128"/>
                  <a:gd name="T7" fmla="*/ 196 h 203"/>
                  <a:gd name="T8" fmla="*/ 62 w 128"/>
                  <a:gd name="T9" fmla="*/ 203 h 203"/>
                  <a:gd name="T10" fmla="*/ 36 w 128"/>
                  <a:gd name="T11" fmla="*/ 196 h 203"/>
                  <a:gd name="T12" fmla="*/ 16 w 128"/>
                  <a:gd name="T13" fmla="*/ 177 h 203"/>
                  <a:gd name="T14" fmla="*/ 4 w 128"/>
                  <a:gd name="T15" fmla="*/ 147 h 203"/>
                  <a:gd name="T16" fmla="*/ 0 w 128"/>
                  <a:gd name="T17" fmla="*/ 105 h 203"/>
                  <a:gd name="T18" fmla="*/ 4 w 128"/>
                  <a:gd name="T19" fmla="*/ 60 h 203"/>
                  <a:gd name="T20" fmla="*/ 17 w 128"/>
                  <a:gd name="T21" fmla="*/ 27 h 203"/>
                  <a:gd name="T22" fmla="*/ 38 w 128"/>
                  <a:gd name="T23" fmla="*/ 7 h 203"/>
                  <a:gd name="T24" fmla="*/ 66 w 128"/>
                  <a:gd name="T25" fmla="*/ 0 h 203"/>
                  <a:gd name="T26" fmla="*/ 128 w 128"/>
                  <a:gd name="T27" fmla="*/ 100 h 203"/>
                  <a:gd name="T28" fmla="*/ 105 w 128"/>
                  <a:gd name="T29" fmla="*/ 102 h 203"/>
                  <a:gd name="T30" fmla="*/ 65 w 128"/>
                  <a:gd name="T31" fmla="*/ 19 h 203"/>
                  <a:gd name="T32" fmla="*/ 23 w 128"/>
                  <a:gd name="T33" fmla="*/ 104 h 203"/>
                  <a:gd name="T34" fmla="*/ 64 w 128"/>
                  <a:gd name="T35" fmla="*/ 183 h 203"/>
                  <a:gd name="T36" fmla="*/ 105 w 128"/>
                  <a:gd name="T37" fmla="*/ 102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0"/>
                    </a:moveTo>
                    <a:cubicBezTo>
                      <a:pt x="128" y="117"/>
                      <a:pt x="126" y="131"/>
                      <a:pt x="123" y="144"/>
                    </a:cubicBezTo>
                    <a:cubicBezTo>
                      <a:pt x="120" y="157"/>
                      <a:pt x="116" y="167"/>
                      <a:pt x="111" y="176"/>
                    </a:cubicBezTo>
                    <a:cubicBezTo>
                      <a:pt x="105" y="185"/>
                      <a:pt x="98" y="191"/>
                      <a:pt x="90" y="196"/>
                    </a:cubicBezTo>
                    <a:cubicBezTo>
                      <a:pt x="82" y="200"/>
                      <a:pt x="73" y="203"/>
                      <a:pt x="62" y="203"/>
                    </a:cubicBezTo>
                    <a:cubicBezTo>
                      <a:pt x="52" y="203"/>
                      <a:pt x="43" y="200"/>
                      <a:pt x="36" y="196"/>
                    </a:cubicBezTo>
                    <a:cubicBezTo>
                      <a:pt x="28" y="192"/>
                      <a:pt x="22" y="185"/>
                      <a:pt x="16" y="177"/>
                    </a:cubicBezTo>
                    <a:cubicBezTo>
                      <a:pt x="11" y="169"/>
                      <a:pt x="7" y="159"/>
                      <a:pt x="4" y="147"/>
                    </a:cubicBezTo>
                    <a:cubicBezTo>
                      <a:pt x="2" y="134"/>
                      <a:pt x="0" y="121"/>
                      <a:pt x="0" y="105"/>
                    </a:cubicBezTo>
                    <a:cubicBezTo>
                      <a:pt x="0" y="88"/>
                      <a:pt x="2" y="73"/>
                      <a:pt x="4" y="60"/>
                    </a:cubicBezTo>
                    <a:cubicBezTo>
                      <a:pt x="7" y="47"/>
                      <a:pt x="12" y="36"/>
                      <a:pt x="17" y="27"/>
                    </a:cubicBezTo>
                    <a:cubicBezTo>
                      <a:pt x="23" y="18"/>
                      <a:pt x="30" y="11"/>
                      <a:pt x="38" y="7"/>
                    </a:cubicBezTo>
                    <a:cubicBezTo>
                      <a:pt x="46" y="2"/>
                      <a:pt x="56" y="0"/>
                      <a:pt x="66" y="0"/>
                    </a:cubicBezTo>
                    <a:cubicBezTo>
                      <a:pt x="107" y="0"/>
                      <a:pt x="128" y="33"/>
                      <a:pt x="128" y="100"/>
                    </a:cubicBezTo>
                    <a:close/>
                    <a:moveTo>
                      <a:pt x="105" y="102"/>
                    </a:moveTo>
                    <a:cubicBezTo>
                      <a:pt x="105" y="47"/>
                      <a:pt x="92" y="19"/>
                      <a:pt x="65" y="19"/>
                    </a:cubicBezTo>
                    <a:cubicBezTo>
                      <a:pt x="37" y="19"/>
                      <a:pt x="23" y="47"/>
                      <a:pt x="23" y="104"/>
                    </a:cubicBezTo>
                    <a:cubicBezTo>
                      <a:pt x="23" y="157"/>
                      <a:pt x="37" y="183"/>
                      <a:pt x="64" y="183"/>
                    </a:cubicBezTo>
                    <a:cubicBezTo>
                      <a:pt x="91" y="183"/>
                      <a:pt x="105" y="156"/>
                      <a:pt x="105"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0" name="Freeform 77"/>
              <p:cNvSpPr>
                <a:spLocks/>
              </p:cNvSpPr>
              <p:nvPr userDrawn="1"/>
            </p:nvSpPr>
            <p:spPr bwMode="auto">
              <a:xfrm>
                <a:off x="6175" y="2928"/>
                <a:ext cx="83" cy="244"/>
              </a:xfrm>
              <a:custGeom>
                <a:avLst/>
                <a:gdLst>
                  <a:gd name="T0" fmla="*/ 68 w 68"/>
                  <a:gd name="T1" fmla="*/ 200 h 200"/>
                  <a:gd name="T2" fmla="*/ 46 w 68"/>
                  <a:gd name="T3" fmla="*/ 200 h 200"/>
                  <a:gd name="T4" fmla="*/ 46 w 68"/>
                  <a:gd name="T5" fmla="*/ 31 h 200"/>
                  <a:gd name="T6" fmla="*/ 38 w 68"/>
                  <a:gd name="T7" fmla="*/ 37 h 200"/>
                  <a:gd name="T8" fmla="*/ 27 w 68"/>
                  <a:gd name="T9" fmla="*/ 43 h 200"/>
                  <a:gd name="T10" fmla="*/ 14 w 68"/>
                  <a:gd name="T11" fmla="*/ 49 h 200"/>
                  <a:gd name="T12" fmla="*/ 0 w 68"/>
                  <a:gd name="T13" fmla="*/ 54 h 200"/>
                  <a:gd name="T14" fmla="*/ 0 w 68"/>
                  <a:gd name="T15" fmla="*/ 31 h 200"/>
                  <a:gd name="T16" fmla="*/ 16 w 68"/>
                  <a:gd name="T17" fmla="*/ 26 h 200"/>
                  <a:gd name="T18" fmla="*/ 32 w 68"/>
                  <a:gd name="T19" fmla="*/ 18 h 200"/>
                  <a:gd name="T20" fmla="*/ 47 w 68"/>
                  <a:gd name="T21" fmla="*/ 9 h 200"/>
                  <a:gd name="T22" fmla="*/ 60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6" y="200"/>
                      <a:pt x="46" y="200"/>
                      <a:pt x="46" y="200"/>
                    </a:cubicBezTo>
                    <a:cubicBezTo>
                      <a:pt x="46" y="31"/>
                      <a:pt x="46" y="31"/>
                      <a:pt x="46" y="31"/>
                    </a:cubicBezTo>
                    <a:cubicBezTo>
                      <a:pt x="44" y="32"/>
                      <a:pt x="41" y="34"/>
                      <a:pt x="38" y="37"/>
                    </a:cubicBezTo>
                    <a:cubicBezTo>
                      <a:pt x="35" y="39"/>
                      <a:pt x="31" y="41"/>
                      <a:pt x="27" y="43"/>
                    </a:cubicBezTo>
                    <a:cubicBezTo>
                      <a:pt x="23" y="45"/>
                      <a:pt x="18" y="48"/>
                      <a:pt x="14" y="49"/>
                    </a:cubicBezTo>
                    <a:cubicBezTo>
                      <a:pt x="9" y="51"/>
                      <a:pt x="5" y="53"/>
                      <a:pt x="0" y="54"/>
                    </a:cubicBezTo>
                    <a:cubicBezTo>
                      <a:pt x="0" y="31"/>
                      <a:pt x="0" y="31"/>
                      <a:pt x="0" y="31"/>
                    </a:cubicBezTo>
                    <a:cubicBezTo>
                      <a:pt x="5" y="30"/>
                      <a:pt x="10" y="28"/>
                      <a:pt x="16" y="26"/>
                    </a:cubicBezTo>
                    <a:cubicBezTo>
                      <a:pt x="21" y="23"/>
                      <a:pt x="27" y="21"/>
                      <a:pt x="32" y="18"/>
                    </a:cubicBezTo>
                    <a:cubicBezTo>
                      <a:pt x="38" y="15"/>
                      <a:pt x="43" y="12"/>
                      <a:pt x="47" y="9"/>
                    </a:cubicBezTo>
                    <a:cubicBezTo>
                      <a:pt x="52" y="6"/>
                      <a:pt x="56" y="3"/>
                      <a:pt x="60"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1" name="Freeform 78"/>
              <p:cNvSpPr>
                <a:spLocks noEditPoints="1"/>
              </p:cNvSpPr>
              <p:nvPr userDrawn="1"/>
            </p:nvSpPr>
            <p:spPr bwMode="auto">
              <a:xfrm>
                <a:off x="6324" y="2929"/>
                <a:ext cx="156" cy="248"/>
              </a:xfrm>
              <a:custGeom>
                <a:avLst/>
                <a:gdLst>
                  <a:gd name="T0" fmla="*/ 128 w 128"/>
                  <a:gd name="T1" fmla="*/ 100 h 203"/>
                  <a:gd name="T2" fmla="*/ 123 w 128"/>
                  <a:gd name="T3" fmla="*/ 144 h 203"/>
                  <a:gd name="T4" fmla="*/ 110 w 128"/>
                  <a:gd name="T5" fmla="*/ 176 h 203"/>
                  <a:gd name="T6" fmla="*/ 90 w 128"/>
                  <a:gd name="T7" fmla="*/ 196 h 203"/>
                  <a:gd name="T8" fmla="*/ 62 w 128"/>
                  <a:gd name="T9" fmla="*/ 203 h 203"/>
                  <a:gd name="T10" fmla="*/ 35 w 128"/>
                  <a:gd name="T11" fmla="*/ 196 h 203"/>
                  <a:gd name="T12" fmla="*/ 16 w 128"/>
                  <a:gd name="T13" fmla="*/ 177 h 203"/>
                  <a:gd name="T14" fmla="*/ 4 w 128"/>
                  <a:gd name="T15" fmla="*/ 147 h 203"/>
                  <a:gd name="T16" fmla="*/ 0 w 128"/>
                  <a:gd name="T17" fmla="*/ 105 h 203"/>
                  <a:gd name="T18" fmla="*/ 4 w 128"/>
                  <a:gd name="T19" fmla="*/ 60 h 203"/>
                  <a:gd name="T20" fmla="*/ 17 w 128"/>
                  <a:gd name="T21" fmla="*/ 27 h 203"/>
                  <a:gd name="T22" fmla="*/ 38 w 128"/>
                  <a:gd name="T23" fmla="*/ 7 h 203"/>
                  <a:gd name="T24" fmla="*/ 66 w 128"/>
                  <a:gd name="T25" fmla="*/ 0 h 203"/>
                  <a:gd name="T26" fmla="*/ 128 w 128"/>
                  <a:gd name="T27" fmla="*/ 100 h 203"/>
                  <a:gd name="T28" fmla="*/ 105 w 128"/>
                  <a:gd name="T29" fmla="*/ 102 h 203"/>
                  <a:gd name="T30" fmla="*/ 65 w 128"/>
                  <a:gd name="T31" fmla="*/ 19 h 203"/>
                  <a:gd name="T32" fmla="*/ 23 w 128"/>
                  <a:gd name="T33" fmla="*/ 104 h 203"/>
                  <a:gd name="T34" fmla="*/ 64 w 128"/>
                  <a:gd name="T35" fmla="*/ 183 h 203"/>
                  <a:gd name="T36" fmla="*/ 105 w 128"/>
                  <a:gd name="T37" fmla="*/ 102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0"/>
                    </a:moveTo>
                    <a:cubicBezTo>
                      <a:pt x="128" y="117"/>
                      <a:pt x="126" y="131"/>
                      <a:pt x="123" y="144"/>
                    </a:cubicBezTo>
                    <a:cubicBezTo>
                      <a:pt x="120" y="157"/>
                      <a:pt x="116" y="167"/>
                      <a:pt x="110" y="176"/>
                    </a:cubicBezTo>
                    <a:cubicBezTo>
                      <a:pt x="105" y="185"/>
                      <a:pt x="98" y="191"/>
                      <a:pt x="90" y="196"/>
                    </a:cubicBezTo>
                    <a:cubicBezTo>
                      <a:pt x="81" y="200"/>
                      <a:pt x="72" y="203"/>
                      <a:pt x="62" y="203"/>
                    </a:cubicBezTo>
                    <a:cubicBezTo>
                      <a:pt x="52" y="203"/>
                      <a:pt x="43" y="200"/>
                      <a:pt x="35" y="196"/>
                    </a:cubicBezTo>
                    <a:cubicBezTo>
                      <a:pt x="28" y="192"/>
                      <a:pt x="21" y="185"/>
                      <a:pt x="16" y="177"/>
                    </a:cubicBezTo>
                    <a:cubicBezTo>
                      <a:pt x="11" y="169"/>
                      <a:pt x="7" y="159"/>
                      <a:pt x="4" y="147"/>
                    </a:cubicBezTo>
                    <a:cubicBezTo>
                      <a:pt x="1" y="134"/>
                      <a:pt x="0" y="121"/>
                      <a:pt x="0" y="105"/>
                    </a:cubicBezTo>
                    <a:cubicBezTo>
                      <a:pt x="0" y="88"/>
                      <a:pt x="1" y="73"/>
                      <a:pt x="4" y="60"/>
                    </a:cubicBezTo>
                    <a:cubicBezTo>
                      <a:pt x="7" y="47"/>
                      <a:pt x="11" y="36"/>
                      <a:pt x="17" y="27"/>
                    </a:cubicBezTo>
                    <a:cubicBezTo>
                      <a:pt x="22" y="18"/>
                      <a:pt x="29" y="11"/>
                      <a:pt x="38" y="7"/>
                    </a:cubicBezTo>
                    <a:cubicBezTo>
                      <a:pt x="46" y="2"/>
                      <a:pt x="55" y="0"/>
                      <a:pt x="66" y="0"/>
                    </a:cubicBezTo>
                    <a:cubicBezTo>
                      <a:pt x="107" y="0"/>
                      <a:pt x="128" y="33"/>
                      <a:pt x="128" y="100"/>
                    </a:cubicBezTo>
                    <a:close/>
                    <a:moveTo>
                      <a:pt x="105" y="102"/>
                    </a:moveTo>
                    <a:cubicBezTo>
                      <a:pt x="105" y="47"/>
                      <a:pt x="91" y="19"/>
                      <a:pt x="65" y="19"/>
                    </a:cubicBezTo>
                    <a:cubicBezTo>
                      <a:pt x="37" y="19"/>
                      <a:pt x="23" y="47"/>
                      <a:pt x="23" y="104"/>
                    </a:cubicBezTo>
                    <a:cubicBezTo>
                      <a:pt x="23" y="157"/>
                      <a:pt x="37" y="183"/>
                      <a:pt x="64" y="183"/>
                    </a:cubicBezTo>
                    <a:cubicBezTo>
                      <a:pt x="91" y="183"/>
                      <a:pt x="105" y="156"/>
                      <a:pt x="105"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2" name="Freeform 79"/>
              <p:cNvSpPr>
                <a:spLocks noEditPoints="1"/>
              </p:cNvSpPr>
              <p:nvPr userDrawn="1"/>
            </p:nvSpPr>
            <p:spPr bwMode="auto">
              <a:xfrm>
                <a:off x="6519" y="2929"/>
                <a:ext cx="156" cy="248"/>
              </a:xfrm>
              <a:custGeom>
                <a:avLst/>
                <a:gdLst>
                  <a:gd name="T0" fmla="*/ 128 w 128"/>
                  <a:gd name="T1" fmla="*/ 100 h 203"/>
                  <a:gd name="T2" fmla="*/ 123 w 128"/>
                  <a:gd name="T3" fmla="*/ 144 h 203"/>
                  <a:gd name="T4" fmla="*/ 110 w 128"/>
                  <a:gd name="T5" fmla="*/ 176 h 203"/>
                  <a:gd name="T6" fmla="*/ 90 w 128"/>
                  <a:gd name="T7" fmla="*/ 196 h 203"/>
                  <a:gd name="T8" fmla="*/ 62 w 128"/>
                  <a:gd name="T9" fmla="*/ 203 h 203"/>
                  <a:gd name="T10" fmla="*/ 35 w 128"/>
                  <a:gd name="T11" fmla="*/ 196 h 203"/>
                  <a:gd name="T12" fmla="*/ 16 w 128"/>
                  <a:gd name="T13" fmla="*/ 177 h 203"/>
                  <a:gd name="T14" fmla="*/ 4 w 128"/>
                  <a:gd name="T15" fmla="*/ 147 h 203"/>
                  <a:gd name="T16" fmla="*/ 0 w 128"/>
                  <a:gd name="T17" fmla="*/ 105 h 203"/>
                  <a:gd name="T18" fmla="*/ 4 w 128"/>
                  <a:gd name="T19" fmla="*/ 60 h 203"/>
                  <a:gd name="T20" fmla="*/ 17 w 128"/>
                  <a:gd name="T21" fmla="*/ 27 h 203"/>
                  <a:gd name="T22" fmla="*/ 38 w 128"/>
                  <a:gd name="T23" fmla="*/ 7 h 203"/>
                  <a:gd name="T24" fmla="*/ 66 w 128"/>
                  <a:gd name="T25" fmla="*/ 0 h 203"/>
                  <a:gd name="T26" fmla="*/ 128 w 128"/>
                  <a:gd name="T27" fmla="*/ 100 h 203"/>
                  <a:gd name="T28" fmla="*/ 105 w 128"/>
                  <a:gd name="T29" fmla="*/ 102 h 203"/>
                  <a:gd name="T30" fmla="*/ 65 w 128"/>
                  <a:gd name="T31" fmla="*/ 19 h 203"/>
                  <a:gd name="T32" fmla="*/ 23 w 128"/>
                  <a:gd name="T33" fmla="*/ 104 h 203"/>
                  <a:gd name="T34" fmla="*/ 64 w 128"/>
                  <a:gd name="T35" fmla="*/ 183 h 203"/>
                  <a:gd name="T36" fmla="*/ 105 w 128"/>
                  <a:gd name="T37" fmla="*/ 102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0"/>
                    </a:moveTo>
                    <a:cubicBezTo>
                      <a:pt x="128" y="117"/>
                      <a:pt x="126" y="131"/>
                      <a:pt x="123" y="144"/>
                    </a:cubicBezTo>
                    <a:cubicBezTo>
                      <a:pt x="120" y="157"/>
                      <a:pt x="116" y="167"/>
                      <a:pt x="110" y="176"/>
                    </a:cubicBezTo>
                    <a:cubicBezTo>
                      <a:pt x="105" y="185"/>
                      <a:pt x="98" y="191"/>
                      <a:pt x="90" y="196"/>
                    </a:cubicBezTo>
                    <a:cubicBezTo>
                      <a:pt x="81" y="200"/>
                      <a:pt x="72" y="203"/>
                      <a:pt x="62" y="203"/>
                    </a:cubicBezTo>
                    <a:cubicBezTo>
                      <a:pt x="52" y="203"/>
                      <a:pt x="43" y="200"/>
                      <a:pt x="35" y="196"/>
                    </a:cubicBezTo>
                    <a:cubicBezTo>
                      <a:pt x="28" y="192"/>
                      <a:pt x="21" y="185"/>
                      <a:pt x="16" y="177"/>
                    </a:cubicBezTo>
                    <a:cubicBezTo>
                      <a:pt x="11" y="169"/>
                      <a:pt x="7" y="159"/>
                      <a:pt x="4" y="147"/>
                    </a:cubicBezTo>
                    <a:cubicBezTo>
                      <a:pt x="1" y="134"/>
                      <a:pt x="0" y="121"/>
                      <a:pt x="0" y="105"/>
                    </a:cubicBezTo>
                    <a:cubicBezTo>
                      <a:pt x="0" y="88"/>
                      <a:pt x="1" y="73"/>
                      <a:pt x="4" y="60"/>
                    </a:cubicBezTo>
                    <a:cubicBezTo>
                      <a:pt x="7" y="47"/>
                      <a:pt x="11" y="36"/>
                      <a:pt x="17" y="27"/>
                    </a:cubicBezTo>
                    <a:cubicBezTo>
                      <a:pt x="22" y="18"/>
                      <a:pt x="29" y="11"/>
                      <a:pt x="38" y="7"/>
                    </a:cubicBezTo>
                    <a:cubicBezTo>
                      <a:pt x="46" y="2"/>
                      <a:pt x="55" y="0"/>
                      <a:pt x="66" y="0"/>
                    </a:cubicBezTo>
                    <a:cubicBezTo>
                      <a:pt x="107" y="0"/>
                      <a:pt x="128" y="33"/>
                      <a:pt x="128" y="100"/>
                    </a:cubicBezTo>
                    <a:close/>
                    <a:moveTo>
                      <a:pt x="105" y="102"/>
                    </a:moveTo>
                    <a:cubicBezTo>
                      <a:pt x="105" y="47"/>
                      <a:pt x="91" y="19"/>
                      <a:pt x="65" y="19"/>
                    </a:cubicBezTo>
                    <a:cubicBezTo>
                      <a:pt x="37" y="19"/>
                      <a:pt x="23" y="47"/>
                      <a:pt x="23" y="104"/>
                    </a:cubicBezTo>
                    <a:cubicBezTo>
                      <a:pt x="23" y="157"/>
                      <a:pt x="37" y="183"/>
                      <a:pt x="64" y="183"/>
                    </a:cubicBezTo>
                    <a:cubicBezTo>
                      <a:pt x="91" y="183"/>
                      <a:pt x="105" y="156"/>
                      <a:pt x="105"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3" name="Freeform 80"/>
              <p:cNvSpPr>
                <a:spLocks/>
              </p:cNvSpPr>
              <p:nvPr userDrawn="1"/>
            </p:nvSpPr>
            <p:spPr bwMode="auto">
              <a:xfrm>
                <a:off x="6944" y="2928"/>
                <a:ext cx="83" cy="244"/>
              </a:xfrm>
              <a:custGeom>
                <a:avLst/>
                <a:gdLst>
                  <a:gd name="T0" fmla="*/ 68 w 68"/>
                  <a:gd name="T1" fmla="*/ 200 h 200"/>
                  <a:gd name="T2" fmla="*/ 45 w 68"/>
                  <a:gd name="T3" fmla="*/ 200 h 200"/>
                  <a:gd name="T4" fmla="*/ 45 w 68"/>
                  <a:gd name="T5" fmla="*/ 31 h 200"/>
                  <a:gd name="T6" fmla="*/ 38 w 68"/>
                  <a:gd name="T7" fmla="*/ 37 h 200"/>
                  <a:gd name="T8" fmla="*/ 26 w 68"/>
                  <a:gd name="T9" fmla="*/ 43 h 200"/>
                  <a:gd name="T10" fmla="*/ 13 w 68"/>
                  <a:gd name="T11" fmla="*/ 49 h 200"/>
                  <a:gd name="T12" fmla="*/ 0 w 68"/>
                  <a:gd name="T13" fmla="*/ 54 h 200"/>
                  <a:gd name="T14" fmla="*/ 0 w 68"/>
                  <a:gd name="T15" fmla="*/ 31 h 200"/>
                  <a:gd name="T16" fmla="*/ 15 w 68"/>
                  <a:gd name="T17" fmla="*/ 26 h 200"/>
                  <a:gd name="T18" fmla="*/ 32 w 68"/>
                  <a:gd name="T19" fmla="*/ 18 h 200"/>
                  <a:gd name="T20" fmla="*/ 47 w 68"/>
                  <a:gd name="T21" fmla="*/ 9 h 200"/>
                  <a:gd name="T22" fmla="*/ 59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5" y="200"/>
                      <a:pt x="45" y="200"/>
                      <a:pt x="45" y="200"/>
                    </a:cubicBezTo>
                    <a:cubicBezTo>
                      <a:pt x="45" y="31"/>
                      <a:pt x="45" y="31"/>
                      <a:pt x="45" y="31"/>
                    </a:cubicBezTo>
                    <a:cubicBezTo>
                      <a:pt x="43" y="32"/>
                      <a:pt x="41" y="34"/>
                      <a:pt x="38" y="37"/>
                    </a:cubicBezTo>
                    <a:cubicBezTo>
                      <a:pt x="34" y="39"/>
                      <a:pt x="31" y="41"/>
                      <a:pt x="26" y="43"/>
                    </a:cubicBezTo>
                    <a:cubicBezTo>
                      <a:pt x="22" y="45"/>
                      <a:pt x="18" y="48"/>
                      <a:pt x="13" y="49"/>
                    </a:cubicBezTo>
                    <a:cubicBezTo>
                      <a:pt x="9" y="51"/>
                      <a:pt x="4" y="53"/>
                      <a:pt x="0" y="54"/>
                    </a:cubicBezTo>
                    <a:cubicBezTo>
                      <a:pt x="0" y="31"/>
                      <a:pt x="0" y="31"/>
                      <a:pt x="0" y="31"/>
                    </a:cubicBezTo>
                    <a:cubicBezTo>
                      <a:pt x="5" y="30"/>
                      <a:pt x="10" y="28"/>
                      <a:pt x="15" y="26"/>
                    </a:cubicBezTo>
                    <a:cubicBezTo>
                      <a:pt x="21" y="23"/>
                      <a:pt x="26" y="21"/>
                      <a:pt x="32" y="18"/>
                    </a:cubicBezTo>
                    <a:cubicBezTo>
                      <a:pt x="37" y="15"/>
                      <a:pt x="42" y="12"/>
                      <a:pt x="47" y="9"/>
                    </a:cubicBezTo>
                    <a:cubicBezTo>
                      <a:pt x="52" y="6"/>
                      <a:pt x="56" y="3"/>
                      <a:pt x="59"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4" name="Freeform 81"/>
              <p:cNvSpPr>
                <a:spLocks noEditPoints="1"/>
              </p:cNvSpPr>
              <p:nvPr userDrawn="1"/>
            </p:nvSpPr>
            <p:spPr bwMode="auto">
              <a:xfrm>
                <a:off x="7092" y="2929"/>
                <a:ext cx="156" cy="248"/>
              </a:xfrm>
              <a:custGeom>
                <a:avLst/>
                <a:gdLst>
                  <a:gd name="T0" fmla="*/ 128 w 128"/>
                  <a:gd name="T1" fmla="*/ 100 h 203"/>
                  <a:gd name="T2" fmla="*/ 124 w 128"/>
                  <a:gd name="T3" fmla="*/ 144 h 203"/>
                  <a:gd name="T4" fmla="*/ 111 w 128"/>
                  <a:gd name="T5" fmla="*/ 176 h 203"/>
                  <a:gd name="T6" fmla="*/ 90 w 128"/>
                  <a:gd name="T7" fmla="*/ 196 h 203"/>
                  <a:gd name="T8" fmla="*/ 62 w 128"/>
                  <a:gd name="T9" fmla="*/ 203 h 203"/>
                  <a:gd name="T10" fmla="*/ 36 w 128"/>
                  <a:gd name="T11" fmla="*/ 196 h 203"/>
                  <a:gd name="T12" fmla="*/ 17 w 128"/>
                  <a:gd name="T13" fmla="*/ 177 h 203"/>
                  <a:gd name="T14" fmla="*/ 5 w 128"/>
                  <a:gd name="T15" fmla="*/ 147 h 203"/>
                  <a:gd name="T16" fmla="*/ 0 w 128"/>
                  <a:gd name="T17" fmla="*/ 105 h 203"/>
                  <a:gd name="T18" fmla="*/ 5 w 128"/>
                  <a:gd name="T19" fmla="*/ 60 h 203"/>
                  <a:gd name="T20" fmla="*/ 17 w 128"/>
                  <a:gd name="T21" fmla="*/ 27 h 203"/>
                  <a:gd name="T22" fmla="*/ 38 w 128"/>
                  <a:gd name="T23" fmla="*/ 7 h 203"/>
                  <a:gd name="T24" fmla="*/ 66 w 128"/>
                  <a:gd name="T25" fmla="*/ 0 h 203"/>
                  <a:gd name="T26" fmla="*/ 128 w 128"/>
                  <a:gd name="T27" fmla="*/ 100 h 203"/>
                  <a:gd name="T28" fmla="*/ 105 w 128"/>
                  <a:gd name="T29" fmla="*/ 102 h 203"/>
                  <a:gd name="T30" fmla="*/ 65 w 128"/>
                  <a:gd name="T31" fmla="*/ 19 h 203"/>
                  <a:gd name="T32" fmla="*/ 23 w 128"/>
                  <a:gd name="T33" fmla="*/ 104 h 203"/>
                  <a:gd name="T34" fmla="*/ 65 w 128"/>
                  <a:gd name="T35" fmla="*/ 183 h 203"/>
                  <a:gd name="T36" fmla="*/ 105 w 128"/>
                  <a:gd name="T37" fmla="*/ 102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0"/>
                    </a:moveTo>
                    <a:cubicBezTo>
                      <a:pt x="128" y="117"/>
                      <a:pt x="127" y="131"/>
                      <a:pt x="124" y="144"/>
                    </a:cubicBezTo>
                    <a:cubicBezTo>
                      <a:pt x="121" y="157"/>
                      <a:pt x="116" y="167"/>
                      <a:pt x="111" y="176"/>
                    </a:cubicBezTo>
                    <a:cubicBezTo>
                      <a:pt x="105" y="185"/>
                      <a:pt x="98" y="191"/>
                      <a:pt x="90" y="196"/>
                    </a:cubicBezTo>
                    <a:cubicBezTo>
                      <a:pt x="82" y="200"/>
                      <a:pt x="73" y="203"/>
                      <a:pt x="62" y="203"/>
                    </a:cubicBezTo>
                    <a:cubicBezTo>
                      <a:pt x="53" y="203"/>
                      <a:pt x="44" y="200"/>
                      <a:pt x="36" y="196"/>
                    </a:cubicBezTo>
                    <a:cubicBezTo>
                      <a:pt x="28" y="192"/>
                      <a:pt x="22" y="185"/>
                      <a:pt x="17" y="177"/>
                    </a:cubicBezTo>
                    <a:cubicBezTo>
                      <a:pt x="11" y="169"/>
                      <a:pt x="7" y="159"/>
                      <a:pt x="5" y="147"/>
                    </a:cubicBezTo>
                    <a:cubicBezTo>
                      <a:pt x="2" y="134"/>
                      <a:pt x="0" y="121"/>
                      <a:pt x="0" y="105"/>
                    </a:cubicBezTo>
                    <a:cubicBezTo>
                      <a:pt x="0" y="88"/>
                      <a:pt x="2" y="73"/>
                      <a:pt x="5" y="60"/>
                    </a:cubicBezTo>
                    <a:cubicBezTo>
                      <a:pt x="8" y="47"/>
                      <a:pt x="12" y="36"/>
                      <a:pt x="17" y="27"/>
                    </a:cubicBezTo>
                    <a:cubicBezTo>
                      <a:pt x="23" y="18"/>
                      <a:pt x="30" y="11"/>
                      <a:pt x="38" y="7"/>
                    </a:cubicBezTo>
                    <a:cubicBezTo>
                      <a:pt x="46" y="2"/>
                      <a:pt x="56" y="0"/>
                      <a:pt x="66" y="0"/>
                    </a:cubicBezTo>
                    <a:cubicBezTo>
                      <a:pt x="108" y="0"/>
                      <a:pt x="128" y="33"/>
                      <a:pt x="128" y="100"/>
                    </a:cubicBezTo>
                    <a:close/>
                    <a:moveTo>
                      <a:pt x="105" y="102"/>
                    </a:moveTo>
                    <a:cubicBezTo>
                      <a:pt x="105" y="47"/>
                      <a:pt x="92" y="19"/>
                      <a:pt x="65" y="19"/>
                    </a:cubicBezTo>
                    <a:cubicBezTo>
                      <a:pt x="37" y="19"/>
                      <a:pt x="23" y="47"/>
                      <a:pt x="23" y="104"/>
                    </a:cubicBezTo>
                    <a:cubicBezTo>
                      <a:pt x="23" y="157"/>
                      <a:pt x="37" y="183"/>
                      <a:pt x="65" y="183"/>
                    </a:cubicBezTo>
                    <a:cubicBezTo>
                      <a:pt x="92" y="183"/>
                      <a:pt x="105" y="156"/>
                      <a:pt x="105"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5" name="Freeform 82"/>
              <p:cNvSpPr>
                <a:spLocks noEditPoints="1"/>
              </p:cNvSpPr>
              <p:nvPr userDrawn="1"/>
            </p:nvSpPr>
            <p:spPr bwMode="auto">
              <a:xfrm>
                <a:off x="7287" y="2929"/>
                <a:ext cx="156" cy="248"/>
              </a:xfrm>
              <a:custGeom>
                <a:avLst/>
                <a:gdLst>
                  <a:gd name="T0" fmla="*/ 128 w 128"/>
                  <a:gd name="T1" fmla="*/ 100 h 203"/>
                  <a:gd name="T2" fmla="*/ 124 w 128"/>
                  <a:gd name="T3" fmla="*/ 144 h 203"/>
                  <a:gd name="T4" fmla="*/ 111 w 128"/>
                  <a:gd name="T5" fmla="*/ 176 h 203"/>
                  <a:gd name="T6" fmla="*/ 90 w 128"/>
                  <a:gd name="T7" fmla="*/ 196 h 203"/>
                  <a:gd name="T8" fmla="*/ 62 w 128"/>
                  <a:gd name="T9" fmla="*/ 203 h 203"/>
                  <a:gd name="T10" fmla="*/ 36 w 128"/>
                  <a:gd name="T11" fmla="*/ 196 h 203"/>
                  <a:gd name="T12" fmla="*/ 17 w 128"/>
                  <a:gd name="T13" fmla="*/ 177 h 203"/>
                  <a:gd name="T14" fmla="*/ 5 w 128"/>
                  <a:gd name="T15" fmla="*/ 147 h 203"/>
                  <a:gd name="T16" fmla="*/ 0 w 128"/>
                  <a:gd name="T17" fmla="*/ 105 h 203"/>
                  <a:gd name="T18" fmla="*/ 5 w 128"/>
                  <a:gd name="T19" fmla="*/ 60 h 203"/>
                  <a:gd name="T20" fmla="*/ 17 w 128"/>
                  <a:gd name="T21" fmla="*/ 27 h 203"/>
                  <a:gd name="T22" fmla="*/ 38 w 128"/>
                  <a:gd name="T23" fmla="*/ 7 h 203"/>
                  <a:gd name="T24" fmla="*/ 66 w 128"/>
                  <a:gd name="T25" fmla="*/ 0 h 203"/>
                  <a:gd name="T26" fmla="*/ 128 w 128"/>
                  <a:gd name="T27" fmla="*/ 100 h 203"/>
                  <a:gd name="T28" fmla="*/ 105 w 128"/>
                  <a:gd name="T29" fmla="*/ 102 h 203"/>
                  <a:gd name="T30" fmla="*/ 65 w 128"/>
                  <a:gd name="T31" fmla="*/ 19 h 203"/>
                  <a:gd name="T32" fmla="*/ 23 w 128"/>
                  <a:gd name="T33" fmla="*/ 104 h 203"/>
                  <a:gd name="T34" fmla="*/ 65 w 128"/>
                  <a:gd name="T35" fmla="*/ 183 h 203"/>
                  <a:gd name="T36" fmla="*/ 105 w 128"/>
                  <a:gd name="T37" fmla="*/ 102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0"/>
                    </a:moveTo>
                    <a:cubicBezTo>
                      <a:pt x="128" y="117"/>
                      <a:pt x="127" y="131"/>
                      <a:pt x="124" y="144"/>
                    </a:cubicBezTo>
                    <a:cubicBezTo>
                      <a:pt x="121" y="157"/>
                      <a:pt x="116" y="167"/>
                      <a:pt x="111" y="176"/>
                    </a:cubicBezTo>
                    <a:cubicBezTo>
                      <a:pt x="105" y="185"/>
                      <a:pt x="98" y="191"/>
                      <a:pt x="90" y="196"/>
                    </a:cubicBezTo>
                    <a:cubicBezTo>
                      <a:pt x="82" y="200"/>
                      <a:pt x="73" y="203"/>
                      <a:pt x="62" y="203"/>
                    </a:cubicBezTo>
                    <a:cubicBezTo>
                      <a:pt x="52" y="203"/>
                      <a:pt x="44" y="200"/>
                      <a:pt x="36" y="196"/>
                    </a:cubicBezTo>
                    <a:cubicBezTo>
                      <a:pt x="28" y="192"/>
                      <a:pt x="22" y="185"/>
                      <a:pt x="17" y="177"/>
                    </a:cubicBezTo>
                    <a:cubicBezTo>
                      <a:pt x="11" y="169"/>
                      <a:pt x="7" y="159"/>
                      <a:pt x="5" y="147"/>
                    </a:cubicBezTo>
                    <a:cubicBezTo>
                      <a:pt x="2" y="134"/>
                      <a:pt x="0" y="121"/>
                      <a:pt x="0" y="105"/>
                    </a:cubicBezTo>
                    <a:cubicBezTo>
                      <a:pt x="0" y="88"/>
                      <a:pt x="2" y="73"/>
                      <a:pt x="5" y="60"/>
                    </a:cubicBezTo>
                    <a:cubicBezTo>
                      <a:pt x="8" y="47"/>
                      <a:pt x="12" y="36"/>
                      <a:pt x="17" y="27"/>
                    </a:cubicBezTo>
                    <a:cubicBezTo>
                      <a:pt x="23" y="18"/>
                      <a:pt x="30" y="11"/>
                      <a:pt x="38" y="7"/>
                    </a:cubicBezTo>
                    <a:cubicBezTo>
                      <a:pt x="46" y="2"/>
                      <a:pt x="56" y="0"/>
                      <a:pt x="66" y="0"/>
                    </a:cubicBezTo>
                    <a:cubicBezTo>
                      <a:pt x="108" y="0"/>
                      <a:pt x="128" y="33"/>
                      <a:pt x="128" y="100"/>
                    </a:cubicBezTo>
                    <a:close/>
                    <a:moveTo>
                      <a:pt x="105" y="102"/>
                    </a:moveTo>
                    <a:cubicBezTo>
                      <a:pt x="105" y="47"/>
                      <a:pt x="92" y="19"/>
                      <a:pt x="65" y="19"/>
                    </a:cubicBezTo>
                    <a:cubicBezTo>
                      <a:pt x="37" y="19"/>
                      <a:pt x="23" y="47"/>
                      <a:pt x="23" y="104"/>
                    </a:cubicBezTo>
                    <a:cubicBezTo>
                      <a:pt x="23" y="157"/>
                      <a:pt x="37" y="183"/>
                      <a:pt x="65" y="183"/>
                    </a:cubicBezTo>
                    <a:cubicBezTo>
                      <a:pt x="92" y="183"/>
                      <a:pt x="105" y="156"/>
                      <a:pt x="105"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6" name="Freeform 83"/>
              <p:cNvSpPr>
                <a:spLocks/>
              </p:cNvSpPr>
              <p:nvPr userDrawn="1"/>
            </p:nvSpPr>
            <p:spPr bwMode="auto">
              <a:xfrm>
                <a:off x="7484" y="2928"/>
                <a:ext cx="83" cy="244"/>
              </a:xfrm>
              <a:custGeom>
                <a:avLst/>
                <a:gdLst>
                  <a:gd name="T0" fmla="*/ 68 w 68"/>
                  <a:gd name="T1" fmla="*/ 200 h 200"/>
                  <a:gd name="T2" fmla="*/ 46 w 68"/>
                  <a:gd name="T3" fmla="*/ 200 h 200"/>
                  <a:gd name="T4" fmla="*/ 46 w 68"/>
                  <a:gd name="T5" fmla="*/ 31 h 200"/>
                  <a:gd name="T6" fmla="*/ 38 w 68"/>
                  <a:gd name="T7" fmla="*/ 37 h 200"/>
                  <a:gd name="T8" fmla="*/ 27 w 68"/>
                  <a:gd name="T9" fmla="*/ 43 h 200"/>
                  <a:gd name="T10" fmla="*/ 14 w 68"/>
                  <a:gd name="T11" fmla="*/ 49 h 200"/>
                  <a:gd name="T12" fmla="*/ 0 w 68"/>
                  <a:gd name="T13" fmla="*/ 54 h 200"/>
                  <a:gd name="T14" fmla="*/ 0 w 68"/>
                  <a:gd name="T15" fmla="*/ 31 h 200"/>
                  <a:gd name="T16" fmla="*/ 16 w 68"/>
                  <a:gd name="T17" fmla="*/ 26 h 200"/>
                  <a:gd name="T18" fmla="*/ 32 w 68"/>
                  <a:gd name="T19" fmla="*/ 18 h 200"/>
                  <a:gd name="T20" fmla="*/ 48 w 68"/>
                  <a:gd name="T21" fmla="*/ 9 h 200"/>
                  <a:gd name="T22" fmla="*/ 60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6" y="200"/>
                      <a:pt x="46" y="200"/>
                      <a:pt x="46" y="200"/>
                    </a:cubicBezTo>
                    <a:cubicBezTo>
                      <a:pt x="46" y="31"/>
                      <a:pt x="46" y="31"/>
                      <a:pt x="46" y="31"/>
                    </a:cubicBezTo>
                    <a:cubicBezTo>
                      <a:pt x="44" y="32"/>
                      <a:pt x="42" y="34"/>
                      <a:pt x="38" y="37"/>
                    </a:cubicBezTo>
                    <a:cubicBezTo>
                      <a:pt x="35" y="39"/>
                      <a:pt x="31" y="41"/>
                      <a:pt x="27" y="43"/>
                    </a:cubicBezTo>
                    <a:cubicBezTo>
                      <a:pt x="23" y="45"/>
                      <a:pt x="19" y="48"/>
                      <a:pt x="14" y="49"/>
                    </a:cubicBezTo>
                    <a:cubicBezTo>
                      <a:pt x="9" y="51"/>
                      <a:pt x="5" y="53"/>
                      <a:pt x="0" y="54"/>
                    </a:cubicBezTo>
                    <a:cubicBezTo>
                      <a:pt x="0" y="31"/>
                      <a:pt x="0" y="31"/>
                      <a:pt x="0" y="31"/>
                    </a:cubicBezTo>
                    <a:cubicBezTo>
                      <a:pt x="5" y="30"/>
                      <a:pt x="11" y="28"/>
                      <a:pt x="16" y="26"/>
                    </a:cubicBezTo>
                    <a:cubicBezTo>
                      <a:pt x="22" y="23"/>
                      <a:pt x="27" y="21"/>
                      <a:pt x="32" y="18"/>
                    </a:cubicBezTo>
                    <a:cubicBezTo>
                      <a:pt x="38" y="15"/>
                      <a:pt x="43" y="12"/>
                      <a:pt x="48" y="9"/>
                    </a:cubicBezTo>
                    <a:cubicBezTo>
                      <a:pt x="52" y="6"/>
                      <a:pt x="56" y="3"/>
                      <a:pt x="60"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7" name="Freeform 84"/>
              <p:cNvSpPr>
                <a:spLocks noEditPoints="1"/>
              </p:cNvSpPr>
              <p:nvPr userDrawn="1"/>
            </p:nvSpPr>
            <p:spPr bwMode="auto">
              <a:xfrm>
                <a:off x="7633" y="2929"/>
                <a:ext cx="156" cy="248"/>
              </a:xfrm>
              <a:custGeom>
                <a:avLst/>
                <a:gdLst>
                  <a:gd name="T0" fmla="*/ 128 w 128"/>
                  <a:gd name="T1" fmla="*/ 100 h 203"/>
                  <a:gd name="T2" fmla="*/ 123 w 128"/>
                  <a:gd name="T3" fmla="*/ 144 h 203"/>
                  <a:gd name="T4" fmla="*/ 111 w 128"/>
                  <a:gd name="T5" fmla="*/ 176 h 203"/>
                  <a:gd name="T6" fmla="*/ 90 w 128"/>
                  <a:gd name="T7" fmla="*/ 196 h 203"/>
                  <a:gd name="T8" fmla="*/ 62 w 128"/>
                  <a:gd name="T9" fmla="*/ 203 h 203"/>
                  <a:gd name="T10" fmla="*/ 36 w 128"/>
                  <a:gd name="T11" fmla="*/ 196 h 203"/>
                  <a:gd name="T12" fmla="*/ 16 w 128"/>
                  <a:gd name="T13" fmla="*/ 177 h 203"/>
                  <a:gd name="T14" fmla="*/ 4 w 128"/>
                  <a:gd name="T15" fmla="*/ 147 h 203"/>
                  <a:gd name="T16" fmla="*/ 0 w 128"/>
                  <a:gd name="T17" fmla="*/ 105 h 203"/>
                  <a:gd name="T18" fmla="*/ 4 w 128"/>
                  <a:gd name="T19" fmla="*/ 60 h 203"/>
                  <a:gd name="T20" fmla="*/ 17 w 128"/>
                  <a:gd name="T21" fmla="*/ 27 h 203"/>
                  <a:gd name="T22" fmla="*/ 38 w 128"/>
                  <a:gd name="T23" fmla="*/ 7 h 203"/>
                  <a:gd name="T24" fmla="*/ 66 w 128"/>
                  <a:gd name="T25" fmla="*/ 0 h 203"/>
                  <a:gd name="T26" fmla="*/ 128 w 128"/>
                  <a:gd name="T27" fmla="*/ 100 h 203"/>
                  <a:gd name="T28" fmla="*/ 105 w 128"/>
                  <a:gd name="T29" fmla="*/ 102 h 203"/>
                  <a:gd name="T30" fmla="*/ 65 w 128"/>
                  <a:gd name="T31" fmla="*/ 19 h 203"/>
                  <a:gd name="T32" fmla="*/ 23 w 128"/>
                  <a:gd name="T33" fmla="*/ 104 h 203"/>
                  <a:gd name="T34" fmla="*/ 64 w 128"/>
                  <a:gd name="T35" fmla="*/ 183 h 203"/>
                  <a:gd name="T36" fmla="*/ 105 w 128"/>
                  <a:gd name="T37" fmla="*/ 102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0"/>
                    </a:moveTo>
                    <a:cubicBezTo>
                      <a:pt x="128" y="117"/>
                      <a:pt x="126" y="131"/>
                      <a:pt x="123" y="144"/>
                    </a:cubicBezTo>
                    <a:cubicBezTo>
                      <a:pt x="120" y="157"/>
                      <a:pt x="116" y="167"/>
                      <a:pt x="111" y="176"/>
                    </a:cubicBezTo>
                    <a:cubicBezTo>
                      <a:pt x="105" y="185"/>
                      <a:pt x="98" y="191"/>
                      <a:pt x="90" y="196"/>
                    </a:cubicBezTo>
                    <a:cubicBezTo>
                      <a:pt x="82" y="200"/>
                      <a:pt x="72" y="203"/>
                      <a:pt x="62" y="203"/>
                    </a:cubicBezTo>
                    <a:cubicBezTo>
                      <a:pt x="52" y="203"/>
                      <a:pt x="43" y="200"/>
                      <a:pt x="36" y="196"/>
                    </a:cubicBezTo>
                    <a:cubicBezTo>
                      <a:pt x="28" y="192"/>
                      <a:pt x="22" y="185"/>
                      <a:pt x="16" y="177"/>
                    </a:cubicBezTo>
                    <a:cubicBezTo>
                      <a:pt x="11" y="169"/>
                      <a:pt x="7" y="159"/>
                      <a:pt x="4" y="147"/>
                    </a:cubicBezTo>
                    <a:cubicBezTo>
                      <a:pt x="1" y="134"/>
                      <a:pt x="0" y="121"/>
                      <a:pt x="0" y="105"/>
                    </a:cubicBezTo>
                    <a:cubicBezTo>
                      <a:pt x="0" y="88"/>
                      <a:pt x="2" y="73"/>
                      <a:pt x="4" y="60"/>
                    </a:cubicBezTo>
                    <a:cubicBezTo>
                      <a:pt x="7" y="47"/>
                      <a:pt x="11" y="36"/>
                      <a:pt x="17" y="27"/>
                    </a:cubicBezTo>
                    <a:cubicBezTo>
                      <a:pt x="23" y="18"/>
                      <a:pt x="30" y="11"/>
                      <a:pt x="38" y="7"/>
                    </a:cubicBezTo>
                    <a:cubicBezTo>
                      <a:pt x="46" y="2"/>
                      <a:pt x="55" y="0"/>
                      <a:pt x="66" y="0"/>
                    </a:cubicBezTo>
                    <a:cubicBezTo>
                      <a:pt x="107" y="0"/>
                      <a:pt x="128" y="33"/>
                      <a:pt x="128" y="100"/>
                    </a:cubicBezTo>
                    <a:close/>
                    <a:moveTo>
                      <a:pt x="105" y="102"/>
                    </a:moveTo>
                    <a:cubicBezTo>
                      <a:pt x="105" y="47"/>
                      <a:pt x="92" y="19"/>
                      <a:pt x="65" y="19"/>
                    </a:cubicBezTo>
                    <a:cubicBezTo>
                      <a:pt x="37" y="19"/>
                      <a:pt x="23" y="47"/>
                      <a:pt x="23" y="104"/>
                    </a:cubicBezTo>
                    <a:cubicBezTo>
                      <a:pt x="23" y="157"/>
                      <a:pt x="37" y="183"/>
                      <a:pt x="64" y="183"/>
                    </a:cubicBezTo>
                    <a:cubicBezTo>
                      <a:pt x="91" y="183"/>
                      <a:pt x="105" y="156"/>
                      <a:pt x="105"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8" name="Freeform 85"/>
              <p:cNvSpPr>
                <a:spLocks noEditPoints="1"/>
              </p:cNvSpPr>
              <p:nvPr userDrawn="1"/>
            </p:nvSpPr>
            <p:spPr bwMode="auto">
              <a:xfrm>
                <a:off x="6712" y="2920"/>
                <a:ext cx="218" cy="256"/>
              </a:xfrm>
              <a:custGeom>
                <a:avLst/>
                <a:gdLst>
                  <a:gd name="T0" fmla="*/ 176 w 179"/>
                  <a:gd name="T1" fmla="*/ 173 h 209"/>
                  <a:gd name="T2" fmla="*/ 135 w 179"/>
                  <a:gd name="T3" fmla="*/ 208 h 209"/>
                  <a:gd name="T4" fmla="*/ 81 w 179"/>
                  <a:gd name="T5" fmla="*/ 198 h 209"/>
                  <a:gd name="T6" fmla="*/ 33 w 179"/>
                  <a:gd name="T7" fmla="*/ 201 h 209"/>
                  <a:gd name="T8" fmla="*/ 3 w 179"/>
                  <a:gd name="T9" fmla="*/ 184 h 209"/>
                  <a:gd name="T10" fmla="*/ 14 w 179"/>
                  <a:gd name="T11" fmla="*/ 159 h 209"/>
                  <a:gd name="T12" fmla="*/ 10 w 179"/>
                  <a:gd name="T13" fmla="*/ 162 h 209"/>
                  <a:gd name="T14" fmla="*/ 7 w 179"/>
                  <a:gd name="T15" fmla="*/ 183 h 209"/>
                  <a:gd name="T16" fmla="*/ 46 w 179"/>
                  <a:gd name="T17" fmla="*/ 202 h 209"/>
                  <a:gd name="T18" fmla="*/ 43 w 179"/>
                  <a:gd name="T19" fmla="*/ 152 h 209"/>
                  <a:gd name="T20" fmla="*/ 26 w 179"/>
                  <a:gd name="T21" fmla="*/ 133 h 209"/>
                  <a:gd name="T22" fmla="*/ 52 w 179"/>
                  <a:gd name="T23" fmla="*/ 83 h 209"/>
                  <a:gd name="T24" fmla="*/ 59 w 179"/>
                  <a:gd name="T25" fmla="*/ 27 h 209"/>
                  <a:gd name="T26" fmla="*/ 118 w 179"/>
                  <a:gd name="T27" fmla="*/ 17 h 209"/>
                  <a:gd name="T28" fmla="*/ 160 w 179"/>
                  <a:gd name="T29" fmla="*/ 128 h 209"/>
                  <a:gd name="T30" fmla="*/ 153 w 179"/>
                  <a:gd name="T31" fmla="*/ 152 h 209"/>
                  <a:gd name="T32" fmla="*/ 128 w 179"/>
                  <a:gd name="T33" fmla="*/ 150 h 209"/>
                  <a:gd name="T34" fmla="*/ 122 w 179"/>
                  <a:gd name="T35" fmla="*/ 186 h 209"/>
                  <a:gd name="T36" fmla="*/ 166 w 179"/>
                  <a:gd name="T37" fmla="*/ 186 h 209"/>
                  <a:gd name="T38" fmla="*/ 171 w 179"/>
                  <a:gd name="T39" fmla="*/ 173 h 209"/>
                  <a:gd name="T40" fmla="*/ 161 w 179"/>
                  <a:gd name="T41" fmla="*/ 152 h 209"/>
                  <a:gd name="T42" fmla="*/ 89 w 179"/>
                  <a:gd name="T43" fmla="*/ 71 h 209"/>
                  <a:gd name="T44" fmla="*/ 102 w 179"/>
                  <a:gd name="T45" fmla="*/ 67 h 209"/>
                  <a:gd name="T46" fmla="*/ 74 w 179"/>
                  <a:gd name="T47" fmla="*/ 79 h 209"/>
                  <a:gd name="T48" fmla="*/ 64 w 179"/>
                  <a:gd name="T49" fmla="*/ 76 h 209"/>
                  <a:gd name="T50" fmla="*/ 56 w 179"/>
                  <a:gd name="T51" fmla="*/ 100 h 209"/>
                  <a:gd name="T52" fmla="*/ 45 w 179"/>
                  <a:gd name="T53" fmla="*/ 140 h 209"/>
                  <a:gd name="T54" fmla="*/ 38 w 179"/>
                  <a:gd name="T55" fmla="*/ 121 h 209"/>
                  <a:gd name="T56" fmla="*/ 40 w 179"/>
                  <a:gd name="T57" fmla="*/ 142 h 209"/>
                  <a:gd name="T58" fmla="*/ 65 w 179"/>
                  <a:gd name="T59" fmla="*/ 177 h 209"/>
                  <a:gd name="T60" fmla="*/ 70 w 179"/>
                  <a:gd name="T61" fmla="*/ 197 h 209"/>
                  <a:gd name="T62" fmla="*/ 69 w 179"/>
                  <a:gd name="T63" fmla="*/ 182 h 209"/>
                  <a:gd name="T64" fmla="*/ 109 w 179"/>
                  <a:gd name="T65" fmla="*/ 179 h 209"/>
                  <a:gd name="T66" fmla="*/ 116 w 179"/>
                  <a:gd name="T67" fmla="*/ 185 h 209"/>
                  <a:gd name="T68" fmla="*/ 120 w 179"/>
                  <a:gd name="T69" fmla="*/ 171 h 209"/>
                  <a:gd name="T70" fmla="*/ 127 w 179"/>
                  <a:gd name="T71" fmla="*/ 145 h 209"/>
                  <a:gd name="T72" fmla="*/ 127 w 179"/>
                  <a:gd name="T73" fmla="*/ 91 h 209"/>
                  <a:gd name="T74" fmla="*/ 128 w 179"/>
                  <a:gd name="T75" fmla="*/ 134 h 209"/>
                  <a:gd name="T76" fmla="*/ 117 w 179"/>
                  <a:gd name="T77" fmla="*/ 93 h 209"/>
                  <a:gd name="T78" fmla="*/ 104 w 179"/>
                  <a:gd name="T79" fmla="*/ 53 h 209"/>
                  <a:gd name="T80" fmla="*/ 98 w 179"/>
                  <a:gd name="T81" fmla="*/ 36 h 209"/>
                  <a:gd name="T82" fmla="*/ 107 w 179"/>
                  <a:gd name="T83" fmla="*/ 48 h 209"/>
                  <a:gd name="T84" fmla="*/ 87 w 179"/>
                  <a:gd name="T85" fmla="*/ 41 h 209"/>
                  <a:gd name="T86" fmla="*/ 78 w 179"/>
                  <a:gd name="T87" fmla="*/ 44 h 209"/>
                  <a:gd name="T88" fmla="*/ 66 w 179"/>
                  <a:gd name="T89" fmla="*/ 34 h 209"/>
                  <a:gd name="T90" fmla="*/ 67 w 179"/>
                  <a:gd name="T91" fmla="*/ 47 h 209"/>
                  <a:gd name="T92" fmla="*/ 73 w 179"/>
                  <a:gd name="T93" fmla="*/ 48 h 209"/>
                  <a:gd name="T94" fmla="*/ 65 w 179"/>
                  <a:gd name="T95" fmla="*/ 59 h 209"/>
                  <a:gd name="T96" fmla="*/ 101 w 179"/>
                  <a:gd name="T97" fmla="*/ 58 h 209"/>
                  <a:gd name="T98" fmla="*/ 87 w 179"/>
                  <a:gd name="T99" fmla="*/ 67 h 209"/>
                  <a:gd name="T100" fmla="*/ 72 w 179"/>
                  <a:gd name="T101" fmla="*/ 40 h 209"/>
                  <a:gd name="T102" fmla="*/ 73 w 179"/>
                  <a:gd name="T103" fmla="*/ 45 h 209"/>
                  <a:gd name="T104" fmla="*/ 100 w 179"/>
                  <a:gd name="T105" fmla="*/ 39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79" h="209">
                    <a:moveTo>
                      <a:pt x="161" y="152"/>
                    </a:moveTo>
                    <a:cubicBezTo>
                      <a:pt x="162" y="155"/>
                      <a:pt x="162" y="158"/>
                      <a:pt x="163" y="161"/>
                    </a:cubicBezTo>
                    <a:cubicBezTo>
                      <a:pt x="164" y="165"/>
                      <a:pt x="167" y="168"/>
                      <a:pt x="171" y="170"/>
                    </a:cubicBezTo>
                    <a:cubicBezTo>
                      <a:pt x="173" y="171"/>
                      <a:pt x="174" y="172"/>
                      <a:pt x="176" y="173"/>
                    </a:cubicBezTo>
                    <a:cubicBezTo>
                      <a:pt x="179" y="176"/>
                      <a:pt x="179" y="179"/>
                      <a:pt x="176" y="182"/>
                    </a:cubicBezTo>
                    <a:cubicBezTo>
                      <a:pt x="173" y="185"/>
                      <a:pt x="170" y="187"/>
                      <a:pt x="166" y="189"/>
                    </a:cubicBezTo>
                    <a:cubicBezTo>
                      <a:pt x="157" y="193"/>
                      <a:pt x="149" y="199"/>
                      <a:pt x="141" y="206"/>
                    </a:cubicBezTo>
                    <a:cubicBezTo>
                      <a:pt x="139" y="207"/>
                      <a:pt x="137" y="208"/>
                      <a:pt x="135" y="208"/>
                    </a:cubicBezTo>
                    <a:cubicBezTo>
                      <a:pt x="131" y="208"/>
                      <a:pt x="128" y="208"/>
                      <a:pt x="125" y="208"/>
                    </a:cubicBezTo>
                    <a:cubicBezTo>
                      <a:pt x="122" y="207"/>
                      <a:pt x="120" y="205"/>
                      <a:pt x="118" y="203"/>
                    </a:cubicBezTo>
                    <a:cubicBezTo>
                      <a:pt x="116" y="199"/>
                      <a:pt x="114" y="198"/>
                      <a:pt x="110" y="198"/>
                    </a:cubicBezTo>
                    <a:cubicBezTo>
                      <a:pt x="100" y="198"/>
                      <a:pt x="91" y="198"/>
                      <a:pt x="81" y="198"/>
                    </a:cubicBezTo>
                    <a:cubicBezTo>
                      <a:pt x="76" y="198"/>
                      <a:pt x="72" y="199"/>
                      <a:pt x="68" y="201"/>
                    </a:cubicBezTo>
                    <a:cubicBezTo>
                      <a:pt x="66" y="202"/>
                      <a:pt x="65" y="203"/>
                      <a:pt x="63" y="205"/>
                    </a:cubicBezTo>
                    <a:cubicBezTo>
                      <a:pt x="59" y="208"/>
                      <a:pt x="54" y="209"/>
                      <a:pt x="49" y="207"/>
                    </a:cubicBezTo>
                    <a:cubicBezTo>
                      <a:pt x="43" y="205"/>
                      <a:pt x="38" y="203"/>
                      <a:pt x="33" y="201"/>
                    </a:cubicBezTo>
                    <a:cubicBezTo>
                      <a:pt x="26" y="200"/>
                      <a:pt x="19" y="198"/>
                      <a:pt x="11" y="197"/>
                    </a:cubicBezTo>
                    <a:cubicBezTo>
                      <a:pt x="9" y="196"/>
                      <a:pt x="7" y="196"/>
                      <a:pt x="5" y="195"/>
                    </a:cubicBezTo>
                    <a:cubicBezTo>
                      <a:pt x="2" y="193"/>
                      <a:pt x="0" y="191"/>
                      <a:pt x="1" y="187"/>
                    </a:cubicBezTo>
                    <a:cubicBezTo>
                      <a:pt x="2" y="186"/>
                      <a:pt x="2" y="185"/>
                      <a:pt x="3" y="184"/>
                    </a:cubicBezTo>
                    <a:cubicBezTo>
                      <a:pt x="5" y="180"/>
                      <a:pt x="5" y="176"/>
                      <a:pt x="4" y="171"/>
                    </a:cubicBezTo>
                    <a:cubicBezTo>
                      <a:pt x="3" y="170"/>
                      <a:pt x="3" y="168"/>
                      <a:pt x="2" y="166"/>
                    </a:cubicBezTo>
                    <a:cubicBezTo>
                      <a:pt x="2" y="162"/>
                      <a:pt x="3" y="160"/>
                      <a:pt x="8" y="159"/>
                    </a:cubicBezTo>
                    <a:cubicBezTo>
                      <a:pt x="10" y="159"/>
                      <a:pt x="12" y="159"/>
                      <a:pt x="14" y="159"/>
                    </a:cubicBezTo>
                    <a:cubicBezTo>
                      <a:pt x="19" y="158"/>
                      <a:pt x="23" y="154"/>
                      <a:pt x="23" y="149"/>
                    </a:cubicBezTo>
                    <a:cubicBezTo>
                      <a:pt x="23" y="149"/>
                      <a:pt x="24" y="149"/>
                      <a:pt x="24" y="149"/>
                    </a:cubicBezTo>
                    <a:cubicBezTo>
                      <a:pt x="25" y="153"/>
                      <a:pt x="24" y="159"/>
                      <a:pt x="18" y="161"/>
                    </a:cubicBezTo>
                    <a:cubicBezTo>
                      <a:pt x="15" y="162"/>
                      <a:pt x="12" y="162"/>
                      <a:pt x="10" y="162"/>
                    </a:cubicBezTo>
                    <a:cubicBezTo>
                      <a:pt x="9" y="162"/>
                      <a:pt x="9" y="162"/>
                      <a:pt x="9" y="162"/>
                    </a:cubicBezTo>
                    <a:cubicBezTo>
                      <a:pt x="5" y="162"/>
                      <a:pt x="4" y="163"/>
                      <a:pt x="5" y="167"/>
                    </a:cubicBezTo>
                    <a:cubicBezTo>
                      <a:pt x="5" y="169"/>
                      <a:pt x="6" y="170"/>
                      <a:pt x="7" y="172"/>
                    </a:cubicBezTo>
                    <a:cubicBezTo>
                      <a:pt x="9" y="176"/>
                      <a:pt x="9" y="179"/>
                      <a:pt x="7" y="183"/>
                    </a:cubicBezTo>
                    <a:cubicBezTo>
                      <a:pt x="6" y="184"/>
                      <a:pt x="5" y="186"/>
                      <a:pt x="5" y="187"/>
                    </a:cubicBezTo>
                    <a:cubicBezTo>
                      <a:pt x="4" y="190"/>
                      <a:pt x="5" y="191"/>
                      <a:pt x="7" y="192"/>
                    </a:cubicBezTo>
                    <a:cubicBezTo>
                      <a:pt x="9" y="193"/>
                      <a:pt x="11" y="193"/>
                      <a:pt x="14" y="194"/>
                    </a:cubicBezTo>
                    <a:cubicBezTo>
                      <a:pt x="25" y="196"/>
                      <a:pt x="35" y="198"/>
                      <a:pt x="46" y="202"/>
                    </a:cubicBezTo>
                    <a:cubicBezTo>
                      <a:pt x="49" y="203"/>
                      <a:pt x="52" y="203"/>
                      <a:pt x="56" y="203"/>
                    </a:cubicBezTo>
                    <a:cubicBezTo>
                      <a:pt x="63" y="202"/>
                      <a:pt x="66" y="197"/>
                      <a:pt x="65" y="189"/>
                    </a:cubicBezTo>
                    <a:cubicBezTo>
                      <a:pt x="64" y="185"/>
                      <a:pt x="63" y="182"/>
                      <a:pt x="61" y="178"/>
                    </a:cubicBezTo>
                    <a:cubicBezTo>
                      <a:pt x="55" y="169"/>
                      <a:pt x="49" y="160"/>
                      <a:pt x="43" y="152"/>
                    </a:cubicBezTo>
                    <a:cubicBezTo>
                      <a:pt x="40" y="149"/>
                      <a:pt x="38" y="147"/>
                      <a:pt x="35" y="144"/>
                    </a:cubicBezTo>
                    <a:cubicBezTo>
                      <a:pt x="33" y="142"/>
                      <a:pt x="30" y="142"/>
                      <a:pt x="27" y="144"/>
                    </a:cubicBezTo>
                    <a:cubicBezTo>
                      <a:pt x="26" y="145"/>
                      <a:pt x="26" y="144"/>
                      <a:pt x="25" y="143"/>
                    </a:cubicBezTo>
                    <a:cubicBezTo>
                      <a:pt x="25" y="140"/>
                      <a:pt x="25" y="136"/>
                      <a:pt x="26" y="133"/>
                    </a:cubicBezTo>
                    <a:cubicBezTo>
                      <a:pt x="26" y="132"/>
                      <a:pt x="27" y="131"/>
                      <a:pt x="27" y="130"/>
                    </a:cubicBezTo>
                    <a:cubicBezTo>
                      <a:pt x="31" y="124"/>
                      <a:pt x="33" y="118"/>
                      <a:pt x="35" y="112"/>
                    </a:cubicBezTo>
                    <a:cubicBezTo>
                      <a:pt x="37" y="106"/>
                      <a:pt x="40" y="99"/>
                      <a:pt x="44" y="94"/>
                    </a:cubicBezTo>
                    <a:cubicBezTo>
                      <a:pt x="46" y="90"/>
                      <a:pt x="49" y="86"/>
                      <a:pt x="52" y="83"/>
                    </a:cubicBezTo>
                    <a:cubicBezTo>
                      <a:pt x="54" y="80"/>
                      <a:pt x="56" y="76"/>
                      <a:pt x="58" y="73"/>
                    </a:cubicBezTo>
                    <a:cubicBezTo>
                      <a:pt x="60" y="70"/>
                      <a:pt x="61" y="67"/>
                      <a:pt x="60" y="64"/>
                    </a:cubicBezTo>
                    <a:cubicBezTo>
                      <a:pt x="60" y="57"/>
                      <a:pt x="59" y="50"/>
                      <a:pt x="59" y="44"/>
                    </a:cubicBezTo>
                    <a:cubicBezTo>
                      <a:pt x="59" y="38"/>
                      <a:pt x="59" y="32"/>
                      <a:pt x="59" y="27"/>
                    </a:cubicBezTo>
                    <a:cubicBezTo>
                      <a:pt x="59" y="16"/>
                      <a:pt x="64" y="8"/>
                      <a:pt x="73" y="2"/>
                    </a:cubicBezTo>
                    <a:cubicBezTo>
                      <a:pt x="77" y="0"/>
                      <a:pt x="81" y="0"/>
                      <a:pt x="85" y="0"/>
                    </a:cubicBezTo>
                    <a:cubicBezTo>
                      <a:pt x="91" y="0"/>
                      <a:pt x="97" y="1"/>
                      <a:pt x="103" y="3"/>
                    </a:cubicBezTo>
                    <a:cubicBezTo>
                      <a:pt x="110" y="6"/>
                      <a:pt x="114" y="11"/>
                      <a:pt x="118" y="17"/>
                    </a:cubicBezTo>
                    <a:cubicBezTo>
                      <a:pt x="121" y="23"/>
                      <a:pt x="123" y="29"/>
                      <a:pt x="123" y="36"/>
                    </a:cubicBezTo>
                    <a:cubicBezTo>
                      <a:pt x="123" y="39"/>
                      <a:pt x="123" y="43"/>
                      <a:pt x="123" y="47"/>
                    </a:cubicBezTo>
                    <a:cubicBezTo>
                      <a:pt x="125" y="61"/>
                      <a:pt x="129" y="74"/>
                      <a:pt x="139" y="84"/>
                    </a:cubicBezTo>
                    <a:cubicBezTo>
                      <a:pt x="150" y="97"/>
                      <a:pt x="156" y="112"/>
                      <a:pt x="160" y="128"/>
                    </a:cubicBezTo>
                    <a:cubicBezTo>
                      <a:pt x="161" y="133"/>
                      <a:pt x="161" y="138"/>
                      <a:pt x="160" y="143"/>
                    </a:cubicBezTo>
                    <a:cubicBezTo>
                      <a:pt x="160" y="144"/>
                      <a:pt x="160" y="145"/>
                      <a:pt x="159" y="146"/>
                    </a:cubicBezTo>
                    <a:cubicBezTo>
                      <a:pt x="159" y="146"/>
                      <a:pt x="158" y="147"/>
                      <a:pt x="158" y="147"/>
                    </a:cubicBezTo>
                    <a:cubicBezTo>
                      <a:pt x="155" y="148"/>
                      <a:pt x="154" y="150"/>
                      <a:pt x="153" y="152"/>
                    </a:cubicBezTo>
                    <a:cubicBezTo>
                      <a:pt x="151" y="154"/>
                      <a:pt x="150" y="156"/>
                      <a:pt x="147" y="157"/>
                    </a:cubicBezTo>
                    <a:cubicBezTo>
                      <a:pt x="144" y="160"/>
                      <a:pt x="140" y="160"/>
                      <a:pt x="136" y="159"/>
                    </a:cubicBezTo>
                    <a:cubicBezTo>
                      <a:pt x="134" y="158"/>
                      <a:pt x="132" y="157"/>
                      <a:pt x="131" y="155"/>
                    </a:cubicBezTo>
                    <a:cubicBezTo>
                      <a:pt x="130" y="153"/>
                      <a:pt x="129" y="152"/>
                      <a:pt x="128" y="150"/>
                    </a:cubicBezTo>
                    <a:cubicBezTo>
                      <a:pt x="128" y="149"/>
                      <a:pt x="127" y="147"/>
                      <a:pt x="125" y="147"/>
                    </a:cubicBezTo>
                    <a:cubicBezTo>
                      <a:pt x="123" y="148"/>
                      <a:pt x="122" y="149"/>
                      <a:pt x="122" y="151"/>
                    </a:cubicBezTo>
                    <a:cubicBezTo>
                      <a:pt x="120" y="155"/>
                      <a:pt x="120" y="159"/>
                      <a:pt x="121" y="163"/>
                    </a:cubicBezTo>
                    <a:cubicBezTo>
                      <a:pt x="124" y="170"/>
                      <a:pt x="123" y="178"/>
                      <a:pt x="122" y="186"/>
                    </a:cubicBezTo>
                    <a:cubicBezTo>
                      <a:pt x="122" y="188"/>
                      <a:pt x="122" y="191"/>
                      <a:pt x="122" y="194"/>
                    </a:cubicBezTo>
                    <a:cubicBezTo>
                      <a:pt x="123" y="201"/>
                      <a:pt x="129" y="204"/>
                      <a:pt x="137" y="202"/>
                    </a:cubicBezTo>
                    <a:cubicBezTo>
                      <a:pt x="140" y="201"/>
                      <a:pt x="142" y="199"/>
                      <a:pt x="145" y="197"/>
                    </a:cubicBezTo>
                    <a:cubicBezTo>
                      <a:pt x="151" y="191"/>
                      <a:pt x="158" y="188"/>
                      <a:pt x="166" y="186"/>
                    </a:cubicBezTo>
                    <a:cubicBezTo>
                      <a:pt x="168" y="185"/>
                      <a:pt x="171" y="183"/>
                      <a:pt x="173" y="182"/>
                    </a:cubicBezTo>
                    <a:cubicBezTo>
                      <a:pt x="174" y="182"/>
                      <a:pt x="175" y="181"/>
                      <a:pt x="175" y="180"/>
                    </a:cubicBezTo>
                    <a:cubicBezTo>
                      <a:pt x="176" y="179"/>
                      <a:pt x="177" y="178"/>
                      <a:pt x="175" y="176"/>
                    </a:cubicBezTo>
                    <a:cubicBezTo>
                      <a:pt x="174" y="175"/>
                      <a:pt x="173" y="174"/>
                      <a:pt x="171" y="173"/>
                    </a:cubicBezTo>
                    <a:cubicBezTo>
                      <a:pt x="170" y="173"/>
                      <a:pt x="169" y="172"/>
                      <a:pt x="168" y="172"/>
                    </a:cubicBezTo>
                    <a:cubicBezTo>
                      <a:pt x="164" y="171"/>
                      <a:pt x="161" y="167"/>
                      <a:pt x="160" y="163"/>
                    </a:cubicBezTo>
                    <a:cubicBezTo>
                      <a:pt x="160" y="160"/>
                      <a:pt x="160" y="157"/>
                      <a:pt x="160" y="155"/>
                    </a:cubicBezTo>
                    <a:cubicBezTo>
                      <a:pt x="160" y="154"/>
                      <a:pt x="161" y="153"/>
                      <a:pt x="161" y="152"/>
                    </a:cubicBezTo>
                    <a:close/>
                    <a:moveTo>
                      <a:pt x="71" y="68"/>
                    </a:moveTo>
                    <a:cubicBezTo>
                      <a:pt x="71" y="68"/>
                      <a:pt x="71" y="68"/>
                      <a:pt x="71" y="69"/>
                    </a:cubicBezTo>
                    <a:cubicBezTo>
                      <a:pt x="73" y="71"/>
                      <a:pt x="75" y="73"/>
                      <a:pt x="78" y="73"/>
                    </a:cubicBezTo>
                    <a:cubicBezTo>
                      <a:pt x="82" y="74"/>
                      <a:pt x="85" y="73"/>
                      <a:pt x="89" y="71"/>
                    </a:cubicBezTo>
                    <a:cubicBezTo>
                      <a:pt x="92" y="70"/>
                      <a:pt x="95" y="68"/>
                      <a:pt x="98" y="66"/>
                    </a:cubicBezTo>
                    <a:cubicBezTo>
                      <a:pt x="99" y="66"/>
                      <a:pt x="100" y="65"/>
                      <a:pt x="101" y="65"/>
                    </a:cubicBezTo>
                    <a:cubicBezTo>
                      <a:pt x="102" y="65"/>
                      <a:pt x="102" y="66"/>
                      <a:pt x="102" y="66"/>
                    </a:cubicBezTo>
                    <a:cubicBezTo>
                      <a:pt x="103" y="66"/>
                      <a:pt x="102" y="67"/>
                      <a:pt x="102" y="67"/>
                    </a:cubicBezTo>
                    <a:cubicBezTo>
                      <a:pt x="101" y="68"/>
                      <a:pt x="100" y="69"/>
                      <a:pt x="99" y="69"/>
                    </a:cubicBezTo>
                    <a:cubicBezTo>
                      <a:pt x="95" y="71"/>
                      <a:pt x="91" y="74"/>
                      <a:pt x="87" y="77"/>
                    </a:cubicBezTo>
                    <a:cubicBezTo>
                      <a:pt x="85" y="78"/>
                      <a:pt x="83" y="79"/>
                      <a:pt x="81" y="80"/>
                    </a:cubicBezTo>
                    <a:cubicBezTo>
                      <a:pt x="78" y="82"/>
                      <a:pt x="76" y="81"/>
                      <a:pt x="74" y="79"/>
                    </a:cubicBezTo>
                    <a:cubicBezTo>
                      <a:pt x="71" y="76"/>
                      <a:pt x="70" y="74"/>
                      <a:pt x="68" y="71"/>
                    </a:cubicBezTo>
                    <a:cubicBezTo>
                      <a:pt x="67" y="70"/>
                      <a:pt x="66" y="70"/>
                      <a:pt x="66" y="69"/>
                    </a:cubicBezTo>
                    <a:cubicBezTo>
                      <a:pt x="65" y="70"/>
                      <a:pt x="65" y="70"/>
                      <a:pt x="65" y="70"/>
                    </a:cubicBezTo>
                    <a:cubicBezTo>
                      <a:pt x="65" y="72"/>
                      <a:pt x="65" y="74"/>
                      <a:pt x="64" y="76"/>
                    </a:cubicBezTo>
                    <a:cubicBezTo>
                      <a:pt x="63" y="79"/>
                      <a:pt x="62" y="81"/>
                      <a:pt x="61" y="83"/>
                    </a:cubicBezTo>
                    <a:cubicBezTo>
                      <a:pt x="59" y="86"/>
                      <a:pt x="58" y="88"/>
                      <a:pt x="58" y="92"/>
                    </a:cubicBezTo>
                    <a:cubicBezTo>
                      <a:pt x="58" y="94"/>
                      <a:pt x="58" y="96"/>
                      <a:pt x="59" y="98"/>
                    </a:cubicBezTo>
                    <a:cubicBezTo>
                      <a:pt x="58" y="98"/>
                      <a:pt x="57" y="99"/>
                      <a:pt x="56" y="100"/>
                    </a:cubicBezTo>
                    <a:cubicBezTo>
                      <a:pt x="54" y="104"/>
                      <a:pt x="52" y="108"/>
                      <a:pt x="50" y="112"/>
                    </a:cubicBezTo>
                    <a:cubicBezTo>
                      <a:pt x="48" y="117"/>
                      <a:pt x="46" y="122"/>
                      <a:pt x="46" y="127"/>
                    </a:cubicBezTo>
                    <a:cubicBezTo>
                      <a:pt x="46" y="130"/>
                      <a:pt x="46" y="133"/>
                      <a:pt x="46" y="135"/>
                    </a:cubicBezTo>
                    <a:cubicBezTo>
                      <a:pt x="46" y="137"/>
                      <a:pt x="46" y="138"/>
                      <a:pt x="45" y="140"/>
                    </a:cubicBezTo>
                    <a:cubicBezTo>
                      <a:pt x="45" y="141"/>
                      <a:pt x="44" y="141"/>
                      <a:pt x="43" y="141"/>
                    </a:cubicBezTo>
                    <a:cubicBezTo>
                      <a:pt x="42" y="140"/>
                      <a:pt x="41" y="139"/>
                      <a:pt x="40" y="138"/>
                    </a:cubicBezTo>
                    <a:cubicBezTo>
                      <a:pt x="38" y="134"/>
                      <a:pt x="37" y="129"/>
                      <a:pt x="38" y="124"/>
                    </a:cubicBezTo>
                    <a:cubicBezTo>
                      <a:pt x="38" y="123"/>
                      <a:pt x="38" y="122"/>
                      <a:pt x="38" y="121"/>
                    </a:cubicBezTo>
                    <a:cubicBezTo>
                      <a:pt x="38" y="121"/>
                      <a:pt x="38" y="120"/>
                      <a:pt x="38" y="120"/>
                    </a:cubicBezTo>
                    <a:cubicBezTo>
                      <a:pt x="38" y="121"/>
                      <a:pt x="37" y="122"/>
                      <a:pt x="37" y="123"/>
                    </a:cubicBezTo>
                    <a:cubicBezTo>
                      <a:pt x="36" y="127"/>
                      <a:pt x="36" y="131"/>
                      <a:pt x="37" y="135"/>
                    </a:cubicBezTo>
                    <a:cubicBezTo>
                      <a:pt x="38" y="137"/>
                      <a:pt x="38" y="140"/>
                      <a:pt x="40" y="142"/>
                    </a:cubicBezTo>
                    <a:cubicBezTo>
                      <a:pt x="44" y="146"/>
                      <a:pt x="48" y="149"/>
                      <a:pt x="52" y="153"/>
                    </a:cubicBezTo>
                    <a:cubicBezTo>
                      <a:pt x="57" y="157"/>
                      <a:pt x="62" y="161"/>
                      <a:pt x="67" y="165"/>
                    </a:cubicBezTo>
                    <a:cubicBezTo>
                      <a:pt x="69" y="166"/>
                      <a:pt x="70" y="169"/>
                      <a:pt x="69" y="172"/>
                    </a:cubicBezTo>
                    <a:cubicBezTo>
                      <a:pt x="69" y="174"/>
                      <a:pt x="67" y="176"/>
                      <a:pt x="65" y="177"/>
                    </a:cubicBezTo>
                    <a:cubicBezTo>
                      <a:pt x="64" y="177"/>
                      <a:pt x="63" y="177"/>
                      <a:pt x="63" y="177"/>
                    </a:cubicBezTo>
                    <a:cubicBezTo>
                      <a:pt x="64" y="179"/>
                      <a:pt x="65" y="181"/>
                      <a:pt x="66" y="183"/>
                    </a:cubicBezTo>
                    <a:cubicBezTo>
                      <a:pt x="68" y="185"/>
                      <a:pt x="69" y="188"/>
                      <a:pt x="70" y="191"/>
                    </a:cubicBezTo>
                    <a:cubicBezTo>
                      <a:pt x="70" y="193"/>
                      <a:pt x="70" y="195"/>
                      <a:pt x="70" y="197"/>
                    </a:cubicBezTo>
                    <a:cubicBezTo>
                      <a:pt x="71" y="197"/>
                      <a:pt x="71" y="197"/>
                      <a:pt x="71" y="197"/>
                    </a:cubicBezTo>
                    <a:cubicBezTo>
                      <a:pt x="73" y="195"/>
                      <a:pt x="73" y="193"/>
                      <a:pt x="73" y="190"/>
                    </a:cubicBezTo>
                    <a:cubicBezTo>
                      <a:pt x="72" y="188"/>
                      <a:pt x="71" y="186"/>
                      <a:pt x="69" y="184"/>
                    </a:cubicBezTo>
                    <a:cubicBezTo>
                      <a:pt x="69" y="183"/>
                      <a:pt x="68" y="182"/>
                      <a:pt x="69" y="182"/>
                    </a:cubicBezTo>
                    <a:cubicBezTo>
                      <a:pt x="69" y="181"/>
                      <a:pt x="71" y="181"/>
                      <a:pt x="72" y="182"/>
                    </a:cubicBezTo>
                    <a:cubicBezTo>
                      <a:pt x="74" y="184"/>
                      <a:pt x="77" y="185"/>
                      <a:pt x="79" y="185"/>
                    </a:cubicBezTo>
                    <a:cubicBezTo>
                      <a:pt x="85" y="187"/>
                      <a:pt x="91" y="186"/>
                      <a:pt x="97" y="185"/>
                    </a:cubicBezTo>
                    <a:cubicBezTo>
                      <a:pt x="102" y="184"/>
                      <a:pt x="106" y="182"/>
                      <a:pt x="109" y="179"/>
                    </a:cubicBezTo>
                    <a:cubicBezTo>
                      <a:pt x="111" y="177"/>
                      <a:pt x="112" y="175"/>
                      <a:pt x="114" y="173"/>
                    </a:cubicBezTo>
                    <a:cubicBezTo>
                      <a:pt x="114" y="173"/>
                      <a:pt x="115" y="172"/>
                      <a:pt x="116" y="172"/>
                    </a:cubicBezTo>
                    <a:cubicBezTo>
                      <a:pt x="116" y="172"/>
                      <a:pt x="117" y="173"/>
                      <a:pt x="117" y="174"/>
                    </a:cubicBezTo>
                    <a:cubicBezTo>
                      <a:pt x="118" y="178"/>
                      <a:pt x="117" y="182"/>
                      <a:pt x="116" y="185"/>
                    </a:cubicBezTo>
                    <a:cubicBezTo>
                      <a:pt x="115" y="188"/>
                      <a:pt x="114" y="190"/>
                      <a:pt x="114" y="192"/>
                    </a:cubicBezTo>
                    <a:cubicBezTo>
                      <a:pt x="114" y="194"/>
                      <a:pt x="114" y="195"/>
                      <a:pt x="117" y="195"/>
                    </a:cubicBezTo>
                    <a:cubicBezTo>
                      <a:pt x="117" y="191"/>
                      <a:pt x="118" y="186"/>
                      <a:pt x="119" y="182"/>
                    </a:cubicBezTo>
                    <a:cubicBezTo>
                      <a:pt x="120" y="178"/>
                      <a:pt x="120" y="174"/>
                      <a:pt x="120" y="171"/>
                    </a:cubicBezTo>
                    <a:cubicBezTo>
                      <a:pt x="119" y="167"/>
                      <a:pt x="119" y="163"/>
                      <a:pt x="118" y="159"/>
                    </a:cubicBezTo>
                    <a:cubicBezTo>
                      <a:pt x="118" y="156"/>
                      <a:pt x="118" y="153"/>
                      <a:pt x="120" y="150"/>
                    </a:cubicBezTo>
                    <a:cubicBezTo>
                      <a:pt x="121" y="147"/>
                      <a:pt x="123" y="145"/>
                      <a:pt x="126" y="145"/>
                    </a:cubicBezTo>
                    <a:cubicBezTo>
                      <a:pt x="126" y="145"/>
                      <a:pt x="127" y="145"/>
                      <a:pt x="127" y="145"/>
                    </a:cubicBezTo>
                    <a:cubicBezTo>
                      <a:pt x="127" y="142"/>
                      <a:pt x="129" y="140"/>
                      <a:pt x="133" y="139"/>
                    </a:cubicBezTo>
                    <a:cubicBezTo>
                      <a:pt x="137" y="137"/>
                      <a:pt x="142" y="138"/>
                      <a:pt x="146" y="140"/>
                    </a:cubicBezTo>
                    <a:cubicBezTo>
                      <a:pt x="145" y="138"/>
                      <a:pt x="142" y="137"/>
                      <a:pt x="140" y="136"/>
                    </a:cubicBezTo>
                    <a:cubicBezTo>
                      <a:pt x="146" y="119"/>
                      <a:pt x="136" y="97"/>
                      <a:pt x="127" y="91"/>
                    </a:cubicBezTo>
                    <a:cubicBezTo>
                      <a:pt x="131" y="97"/>
                      <a:pt x="134" y="103"/>
                      <a:pt x="137" y="110"/>
                    </a:cubicBezTo>
                    <a:cubicBezTo>
                      <a:pt x="139" y="116"/>
                      <a:pt x="140" y="123"/>
                      <a:pt x="139" y="130"/>
                    </a:cubicBezTo>
                    <a:cubicBezTo>
                      <a:pt x="138" y="135"/>
                      <a:pt x="136" y="137"/>
                      <a:pt x="132" y="137"/>
                    </a:cubicBezTo>
                    <a:cubicBezTo>
                      <a:pt x="130" y="138"/>
                      <a:pt x="129" y="137"/>
                      <a:pt x="128" y="134"/>
                    </a:cubicBezTo>
                    <a:cubicBezTo>
                      <a:pt x="128" y="132"/>
                      <a:pt x="128" y="130"/>
                      <a:pt x="128" y="128"/>
                    </a:cubicBezTo>
                    <a:cubicBezTo>
                      <a:pt x="128" y="121"/>
                      <a:pt x="127" y="114"/>
                      <a:pt x="124" y="107"/>
                    </a:cubicBezTo>
                    <a:cubicBezTo>
                      <a:pt x="123" y="102"/>
                      <a:pt x="121" y="98"/>
                      <a:pt x="118" y="95"/>
                    </a:cubicBezTo>
                    <a:cubicBezTo>
                      <a:pt x="117" y="94"/>
                      <a:pt x="117" y="94"/>
                      <a:pt x="117" y="93"/>
                    </a:cubicBezTo>
                    <a:cubicBezTo>
                      <a:pt x="115" y="86"/>
                      <a:pt x="113" y="78"/>
                      <a:pt x="108" y="72"/>
                    </a:cubicBezTo>
                    <a:cubicBezTo>
                      <a:pt x="106" y="70"/>
                      <a:pt x="105" y="67"/>
                      <a:pt x="106" y="63"/>
                    </a:cubicBezTo>
                    <a:cubicBezTo>
                      <a:pt x="106" y="62"/>
                      <a:pt x="107" y="60"/>
                      <a:pt x="107" y="58"/>
                    </a:cubicBezTo>
                    <a:cubicBezTo>
                      <a:pt x="108" y="55"/>
                      <a:pt x="107" y="54"/>
                      <a:pt x="104" y="53"/>
                    </a:cubicBezTo>
                    <a:cubicBezTo>
                      <a:pt x="101" y="52"/>
                      <a:pt x="98" y="50"/>
                      <a:pt x="94" y="49"/>
                    </a:cubicBezTo>
                    <a:cubicBezTo>
                      <a:pt x="92" y="48"/>
                      <a:pt x="91" y="46"/>
                      <a:pt x="91" y="44"/>
                    </a:cubicBezTo>
                    <a:cubicBezTo>
                      <a:pt x="91" y="43"/>
                      <a:pt x="92" y="41"/>
                      <a:pt x="92" y="40"/>
                    </a:cubicBezTo>
                    <a:cubicBezTo>
                      <a:pt x="93" y="37"/>
                      <a:pt x="95" y="36"/>
                      <a:pt x="98" y="36"/>
                    </a:cubicBezTo>
                    <a:cubicBezTo>
                      <a:pt x="100" y="37"/>
                      <a:pt x="101" y="38"/>
                      <a:pt x="102" y="39"/>
                    </a:cubicBezTo>
                    <a:cubicBezTo>
                      <a:pt x="103" y="42"/>
                      <a:pt x="104" y="45"/>
                      <a:pt x="102" y="47"/>
                    </a:cubicBezTo>
                    <a:cubicBezTo>
                      <a:pt x="102" y="48"/>
                      <a:pt x="102" y="49"/>
                      <a:pt x="103" y="50"/>
                    </a:cubicBezTo>
                    <a:cubicBezTo>
                      <a:pt x="104" y="51"/>
                      <a:pt x="107" y="50"/>
                      <a:pt x="107" y="48"/>
                    </a:cubicBezTo>
                    <a:cubicBezTo>
                      <a:pt x="108" y="43"/>
                      <a:pt x="108" y="39"/>
                      <a:pt x="106" y="35"/>
                    </a:cubicBezTo>
                    <a:cubicBezTo>
                      <a:pt x="104" y="31"/>
                      <a:pt x="100" y="29"/>
                      <a:pt x="96" y="29"/>
                    </a:cubicBezTo>
                    <a:cubicBezTo>
                      <a:pt x="92" y="30"/>
                      <a:pt x="88" y="33"/>
                      <a:pt x="87" y="37"/>
                    </a:cubicBezTo>
                    <a:cubicBezTo>
                      <a:pt x="87" y="39"/>
                      <a:pt x="87" y="40"/>
                      <a:pt x="87" y="41"/>
                    </a:cubicBezTo>
                    <a:cubicBezTo>
                      <a:pt x="87" y="43"/>
                      <a:pt x="87" y="45"/>
                      <a:pt x="87" y="47"/>
                    </a:cubicBezTo>
                    <a:cubicBezTo>
                      <a:pt x="85" y="45"/>
                      <a:pt x="83" y="45"/>
                      <a:pt x="81" y="45"/>
                    </a:cubicBezTo>
                    <a:cubicBezTo>
                      <a:pt x="81" y="45"/>
                      <a:pt x="80" y="45"/>
                      <a:pt x="80" y="45"/>
                    </a:cubicBezTo>
                    <a:cubicBezTo>
                      <a:pt x="79" y="46"/>
                      <a:pt x="78" y="45"/>
                      <a:pt x="78" y="44"/>
                    </a:cubicBezTo>
                    <a:cubicBezTo>
                      <a:pt x="78" y="41"/>
                      <a:pt x="77" y="38"/>
                      <a:pt x="77" y="35"/>
                    </a:cubicBezTo>
                    <a:cubicBezTo>
                      <a:pt x="77" y="35"/>
                      <a:pt x="76" y="34"/>
                      <a:pt x="76" y="34"/>
                    </a:cubicBezTo>
                    <a:cubicBezTo>
                      <a:pt x="75" y="32"/>
                      <a:pt x="73" y="30"/>
                      <a:pt x="71" y="30"/>
                    </a:cubicBezTo>
                    <a:cubicBezTo>
                      <a:pt x="68" y="30"/>
                      <a:pt x="67" y="32"/>
                      <a:pt x="66" y="34"/>
                    </a:cubicBezTo>
                    <a:cubicBezTo>
                      <a:pt x="63" y="39"/>
                      <a:pt x="64" y="44"/>
                      <a:pt x="66" y="49"/>
                    </a:cubicBezTo>
                    <a:cubicBezTo>
                      <a:pt x="67" y="50"/>
                      <a:pt x="68" y="51"/>
                      <a:pt x="68" y="51"/>
                    </a:cubicBezTo>
                    <a:cubicBezTo>
                      <a:pt x="69" y="51"/>
                      <a:pt x="70" y="50"/>
                      <a:pt x="70" y="49"/>
                    </a:cubicBezTo>
                    <a:cubicBezTo>
                      <a:pt x="69" y="48"/>
                      <a:pt x="68" y="48"/>
                      <a:pt x="67" y="47"/>
                    </a:cubicBezTo>
                    <a:cubicBezTo>
                      <a:pt x="66" y="45"/>
                      <a:pt x="66" y="42"/>
                      <a:pt x="67" y="39"/>
                    </a:cubicBezTo>
                    <a:cubicBezTo>
                      <a:pt x="68" y="37"/>
                      <a:pt x="71" y="36"/>
                      <a:pt x="73" y="38"/>
                    </a:cubicBezTo>
                    <a:cubicBezTo>
                      <a:pt x="75" y="39"/>
                      <a:pt x="75" y="42"/>
                      <a:pt x="75" y="44"/>
                    </a:cubicBezTo>
                    <a:cubicBezTo>
                      <a:pt x="76" y="46"/>
                      <a:pt x="75" y="47"/>
                      <a:pt x="73" y="48"/>
                    </a:cubicBezTo>
                    <a:cubicBezTo>
                      <a:pt x="73" y="48"/>
                      <a:pt x="73" y="48"/>
                      <a:pt x="73" y="49"/>
                    </a:cubicBezTo>
                    <a:cubicBezTo>
                      <a:pt x="71" y="51"/>
                      <a:pt x="69" y="52"/>
                      <a:pt x="67" y="53"/>
                    </a:cubicBezTo>
                    <a:cubicBezTo>
                      <a:pt x="66" y="54"/>
                      <a:pt x="65" y="55"/>
                      <a:pt x="64" y="56"/>
                    </a:cubicBezTo>
                    <a:cubicBezTo>
                      <a:pt x="64" y="57"/>
                      <a:pt x="64" y="58"/>
                      <a:pt x="65" y="59"/>
                    </a:cubicBezTo>
                    <a:cubicBezTo>
                      <a:pt x="66" y="60"/>
                      <a:pt x="68" y="61"/>
                      <a:pt x="68" y="62"/>
                    </a:cubicBezTo>
                    <a:cubicBezTo>
                      <a:pt x="71" y="65"/>
                      <a:pt x="74" y="66"/>
                      <a:pt x="78" y="66"/>
                    </a:cubicBezTo>
                    <a:cubicBezTo>
                      <a:pt x="83" y="66"/>
                      <a:pt x="87" y="64"/>
                      <a:pt x="91" y="63"/>
                    </a:cubicBezTo>
                    <a:cubicBezTo>
                      <a:pt x="95" y="62"/>
                      <a:pt x="99" y="61"/>
                      <a:pt x="101" y="58"/>
                    </a:cubicBezTo>
                    <a:cubicBezTo>
                      <a:pt x="101" y="57"/>
                      <a:pt x="103" y="57"/>
                      <a:pt x="103" y="58"/>
                    </a:cubicBezTo>
                    <a:cubicBezTo>
                      <a:pt x="104" y="58"/>
                      <a:pt x="104" y="59"/>
                      <a:pt x="103" y="60"/>
                    </a:cubicBezTo>
                    <a:cubicBezTo>
                      <a:pt x="103" y="60"/>
                      <a:pt x="103" y="61"/>
                      <a:pt x="102" y="61"/>
                    </a:cubicBezTo>
                    <a:cubicBezTo>
                      <a:pt x="97" y="63"/>
                      <a:pt x="92" y="65"/>
                      <a:pt x="87" y="67"/>
                    </a:cubicBezTo>
                    <a:cubicBezTo>
                      <a:pt x="83" y="68"/>
                      <a:pt x="79" y="69"/>
                      <a:pt x="75" y="69"/>
                    </a:cubicBezTo>
                    <a:cubicBezTo>
                      <a:pt x="74" y="68"/>
                      <a:pt x="72" y="68"/>
                      <a:pt x="71" y="68"/>
                    </a:cubicBezTo>
                    <a:close/>
                    <a:moveTo>
                      <a:pt x="73" y="45"/>
                    </a:moveTo>
                    <a:cubicBezTo>
                      <a:pt x="73" y="43"/>
                      <a:pt x="73" y="41"/>
                      <a:pt x="72" y="40"/>
                    </a:cubicBezTo>
                    <a:cubicBezTo>
                      <a:pt x="72" y="39"/>
                      <a:pt x="71" y="39"/>
                      <a:pt x="71" y="39"/>
                    </a:cubicBezTo>
                    <a:cubicBezTo>
                      <a:pt x="71" y="40"/>
                      <a:pt x="71" y="40"/>
                      <a:pt x="71" y="40"/>
                    </a:cubicBezTo>
                    <a:cubicBezTo>
                      <a:pt x="72" y="41"/>
                      <a:pt x="72" y="42"/>
                      <a:pt x="72" y="43"/>
                    </a:cubicBezTo>
                    <a:cubicBezTo>
                      <a:pt x="72" y="44"/>
                      <a:pt x="72" y="45"/>
                      <a:pt x="73" y="45"/>
                    </a:cubicBezTo>
                    <a:close/>
                    <a:moveTo>
                      <a:pt x="97" y="39"/>
                    </a:moveTo>
                    <a:cubicBezTo>
                      <a:pt x="99" y="40"/>
                      <a:pt x="100" y="41"/>
                      <a:pt x="100" y="43"/>
                    </a:cubicBezTo>
                    <a:cubicBezTo>
                      <a:pt x="101" y="43"/>
                      <a:pt x="101" y="43"/>
                      <a:pt x="101" y="42"/>
                    </a:cubicBezTo>
                    <a:cubicBezTo>
                      <a:pt x="101" y="41"/>
                      <a:pt x="101" y="40"/>
                      <a:pt x="100" y="39"/>
                    </a:cubicBezTo>
                    <a:cubicBezTo>
                      <a:pt x="99" y="38"/>
                      <a:pt x="98" y="38"/>
                      <a:pt x="97" y="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9" name="Freeform 86"/>
              <p:cNvSpPr>
                <a:spLocks/>
              </p:cNvSpPr>
              <p:nvPr userDrawn="1"/>
            </p:nvSpPr>
            <p:spPr bwMode="auto">
              <a:xfrm>
                <a:off x="6802" y="2978"/>
                <a:ext cx="3" cy="3"/>
              </a:xfrm>
              <a:custGeom>
                <a:avLst/>
                <a:gdLst>
                  <a:gd name="T0" fmla="*/ 3 w 3"/>
                  <a:gd name="T1" fmla="*/ 1 h 3"/>
                  <a:gd name="T2" fmla="*/ 2 w 3"/>
                  <a:gd name="T3" fmla="*/ 2 h 3"/>
                  <a:gd name="T4" fmla="*/ 0 w 3"/>
                  <a:gd name="T5" fmla="*/ 3 h 3"/>
                  <a:gd name="T6" fmla="*/ 1 w 3"/>
                  <a:gd name="T7" fmla="*/ 1 h 3"/>
                  <a:gd name="T8" fmla="*/ 2 w 3"/>
                  <a:gd name="T9" fmla="*/ 0 h 3"/>
                  <a:gd name="T10" fmla="*/ 3 w 3"/>
                  <a:gd name="T11" fmla="*/ 1 h 3"/>
                </a:gdLst>
                <a:ahLst/>
                <a:cxnLst>
                  <a:cxn ang="0">
                    <a:pos x="T0" y="T1"/>
                  </a:cxn>
                  <a:cxn ang="0">
                    <a:pos x="T2" y="T3"/>
                  </a:cxn>
                  <a:cxn ang="0">
                    <a:pos x="T4" y="T5"/>
                  </a:cxn>
                  <a:cxn ang="0">
                    <a:pos x="T6" y="T7"/>
                  </a:cxn>
                  <a:cxn ang="0">
                    <a:pos x="T8" y="T9"/>
                  </a:cxn>
                  <a:cxn ang="0">
                    <a:pos x="T10" y="T11"/>
                  </a:cxn>
                </a:cxnLst>
                <a:rect l="0" t="0" r="r" b="b"/>
                <a:pathLst>
                  <a:path w="3" h="3">
                    <a:moveTo>
                      <a:pt x="3" y="1"/>
                    </a:moveTo>
                    <a:cubicBezTo>
                      <a:pt x="2" y="1"/>
                      <a:pt x="2" y="2"/>
                      <a:pt x="2" y="2"/>
                    </a:cubicBezTo>
                    <a:cubicBezTo>
                      <a:pt x="1" y="2"/>
                      <a:pt x="1" y="3"/>
                      <a:pt x="0" y="3"/>
                    </a:cubicBezTo>
                    <a:cubicBezTo>
                      <a:pt x="0" y="2"/>
                      <a:pt x="0" y="2"/>
                      <a:pt x="1" y="1"/>
                    </a:cubicBezTo>
                    <a:cubicBezTo>
                      <a:pt x="1" y="1"/>
                      <a:pt x="2" y="1"/>
                      <a:pt x="2" y="0"/>
                    </a:cubicBezTo>
                    <a:cubicBezTo>
                      <a:pt x="3" y="0"/>
                      <a:pt x="3" y="0"/>
                      <a:pt x="3"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0" name="Freeform 87"/>
              <p:cNvSpPr>
                <a:spLocks/>
              </p:cNvSpPr>
              <p:nvPr userDrawn="1"/>
            </p:nvSpPr>
            <p:spPr bwMode="auto">
              <a:xfrm>
                <a:off x="6815" y="2978"/>
                <a:ext cx="4" cy="2"/>
              </a:xfrm>
              <a:custGeom>
                <a:avLst/>
                <a:gdLst>
                  <a:gd name="T0" fmla="*/ 0 w 3"/>
                  <a:gd name="T1" fmla="*/ 0 h 2"/>
                  <a:gd name="T2" fmla="*/ 2 w 3"/>
                  <a:gd name="T3" fmla="*/ 1 h 2"/>
                  <a:gd name="T4" fmla="*/ 3 w 3"/>
                  <a:gd name="T5" fmla="*/ 2 h 2"/>
                  <a:gd name="T6" fmla="*/ 2 w 3"/>
                  <a:gd name="T7" fmla="*/ 2 h 2"/>
                  <a:gd name="T8" fmla="*/ 0 w 3"/>
                  <a:gd name="T9" fmla="*/ 0 h 2"/>
                </a:gdLst>
                <a:ahLst/>
                <a:cxnLst>
                  <a:cxn ang="0">
                    <a:pos x="T0" y="T1"/>
                  </a:cxn>
                  <a:cxn ang="0">
                    <a:pos x="T2" y="T3"/>
                  </a:cxn>
                  <a:cxn ang="0">
                    <a:pos x="T4" y="T5"/>
                  </a:cxn>
                  <a:cxn ang="0">
                    <a:pos x="T6" y="T7"/>
                  </a:cxn>
                  <a:cxn ang="0">
                    <a:pos x="T8" y="T9"/>
                  </a:cxn>
                </a:cxnLst>
                <a:rect l="0" t="0" r="r" b="b"/>
                <a:pathLst>
                  <a:path w="3" h="2">
                    <a:moveTo>
                      <a:pt x="0" y="0"/>
                    </a:moveTo>
                    <a:cubicBezTo>
                      <a:pt x="1" y="0"/>
                      <a:pt x="2" y="0"/>
                      <a:pt x="2" y="1"/>
                    </a:cubicBezTo>
                    <a:cubicBezTo>
                      <a:pt x="3" y="1"/>
                      <a:pt x="3" y="1"/>
                      <a:pt x="3" y="2"/>
                    </a:cubicBezTo>
                    <a:cubicBezTo>
                      <a:pt x="3" y="2"/>
                      <a:pt x="2" y="2"/>
                      <a:pt x="2" y="2"/>
                    </a:cubicBezTo>
                    <a:cubicBezTo>
                      <a:pt x="1" y="1"/>
                      <a:pt x="1" y="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1" name="Freeform 88"/>
              <p:cNvSpPr>
                <a:spLocks noEditPoints="1"/>
              </p:cNvSpPr>
              <p:nvPr userDrawn="1"/>
            </p:nvSpPr>
            <p:spPr bwMode="auto">
              <a:xfrm>
                <a:off x="2032" y="3658"/>
                <a:ext cx="156" cy="248"/>
              </a:xfrm>
              <a:custGeom>
                <a:avLst/>
                <a:gdLst>
                  <a:gd name="T0" fmla="*/ 128 w 128"/>
                  <a:gd name="T1" fmla="*/ 101 h 203"/>
                  <a:gd name="T2" fmla="*/ 124 w 128"/>
                  <a:gd name="T3" fmla="*/ 144 h 203"/>
                  <a:gd name="T4" fmla="*/ 111 w 128"/>
                  <a:gd name="T5" fmla="*/ 176 h 203"/>
                  <a:gd name="T6" fmla="*/ 90 w 128"/>
                  <a:gd name="T7" fmla="*/ 196 h 203"/>
                  <a:gd name="T8" fmla="*/ 62 w 128"/>
                  <a:gd name="T9" fmla="*/ 203 h 203"/>
                  <a:gd name="T10" fmla="*/ 36 w 128"/>
                  <a:gd name="T11" fmla="*/ 197 h 203"/>
                  <a:gd name="T12" fmla="*/ 17 w 128"/>
                  <a:gd name="T13" fmla="*/ 178 h 203"/>
                  <a:gd name="T14" fmla="*/ 5 w 128"/>
                  <a:gd name="T15" fmla="*/ 147 h 203"/>
                  <a:gd name="T16" fmla="*/ 0 w 128"/>
                  <a:gd name="T17" fmla="*/ 106 h 203"/>
                  <a:gd name="T18" fmla="*/ 5 w 128"/>
                  <a:gd name="T19" fmla="*/ 60 h 203"/>
                  <a:gd name="T20" fmla="*/ 17 w 128"/>
                  <a:gd name="T21" fmla="*/ 27 h 203"/>
                  <a:gd name="T22" fmla="*/ 38 w 128"/>
                  <a:gd name="T23" fmla="*/ 7 h 203"/>
                  <a:gd name="T24" fmla="*/ 67 w 128"/>
                  <a:gd name="T25" fmla="*/ 0 h 203"/>
                  <a:gd name="T26" fmla="*/ 128 w 128"/>
                  <a:gd name="T27" fmla="*/ 101 h 203"/>
                  <a:gd name="T28" fmla="*/ 105 w 128"/>
                  <a:gd name="T29" fmla="*/ 103 h 203"/>
                  <a:gd name="T30" fmla="*/ 65 w 128"/>
                  <a:gd name="T31" fmla="*/ 19 h 203"/>
                  <a:gd name="T32" fmla="*/ 23 w 128"/>
                  <a:gd name="T33" fmla="*/ 105 h 203"/>
                  <a:gd name="T34" fmla="*/ 65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7" y="132"/>
                      <a:pt x="124" y="144"/>
                    </a:cubicBezTo>
                    <a:cubicBezTo>
                      <a:pt x="121" y="157"/>
                      <a:pt x="116" y="168"/>
                      <a:pt x="111" y="176"/>
                    </a:cubicBezTo>
                    <a:cubicBezTo>
                      <a:pt x="105" y="185"/>
                      <a:pt x="98" y="192"/>
                      <a:pt x="90" y="196"/>
                    </a:cubicBezTo>
                    <a:cubicBezTo>
                      <a:pt x="82" y="201"/>
                      <a:pt x="73" y="203"/>
                      <a:pt x="62" y="203"/>
                    </a:cubicBezTo>
                    <a:cubicBezTo>
                      <a:pt x="53" y="203"/>
                      <a:pt x="44" y="201"/>
                      <a:pt x="36" y="197"/>
                    </a:cubicBezTo>
                    <a:cubicBezTo>
                      <a:pt x="28" y="192"/>
                      <a:pt x="22" y="186"/>
                      <a:pt x="17" y="178"/>
                    </a:cubicBezTo>
                    <a:cubicBezTo>
                      <a:pt x="11" y="169"/>
                      <a:pt x="7" y="159"/>
                      <a:pt x="5" y="147"/>
                    </a:cubicBezTo>
                    <a:cubicBezTo>
                      <a:pt x="2" y="135"/>
                      <a:pt x="0" y="121"/>
                      <a:pt x="0" y="106"/>
                    </a:cubicBezTo>
                    <a:cubicBezTo>
                      <a:pt x="0" y="88"/>
                      <a:pt x="2" y="73"/>
                      <a:pt x="5" y="60"/>
                    </a:cubicBezTo>
                    <a:cubicBezTo>
                      <a:pt x="8" y="47"/>
                      <a:pt x="12" y="36"/>
                      <a:pt x="17" y="27"/>
                    </a:cubicBezTo>
                    <a:cubicBezTo>
                      <a:pt x="23" y="18"/>
                      <a:pt x="30" y="12"/>
                      <a:pt x="38" y="7"/>
                    </a:cubicBezTo>
                    <a:cubicBezTo>
                      <a:pt x="46" y="3"/>
                      <a:pt x="56" y="0"/>
                      <a:pt x="67" y="0"/>
                    </a:cubicBezTo>
                    <a:cubicBezTo>
                      <a:pt x="108" y="0"/>
                      <a:pt x="128" y="34"/>
                      <a:pt x="128" y="101"/>
                    </a:cubicBezTo>
                    <a:close/>
                    <a:moveTo>
                      <a:pt x="105" y="103"/>
                    </a:moveTo>
                    <a:cubicBezTo>
                      <a:pt x="105" y="47"/>
                      <a:pt x="92" y="19"/>
                      <a:pt x="65" y="19"/>
                    </a:cubicBezTo>
                    <a:cubicBezTo>
                      <a:pt x="37" y="19"/>
                      <a:pt x="23" y="48"/>
                      <a:pt x="23" y="105"/>
                    </a:cubicBezTo>
                    <a:cubicBezTo>
                      <a:pt x="23" y="157"/>
                      <a:pt x="37" y="184"/>
                      <a:pt x="65" y="184"/>
                    </a:cubicBezTo>
                    <a:cubicBezTo>
                      <a:pt x="92"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2" name="Freeform 89"/>
              <p:cNvSpPr>
                <a:spLocks noEditPoints="1"/>
              </p:cNvSpPr>
              <p:nvPr userDrawn="1"/>
            </p:nvSpPr>
            <p:spPr bwMode="auto">
              <a:xfrm>
                <a:off x="2227" y="3658"/>
                <a:ext cx="156" cy="248"/>
              </a:xfrm>
              <a:custGeom>
                <a:avLst/>
                <a:gdLst>
                  <a:gd name="T0" fmla="*/ 128 w 128"/>
                  <a:gd name="T1" fmla="*/ 101 h 203"/>
                  <a:gd name="T2" fmla="*/ 124 w 128"/>
                  <a:gd name="T3" fmla="*/ 144 h 203"/>
                  <a:gd name="T4" fmla="*/ 111 w 128"/>
                  <a:gd name="T5" fmla="*/ 176 h 203"/>
                  <a:gd name="T6" fmla="*/ 90 w 128"/>
                  <a:gd name="T7" fmla="*/ 196 h 203"/>
                  <a:gd name="T8" fmla="*/ 62 w 128"/>
                  <a:gd name="T9" fmla="*/ 203 h 203"/>
                  <a:gd name="T10" fmla="*/ 36 w 128"/>
                  <a:gd name="T11" fmla="*/ 197 h 203"/>
                  <a:gd name="T12" fmla="*/ 17 w 128"/>
                  <a:gd name="T13" fmla="*/ 178 h 203"/>
                  <a:gd name="T14" fmla="*/ 5 w 128"/>
                  <a:gd name="T15" fmla="*/ 147 h 203"/>
                  <a:gd name="T16" fmla="*/ 0 w 128"/>
                  <a:gd name="T17" fmla="*/ 106 h 203"/>
                  <a:gd name="T18" fmla="*/ 5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5 h 203"/>
                  <a:gd name="T34" fmla="*/ 65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7" y="132"/>
                      <a:pt x="124" y="144"/>
                    </a:cubicBezTo>
                    <a:cubicBezTo>
                      <a:pt x="121" y="157"/>
                      <a:pt x="116" y="168"/>
                      <a:pt x="111" y="176"/>
                    </a:cubicBezTo>
                    <a:cubicBezTo>
                      <a:pt x="105" y="185"/>
                      <a:pt x="98" y="192"/>
                      <a:pt x="90" y="196"/>
                    </a:cubicBezTo>
                    <a:cubicBezTo>
                      <a:pt x="82" y="201"/>
                      <a:pt x="73" y="203"/>
                      <a:pt x="62" y="203"/>
                    </a:cubicBezTo>
                    <a:cubicBezTo>
                      <a:pt x="53" y="203"/>
                      <a:pt x="44" y="201"/>
                      <a:pt x="36" y="197"/>
                    </a:cubicBezTo>
                    <a:cubicBezTo>
                      <a:pt x="28" y="192"/>
                      <a:pt x="22" y="186"/>
                      <a:pt x="17" y="178"/>
                    </a:cubicBezTo>
                    <a:cubicBezTo>
                      <a:pt x="11" y="169"/>
                      <a:pt x="7" y="159"/>
                      <a:pt x="5" y="147"/>
                    </a:cubicBezTo>
                    <a:cubicBezTo>
                      <a:pt x="2" y="135"/>
                      <a:pt x="0" y="121"/>
                      <a:pt x="0" y="106"/>
                    </a:cubicBezTo>
                    <a:cubicBezTo>
                      <a:pt x="0" y="88"/>
                      <a:pt x="2" y="73"/>
                      <a:pt x="5" y="60"/>
                    </a:cubicBezTo>
                    <a:cubicBezTo>
                      <a:pt x="8" y="47"/>
                      <a:pt x="12" y="36"/>
                      <a:pt x="17" y="27"/>
                    </a:cubicBezTo>
                    <a:cubicBezTo>
                      <a:pt x="23" y="18"/>
                      <a:pt x="30" y="12"/>
                      <a:pt x="38" y="7"/>
                    </a:cubicBezTo>
                    <a:cubicBezTo>
                      <a:pt x="46" y="3"/>
                      <a:pt x="56" y="0"/>
                      <a:pt x="66" y="0"/>
                    </a:cubicBezTo>
                    <a:cubicBezTo>
                      <a:pt x="108" y="0"/>
                      <a:pt x="128" y="34"/>
                      <a:pt x="128" y="101"/>
                    </a:cubicBezTo>
                    <a:close/>
                    <a:moveTo>
                      <a:pt x="105" y="103"/>
                    </a:moveTo>
                    <a:cubicBezTo>
                      <a:pt x="105" y="47"/>
                      <a:pt x="92" y="19"/>
                      <a:pt x="65" y="19"/>
                    </a:cubicBezTo>
                    <a:cubicBezTo>
                      <a:pt x="37" y="19"/>
                      <a:pt x="23" y="48"/>
                      <a:pt x="23" y="105"/>
                    </a:cubicBezTo>
                    <a:cubicBezTo>
                      <a:pt x="23" y="157"/>
                      <a:pt x="37" y="184"/>
                      <a:pt x="65" y="184"/>
                    </a:cubicBezTo>
                    <a:cubicBezTo>
                      <a:pt x="92"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3" name="Freeform 90"/>
              <p:cNvSpPr>
                <a:spLocks/>
              </p:cNvSpPr>
              <p:nvPr userDrawn="1"/>
            </p:nvSpPr>
            <p:spPr bwMode="auto">
              <a:xfrm>
                <a:off x="2425" y="3657"/>
                <a:ext cx="82" cy="245"/>
              </a:xfrm>
              <a:custGeom>
                <a:avLst/>
                <a:gdLst>
                  <a:gd name="T0" fmla="*/ 67 w 67"/>
                  <a:gd name="T1" fmla="*/ 201 h 201"/>
                  <a:gd name="T2" fmla="*/ 45 w 67"/>
                  <a:gd name="T3" fmla="*/ 201 h 201"/>
                  <a:gd name="T4" fmla="*/ 45 w 67"/>
                  <a:gd name="T5" fmla="*/ 31 h 201"/>
                  <a:gd name="T6" fmla="*/ 37 w 67"/>
                  <a:gd name="T7" fmla="*/ 37 h 201"/>
                  <a:gd name="T8" fmla="*/ 26 w 67"/>
                  <a:gd name="T9" fmla="*/ 44 h 201"/>
                  <a:gd name="T10" fmla="*/ 13 w 67"/>
                  <a:gd name="T11" fmla="*/ 50 h 201"/>
                  <a:gd name="T12" fmla="*/ 0 w 67"/>
                  <a:gd name="T13" fmla="*/ 55 h 201"/>
                  <a:gd name="T14" fmla="*/ 0 w 67"/>
                  <a:gd name="T15" fmla="*/ 32 h 201"/>
                  <a:gd name="T16" fmla="*/ 15 w 67"/>
                  <a:gd name="T17" fmla="*/ 26 h 201"/>
                  <a:gd name="T18" fmla="*/ 31 w 67"/>
                  <a:gd name="T19" fmla="*/ 18 h 201"/>
                  <a:gd name="T20" fmla="*/ 47 w 67"/>
                  <a:gd name="T21" fmla="*/ 9 h 201"/>
                  <a:gd name="T22" fmla="*/ 59 w 67"/>
                  <a:gd name="T23" fmla="*/ 0 h 201"/>
                  <a:gd name="T24" fmla="*/ 67 w 67"/>
                  <a:gd name="T25" fmla="*/ 0 h 201"/>
                  <a:gd name="T26" fmla="*/ 67 w 67"/>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7" h="201">
                    <a:moveTo>
                      <a:pt x="67" y="201"/>
                    </a:moveTo>
                    <a:cubicBezTo>
                      <a:pt x="45" y="201"/>
                      <a:pt x="45" y="201"/>
                      <a:pt x="45" y="201"/>
                    </a:cubicBezTo>
                    <a:cubicBezTo>
                      <a:pt x="45" y="31"/>
                      <a:pt x="45" y="31"/>
                      <a:pt x="45" y="31"/>
                    </a:cubicBezTo>
                    <a:cubicBezTo>
                      <a:pt x="43" y="33"/>
                      <a:pt x="41" y="35"/>
                      <a:pt x="37" y="37"/>
                    </a:cubicBezTo>
                    <a:cubicBezTo>
                      <a:pt x="34" y="39"/>
                      <a:pt x="30" y="42"/>
                      <a:pt x="26" y="44"/>
                    </a:cubicBezTo>
                    <a:cubicBezTo>
                      <a:pt x="22" y="46"/>
                      <a:pt x="18" y="48"/>
                      <a:pt x="13" y="50"/>
                    </a:cubicBezTo>
                    <a:cubicBezTo>
                      <a:pt x="8" y="52"/>
                      <a:pt x="4" y="53"/>
                      <a:pt x="0" y="55"/>
                    </a:cubicBezTo>
                    <a:cubicBezTo>
                      <a:pt x="0" y="32"/>
                      <a:pt x="0" y="32"/>
                      <a:pt x="0" y="32"/>
                    </a:cubicBezTo>
                    <a:cubicBezTo>
                      <a:pt x="4" y="30"/>
                      <a:pt x="10" y="29"/>
                      <a:pt x="15" y="26"/>
                    </a:cubicBezTo>
                    <a:cubicBezTo>
                      <a:pt x="21" y="24"/>
                      <a:pt x="26" y="21"/>
                      <a:pt x="31" y="18"/>
                    </a:cubicBezTo>
                    <a:cubicBezTo>
                      <a:pt x="37" y="16"/>
                      <a:pt x="42" y="13"/>
                      <a:pt x="47" y="9"/>
                    </a:cubicBezTo>
                    <a:cubicBezTo>
                      <a:pt x="51" y="6"/>
                      <a:pt x="55" y="3"/>
                      <a:pt x="59" y="0"/>
                    </a:cubicBezTo>
                    <a:cubicBezTo>
                      <a:pt x="67" y="0"/>
                      <a:pt x="67" y="0"/>
                      <a:pt x="67" y="0"/>
                    </a:cubicBezTo>
                    <a:lnTo>
                      <a:pt x="67"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4" name="Freeform 91"/>
              <p:cNvSpPr>
                <a:spLocks noEditPoints="1"/>
              </p:cNvSpPr>
              <p:nvPr userDrawn="1"/>
            </p:nvSpPr>
            <p:spPr bwMode="auto">
              <a:xfrm>
                <a:off x="2573" y="3658"/>
                <a:ext cx="156" cy="248"/>
              </a:xfrm>
              <a:custGeom>
                <a:avLst/>
                <a:gdLst>
                  <a:gd name="T0" fmla="*/ 128 w 128"/>
                  <a:gd name="T1" fmla="*/ 101 h 203"/>
                  <a:gd name="T2" fmla="*/ 123 w 128"/>
                  <a:gd name="T3" fmla="*/ 144 h 203"/>
                  <a:gd name="T4" fmla="*/ 111 w 128"/>
                  <a:gd name="T5" fmla="*/ 176 h 203"/>
                  <a:gd name="T6" fmla="*/ 90 w 128"/>
                  <a:gd name="T7" fmla="*/ 196 h 203"/>
                  <a:gd name="T8" fmla="*/ 62 w 128"/>
                  <a:gd name="T9" fmla="*/ 203 h 203"/>
                  <a:gd name="T10" fmla="*/ 36 w 128"/>
                  <a:gd name="T11" fmla="*/ 197 h 203"/>
                  <a:gd name="T12" fmla="*/ 16 w 128"/>
                  <a:gd name="T13" fmla="*/ 178 h 203"/>
                  <a:gd name="T14" fmla="*/ 4 w 128"/>
                  <a:gd name="T15" fmla="*/ 147 h 203"/>
                  <a:gd name="T16" fmla="*/ 0 w 128"/>
                  <a:gd name="T17" fmla="*/ 106 h 203"/>
                  <a:gd name="T18" fmla="*/ 4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5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6" y="132"/>
                      <a:pt x="123" y="144"/>
                    </a:cubicBezTo>
                    <a:cubicBezTo>
                      <a:pt x="120" y="157"/>
                      <a:pt x="116" y="168"/>
                      <a:pt x="111" y="176"/>
                    </a:cubicBezTo>
                    <a:cubicBezTo>
                      <a:pt x="105" y="185"/>
                      <a:pt x="98" y="192"/>
                      <a:pt x="90" y="196"/>
                    </a:cubicBezTo>
                    <a:cubicBezTo>
                      <a:pt x="82" y="201"/>
                      <a:pt x="72" y="203"/>
                      <a:pt x="62" y="203"/>
                    </a:cubicBezTo>
                    <a:cubicBezTo>
                      <a:pt x="52" y="203"/>
                      <a:pt x="43" y="201"/>
                      <a:pt x="36" y="197"/>
                    </a:cubicBezTo>
                    <a:cubicBezTo>
                      <a:pt x="28" y="192"/>
                      <a:pt x="22" y="186"/>
                      <a:pt x="16" y="178"/>
                    </a:cubicBezTo>
                    <a:cubicBezTo>
                      <a:pt x="11" y="169"/>
                      <a:pt x="7" y="159"/>
                      <a:pt x="4" y="147"/>
                    </a:cubicBezTo>
                    <a:cubicBezTo>
                      <a:pt x="2" y="135"/>
                      <a:pt x="0" y="121"/>
                      <a:pt x="0" y="106"/>
                    </a:cubicBezTo>
                    <a:cubicBezTo>
                      <a:pt x="0" y="88"/>
                      <a:pt x="2" y="73"/>
                      <a:pt x="4" y="60"/>
                    </a:cubicBezTo>
                    <a:cubicBezTo>
                      <a:pt x="7" y="47"/>
                      <a:pt x="12" y="36"/>
                      <a:pt x="17" y="27"/>
                    </a:cubicBezTo>
                    <a:cubicBezTo>
                      <a:pt x="23" y="18"/>
                      <a:pt x="30" y="12"/>
                      <a:pt x="38" y="7"/>
                    </a:cubicBezTo>
                    <a:cubicBezTo>
                      <a:pt x="46" y="3"/>
                      <a:pt x="56" y="0"/>
                      <a:pt x="66" y="0"/>
                    </a:cubicBezTo>
                    <a:cubicBezTo>
                      <a:pt x="107" y="0"/>
                      <a:pt x="128" y="34"/>
                      <a:pt x="128" y="101"/>
                    </a:cubicBezTo>
                    <a:close/>
                    <a:moveTo>
                      <a:pt x="105" y="103"/>
                    </a:moveTo>
                    <a:cubicBezTo>
                      <a:pt x="105" y="47"/>
                      <a:pt x="92" y="19"/>
                      <a:pt x="65" y="19"/>
                    </a:cubicBezTo>
                    <a:cubicBezTo>
                      <a:pt x="37" y="19"/>
                      <a:pt x="23" y="48"/>
                      <a:pt x="23" y="105"/>
                    </a:cubicBezTo>
                    <a:cubicBezTo>
                      <a:pt x="23" y="157"/>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5" name="Freeform 92"/>
              <p:cNvSpPr>
                <a:spLocks noEditPoints="1"/>
              </p:cNvSpPr>
              <p:nvPr userDrawn="1"/>
            </p:nvSpPr>
            <p:spPr bwMode="auto">
              <a:xfrm>
                <a:off x="2768" y="3658"/>
                <a:ext cx="156" cy="248"/>
              </a:xfrm>
              <a:custGeom>
                <a:avLst/>
                <a:gdLst>
                  <a:gd name="T0" fmla="*/ 128 w 128"/>
                  <a:gd name="T1" fmla="*/ 101 h 203"/>
                  <a:gd name="T2" fmla="*/ 123 w 128"/>
                  <a:gd name="T3" fmla="*/ 144 h 203"/>
                  <a:gd name="T4" fmla="*/ 111 w 128"/>
                  <a:gd name="T5" fmla="*/ 176 h 203"/>
                  <a:gd name="T6" fmla="*/ 90 w 128"/>
                  <a:gd name="T7" fmla="*/ 196 h 203"/>
                  <a:gd name="T8" fmla="*/ 62 w 128"/>
                  <a:gd name="T9" fmla="*/ 203 h 203"/>
                  <a:gd name="T10" fmla="*/ 36 w 128"/>
                  <a:gd name="T11" fmla="*/ 197 h 203"/>
                  <a:gd name="T12" fmla="*/ 16 w 128"/>
                  <a:gd name="T13" fmla="*/ 178 h 203"/>
                  <a:gd name="T14" fmla="*/ 4 w 128"/>
                  <a:gd name="T15" fmla="*/ 147 h 203"/>
                  <a:gd name="T16" fmla="*/ 0 w 128"/>
                  <a:gd name="T17" fmla="*/ 106 h 203"/>
                  <a:gd name="T18" fmla="*/ 4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5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6" y="132"/>
                      <a:pt x="123" y="144"/>
                    </a:cubicBezTo>
                    <a:cubicBezTo>
                      <a:pt x="120" y="157"/>
                      <a:pt x="116" y="168"/>
                      <a:pt x="111" y="176"/>
                    </a:cubicBezTo>
                    <a:cubicBezTo>
                      <a:pt x="105" y="185"/>
                      <a:pt x="98" y="192"/>
                      <a:pt x="90" y="196"/>
                    </a:cubicBezTo>
                    <a:cubicBezTo>
                      <a:pt x="82" y="201"/>
                      <a:pt x="72" y="203"/>
                      <a:pt x="62" y="203"/>
                    </a:cubicBezTo>
                    <a:cubicBezTo>
                      <a:pt x="52" y="203"/>
                      <a:pt x="43" y="201"/>
                      <a:pt x="36" y="197"/>
                    </a:cubicBezTo>
                    <a:cubicBezTo>
                      <a:pt x="28" y="192"/>
                      <a:pt x="22" y="186"/>
                      <a:pt x="16" y="178"/>
                    </a:cubicBezTo>
                    <a:cubicBezTo>
                      <a:pt x="11" y="169"/>
                      <a:pt x="7" y="159"/>
                      <a:pt x="4" y="147"/>
                    </a:cubicBezTo>
                    <a:cubicBezTo>
                      <a:pt x="2" y="135"/>
                      <a:pt x="0" y="121"/>
                      <a:pt x="0" y="106"/>
                    </a:cubicBezTo>
                    <a:cubicBezTo>
                      <a:pt x="0" y="88"/>
                      <a:pt x="2" y="73"/>
                      <a:pt x="4" y="60"/>
                    </a:cubicBezTo>
                    <a:cubicBezTo>
                      <a:pt x="7" y="47"/>
                      <a:pt x="12" y="36"/>
                      <a:pt x="17" y="27"/>
                    </a:cubicBezTo>
                    <a:cubicBezTo>
                      <a:pt x="23" y="18"/>
                      <a:pt x="30" y="12"/>
                      <a:pt x="38" y="7"/>
                    </a:cubicBezTo>
                    <a:cubicBezTo>
                      <a:pt x="46" y="3"/>
                      <a:pt x="56" y="0"/>
                      <a:pt x="66" y="0"/>
                    </a:cubicBezTo>
                    <a:cubicBezTo>
                      <a:pt x="107" y="0"/>
                      <a:pt x="128" y="34"/>
                      <a:pt x="128" y="101"/>
                    </a:cubicBezTo>
                    <a:close/>
                    <a:moveTo>
                      <a:pt x="105" y="103"/>
                    </a:moveTo>
                    <a:cubicBezTo>
                      <a:pt x="105" y="47"/>
                      <a:pt x="92" y="19"/>
                      <a:pt x="65" y="19"/>
                    </a:cubicBezTo>
                    <a:cubicBezTo>
                      <a:pt x="37" y="19"/>
                      <a:pt x="23" y="48"/>
                      <a:pt x="23" y="105"/>
                    </a:cubicBezTo>
                    <a:cubicBezTo>
                      <a:pt x="23" y="157"/>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6" name="Freeform 93"/>
              <p:cNvSpPr>
                <a:spLocks/>
              </p:cNvSpPr>
              <p:nvPr userDrawn="1"/>
            </p:nvSpPr>
            <p:spPr bwMode="auto">
              <a:xfrm>
                <a:off x="2965" y="3657"/>
                <a:ext cx="83" cy="245"/>
              </a:xfrm>
              <a:custGeom>
                <a:avLst/>
                <a:gdLst>
                  <a:gd name="T0" fmla="*/ 68 w 68"/>
                  <a:gd name="T1" fmla="*/ 201 h 201"/>
                  <a:gd name="T2" fmla="*/ 46 w 68"/>
                  <a:gd name="T3" fmla="*/ 201 h 201"/>
                  <a:gd name="T4" fmla="*/ 46 w 68"/>
                  <a:gd name="T5" fmla="*/ 31 h 201"/>
                  <a:gd name="T6" fmla="*/ 38 w 68"/>
                  <a:gd name="T7" fmla="*/ 37 h 201"/>
                  <a:gd name="T8" fmla="*/ 27 w 68"/>
                  <a:gd name="T9" fmla="*/ 44 h 201"/>
                  <a:gd name="T10" fmla="*/ 14 w 68"/>
                  <a:gd name="T11" fmla="*/ 50 h 201"/>
                  <a:gd name="T12" fmla="*/ 0 w 68"/>
                  <a:gd name="T13" fmla="*/ 55 h 201"/>
                  <a:gd name="T14" fmla="*/ 0 w 68"/>
                  <a:gd name="T15" fmla="*/ 32 h 201"/>
                  <a:gd name="T16" fmla="*/ 16 w 68"/>
                  <a:gd name="T17" fmla="*/ 26 h 201"/>
                  <a:gd name="T18" fmla="*/ 32 w 68"/>
                  <a:gd name="T19" fmla="*/ 18 h 201"/>
                  <a:gd name="T20" fmla="*/ 47 w 68"/>
                  <a:gd name="T21" fmla="*/ 9 h 201"/>
                  <a:gd name="T22" fmla="*/ 60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6" y="201"/>
                      <a:pt x="46" y="201"/>
                      <a:pt x="46" y="201"/>
                    </a:cubicBezTo>
                    <a:cubicBezTo>
                      <a:pt x="46" y="31"/>
                      <a:pt x="46" y="31"/>
                      <a:pt x="46" y="31"/>
                    </a:cubicBezTo>
                    <a:cubicBezTo>
                      <a:pt x="44" y="33"/>
                      <a:pt x="41" y="35"/>
                      <a:pt x="38" y="37"/>
                    </a:cubicBezTo>
                    <a:cubicBezTo>
                      <a:pt x="35" y="39"/>
                      <a:pt x="31" y="42"/>
                      <a:pt x="27" y="44"/>
                    </a:cubicBezTo>
                    <a:cubicBezTo>
                      <a:pt x="23" y="46"/>
                      <a:pt x="18" y="48"/>
                      <a:pt x="14" y="50"/>
                    </a:cubicBezTo>
                    <a:cubicBezTo>
                      <a:pt x="9" y="52"/>
                      <a:pt x="5" y="53"/>
                      <a:pt x="0" y="55"/>
                    </a:cubicBezTo>
                    <a:cubicBezTo>
                      <a:pt x="0" y="32"/>
                      <a:pt x="0" y="32"/>
                      <a:pt x="0" y="32"/>
                    </a:cubicBezTo>
                    <a:cubicBezTo>
                      <a:pt x="5" y="30"/>
                      <a:pt x="10" y="29"/>
                      <a:pt x="16" y="26"/>
                    </a:cubicBezTo>
                    <a:cubicBezTo>
                      <a:pt x="21" y="24"/>
                      <a:pt x="27" y="21"/>
                      <a:pt x="32" y="18"/>
                    </a:cubicBezTo>
                    <a:cubicBezTo>
                      <a:pt x="37" y="16"/>
                      <a:pt x="43" y="13"/>
                      <a:pt x="47" y="9"/>
                    </a:cubicBezTo>
                    <a:cubicBezTo>
                      <a:pt x="52" y="6"/>
                      <a:pt x="56" y="3"/>
                      <a:pt x="60"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7" name="Freeform 94"/>
              <p:cNvSpPr>
                <a:spLocks noEditPoints="1"/>
              </p:cNvSpPr>
              <p:nvPr userDrawn="1"/>
            </p:nvSpPr>
            <p:spPr bwMode="auto">
              <a:xfrm>
                <a:off x="3114" y="3658"/>
                <a:ext cx="156" cy="248"/>
              </a:xfrm>
              <a:custGeom>
                <a:avLst/>
                <a:gdLst>
                  <a:gd name="T0" fmla="*/ 128 w 128"/>
                  <a:gd name="T1" fmla="*/ 101 h 203"/>
                  <a:gd name="T2" fmla="*/ 123 w 128"/>
                  <a:gd name="T3" fmla="*/ 144 h 203"/>
                  <a:gd name="T4" fmla="*/ 110 w 128"/>
                  <a:gd name="T5" fmla="*/ 176 h 203"/>
                  <a:gd name="T6" fmla="*/ 90 w 128"/>
                  <a:gd name="T7" fmla="*/ 196 h 203"/>
                  <a:gd name="T8" fmla="*/ 62 w 128"/>
                  <a:gd name="T9" fmla="*/ 203 h 203"/>
                  <a:gd name="T10" fmla="*/ 35 w 128"/>
                  <a:gd name="T11" fmla="*/ 197 h 203"/>
                  <a:gd name="T12" fmla="*/ 16 w 128"/>
                  <a:gd name="T13" fmla="*/ 178 h 203"/>
                  <a:gd name="T14" fmla="*/ 4 w 128"/>
                  <a:gd name="T15" fmla="*/ 147 h 203"/>
                  <a:gd name="T16" fmla="*/ 0 w 128"/>
                  <a:gd name="T17" fmla="*/ 106 h 203"/>
                  <a:gd name="T18" fmla="*/ 4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5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6" y="132"/>
                      <a:pt x="123" y="144"/>
                    </a:cubicBezTo>
                    <a:cubicBezTo>
                      <a:pt x="120" y="157"/>
                      <a:pt x="116" y="168"/>
                      <a:pt x="110" y="176"/>
                    </a:cubicBezTo>
                    <a:cubicBezTo>
                      <a:pt x="105" y="185"/>
                      <a:pt x="98" y="192"/>
                      <a:pt x="90" y="196"/>
                    </a:cubicBezTo>
                    <a:cubicBezTo>
                      <a:pt x="81" y="201"/>
                      <a:pt x="72" y="203"/>
                      <a:pt x="62" y="203"/>
                    </a:cubicBezTo>
                    <a:cubicBezTo>
                      <a:pt x="52" y="203"/>
                      <a:pt x="43" y="201"/>
                      <a:pt x="35" y="197"/>
                    </a:cubicBezTo>
                    <a:cubicBezTo>
                      <a:pt x="28" y="192"/>
                      <a:pt x="21" y="186"/>
                      <a:pt x="16" y="178"/>
                    </a:cubicBezTo>
                    <a:cubicBezTo>
                      <a:pt x="11" y="169"/>
                      <a:pt x="7" y="159"/>
                      <a:pt x="4" y="147"/>
                    </a:cubicBezTo>
                    <a:cubicBezTo>
                      <a:pt x="1" y="135"/>
                      <a:pt x="0" y="121"/>
                      <a:pt x="0" y="106"/>
                    </a:cubicBezTo>
                    <a:cubicBezTo>
                      <a:pt x="0" y="88"/>
                      <a:pt x="1" y="73"/>
                      <a:pt x="4" y="60"/>
                    </a:cubicBezTo>
                    <a:cubicBezTo>
                      <a:pt x="7" y="47"/>
                      <a:pt x="11" y="36"/>
                      <a:pt x="17" y="27"/>
                    </a:cubicBezTo>
                    <a:cubicBezTo>
                      <a:pt x="22" y="18"/>
                      <a:pt x="29" y="12"/>
                      <a:pt x="38" y="7"/>
                    </a:cubicBezTo>
                    <a:cubicBezTo>
                      <a:pt x="46" y="3"/>
                      <a:pt x="55" y="0"/>
                      <a:pt x="66" y="0"/>
                    </a:cubicBezTo>
                    <a:cubicBezTo>
                      <a:pt x="107" y="0"/>
                      <a:pt x="128" y="34"/>
                      <a:pt x="128" y="101"/>
                    </a:cubicBezTo>
                    <a:close/>
                    <a:moveTo>
                      <a:pt x="105" y="103"/>
                    </a:moveTo>
                    <a:cubicBezTo>
                      <a:pt x="105" y="47"/>
                      <a:pt x="91" y="19"/>
                      <a:pt x="65" y="19"/>
                    </a:cubicBezTo>
                    <a:cubicBezTo>
                      <a:pt x="37" y="19"/>
                      <a:pt x="23" y="48"/>
                      <a:pt x="23" y="105"/>
                    </a:cubicBezTo>
                    <a:cubicBezTo>
                      <a:pt x="23" y="157"/>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8" name="Freeform 95"/>
              <p:cNvSpPr>
                <a:spLocks/>
              </p:cNvSpPr>
              <p:nvPr userDrawn="1"/>
            </p:nvSpPr>
            <p:spPr bwMode="auto">
              <a:xfrm>
                <a:off x="3311" y="3657"/>
                <a:ext cx="83" cy="245"/>
              </a:xfrm>
              <a:custGeom>
                <a:avLst/>
                <a:gdLst>
                  <a:gd name="T0" fmla="*/ 68 w 68"/>
                  <a:gd name="T1" fmla="*/ 201 h 201"/>
                  <a:gd name="T2" fmla="*/ 45 w 68"/>
                  <a:gd name="T3" fmla="*/ 201 h 201"/>
                  <a:gd name="T4" fmla="*/ 45 w 68"/>
                  <a:gd name="T5" fmla="*/ 31 h 201"/>
                  <a:gd name="T6" fmla="*/ 38 w 68"/>
                  <a:gd name="T7" fmla="*/ 37 h 201"/>
                  <a:gd name="T8" fmla="*/ 27 w 68"/>
                  <a:gd name="T9" fmla="*/ 44 h 201"/>
                  <a:gd name="T10" fmla="*/ 13 w 68"/>
                  <a:gd name="T11" fmla="*/ 50 h 201"/>
                  <a:gd name="T12" fmla="*/ 0 w 68"/>
                  <a:gd name="T13" fmla="*/ 55 h 201"/>
                  <a:gd name="T14" fmla="*/ 0 w 68"/>
                  <a:gd name="T15" fmla="*/ 32 h 201"/>
                  <a:gd name="T16" fmla="*/ 16 w 68"/>
                  <a:gd name="T17" fmla="*/ 26 h 201"/>
                  <a:gd name="T18" fmla="*/ 32 w 68"/>
                  <a:gd name="T19" fmla="*/ 18 h 201"/>
                  <a:gd name="T20" fmla="*/ 47 w 68"/>
                  <a:gd name="T21" fmla="*/ 9 h 201"/>
                  <a:gd name="T22" fmla="*/ 59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5" y="201"/>
                      <a:pt x="45" y="201"/>
                      <a:pt x="45" y="201"/>
                    </a:cubicBezTo>
                    <a:cubicBezTo>
                      <a:pt x="45" y="31"/>
                      <a:pt x="45" y="31"/>
                      <a:pt x="45" y="31"/>
                    </a:cubicBezTo>
                    <a:cubicBezTo>
                      <a:pt x="44" y="33"/>
                      <a:pt x="41" y="35"/>
                      <a:pt x="38" y="37"/>
                    </a:cubicBezTo>
                    <a:cubicBezTo>
                      <a:pt x="34" y="39"/>
                      <a:pt x="31" y="42"/>
                      <a:pt x="27" y="44"/>
                    </a:cubicBezTo>
                    <a:cubicBezTo>
                      <a:pt x="22" y="46"/>
                      <a:pt x="18" y="48"/>
                      <a:pt x="13" y="50"/>
                    </a:cubicBezTo>
                    <a:cubicBezTo>
                      <a:pt x="9" y="52"/>
                      <a:pt x="4" y="53"/>
                      <a:pt x="0" y="55"/>
                    </a:cubicBezTo>
                    <a:cubicBezTo>
                      <a:pt x="0" y="32"/>
                      <a:pt x="0" y="32"/>
                      <a:pt x="0" y="32"/>
                    </a:cubicBezTo>
                    <a:cubicBezTo>
                      <a:pt x="5" y="30"/>
                      <a:pt x="10" y="29"/>
                      <a:pt x="16" y="26"/>
                    </a:cubicBezTo>
                    <a:cubicBezTo>
                      <a:pt x="21" y="24"/>
                      <a:pt x="27" y="21"/>
                      <a:pt x="32" y="18"/>
                    </a:cubicBezTo>
                    <a:cubicBezTo>
                      <a:pt x="37" y="16"/>
                      <a:pt x="42" y="13"/>
                      <a:pt x="47" y="9"/>
                    </a:cubicBezTo>
                    <a:cubicBezTo>
                      <a:pt x="52" y="6"/>
                      <a:pt x="56" y="3"/>
                      <a:pt x="59"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9" name="Freeform 96"/>
              <p:cNvSpPr>
                <a:spLocks/>
              </p:cNvSpPr>
              <p:nvPr userDrawn="1"/>
            </p:nvSpPr>
            <p:spPr bwMode="auto">
              <a:xfrm>
                <a:off x="3460" y="3657"/>
                <a:ext cx="83" cy="245"/>
              </a:xfrm>
              <a:custGeom>
                <a:avLst/>
                <a:gdLst>
                  <a:gd name="T0" fmla="*/ 68 w 68"/>
                  <a:gd name="T1" fmla="*/ 201 h 201"/>
                  <a:gd name="T2" fmla="*/ 46 w 68"/>
                  <a:gd name="T3" fmla="*/ 201 h 201"/>
                  <a:gd name="T4" fmla="*/ 46 w 68"/>
                  <a:gd name="T5" fmla="*/ 31 h 201"/>
                  <a:gd name="T6" fmla="*/ 38 w 68"/>
                  <a:gd name="T7" fmla="*/ 37 h 201"/>
                  <a:gd name="T8" fmla="*/ 27 w 68"/>
                  <a:gd name="T9" fmla="*/ 44 h 201"/>
                  <a:gd name="T10" fmla="*/ 14 w 68"/>
                  <a:gd name="T11" fmla="*/ 50 h 201"/>
                  <a:gd name="T12" fmla="*/ 0 w 68"/>
                  <a:gd name="T13" fmla="*/ 55 h 201"/>
                  <a:gd name="T14" fmla="*/ 0 w 68"/>
                  <a:gd name="T15" fmla="*/ 32 h 201"/>
                  <a:gd name="T16" fmla="*/ 16 w 68"/>
                  <a:gd name="T17" fmla="*/ 26 h 201"/>
                  <a:gd name="T18" fmla="*/ 32 w 68"/>
                  <a:gd name="T19" fmla="*/ 18 h 201"/>
                  <a:gd name="T20" fmla="*/ 48 w 68"/>
                  <a:gd name="T21" fmla="*/ 9 h 201"/>
                  <a:gd name="T22" fmla="*/ 60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6" y="201"/>
                      <a:pt x="46" y="201"/>
                      <a:pt x="46" y="201"/>
                    </a:cubicBezTo>
                    <a:cubicBezTo>
                      <a:pt x="46" y="31"/>
                      <a:pt x="46" y="31"/>
                      <a:pt x="46" y="31"/>
                    </a:cubicBezTo>
                    <a:cubicBezTo>
                      <a:pt x="44" y="33"/>
                      <a:pt x="42" y="35"/>
                      <a:pt x="38" y="37"/>
                    </a:cubicBezTo>
                    <a:cubicBezTo>
                      <a:pt x="35" y="39"/>
                      <a:pt x="31" y="42"/>
                      <a:pt x="27" y="44"/>
                    </a:cubicBezTo>
                    <a:cubicBezTo>
                      <a:pt x="23" y="46"/>
                      <a:pt x="19" y="48"/>
                      <a:pt x="14" y="50"/>
                    </a:cubicBezTo>
                    <a:cubicBezTo>
                      <a:pt x="9" y="52"/>
                      <a:pt x="5" y="53"/>
                      <a:pt x="0" y="55"/>
                    </a:cubicBezTo>
                    <a:cubicBezTo>
                      <a:pt x="0" y="32"/>
                      <a:pt x="0" y="32"/>
                      <a:pt x="0" y="32"/>
                    </a:cubicBezTo>
                    <a:cubicBezTo>
                      <a:pt x="5" y="30"/>
                      <a:pt x="11" y="29"/>
                      <a:pt x="16" y="26"/>
                    </a:cubicBezTo>
                    <a:cubicBezTo>
                      <a:pt x="22" y="24"/>
                      <a:pt x="27" y="21"/>
                      <a:pt x="32" y="18"/>
                    </a:cubicBezTo>
                    <a:cubicBezTo>
                      <a:pt x="38" y="16"/>
                      <a:pt x="43" y="13"/>
                      <a:pt x="48" y="9"/>
                    </a:cubicBezTo>
                    <a:cubicBezTo>
                      <a:pt x="52" y="6"/>
                      <a:pt x="56" y="3"/>
                      <a:pt x="60"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0" name="Freeform 97"/>
              <p:cNvSpPr>
                <a:spLocks noEditPoints="1"/>
              </p:cNvSpPr>
              <p:nvPr userDrawn="1"/>
            </p:nvSpPr>
            <p:spPr bwMode="auto">
              <a:xfrm>
                <a:off x="3609" y="3658"/>
                <a:ext cx="156" cy="248"/>
              </a:xfrm>
              <a:custGeom>
                <a:avLst/>
                <a:gdLst>
                  <a:gd name="T0" fmla="*/ 128 w 128"/>
                  <a:gd name="T1" fmla="*/ 101 h 203"/>
                  <a:gd name="T2" fmla="*/ 123 w 128"/>
                  <a:gd name="T3" fmla="*/ 144 h 203"/>
                  <a:gd name="T4" fmla="*/ 110 w 128"/>
                  <a:gd name="T5" fmla="*/ 176 h 203"/>
                  <a:gd name="T6" fmla="*/ 90 w 128"/>
                  <a:gd name="T7" fmla="*/ 196 h 203"/>
                  <a:gd name="T8" fmla="*/ 62 w 128"/>
                  <a:gd name="T9" fmla="*/ 203 h 203"/>
                  <a:gd name="T10" fmla="*/ 36 w 128"/>
                  <a:gd name="T11" fmla="*/ 197 h 203"/>
                  <a:gd name="T12" fmla="*/ 16 w 128"/>
                  <a:gd name="T13" fmla="*/ 178 h 203"/>
                  <a:gd name="T14" fmla="*/ 4 w 128"/>
                  <a:gd name="T15" fmla="*/ 147 h 203"/>
                  <a:gd name="T16" fmla="*/ 0 w 128"/>
                  <a:gd name="T17" fmla="*/ 106 h 203"/>
                  <a:gd name="T18" fmla="*/ 4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5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6" y="132"/>
                      <a:pt x="123" y="144"/>
                    </a:cubicBezTo>
                    <a:cubicBezTo>
                      <a:pt x="120" y="157"/>
                      <a:pt x="116" y="168"/>
                      <a:pt x="110" y="176"/>
                    </a:cubicBezTo>
                    <a:cubicBezTo>
                      <a:pt x="105" y="185"/>
                      <a:pt x="98" y="192"/>
                      <a:pt x="90" y="196"/>
                    </a:cubicBezTo>
                    <a:cubicBezTo>
                      <a:pt x="82" y="201"/>
                      <a:pt x="72" y="203"/>
                      <a:pt x="62" y="203"/>
                    </a:cubicBezTo>
                    <a:cubicBezTo>
                      <a:pt x="52" y="203"/>
                      <a:pt x="43" y="201"/>
                      <a:pt x="36" y="197"/>
                    </a:cubicBezTo>
                    <a:cubicBezTo>
                      <a:pt x="28" y="192"/>
                      <a:pt x="22" y="186"/>
                      <a:pt x="16" y="178"/>
                    </a:cubicBezTo>
                    <a:cubicBezTo>
                      <a:pt x="11" y="169"/>
                      <a:pt x="7" y="159"/>
                      <a:pt x="4" y="147"/>
                    </a:cubicBezTo>
                    <a:cubicBezTo>
                      <a:pt x="1" y="135"/>
                      <a:pt x="0" y="121"/>
                      <a:pt x="0" y="106"/>
                    </a:cubicBezTo>
                    <a:cubicBezTo>
                      <a:pt x="0" y="88"/>
                      <a:pt x="2" y="73"/>
                      <a:pt x="4" y="60"/>
                    </a:cubicBezTo>
                    <a:cubicBezTo>
                      <a:pt x="7" y="47"/>
                      <a:pt x="11" y="36"/>
                      <a:pt x="17" y="27"/>
                    </a:cubicBezTo>
                    <a:cubicBezTo>
                      <a:pt x="23" y="18"/>
                      <a:pt x="30" y="12"/>
                      <a:pt x="38" y="7"/>
                    </a:cubicBezTo>
                    <a:cubicBezTo>
                      <a:pt x="46" y="3"/>
                      <a:pt x="55" y="0"/>
                      <a:pt x="66" y="0"/>
                    </a:cubicBezTo>
                    <a:cubicBezTo>
                      <a:pt x="107" y="0"/>
                      <a:pt x="128" y="34"/>
                      <a:pt x="128" y="101"/>
                    </a:cubicBezTo>
                    <a:close/>
                    <a:moveTo>
                      <a:pt x="105" y="103"/>
                    </a:moveTo>
                    <a:cubicBezTo>
                      <a:pt x="105" y="47"/>
                      <a:pt x="92" y="19"/>
                      <a:pt x="65" y="19"/>
                    </a:cubicBezTo>
                    <a:cubicBezTo>
                      <a:pt x="37" y="19"/>
                      <a:pt x="23" y="48"/>
                      <a:pt x="23" y="105"/>
                    </a:cubicBezTo>
                    <a:cubicBezTo>
                      <a:pt x="23" y="157"/>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1" name="Freeform 98"/>
              <p:cNvSpPr>
                <a:spLocks noEditPoints="1"/>
              </p:cNvSpPr>
              <p:nvPr userDrawn="1"/>
            </p:nvSpPr>
            <p:spPr bwMode="auto">
              <a:xfrm>
                <a:off x="3794" y="3663"/>
                <a:ext cx="189" cy="219"/>
              </a:xfrm>
              <a:custGeom>
                <a:avLst/>
                <a:gdLst>
                  <a:gd name="T0" fmla="*/ 189 w 189"/>
                  <a:gd name="T1" fmla="*/ 67 h 219"/>
                  <a:gd name="T2" fmla="*/ 184 w 189"/>
                  <a:gd name="T3" fmla="*/ 84 h 219"/>
                  <a:gd name="T4" fmla="*/ 141 w 189"/>
                  <a:gd name="T5" fmla="*/ 84 h 219"/>
                  <a:gd name="T6" fmla="*/ 130 w 189"/>
                  <a:gd name="T7" fmla="*/ 134 h 219"/>
                  <a:gd name="T8" fmla="*/ 177 w 189"/>
                  <a:gd name="T9" fmla="*/ 134 h 219"/>
                  <a:gd name="T10" fmla="*/ 173 w 189"/>
                  <a:gd name="T11" fmla="*/ 153 h 219"/>
                  <a:gd name="T12" fmla="*/ 127 w 189"/>
                  <a:gd name="T13" fmla="*/ 153 h 219"/>
                  <a:gd name="T14" fmla="*/ 112 w 189"/>
                  <a:gd name="T15" fmla="*/ 219 h 219"/>
                  <a:gd name="T16" fmla="*/ 91 w 189"/>
                  <a:gd name="T17" fmla="*/ 219 h 219"/>
                  <a:gd name="T18" fmla="*/ 106 w 189"/>
                  <a:gd name="T19" fmla="*/ 153 h 219"/>
                  <a:gd name="T20" fmla="*/ 65 w 189"/>
                  <a:gd name="T21" fmla="*/ 153 h 219"/>
                  <a:gd name="T22" fmla="*/ 50 w 189"/>
                  <a:gd name="T23" fmla="*/ 219 h 219"/>
                  <a:gd name="T24" fmla="*/ 29 w 189"/>
                  <a:gd name="T25" fmla="*/ 219 h 219"/>
                  <a:gd name="T26" fmla="*/ 43 w 189"/>
                  <a:gd name="T27" fmla="*/ 153 h 219"/>
                  <a:gd name="T28" fmla="*/ 0 w 189"/>
                  <a:gd name="T29" fmla="*/ 153 h 219"/>
                  <a:gd name="T30" fmla="*/ 2 w 189"/>
                  <a:gd name="T31" fmla="*/ 134 h 219"/>
                  <a:gd name="T32" fmla="*/ 47 w 189"/>
                  <a:gd name="T33" fmla="*/ 134 h 219"/>
                  <a:gd name="T34" fmla="*/ 57 w 189"/>
                  <a:gd name="T35" fmla="*/ 84 h 219"/>
                  <a:gd name="T36" fmla="*/ 11 w 189"/>
                  <a:gd name="T37" fmla="*/ 84 h 219"/>
                  <a:gd name="T38" fmla="*/ 15 w 189"/>
                  <a:gd name="T39" fmla="*/ 67 h 219"/>
                  <a:gd name="T40" fmla="*/ 61 w 189"/>
                  <a:gd name="T41" fmla="*/ 67 h 219"/>
                  <a:gd name="T42" fmla="*/ 74 w 189"/>
                  <a:gd name="T43" fmla="*/ 0 h 219"/>
                  <a:gd name="T44" fmla="*/ 96 w 189"/>
                  <a:gd name="T45" fmla="*/ 0 h 219"/>
                  <a:gd name="T46" fmla="*/ 82 w 189"/>
                  <a:gd name="T47" fmla="*/ 67 h 219"/>
                  <a:gd name="T48" fmla="*/ 123 w 189"/>
                  <a:gd name="T49" fmla="*/ 67 h 219"/>
                  <a:gd name="T50" fmla="*/ 138 w 189"/>
                  <a:gd name="T51" fmla="*/ 0 h 219"/>
                  <a:gd name="T52" fmla="*/ 158 w 189"/>
                  <a:gd name="T53" fmla="*/ 0 h 219"/>
                  <a:gd name="T54" fmla="*/ 145 w 189"/>
                  <a:gd name="T55" fmla="*/ 67 h 219"/>
                  <a:gd name="T56" fmla="*/ 189 w 189"/>
                  <a:gd name="T57" fmla="*/ 67 h 219"/>
                  <a:gd name="T58" fmla="*/ 121 w 189"/>
                  <a:gd name="T59" fmla="*/ 84 h 219"/>
                  <a:gd name="T60" fmla="*/ 78 w 189"/>
                  <a:gd name="T61" fmla="*/ 84 h 219"/>
                  <a:gd name="T62" fmla="*/ 67 w 189"/>
                  <a:gd name="T63" fmla="*/ 134 h 219"/>
                  <a:gd name="T64" fmla="*/ 110 w 189"/>
                  <a:gd name="T65" fmla="*/ 134 h 219"/>
                  <a:gd name="T66" fmla="*/ 121 w 189"/>
                  <a:gd name="T67" fmla="*/ 84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9" h="219">
                    <a:moveTo>
                      <a:pt x="189" y="67"/>
                    </a:moveTo>
                    <a:lnTo>
                      <a:pt x="184" y="84"/>
                    </a:lnTo>
                    <a:lnTo>
                      <a:pt x="141" y="84"/>
                    </a:lnTo>
                    <a:lnTo>
                      <a:pt x="130" y="134"/>
                    </a:lnTo>
                    <a:lnTo>
                      <a:pt x="177" y="134"/>
                    </a:lnTo>
                    <a:lnTo>
                      <a:pt x="173" y="153"/>
                    </a:lnTo>
                    <a:lnTo>
                      <a:pt x="127" y="153"/>
                    </a:lnTo>
                    <a:lnTo>
                      <a:pt x="112" y="219"/>
                    </a:lnTo>
                    <a:lnTo>
                      <a:pt x="91" y="219"/>
                    </a:lnTo>
                    <a:lnTo>
                      <a:pt x="106" y="153"/>
                    </a:lnTo>
                    <a:lnTo>
                      <a:pt x="65" y="153"/>
                    </a:lnTo>
                    <a:lnTo>
                      <a:pt x="50" y="219"/>
                    </a:lnTo>
                    <a:lnTo>
                      <a:pt x="29" y="219"/>
                    </a:lnTo>
                    <a:lnTo>
                      <a:pt x="43" y="153"/>
                    </a:lnTo>
                    <a:lnTo>
                      <a:pt x="0" y="153"/>
                    </a:lnTo>
                    <a:lnTo>
                      <a:pt x="2" y="134"/>
                    </a:lnTo>
                    <a:lnTo>
                      <a:pt x="47" y="134"/>
                    </a:lnTo>
                    <a:lnTo>
                      <a:pt x="57" y="84"/>
                    </a:lnTo>
                    <a:lnTo>
                      <a:pt x="11" y="84"/>
                    </a:lnTo>
                    <a:lnTo>
                      <a:pt x="15" y="67"/>
                    </a:lnTo>
                    <a:lnTo>
                      <a:pt x="61" y="67"/>
                    </a:lnTo>
                    <a:lnTo>
                      <a:pt x="74" y="0"/>
                    </a:lnTo>
                    <a:lnTo>
                      <a:pt x="96" y="0"/>
                    </a:lnTo>
                    <a:lnTo>
                      <a:pt x="82" y="67"/>
                    </a:lnTo>
                    <a:lnTo>
                      <a:pt x="123" y="67"/>
                    </a:lnTo>
                    <a:lnTo>
                      <a:pt x="138" y="0"/>
                    </a:lnTo>
                    <a:lnTo>
                      <a:pt x="158" y="0"/>
                    </a:lnTo>
                    <a:lnTo>
                      <a:pt x="145" y="67"/>
                    </a:lnTo>
                    <a:lnTo>
                      <a:pt x="189" y="67"/>
                    </a:lnTo>
                    <a:close/>
                    <a:moveTo>
                      <a:pt x="121" y="84"/>
                    </a:moveTo>
                    <a:lnTo>
                      <a:pt x="78" y="84"/>
                    </a:lnTo>
                    <a:lnTo>
                      <a:pt x="67" y="134"/>
                    </a:lnTo>
                    <a:lnTo>
                      <a:pt x="110" y="134"/>
                    </a:lnTo>
                    <a:lnTo>
                      <a:pt x="121"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2" name="Freeform 99"/>
              <p:cNvSpPr>
                <a:spLocks/>
              </p:cNvSpPr>
              <p:nvPr userDrawn="1"/>
            </p:nvSpPr>
            <p:spPr bwMode="auto">
              <a:xfrm>
                <a:off x="4223" y="3663"/>
                <a:ext cx="77" cy="293"/>
              </a:xfrm>
              <a:custGeom>
                <a:avLst/>
                <a:gdLst>
                  <a:gd name="T0" fmla="*/ 63 w 63"/>
                  <a:gd name="T1" fmla="*/ 240 h 240"/>
                  <a:gd name="T2" fmla="*/ 21 w 63"/>
                  <a:gd name="T3" fmla="*/ 198 h 240"/>
                  <a:gd name="T4" fmla="*/ 21 w 63"/>
                  <a:gd name="T5" fmla="*/ 157 h 240"/>
                  <a:gd name="T6" fmla="*/ 0 w 63"/>
                  <a:gd name="T7" fmla="*/ 128 h 240"/>
                  <a:gd name="T8" fmla="*/ 0 w 63"/>
                  <a:gd name="T9" fmla="*/ 112 h 240"/>
                  <a:gd name="T10" fmla="*/ 21 w 63"/>
                  <a:gd name="T11" fmla="*/ 82 h 240"/>
                  <a:gd name="T12" fmla="*/ 21 w 63"/>
                  <a:gd name="T13" fmla="*/ 43 h 240"/>
                  <a:gd name="T14" fmla="*/ 63 w 63"/>
                  <a:gd name="T15" fmla="*/ 0 h 240"/>
                  <a:gd name="T16" fmla="*/ 63 w 63"/>
                  <a:gd name="T17" fmla="*/ 17 h 240"/>
                  <a:gd name="T18" fmla="*/ 41 w 63"/>
                  <a:gd name="T19" fmla="*/ 44 h 240"/>
                  <a:gd name="T20" fmla="*/ 41 w 63"/>
                  <a:gd name="T21" fmla="*/ 84 h 240"/>
                  <a:gd name="T22" fmla="*/ 21 w 63"/>
                  <a:gd name="T23" fmla="*/ 120 h 240"/>
                  <a:gd name="T24" fmla="*/ 21 w 63"/>
                  <a:gd name="T25" fmla="*/ 120 h 240"/>
                  <a:gd name="T26" fmla="*/ 41 w 63"/>
                  <a:gd name="T27" fmla="*/ 155 h 240"/>
                  <a:gd name="T28" fmla="*/ 41 w 63"/>
                  <a:gd name="T29" fmla="*/ 195 h 240"/>
                  <a:gd name="T30" fmla="*/ 46 w 63"/>
                  <a:gd name="T31" fmla="*/ 216 h 240"/>
                  <a:gd name="T32" fmla="*/ 63 w 63"/>
                  <a:gd name="T33" fmla="*/ 223 h 240"/>
                  <a:gd name="T34" fmla="*/ 63 w 63"/>
                  <a:gd name="T35" fmla="*/ 240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3" h="240">
                    <a:moveTo>
                      <a:pt x="63" y="240"/>
                    </a:moveTo>
                    <a:cubicBezTo>
                      <a:pt x="35" y="240"/>
                      <a:pt x="21" y="226"/>
                      <a:pt x="21" y="198"/>
                    </a:cubicBezTo>
                    <a:cubicBezTo>
                      <a:pt x="21" y="157"/>
                      <a:pt x="21" y="157"/>
                      <a:pt x="21" y="157"/>
                    </a:cubicBezTo>
                    <a:cubicBezTo>
                      <a:pt x="21" y="138"/>
                      <a:pt x="14" y="129"/>
                      <a:pt x="0" y="128"/>
                    </a:cubicBezTo>
                    <a:cubicBezTo>
                      <a:pt x="0" y="112"/>
                      <a:pt x="0" y="112"/>
                      <a:pt x="0" y="112"/>
                    </a:cubicBezTo>
                    <a:cubicBezTo>
                      <a:pt x="14" y="111"/>
                      <a:pt x="21" y="101"/>
                      <a:pt x="21" y="82"/>
                    </a:cubicBezTo>
                    <a:cubicBezTo>
                      <a:pt x="21" y="43"/>
                      <a:pt x="21" y="43"/>
                      <a:pt x="21" y="43"/>
                    </a:cubicBezTo>
                    <a:cubicBezTo>
                      <a:pt x="21" y="14"/>
                      <a:pt x="35" y="0"/>
                      <a:pt x="63" y="0"/>
                    </a:cubicBezTo>
                    <a:cubicBezTo>
                      <a:pt x="63" y="17"/>
                      <a:pt x="63" y="17"/>
                      <a:pt x="63" y="17"/>
                    </a:cubicBezTo>
                    <a:cubicBezTo>
                      <a:pt x="49" y="17"/>
                      <a:pt x="41" y="26"/>
                      <a:pt x="41" y="44"/>
                    </a:cubicBezTo>
                    <a:cubicBezTo>
                      <a:pt x="41" y="84"/>
                      <a:pt x="41" y="84"/>
                      <a:pt x="41" y="84"/>
                    </a:cubicBezTo>
                    <a:cubicBezTo>
                      <a:pt x="41" y="103"/>
                      <a:pt x="34" y="115"/>
                      <a:pt x="21" y="120"/>
                    </a:cubicBezTo>
                    <a:cubicBezTo>
                      <a:pt x="21" y="120"/>
                      <a:pt x="21" y="120"/>
                      <a:pt x="21" y="120"/>
                    </a:cubicBezTo>
                    <a:cubicBezTo>
                      <a:pt x="34" y="124"/>
                      <a:pt x="41" y="136"/>
                      <a:pt x="41" y="155"/>
                    </a:cubicBezTo>
                    <a:cubicBezTo>
                      <a:pt x="41" y="195"/>
                      <a:pt x="41" y="195"/>
                      <a:pt x="41" y="195"/>
                    </a:cubicBezTo>
                    <a:cubicBezTo>
                      <a:pt x="41" y="205"/>
                      <a:pt x="43" y="212"/>
                      <a:pt x="46" y="216"/>
                    </a:cubicBezTo>
                    <a:cubicBezTo>
                      <a:pt x="49" y="221"/>
                      <a:pt x="55" y="223"/>
                      <a:pt x="63" y="223"/>
                    </a:cubicBezTo>
                    <a:lnTo>
                      <a:pt x="63" y="2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3" name="Freeform 100"/>
              <p:cNvSpPr>
                <a:spLocks/>
              </p:cNvSpPr>
              <p:nvPr userDrawn="1"/>
            </p:nvSpPr>
            <p:spPr bwMode="auto">
              <a:xfrm>
                <a:off x="4330" y="3663"/>
                <a:ext cx="77" cy="293"/>
              </a:xfrm>
              <a:custGeom>
                <a:avLst/>
                <a:gdLst>
                  <a:gd name="T0" fmla="*/ 63 w 63"/>
                  <a:gd name="T1" fmla="*/ 128 h 240"/>
                  <a:gd name="T2" fmla="*/ 42 w 63"/>
                  <a:gd name="T3" fmla="*/ 157 h 240"/>
                  <a:gd name="T4" fmla="*/ 42 w 63"/>
                  <a:gd name="T5" fmla="*/ 198 h 240"/>
                  <a:gd name="T6" fmla="*/ 0 w 63"/>
                  <a:gd name="T7" fmla="*/ 240 h 240"/>
                  <a:gd name="T8" fmla="*/ 0 w 63"/>
                  <a:gd name="T9" fmla="*/ 223 h 240"/>
                  <a:gd name="T10" fmla="*/ 17 w 63"/>
                  <a:gd name="T11" fmla="*/ 216 h 240"/>
                  <a:gd name="T12" fmla="*/ 22 w 63"/>
                  <a:gd name="T13" fmla="*/ 195 h 240"/>
                  <a:gd name="T14" fmla="*/ 22 w 63"/>
                  <a:gd name="T15" fmla="*/ 155 h 240"/>
                  <a:gd name="T16" fmla="*/ 42 w 63"/>
                  <a:gd name="T17" fmla="*/ 120 h 240"/>
                  <a:gd name="T18" fmla="*/ 42 w 63"/>
                  <a:gd name="T19" fmla="*/ 120 h 240"/>
                  <a:gd name="T20" fmla="*/ 22 w 63"/>
                  <a:gd name="T21" fmla="*/ 84 h 240"/>
                  <a:gd name="T22" fmla="*/ 22 w 63"/>
                  <a:gd name="T23" fmla="*/ 44 h 240"/>
                  <a:gd name="T24" fmla="*/ 0 w 63"/>
                  <a:gd name="T25" fmla="*/ 17 h 240"/>
                  <a:gd name="T26" fmla="*/ 0 w 63"/>
                  <a:gd name="T27" fmla="*/ 0 h 240"/>
                  <a:gd name="T28" fmla="*/ 42 w 63"/>
                  <a:gd name="T29" fmla="*/ 43 h 240"/>
                  <a:gd name="T30" fmla="*/ 42 w 63"/>
                  <a:gd name="T31" fmla="*/ 82 h 240"/>
                  <a:gd name="T32" fmla="*/ 63 w 63"/>
                  <a:gd name="T33" fmla="*/ 112 h 240"/>
                  <a:gd name="T34" fmla="*/ 63 w 63"/>
                  <a:gd name="T35" fmla="*/ 128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3" h="240">
                    <a:moveTo>
                      <a:pt x="63" y="128"/>
                    </a:moveTo>
                    <a:cubicBezTo>
                      <a:pt x="49" y="129"/>
                      <a:pt x="42" y="138"/>
                      <a:pt x="42" y="157"/>
                    </a:cubicBezTo>
                    <a:cubicBezTo>
                      <a:pt x="42" y="198"/>
                      <a:pt x="42" y="198"/>
                      <a:pt x="42" y="198"/>
                    </a:cubicBezTo>
                    <a:cubicBezTo>
                      <a:pt x="42" y="226"/>
                      <a:pt x="28" y="240"/>
                      <a:pt x="0" y="240"/>
                    </a:cubicBezTo>
                    <a:cubicBezTo>
                      <a:pt x="0" y="223"/>
                      <a:pt x="0" y="223"/>
                      <a:pt x="0" y="223"/>
                    </a:cubicBezTo>
                    <a:cubicBezTo>
                      <a:pt x="8" y="223"/>
                      <a:pt x="14" y="221"/>
                      <a:pt x="17" y="216"/>
                    </a:cubicBezTo>
                    <a:cubicBezTo>
                      <a:pt x="20" y="212"/>
                      <a:pt x="22" y="205"/>
                      <a:pt x="22" y="195"/>
                    </a:cubicBezTo>
                    <a:cubicBezTo>
                      <a:pt x="22" y="155"/>
                      <a:pt x="22" y="155"/>
                      <a:pt x="22" y="155"/>
                    </a:cubicBezTo>
                    <a:cubicBezTo>
                      <a:pt x="22" y="136"/>
                      <a:pt x="29" y="124"/>
                      <a:pt x="42" y="120"/>
                    </a:cubicBezTo>
                    <a:cubicBezTo>
                      <a:pt x="42" y="120"/>
                      <a:pt x="42" y="120"/>
                      <a:pt x="42" y="120"/>
                    </a:cubicBezTo>
                    <a:cubicBezTo>
                      <a:pt x="29" y="115"/>
                      <a:pt x="22" y="103"/>
                      <a:pt x="22" y="84"/>
                    </a:cubicBezTo>
                    <a:cubicBezTo>
                      <a:pt x="22" y="44"/>
                      <a:pt x="22" y="44"/>
                      <a:pt x="22" y="44"/>
                    </a:cubicBezTo>
                    <a:cubicBezTo>
                      <a:pt x="22" y="26"/>
                      <a:pt x="15" y="17"/>
                      <a:pt x="0" y="17"/>
                    </a:cubicBezTo>
                    <a:cubicBezTo>
                      <a:pt x="0" y="0"/>
                      <a:pt x="0" y="0"/>
                      <a:pt x="0" y="0"/>
                    </a:cubicBezTo>
                    <a:cubicBezTo>
                      <a:pt x="28" y="0"/>
                      <a:pt x="42" y="14"/>
                      <a:pt x="42" y="43"/>
                    </a:cubicBezTo>
                    <a:cubicBezTo>
                      <a:pt x="42" y="82"/>
                      <a:pt x="42" y="82"/>
                      <a:pt x="42" y="82"/>
                    </a:cubicBezTo>
                    <a:cubicBezTo>
                      <a:pt x="42" y="101"/>
                      <a:pt x="49" y="111"/>
                      <a:pt x="63" y="112"/>
                    </a:cubicBezTo>
                    <a:lnTo>
                      <a:pt x="63" y="1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4" name="Freeform 101"/>
              <p:cNvSpPr>
                <a:spLocks noEditPoints="1"/>
              </p:cNvSpPr>
              <p:nvPr userDrawn="1"/>
            </p:nvSpPr>
            <p:spPr bwMode="auto">
              <a:xfrm>
                <a:off x="4441" y="3658"/>
                <a:ext cx="156" cy="248"/>
              </a:xfrm>
              <a:custGeom>
                <a:avLst/>
                <a:gdLst>
                  <a:gd name="T0" fmla="*/ 128 w 128"/>
                  <a:gd name="T1" fmla="*/ 101 h 203"/>
                  <a:gd name="T2" fmla="*/ 123 w 128"/>
                  <a:gd name="T3" fmla="*/ 144 h 203"/>
                  <a:gd name="T4" fmla="*/ 111 w 128"/>
                  <a:gd name="T5" fmla="*/ 176 h 203"/>
                  <a:gd name="T6" fmla="*/ 90 w 128"/>
                  <a:gd name="T7" fmla="*/ 196 h 203"/>
                  <a:gd name="T8" fmla="*/ 62 w 128"/>
                  <a:gd name="T9" fmla="*/ 203 h 203"/>
                  <a:gd name="T10" fmla="*/ 36 w 128"/>
                  <a:gd name="T11" fmla="*/ 197 h 203"/>
                  <a:gd name="T12" fmla="*/ 16 w 128"/>
                  <a:gd name="T13" fmla="*/ 178 h 203"/>
                  <a:gd name="T14" fmla="*/ 4 w 128"/>
                  <a:gd name="T15" fmla="*/ 147 h 203"/>
                  <a:gd name="T16" fmla="*/ 0 w 128"/>
                  <a:gd name="T17" fmla="*/ 106 h 203"/>
                  <a:gd name="T18" fmla="*/ 5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5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6" y="132"/>
                      <a:pt x="123" y="144"/>
                    </a:cubicBezTo>
                    <a:cubicBezTo>
                      <a:pt x="121" y="157"/>
                      <a:pt x="116" y="168"/>
                      <a:pt x="111" y="176"/>
                    </a:cubicBezTo>
                    <a:cubicBezTo>
                      <a:pt x="105" y="185"/>
                      <a:pt x="98" y="192"/>
                      <a:pt x="90" y="196"/>
                    </a:cubicBezTo>
                    <a:cubicBezTo>
                      <a:pt x="82" y="201"/>
                      <a:pt x="73" y="203"/>
                      <a:pt x="62" y="203"/>
                    </a:cubicBezTo>
                    <a:cubicBezTo>
                      <a:pt x="52" y="203"/>
                      <a:pt x="44" y="201"/>
                      <a:pt x="36" y="197"/>
                    </a:cubicBezTo>
                    <a:cubicBezTo>
                      <a:pt x="28" y="192"/>
                      <a:pt x="22" y="186"/>
                      <a:pt x="16" y="178"/>
                    </a:cubicBezTo>
                    <a:cubicBezTo>
                      <a:pt x="11" y="169"/>
                      <a:pt x="7" y="159"/>
                      <a:pt x="4" y="147"/>
                    </a:cubicBezTo>
                    <a:cubicBezTo>
                      <a:pt x="2" y="135"/>
                      <a:pt x="0" y="121"/>
                      <a:pt x="0" y="106"/>
                    </a:cubicBezTo>
                    <a:cubicBezTo>
                      <a:pt x="0" y="88"/>
                      <a:pt x="2" y="73"/>
                      <a:pt x="5" y="60"/>
                    </a:cubicBezTo>
                    <a:cubicBezTo>
                      <a:pt x="7" y="47"/>
                      <a:pt x="12" y="36"/>
                      <a:pt x="17" y="27"/>
                    </a:cubicBezTo>
                    <a:cubicBezTo>
                      <a:pt x="23" y="18"/>
                      <a:pt x="30" y="12"/>
                      <a:pt x="38" y="7"/>
                    </a:cubicBezTo>
                    <a:cubicBezTo>
                      <a:pt x="46" y="3"/>
                      <a:pt x="56" y="0"/>
                      <a:pt x="66" y="0"/>
                    </a:cubicBezTo>
                    <a:cubicBezTo>
                      <a:pt x="107" y="0"/>
                      <a:pt x="128" y="34"/>
                      <a:pt x="128" y="101"/>
                    </a:cubicBezTo>
                    <a:close/>
                    <a:moveTo>
                      <a:pt x="105" y="103"/>
                    </a:moveTo>
                    <a:cubicBezTo>
                      <a:pt x="105" y="47"/>
                      <a:pt x="92" y="19"/>
                      <a:pt x="65" y="19"/>
                    </a:cubicBezTo>
                    <a:cubicBezTo>
                      <a:pt x="37" y="19"/>
                      <a:pt x="23" y="48"/>
                      <a:pt x="23" y="105"/>
                    </a:cubicBezTo>
                    <a:cubicBezTo>
                      <a:pt x="23" y="157"/>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5" name="Freeform 102"/>
              <p:cNvSpPr>
                <a:spLocks noEditPoints="1"/>
              </p:cNvSpPr>
              <p:nvPr userDrawn="1"/>
            </p:nvSpPr>
            <p:spPr bwMode="auto">
              <a:xfrm>
                <a:off x="4636" y="3658"/>
                <a:ext cx="156" cy="248"/>
              </a:xfrm>
              <a:custGeom>
                <a:avLst/>
                <a:gdLst>
                  <a:gd name="T0" fmla="*/ 128 w 128"/>
                  <a:gd name="T1" fmla="*/ 101 h 203"/>
                  <a:gd name="T2" fmla="*/ 123 w 128"/>
                  <a:gd name="T3" fmla="*/ 144 h 203"/>
                  <a:gd name="T4" fmla="*/ 111 w 128"/>
                  <a:gd name="T5" fmla="*/ 176 h 203"/>
                  <a:gd name="T6" fmla="*/ 90 w 128"/>
                  <a:gd name="T7" fmla="*/ 196 h 203"/>
                  <a:gd name="T8" fmla="*/ 62 w 128"/>
                  <a:gd name="T9" fmla="*/ 203 h 203"/>
                  <a:gd name="T10" fmla="*/ 36 w 128"/>
                  <a:gd name="T11" fmla="*/ 197 h 203"/>
                  <a:gd name="T12" fmla="*/ 16 w 128"/>
                  <a:gd name="T13" fmla="*/ 178 h 203"/>
                  <a:gd name="T14" fmla="*/ 4 w 128"/>
                  <a:gd name="T15" fmla="*/ 147 h 203"/>
                  <a:gd name="T16" fmla="*/ 0 w 128"/>
                  <a:gd name="T17" fmla="*/ 106 h 203"/>
                  <a:gd name="T18" fmla="*/ 5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5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6" y="132"/>
                      <a:pt x="123" y="144"/>
                    </a:cubicBezTo>
                    <a:cubicBezTo>
                      <a:pt x="121" y="157"/>
                      <a:pt x="116" y="168"/>
                      <a:pt x="111" y="176"/>
                    </a:cubicBezTo>
                    <a:cubicBezTo>
                      <a:pt x="105" y="185"/>
                      <a:pt x="98" y="192"/>
                      <a:pt x="90" y="196"/>
                    </a:cubicBezTo>
                    <a:cubicBezTo>
                      <a:pt x="82" y="201"/>
                      <a:pt x="73" y="203"/>
                      <a:pt x="62" y="203"/>
                    </a:cubicBezTo>
                    <a:cubicBezTo>
                      <a:pt x="52" y="203"/>
                      <a:pt x="44" y="201"/>
                      <a:pt x="36" y="197"/>
                    </a:cubicBezTo>
                    <a:cubicBezTo>
                      <a:pt x="28" y="192"/>
                      <a:pt x="22" y="186"/>
                      <a:pt x="16" y="178"/>
                    </a:cubicBezTo>
                    <a:cubicBezTo>
                      <a:pt x="11" y="169"/>
                      <a:pt x="7" y="159"/>
                      <a:pt x="4" y="147"/>
                    </a:cubicBezTo>
                    <a:cubicBezTo>
                      <a:pt x="2" y="135"/>
                      <a:pt x="0" y="121"/>
                      <a:pt x="0" y="106"/>
                    </a:cubicBezTo>
                    <a:cubicBezTo>
                      <a:pt x="0" y="88"/>
                      <a:pt x="2" y="73"/>
                      <a:pt x="5" y="60"/>
                    </a:cubicBezTo>
                    <a:cubicBezTo>
                      <a:pt x="7" y="47"/>
                      <a:pt x="12" y="36"/>
                      <a:pt x="17" y="27"/>
                    </a:cubicBezTo>
                    <a:cubicBezTo>
                      <a:pt x="23" y="18"/>
                      <a:pt x="30" y="12"/>
                      <a:pt x="38" y="7"/>
                    </a:cubicBezTo>
                    <a:cubicBezTo>
                      <a:pt x="46" y="3"/>
                      <a:pt x="56" y="0"/>
                      <a:pt x="66" y="0"/>
                    </a:cubicBezTo>
                    <a:cubicBezTo>
                      <a:pt x="107" y="0"/>
                      <a:pt x="128" y="34"/>
                      <a:pt x="128" y="101"/>
                    </a:cubicBezTo>
                    <a:close/>
                    <a:moveTo>
                      <a:pt x="105" y="103"/>
                    </a:moveTo>
                    <a:cubicBezTo>
                      <a:pt x="105" y="47"/>
                      <a:pt x="92" y="19"/>
                      <a:pt x="65" y="19"/>
                    </a:cubicBezTo>
                    <a:cubicBezTo>
                      <a:pt x="37" y="19"/>
                      <a:pt x="23" y="48"/>
                      <a:pt x="23" y="105"/>
                    </a:cubicBezTo>
                    <a:cubicBezTo>
                      <a:pt x="23" y="157"/>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6" name="Freeform 103"/>
              <p:cNvSpPr>
                <a:spLocks/>
              </p:cNvSpPr>
              <p:nvPr userDrawn="1"/>
            </p:nvSpPr>
            <p:spPr bwMode="auto">
              <a:xfrm>
                <a:off x="4833" y="3657"/>
                <a:ext cx="83" cy="245"/>
              </a:xfrm>
              <a:custGeom>
                <a:avLst/>
                <a:gdLst>
                  <a:gd name="T0" fmla="*/ 68 w 68"/>
                  <a:gd name="T1" fmla="*/ 201 h 201"/>
                  <a:gd name="T2" fmla="*/ 46 w 68"/>
                  <a:gd name="T3" fmla="*/ 201 h 201"/>
                  <a:gd name="T4" fmla="*/ 46 w 68"/>
                  <a:gd name="T5" fmla="*/ 31 h 201"/>
                  <a:gd name="T6" fmla="*/ 38 w 68"/>
                  <a:gd name="T7" fmla="*/ 37 h 201"/>
                  <a:gd name="T8" fmla="*/ 27 w 68"/>
                  <a:gd name="T9" fmla="*/ 44 h 201"/>
                  <a:gd name="T10" fmla="*/ 14 w 68"/>
                  <a:gd name="T11" fmla="*/ 50 h 201"/>
                  <a:gd name="T12" fmla="*/ 0 w 68"/>
                  <a:gd name="T13" fmla="*/ 55 h 201"/>
                  <a:gd name="T14" fmla="*/ 0 w 68"/>
                  <a:gd name="T15" fmla="*/ 32 h 201"/>
                  <a:gd name="T16" fmla="*/ 16 w 68"/>
                  <a:gd name="T17" fmla="*/ 26 h 201"/>
                  <a:gd name="T18" fmla="*/ 32 w 68"/>
                  <a:gd name="T19" fmla="*/ 18 h 201"/>
                  <a:gd name="T20" fmla="*/ 47 w 68"/>
                  <a:gd name="T21" fmla="*/ 9 h 201"/>
                  <a:gd name="T22" fmla="*/ 60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6" y="201"/>
                      <a:pt x="46" y="201"/>
                      <a:pt x="46" y="201"/>
                    </a:cubicBezTo>
                    <a:cubicBezTo>
                      <a:pt x="46" y="31"/>
                      <a:pt x="46" y="31"/>
                      <a:pt x="46" y="31"/>
                    </a:cubicBezTo>
                    <a:cubicBezTo>
                      <a:pt x="44" y="33"/>
                      <a:pt x="41" y="35"/>
                      <a:pt x="38" y="37"/>
                    </a:cubicBezTo>
                    <a:cubicBezTo>
                      <a:pt x="35" y="39"/>
                      <a:pt x="31" y="42"/>
                      <a:pt x="27" y="44"/>
                    </a:cubicBezTo>
                    <a:cubicBezTo>
                      <a:pt x="23" y="46"/>
                      <a:pt x="18" y="48"/>
                      <a:pt x="14" y="50"/>
                    </a:cubicBezTo>
                    <a:cubicBezTo>
                      <a:pt x="9" y="52"/>
                      <a:pt x="5" y="53"/>
                      <a:pt x="0" y="55"/>
                    </a:cubicBezTo>
                    <a:cubicBezTo>
                      <a:pt x="0" y="32"/>
                      <a:pt x="0" y="32"/>
                      <a:pt x="0" y="32"/>
                    </a:cubicBezTo>
                    <a:cubicBezTo>
                      <a:pt x="5" y="30"/>
                      <a:pt x="10" y="29"/>
                      <a:pt x="16" y="26"/>
                    </a:cubicBezTo>
                    <a:cubicBezTo>
                      <a:pt x="21" y="24"/>
                      <a:pt x="27" y="21"/>
                      <a:pt x="32" y="18"/>
                    </a:cubicBezTo>
                    <a:cubicBezTo>
                      <a:pt x="38" y="16"/>
                      <a:pt x="43" y="13"/>
                      <a:pt x="47" y="9"/>
                    </a:cubicBezTo>
                    <a:cubicBezTo>
                      <a:pt x="52" y="6"/>
                      <a:pt x="56" y="3"/>
                      <a:pt x="60"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7" name="Freeform 104"/>
              <p:cNvSpPr>
                <a:spLocks noEditPoints="1"/>
              </p:cNvSpPr>
              <p:nvPr userDrawn="1"/>
            </p:nvSpPr>
            <p:spPr bwMode="auto">
              <a:xfrm>
                <a:off x="4982" y="3658"/>
                <a:ext cx="156" cy="248"/>
              </a:xfrm>
              <a:custGeom>
                <a:avLst/>
                <a:gdLst>
                  <a:gd name="T0" fmla="*/ 128 w 128"/>
                  <a:gd name="T1" fmla="*/ 101 h 203"/>
                  <a:gd name="T2" fmla="*/ 123 w 128"/>
                  <a:gd name="T3" fmla="*/ 144 h 203"/>
                  <a:gd name="T4" fmla="*/ 110 w 128"/>
                  <a:gd name="T5" fmla="*/ 176 h 203"/>
                  <a:gd name="T6" fmla="*/ 90 w 128"/>
                  <a:gd name="T7" fmla="*/ 196 h 203"/>
                  <a:gd name="T8" fmla="*/ 62 w 128"/>
                  <a:gd name="T9" fmla="*/ 203 h 203"/>
                  <a:gd name="T10" fmla="*/ 36 w 128"/>
                  <a:gd name="T11" fmla="*/ 197 h 203"/>
                  <a:gd name="T12" fmla="*/ 16 w 128"/>
                  <a:gd name="T13" fmla="*/ 178 h 203"/>
                  <a:gd name="T14" fmla="*/ 4 w 128"/>
                  <a:gd name="T15" fmla="*/ 147 h 203"/>
                  <a:gd name="T16" fmla="*/ 0 w 128"/>
                  <a:gd name="T17" fmla="*/ 106 h 203"/>
                  <a:gd name="T18" fmla="*/ 4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5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6" y="132"/>
                      <a:pt x="123" y="144"/>
                    </a:cubicBezTo>
                    <a:cubicBezTo>
                      <a:pt x="120" y="157"/>
                      <a:pt x="116" y="168"/>
                      <a:pt x="110" y="176"/>
                    </a:cubicBezTo>
                    <a:cubicBezTo>
                      <a:pt x="105" y="185"/>
                      <a:pt x="98" y="192"/>
                      <a:pt x="90" y="196"/>
                    </a:cubicBezTo>
                    <a:cubicBezTo>
                      <a:pt x="82" y="201"/>
                      <a:pt x="72" y="203"/>
                      <a:pt x="62" y="203"/>
                    </a:cubicBezTo>
                    <a:cubicBezTo>
                      <a:pt x="52" y="203"/>
                      <a:pt x="43" y="201"/>
                      <a:pt x="36" y="197"/>
                    </a:cubicBezTo>
                    <a:cubicBezTo>
                      <a:pt x="28" y="192"/>
                      <a:pt x="21" y="186"/>
                      <a:pt x="16" y="178"/>
                    </a:cubicBezTo>
                    <a:cubicBezTo>
                      <a:pt x="11" y="169"/>
                      <a:pt x="7" y="159"/>
                      <a:pt x="4" y="147"/>
                    </a:cubicBezTo>
                    <a:cubicBezTo>
                      <a:pt x="1" y="135"/>
                      <a:pt x="0" y="121"/>
                      <a:pt x="0" y="106"/>
                    </a:cubicBezTo>
                    <a:cubicBezTo>
                      <a:pt x="0" y="88"/>
                      <a:pt x="1" y="73"/>
                      <a:pt x="4" y="60"/>
                    </a:cubicBezTo>
                    <a:cubicBezTo>
                      <a:pt x="7" y="47"/>
                      <a:pt x="11" y="36"/>
                      <a:pt x="17" y="27"/>
                    </a:cubicBezTo>
                    <a:cubicBezTo>
                      <a:pt x="22" y="18"/>
                      <a:pt x="29" y="12"/>
                      <a:pt x="38" y="7"/>
                    </a:cubicBezTo>
                    <a:cubicBezTo>
                      <a:pt x="46" y="3"/>
                      <a:pt x="55" y="0"/>
                      <a:pt x="66" y="0"/>
                    </a:cubicBezTo>
                    <a:cubicBezTo>
                      <a:pt x="107" y="0"/>
                      <a:pt x="128" y="34"/>
                      <a:pt x="128" y="101"/>
                    </a:cubicBezTo>
                    <a:close/>
                    <a:moveTo>
                      <a:pt x="105" y="103"/>
                    </a:moveTo>
                    <a:cubicBezTo>
                      <a:pt x="105" y="47"/>
                      <a:pt x="91" y="19"/>
                      <a:pt x="65" y="19"/>
                    </a:cubicBezTo>
                    <a:cubicBezTo>
                      <a:pt x="37" y="19"/>
                      <a:pt x="23" y="48"/>
                      <a:pt x="23" y="105"/>
                    </a:cubicBezTo>
                    <a:cubicBezTo>
                      <a:pt x="23" y="157"/>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8" name="Freeform 105"/>
              <p:cNvSpPr>
                <a:spLocks/>
              </p:cNvSpPr>
              <p:nvPr userDrawn="1"/>
            </p:nvSpPr>
            <p:spPr bwMode="auto">
              <a:xfrm>
                <a:off x="5180" y="3657"/>
                <a:ext cx="82" cy="245"/>
              </a:xfrm>
              <a:custGeom>
                <a:avLst/>
                <a:gdLst>
                  <a:gd name="T0" fmla="*/ 68 w 68"/>
                  <a:gd name="T1" fmla="*/ 201 h 201"/>
                  <a:gd name="T2" fmla="*/ 45 w 68"/>
                  <a:gd name="T3" fmla="*/ 201 h 201"/>
                  <a:gd name="T4" fmla="*/ 45 w 68"/>
                  <a:gd name="T5" fmla="*/ 31 h 201"/>
                  <a:gd name="T6" fmla="*/ 38 w 68"/>
                  <a:gd name="T7" fmla="*/ 37 h 201"/>
                  <a:gd name="T8" fmla="*/ 27 w 68"/>
                  <a:gd name="T9" fmla="*/ 44 h 201"/>
                  <a:gd name="T10" fmla="*/ 13 w 68"/>
                  <a:gd name="T11" fmla="*/ 50 h 201"/>
                  <a:gd name="T12" fmla="*/ 0 w 68"/>
                  <a:gd name="T13" fmla="*/ 55 h 201"/>
                  <a:gd name="T14" fmla="*/ 0 w 68"/>
                  <a:gd name="T15" fmla="*/ 32 h 201"/>
                  <a:gd name="T16" fmla="*/ 16 w 68"/>
                  <a:gd name="T17" fmla="*/ 26 h 201"/>
                  <a:gd name="T18" fmla="*/ 32 w 68"/>
                  <a:gd name="T19" fmla="*/ 18 h 201"/>
                  <a:gd name="T20" fmla="*/ 47 w 68"/>
                  <a:gd name="T21" fmla="*/ 9 h 201"/>
                  <a:gd name="T22" fmla="*/ 59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5" y="201"/>
                      <a:pt x="45" y="201"/>
                      <a:pt x="45" y="201"/>
                    </a:cubicBezTo>
                    <a:cubicBezTo>
                      <a:pt x="45" y="31"/>
                      <a:pt x="45" y="31"/>
                      <a:pt x="45" y="31"/>
                    </a:cubicBezTo>
                    <a:cubicBezTo>
                      <a:pt x="44" y="33"/>
                      <a:pt x="41" y="35"/>
                      <a:pt x="38" y="37"/>
                    </a:cubicBezTo>
                    <a:cubicBezTo>
                      <a:pt x="34" y="39"/>
                      <a:pt x="31" y="42"/>
                      <a:pt x="27" y="44"/>
                    </a:cubicBezTo>
                    <a:cubicBezTo>
                      <a:pt x="22" y="46"/>
                      <a:pt x="18" y="48"/>
                      <a:pt x="13" y="50"/>
                    </a:cubicBezTo>
                    <a:cubicBezTo>
                      <a:pt x="9" y="52"/>
                      <a:pt x="4" y="53"/>
                      <a:pt x="0" y="55"/>
                    </a:cubicBezTo>
                    <a:cubicBezTo>
                      <a:pt x="0" y="32"/>
                      <a:pt x="0" y="32"/>
                      <a:pt x="0" y="32"/>
                    </a:cubicBezTo>
                    <a:cubicBezTo>
                      <a:pt x="5" y="30"/>
                      <a:pt x="10" y="29"/>
                      <a:pt x="16" y="26"/>
                    </a:cubicBezTo>
                    <a:cubicBezTo>
                      <a:pt x="21" y="24"/>
                      <a:pt x="27" y="21"/>
                      <a:pt x="32" y="18"/>
                    </a:cubicBezTo>
                    <a:cubicBezTo>
                      <a:pt x="37" y="16"/>
                      <a:pt x="42" y="13"/>
                      <a:pt x="47" y="9"/>
                    </a:cubicBezTo>
                    <a:cubicBezTo>
                      <a:pt x="52" y="6"/>
                      <a:pt x="56" y="3"/>
                      <a:pt x="59"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9" name="Freeform 106"/>
              <p:cNvSpPr>
                <a:spLocks/>
              </p:cNvSpPr>
              <p:nvPr userDrawn="1"/>
            </p:nvSpPr>
            <p:spPr bwMode="auto">
              <a:xfrm>
                <a:off x="5330" y="3657"/>
                <a:ext cx="81" cy="245"/>
              </a:xfrm>
              <a:custGeom>
                <a:avLst/>
                <a:gdLst>
                  <a:gd name="T0" fmla="*/ 67 w 67"/>
                  <a:gd name="T1" fmla="*/ 201 h 201"/>
                  <a:gd name="T2" fmla="*/ 45 w 67"/>
                  <a:gd name="T3" fmla="*/ 201 h 201"/>
                  <a:gd name="T4" fmla="*/ 45 w 67"/>
                  <a:gd name="T5" fmla="*/ 31 h 201"/>
                  <a:gd name="T6" fmla="*/ 37 w 67"/>
                  <a:gd name="T7" fmla="*/ 37 h 201"/>
                  <a:gd name="T8" fmla="*/ 26 w 67"/>
                  <a:gd name="T9" fmla="*/ 44 h 201"/>
                  <a:gd name="T10" fmla="*/ 13 w 67"/>
                  <a:gd name="T11" fmla="*/ 50 h 201"/>
                  <a:gd name="T12" fmla="*/ 0 w 67"/>
                  <a:gd name="T13" fmla="*/ 55 h 201"/>
                  <a:gd name="T14" fmla="*/ 0 w 67"/>
                  <a:gd name="T15" fmla="*/ 32 h 201"/>
                  <a:gd name="T16" fmla="*/ 15 w 67"/>
                  <a:gd name="T17" fmla="*/ 26 h 201"/>
                  <a:gd name="T18" fmla="*/ 31 w 67"/>
                  <a:gd name="T19" fmla="*/ 18 h 201"/>
                  <a:gd name="T20" fmla="*/ 47 w 67"/>
                  <a:gd name="T21" fmla="*/ 9 h 201"/>
                  <a:gd name="T22" fmla="*/ 59 w 67"/>
                  <a:gd name="T23" fmla="*/ 0 h 201"/>
                  <a:gd name="T24" fmla="*/ 67 w 67"/>
                  <a:gd name="T25" fmla="*/ 0 h 201"/>
                  <a:gd name="T26" fmla="*/ 67 w 67"/>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7" h="201">
                    <a:moveTo>
                      <a:pt x="67" y="201"/>
                    </a:moveTo>
                    <a:cubicBezTo>
                      <a:pt x="45" y="201"/>
                      <a:pt x="45" y="201"/>
                      <a:pt x="45" y="201"/>
                    </a:cubicBezTo>
                    <a:cubicBezTo>
                      <a:pt x="45" y="31"/>
                      <a:pt x="45" y="31"/>
                      <a:pt x="45" y="31"/>
                    </a:cubicBezTo>
                    <a:cubicBezTo>
                      <a:pt x="43" y="33"/>
                      <a:pt x="41" y="35"/>
                      <a:pt x="37" y="37"/>
                    </a:cubicBezTo>
                    <a:cubicBezTo>
                      <a:pt x="34" y="39"/>
                      <a:pt x="30" y="42"/>
                      <a:pt x="26" y="44"/>
                    </a:cubicBezTo>
                    <a:cubicBezTo>
                      <a:pt x="22" y="46"/>
                      <a:pt x="18" y="48"/>
                      <a:pt x="13" y="50"/>
                    </a:cubicBezTo>
                    <a:cubicBezTo>
                      <a:pt x="8" y="52"/>
                      <a:pt x="4" y="53"/>
                      <a:pt x="0" y="55"/>
                    </a:cubicBezTo>
                    <a:cubicBezTo>
                      <a:pt x="0" y="32"/>
                      <a:pt x="0" y="32"/>
                      <a:pt x="0" y="32"/>
                    </a:cubicBezTo>
                    <a:cubicBezTo>
                      <a:pt x="4" y="30"/>
                      <a:pt x="10" y="29"/>
                      <a:pt x="15" y="26"/>
                    </a:cubicBezTo>
                    <a:cubicBezTo>
                      <a:pt x="21" y="24"/>
                      <a:pt x="26" y="21"/>
                      <a:pt x="31" y="18"/>
                    </a:cubicBezTo>
                    <a:cubicBezTo>
                      <a:pt x="37" y="16"/>
                      <a:pt x="42" y="13"/>
                      <a:pt x="47" y="9"/>
                    </a:cubicBezTo>
                    <a:cubicBezTo>
                      <a:pt x="51" y="6"/>
                      <a:pt x="55" y="3"/>
                      <a:pt x="59" y="0"/>
                    </a:cubicBezTo>
                    <a:cubicBezTo>
                      <a:pt x="67" y="0"/>
                      <a:pt x="67" y="0"/>
                      <a:pt x="67" y="0"/>
                    </a:cubicBezTo>
                    <a:lnTo>
                      <a:pt x="67"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0" name="Freeform 107"/>
              <p:cNvSpPr>
                <a:spLocks noEditPoints="1"/>
              </p:cNvSpPr>
              <p:nvPr userDrawn="1"/>
            </p:nvSpPr>
            <p:spPr bwMode="auto">
              <a:xfrm>
                <a:off x="5477" y="3658"/>
                <a:ext cx="156" cy="248"/>
              </a:xfrm>
              <a:custGeom>
                <a:avLst/>
                <a:gdLst>
                  <a:gd name="T0" fmla="*/ 128 w 128"/>
                  <a:gd name="T1" fmla="*/ 101 h 203"/>
                  <a:gd name="T2" fmla="*/ 123 w 128"/>
                  <a:gd name="T3" fmla="*/ 144 h 203"/>
                  <a:gd name="T4" fmla="*/ 111 w 128"/>
                  <a:gd name="T5" fmla="*/ 176 h 203"/>
                  <a:gd name="T6" fmla="*/ 90 w 128"/>
                  <a:gd name="T7" fmla="*/ 196 h 203"/>
                  <a:gd name="T8" fmla="*/ 62 w 128"/>
                  <a:gd name="T9" fmla="*/ 203 h 203"/>
                  <a:gd name="T10" fmla="*/ 36 w 128"/>
                  <a:gd name="T11" fmla="*/ 197 h 203"/>
                  <a:gd name="T12" fmla="*/ 16 w 128"/>
                  <a:gd name="T13" fmla="*/ 178 h 203"/>
                  <a:gd name="T14" fmla="*/ 4 w 128"/>
                  <a:gd name="T15" fmla="*/ 147 h 203"/>
                  <a:gd name="T16" fmla="*/ 0 w 128"/>
                  <a:gd name="T17" fmla="*/ 106 h 203"/>
                  <a:gd name="T18" fmla="*/ 4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5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6" y="132"/>
                      <a:pt x="123" y="144"/>
                    </a:cubicBezTo>
                    <a:cubicBezTo>
                      <a:pt x="120" y="157"/>
                      <a:pt x="116" y="168"/>
                      <a:pt x="111" y="176"/>
                    </a:cubicBezTo>
                    <a:cubicBezTo>
                      <a:pt x="105" y="185"/>
                      <a:pt x="98" y="192"/>
                      <a:pt x="90" y="196"/>
                    </a:cubicBezTo>
                    <a:cubicBezTo>
                      <a:pt x="82" y="201"/>
                      <a:pt x="73" y="203"/>
                      <a:pt x="62" y="203"/>
                    </a:cubicBezTo>
                    <a:cubicBezTo>
                      <a:pt x="52" y="203"/>
                      <a:pt x="43" y="201"/>
                      <a:pt x="36" y="197"/>
                    </a:cubicBezTo>
                    <a:cubicBezTo>
                      <a:pt x="28" y="192"/>
                      <a:pt x="22" y="186"/>
                      <a:pt x="16" y="178"/>
                    </a:cubicBezTo>
                    <a:cubicBezTo>
                      <a:pt x="11" y="169"/>
                      <a:pt x="7" y="159"/>
                      <a:pt x="4" y="147"/>
                    </a:cubicBezTo>
                    <a:cubicBezTo>
                      <a:pt x="2" y="135"/>
                      <a:pt x="0" y="121"/>
                      <a:pt x="0" y="106"/>
                    </a:cubicBezTo>
                    <a:cubicBezTo>
                      <a:pt x="0" y="88"/>
                      <a:pt x="2" y="73"/>
                      <a:pt x="4" y="60"/>
                    </a:cubicBezTo>
                    <a:cubicBezTo>
                      <a:pt x="7" y="47"/>
                      <a:pt x="12" y="36"/>
                      <a:pt x="17" y="27"/>
                    </a:cubicBezTo>
                    <a:cubicBezTo>
                      <a:pt x="23" y="18"/>
                      <a:pt x="30" y="12"/>
                      <a:pt x="38" y="7"/>
                    </a:cubicBezTo>
                    <a:cubicBezTo>
                      <a:pt x="46" y="3"/>
                      <a:pt x="56" y="0"/>
                      <a:pt x="66" y="0"/>
                    </a:cubicBezTo>
                    <a:cubicBezTo>
                      <a:pt x="107" y="0"/>
                      <a:pt x="128" y="34"/>
                      <a:pt x="128" y="101"/>
                    </a:cubicBezTo>
                    <a:close/>
                    <a:moveTo>
                      <a:pt x="105" y="103"/>
                    </a:moveTo>
                    <a:cubicBezTo>
                      <a:pt x="105" y="47"/>
                      <a:pt x="92" y="19"/>
                      <a:pt x="65" y="19"/>
                    </a:cubicBezTo>
                    <a:cubicBezTo>
                      <a:pt x="37" y="19"/>
                      <a:pt x="23" y="48"/>
                      <a:pt x="23" y="105"/>
                    </a:cubicBezTo>
                    <a:cubicBezTo>
                      <a:pt x="23" y="157"/>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1" name="Freeform 108"/>
              <p:cNvSpPr>
                <a:spLocks/>
              </p:cNvSpPr>
              <p:nvPr userDrawn="1"/>
            </p:nvSpPr>
            <p:spPr bwMode="auto">
              <a:xfrm>
                <a:off x="5674" y="3657"/>
                <a:ext cx="83" cy="245"/>
              </a:xfrm>
              <a:custGeom>
                <a:avLst/>
                <a:gdLst>
                  <a:gd name="T0" fmla="*/ 68 w 68"/>
                  <a:gd name="T1" fmla="*/ 201 h 201"/>
                  <a:gd name="T2" fmla="*/ 46 w 68"/>
                  <a:gd name="T3" fmla="*/ 201 h 201"/>
                  <a:gd name="T4" fmla="*/ 46 w 68"/>
                  <a:gd name="T5" fmla="*/ 31 h 201"/>
                  <a:gd name="T6" fmla="*/ 38 w 68"/>
                  <a:gd name="T7" fmla="*/ 37 h 201"/>
                  <a:gd name="T8" fmla="*/ 27 w 68"/>
                  <a:gd name="T9" fmla="*/ 44 h 201"/>
                  <a:gd name="T10" fmla="*/ 14 w 68"/>
                  <a:gd name="T11" fmla="*/ 50 h 201"/>
                  <a:gd name="T12" fmla="*/ 0 w 68"/>
                  <a:gd name="T13" fmla="*/ 55 h 201"/>
                  <a:gd name="T14" fmla="*/ 0 w 68"/>
                  <a:gd name="T15" fmla="*/ 32 h 201"/>
                  <a:gd name="T16" fmla="*/ 16 w 68"/>
                  <a:gd name="T17" fmla="*/ 26 h 201"/>
                  <a:gd name="T18" fmla="*/ 32 w 68"/>
                  <a:gd name="T19" fmla="*/ 18 h 201"/>
                  <a:gd name="T20" fmla="*/ 47 w 68"/>
                  <a:gd name="T21" fmla="*/ 9 h 201"/>
                  <a:gd name="T22" fmla="*/ 60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6" y="201"/>
                      <a:pt x="46" y="201"/>
                      <a:pt x="46" y="201"/>
                    </a:cubicBezTo>
                    <a:cubicBezTo>
                      <a:pt x="46" y="31"/>
                      <a:pt x="46" y="31"/>
                      <a:pt x="46" y="31"/>
                    </a:cubicBezTo>
                    <a:cubicBezTo>
                      <a:pt x="44" y="33"/>
                      <a:pt x="41" y="35"/>
                      <a:pt x="38" y="37"/>
                    </a:cubicBezTo>
                    <a:cubicBezTo>
                      <a:pt x="35" y="39"/>
                      <a:pt x="31" y="42"/>
                      <a:pt x="27" y="44"/>
                    </a:cubicBezTo>
                    <a:cubicBezTo>
                      <a:pt x="23" y="46"/>
                      <a:pt x="18" y="48"/>
                      <a:pt x="14" y="50"/>
                    </a:cubicBezTo>
                    <a:cubicBezTo>
                      <a:pt x="9" y="52"/>
                      <a:pt x="5" y="53"/>
                      <a:pt x="0" y="55"/>
                    </a:cubicBezTo>
                    <a:cubicBezTo>
                      <a:pt x="0" y="32"/>
                      <a:pt x="0" y="32"/>
                      <a:pt x="0" y="32"/>
                    </a:cubicBezTo>
                    <a:cubicBezTo>
                      <a:pt x="5" y="30"/>
                      <a:pt x="10" y="29"/>
                      <a:pt x="16" y="26"/>
                    </a:cubicBezTo>
                    <a:cubicBezTo>
                      <a:pt x="21" y="24"/>
                      <a:pt x="27" y="21"/>
                      <a:pt x="32" y="18"/>
                    </a:cubicBezTo>
                    <a:cubicBezTo>
                      <a:pt x="38" y="16"/>
                      <a:pt x="43" y="13"/>
                      <a:pt x="47" y="9"/>
                    </a:cubicBezTo>
                    <a:cubicBezTo>
                      <a:pt x="52" y="6"/>
                      <a:pt x="56" y="3"/>
                      <a:pt x="60"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2" name="Freeform 109"/>
              <p:cNvSpPr>
                <a:spLocks/>
              </p:cNvSpPr>
              <p:nvPr userDrawn="1"/>
            </p:nvSpPr>
            <p:spPr bwMode="auto">
              <a:xfrm>
                <a:off x="5824" y="3657"/>
                <a:ext cx="83" cy="245"/>
              </a:xfrm>
              <a:custGeom>
                <a:avLst/>
                <a:gdLst>
                  <a:gd name="T0" fmla="*/ 68 w 68"/>
                  <a:gd name="T1" fmla="*/ 201 h 201"/>
                  <a:gd name="T2" fmla="*/ 45 w 68"/>
                  <a:gd name="T3" fmla="*/ 201 h 201"/>
                  <a:gd name="T4" fmla="*/ 45 w 68"/>
                  <a:gd name="T5" fmla="*/ 31 h 201"/>
                  <a:gd name="T6" fmla="*/ 38 w 68"/>
                  <a:gd name="T7" fmla="*/ 37 h 201"/>
                  <a:gd name="T8" fmla="*/ 26 w 68"/>
                  <a:gd name="T9" fmla="*/ 44 h 201"/>
                  <a:gd name="T10" fmla="*/ 13 w 68"/>
                  <a:gd name="T11" fmla="*/ 50 h 201"/>
                  <a:gd name="T12" fmla="*/ 0 w 68"/>
                  <a:gd name="T13" fmla="*/ 55 h 201"/>
                  <a:gd name="T14" fmla="*/ 0 w 68"/>
                  <a:gd name="T15" fmla="*/ 32 h 201"/>
                  <a:gd name="T16" fmla="*/ 15 w 68"/>
                  <a:gd name="T17" fmla="*/ 26 h 201"/>
                  <a:gd name="T18" fmla="*/ 32 w 68"/>
                  <a:gd name="T19" fmla="*/ 18 h 201"/>
                  <a:gd name="T20" fmla="*/ 47 w 68"/>
                  <a:gd name="T21" fmla="*/ 9 h 201"/>
                  <a:gd name="T22" fmla="*/ 59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5" y="201"/>
                      <a:pt x="45" y="201"/>
                      <a:pt x="45" y="201"/>
                    </a:cubicBezTo>
                    <a:cubicBezTo>
                      <a:pt x="45" y="31"/>
                      <a:pt x="45" y="31"/>
                      <a:pt x="45" y="31"/>
                    </a:cubicBezTo>
                    <a:cubicBezTo>
                      <a:pt x="43" y="33"/>
                      <a:pt x="41" y="35"/>
                      <a:pt x="38" y="37"/>
                    </a:cubicBezTo>
                    <a:cubicBezTo>
                      <a:pt x="34" y="39"/>
                      <a:pt x="31" y="42"/>
                      <a:pt x="26" y="44"/>
                    </a:cubicBezTo>
                    <a:cubicBezTo>
                      <a:pt x="22" y="46"/>
                      <a:pt x="18" y="48"/>
                      <a:pt x="13" y="50"/>
                    </a:cubicBezTo>
                    <a:cubicBezTo>
                      <a:pt x="9" y="52"/>
                      <a:pt x="4" y="53"/>
                      <a:pt x="0" y="55"/>
                    </a:cubicBezTo>
                    <a:cubicBezTo>
                      <a:pt x="0" y="32"/>
                      <a:pt x="0" y="32"/>
                      <a:pt x="0" y="32"/>
                    </a:cubicBezTo>
                    <a:cubicBezTo>
                      <a:pt x="5" y="30"/>
                      <a:pt x="10" y="29"/>
                      <a:pt x="15" y="26"/>
                    </a:cubicBezTo>
                    <a:cubicBezTo>
                      <a:pt x="21" y="24"/>
                      <a:pt x="26" y="21"/>
                      <a:pt x="32" y="18"/>
                    </a:cubicBezTo>
                    <a:cubicBezTo>
                      <a:pt x="37" y="16"/>
                      <a:pt x="42" y="13"/>
                      <a:pt x="47" y="9"/>
                    </a:cubicBezTo>
                    <a:cubicBezTo>
                      <a:pt x="52" y="6"/>
                      <a:pt x="56" y="3"/>
                      <a:pt x="59"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3" name="Freeform 110"/>
              <p:cNvSpPr>
                <a:spLocks noEditPoints="1"/>
              </p:cNvSpPr>
              <p:nvPr userDrawn="1"/>
            </p:nvSpPr>
            <p:spPr bwMode="auto">
              <a:xfrm>
                <a:off x="5972" y="3658"/>
                <a:ext cx="156" cy="248"/>
              </a:xfrm>
              <a:custGeom>
                <a:avLst/>
                <a:gdLst>
                  <a:gd name="T0" fmla="*/ 128 w 128"/>
                  <a:gd name="T1" fmla="*/ 101 h 203"/>
                  <a:gd name="T2" fmla="*/ 124 w 128"/>
                  <a:gd name="T3" fmla="*/ 144 h 203"/>
                  <a:gd name="T4" fmla="*/ 111 w 128"/>
                  <a:gd name="T5" fmla="*/ 176 h 203"/>
                  <a:gd name="T6" fmla="*/ 90 w 128"/>
                  <a:gd name="T7" fmla="*/ 196 h 203"/>
                  <a:gd name="T8" fmla="*/ 62 w 128"/>
                  <a:gd name="T9" fmla="*/ 203 h 203"/>
                  <a:gd name="T10" fmla="*/ 36 w 128"/>
                  <a:gd name="T11" fmla="*/ 197 h 203"/>
                  <a:gd name="T12" fmla="*/ 17 w 128"/>
                  <a:gd name="T13" fmla="*/ 178 h 203"/>
                  <a:gd name="T14" fmla="*/ 5 w 128"/>
                  <a:gd name="T15" fmla="*/ 147 h 203"/>
                  <a:gd name="T16" fmla="*/ 0 w 128"/>
                  <a:gd name="T17" fmla="*/ 106 h 203"/>
                  <a:gd name="T18" fmla="*/ 5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5 h 203"/>
                  <a:gd name="T34" fmla="*/ 65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7" y="132"/>
                      <a:pt x="124" y="144"/>
                    </a:cubicBezTo>
                    <a:cubicBezTo>
                      <a:pt x="121" y="157"/>
                      <a:pt x="116" y="168"/>
                      <a:pt x="111" y="176"/>
                    </a:cubicBezTo>
                    <a:cubicBezTo>
                      <a:pt x="105" y="185"/>
                      <a:pt x="98" y="192"/>
                      <a:pt x="90" y="196"/>
                    </a:cubicBezTo>
                    <a:cubicBezTo>
                      <a:pt x="82" y="201"/>
                      <a:pt x="73" y="203"/>
                      <a:pt x="62" y="203"/>
                    </a:cubicBezTo>
                    <a:cubicBezTo>
                      <a:pt x="53" y="203"/>
                      <a:pt x="44" y="201"/>
                      <a:pt x="36" y="197"/>
                    </a:cubicBezTo>
                    <a:cubicBezTo>
                      <a:pt x="28" y="192"/>
                      <a:pt x="22" y="186"/>
                      <a:pt x="17" y="178"/>
                    </a:cubicBezTo>
                    <a:cubicBezTo>
                      <a:pt x="11" y="169"/>
                      <a:pt x="7" y="159"/>
                      <a:pt x="5" y="147"/>
                    </a:cubicBezTo>
                    <a:cubicBezTo>
                      <a:pt x="2" y="135"/>
                      <a:pt x="0" y="121"/>
                      <a:pt x="0" y="106"/>
                    </a:cubicBezTo>
                    <a:cubicBezTo>
                      <a:pt x="0" y="88"/>
                      <a:pt x="2" y="73"/>
                      <a:pt x="5" y="60"/>
                    </a:cubicBezTo>
                    <a:cubicBezTo>
                      <a:pt x="8" y="47"/>
                      <a:pt x="12" y="36"/>
                      <a:pt x="17" y="27"/>
                    </a:cubicBezTo>
                    <a:cubicBezTo>
                      <a:pt x="23" y="18"/>
                      <a:pt x="30" y="12"/>
                      <a:pt x="38" y="7"/>
                    </a:cubicBezTo>
                    <a:cubicBezTo>
                      <a:pt x="46" y="3"/>
                      <a:pt x="56" y="0"/>
                      <a:pt x="66" y="0"/>
                    </a:cubicBezTo>
                    <a:cubicBezTo>
                      <a:pt x="108" y="0"/>
                      <a:pt x="128" y="34"/>
                      <a:pt x="128" y="101"/>
                    </a:cubicBezTo>
                    <a:close/>
                    <a:moveTo>
                      <a:pt x="105" y="103"/>
                    </a:moveTo>
                    <a:cubicBezTo>
                      <a:pt x="105" y="47"/>
                      <a:pt x="92" y="19"/>
                      <a:pt x="65" y="19"/>
                    </a:cubicBezTo>
                    <a:cubicBezTo>
                      <a:pt x="37" y="19"/>
                      <a:pt x="23" y="48"/>
                      <a:pt x="23" y="105"/>
                    </a:cubicBezTo>
                    <a:cubicBezTo>
                      <a:pt x="23" y="157"/>
                      <a:pt x="37" y="184"/>
                      <a:pt x="65" y="184"/>
                    </a:cubicBezTo>
                    <a:cubicBezTo>
                      <a:pt x="92"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4" name="Freeform 111"/>
              <p:cNvSpPr>
                <a:spLocks noEditPoints="1"/>
              </p:cNvSpPr>
              <p:nvPr userDrawn="1"/>
            </p:nvSpPr>
            <p:spPr bwMode="auto">
              <a:xfrm>
                <a:off x="6167" y="3658"/>
                <a:ext cx="156" cy="248"/>
              </a:xfrm>
              <a:custGeom>
                <a:avLst/>
                <a:gdLst>
                  <a:gd name="T0" fmla="*/ 128 w 128"/>
                  <a:gd name="T1" fmla="*/ 101 h 203"/>
                  <a:gd name="T2" fmla="*/ 124 w 128"/>
                  <a:gd name="T3" fmla="*/ 144 h 203"/>
                  <a:gd name="T4" fmla="*/ 111 w 128"/>
                  <a:gd name="T5" fmla="*/ 176 h 203"/>
                  <a:gd name="T6" fmla="*/ 90 w 128"/>
                  <a:gd name="T7" fmla="*/ 196 h 203"/>
                  <a:gd name="T8" fmla="*/ 62 w 128"/>
                  <a:gd name="T9" fmla="*/ 203 h 203"/>
                  <a:gd name="T10" fmla="*/ 36 w 128"/>
                  <a:gd name="T11" fmla="*/ 197 h 203"/>
                  <a:gd name="T12" fmla="*/ 17 w 128"/>
                  <a:gd name="T13" fmla="*/ 178 h 203"/>
                  <a:gd name="T14" fmla="*/ 5 w 128"/>
                  <a:gd name="T15" fmla="*/ 147 h 203"/>
                  <a:gd name="T16" fmla="*/ 0 w 128"/>
                  <a:gd name="T17" fmla="*/ 106 h 203"/>
                  <a:gd name="T18" fmla="*/ 5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5 h 203"/>
                  <a:gd name="T34" fmla="*/ 65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7" y="132"/>
                      <a:pt x="124" y="144"/>
                    </a:cubicBezTo>
                    <a:cubicBezTo>
                      <a:pt x="121" y="157"/>
                      <a:pt x="116" y="168"/>
                      <a:pt x="111" y="176"/>
                    </a:cubicBezTo>
                    <a:cubicBezTo>
                      <a:pt x="105" y="185"/>
                      <a:pt x="98" y="192"/>
                      <a:pt x="90" y="196"/>
                    </a:cubicBezTo>
                    <a:cubicBezTo>
                      <a:pt x="82" y="201"/>
                      <a:pt x="73" y="203"/>
                      <a:pt x="62" y="203"/>
                    </a:cubicBezTo>
                    <a:cubicBezTo>
                      <a:pt x="52" y="203"/>
                      <a:pt x="44" y="201"/>
                      <a:pt x="36" y="197"/>
                    </a:cubicBezTo>
                    <a:cubicBezTo>
                      <a:pt x="28" y="192"/>
                      <a:pt x="22" y="186"/>
                      <a:pt x="17" y="178"/>
                    </a:cubicBezTo>
                    <a:cubicBezTo>
                      <a:pt x="11" y="169"/>
                      <a:pt x="7" y="159"/>
                      <a:pt x="5" y="147"/>
                    </a:cubicBezTo>
                    <a:cubicBezTo>
                      <a:pt x="2" y="135"/>
                      <a:pt x="0" y="121"/>
                      <a:pt x="0" y="106"/>
                    </a:cubicBezTo>
                    <a:cubicBezTo>
                      <a:pt x="0" y="88"/>
                      <a:pt x="2" y="73"/>
                      <a:pt x="5" y="60"/>
                    </a:cubicBezTo>
                    <a:cubicBezTo>
                      <a:pt x="8" y="47"/>
                      <a:pt x="12" y="36"/>
                      <a:pt x="17" y="27"/>
                    </a:cubicBezTo>
                    <a:cubicBezTo>
                      <a:pt x="23" y="18"/>
                      <a:pt x="30" y="12"/>
                      <a:pt x="38" y="7"/>
                    </a:cubicBezTo>
                    <a:cubicBezTo>
                      <a:pt x="46" y="3"/>
                      <a:pt x="56" y="0"/>
                      <a:pt x="66" y="0"/>
                    </a:cubicBezTo>
                    <a:cubicBezTo>
                      <a:pt x="108" y="0"/>
                      <a:pt x="128" y="34"/>
                      <a:pt x="128" y="101"/>
                    </a:cubicBezTo>
                    <a:close/>
                    <a:moveTo>
                      <a:pt x="105" y="103"/>
                    </a:moveTo>
                    <a:cubicBezTo>
                      <a:pt x="105" y="47"/>
                      <a:pt x="92" y="19"/>
                      <a:pt x="65" y="19"/>
                    </a:cubicBezTo>
                    <a:cubicBezTo>
                      <a:pt x="37" y="19"/>
                      <a:pt x="23" y="48"/>
                      <a:pt x="23" y="105"/>
                    </a:cubicBezTo>
                    <a:cubicBezTo>
                      <a:pt x="23" y="157"/>
                      <a:pt x="37" y="184"/>
                      <a:pt x="65" y="184"/>
                    </a:cubicBezTo>
                    <a:cubicBezTo>
                      <a:pt x="92"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5" name="Freeform 112"/>
              <p:cNvSpPr>
                <a:spLocks noEditPoints="1"/>
              </p:cNvSpPr>
              <p:nvPr userDrawn="1"/>
            </p:nvSpPr>
            <p:spPr bwMode="auto">
              <a:xfrm>
                <a:off x="6362" y="3658"/>
                <a:ext cx="156" cy="248"/>
              </a:xfrm>
              <a:custGeom>
                <a:avLst/>
                <a:gdLst>
                  <a:gd name="T0" fmla="*/ 128 w 128"/>
                  <a:gd name="T1" fmla="*/ 101 h 203"/>
                  <a:gd name="T2" fmla="*/ 124 w 128"/>
                  <a:gd name="T3" fmla="*/ 144 h 203"/>
                  <a:gd name="T4" fmla="*/ 111 w 128"/>
                  <a:gd name="T5" fmla="*/ 176 h 203"/>
                  <a:gd name="T6" fmla="*/ 90 w 128"/>
                  <a:gd name="T7" fmla="*/ 196 h 203"/>
                  <a:gd name="T8" fmla="*/ 62 w 128"/>
                  <a:gd name="T9" fmla="*/ 203 h 203"/>
                  <a:gd name="T10" fmla="*/ 36 w 128"/>
                  <a:gd name="T11" fmla="*/ 197 h 203"/>
                  <a:gd name="T12" fmla="*/ 17 w 128"/>
                  <a:gd name="T13" fmla="*/ 178 h 203"/>
                  <a:gd name="T14" fmla="*/ 4 w 128"/>
                  <a:gd name="T15" fmla="*/ 147 h 203"/>
                  <a:gd name="T16" fmla="*/ 0 w 128"/>
                  <a:gd name="T17" fmla="*/ 106 h 203"/>
                  <a:gd name="T18" fmla="*/ 5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5 h 203"/>
                  <a:gd name="T34" fmla="*/ 65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7" y="132"/>
                      <a:pt x="124" y="144"/>
                    </a:cubicBezTo>
                    <a:cubicBezTo>
                      <a:pt x="121" y="157"/>
                      <a:pt x="116" y="168"/>
                      <a:pt x="111" y="176"/>
                    </a:cubicBezTo>
                    <a:cubicBezTo>
                      <a:pt x="105" y="185"/>
                      <a:pt x="98" y="192"/>
                      <a:pt x="90" y="196"/>
                    </a:cubicBezTo>
                    <a:cubicBezTo>
                      <a:pt x="82" y="201"/>
                      <a:pt x="73" y="203"/>
                      <a:pt x="62" y="203"/>
                    </a:cubicBezTo>
                    <a:cubicBezTo>
                      <a:pt x="52" y="203"/>
                      <a:pt x="44" y="201"/>
                      <a:pt x="36" y="197"/>
                    </a:cubicBezTo>
                    <a:cubicBezTo>
                      <a:pt x="28" y="192"/>
                      <a:pt x="22" y="186"/>
                      <a:pt x="17" y="178"/>
                    </a:cubicBezTo>
                    <a:cubicBezTo>
                      <a:pt x="11" y="169"/>
                      <a:pt x="7" y="159"/>
                      <a:pt x="4" y="147"/>
                    </a:cubicBezTo>
                    <a:cubicBezTo>
                      <a:pt x="2" y="135"/>
                      <a:pt x="0" y="121"/>
                      <a:pt x="0" y="106"/>
                    </a:cubicBezTo>
                    <a:cubicBezTo>
                      <a:pt x="0" y="88"/>
                      <a:pt x="2" y="73"/>
                      <a:pt x="5" y="60"/>
                    </a:cubicBezTo>
                    <a:cubicBezTo>
                      <a:pt x="8" y="47"/>
                      <a:pt x="12" y="36"/>
                      <a:pt x="17" y="27"/>
                    </a:cubicBezTo>
                    <a:cubicBezTo>
                      <a:pt x="23" y="18"/>
                      <a:pt x="30" y="12"/>
                      <a:pt x="38" y="7"/>
                    </a:cubicBezTo>
                    <a:cubicBezTo>
                      <a:pt x="46" y="3"/>
                      <a:pt x="56" y="0"/>
                      <a:pt x="66" y="0"/>
                    </a:cubicBezTo>
                    <a:cubicBezTo>
                      <a:pt x="108" y="0"/>
                      <a:pt x="128" y="34"/>
                      <a:pt x="128" y="101"/>
                    </a:cubicBezTo>
                    <a:close/>
                    <a:moveTo>
                      <a:pt x="105" y="103"/>
                    </a:moveTo>
                    <a:cubicBezTo>
                      <a:pt x="105" y="47"/>
                      <a:pt x="92" y="19"/>
                      <a:pt x="65" y="19"/>
                    </a:cubicBezTo>
                    <a:cubicBezTo>
                      <a:pt x="37" y="19"/>
                      <a:pt x="23" y="48"/>
                      <a:pt x="23" y="105"/>
                    </a:cubicBezTo>
                    <a:cubicBezTo>
                      <a:pt x="23" y="157"/>
                      <a:pt x="37" y="184"/>
                      <a:pt x="65" y="184"/>
                    </a:cubicBezTo>
                    <a:cubicBezTo>
                      <a:pt x="92"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6" name="Freeform 113"/>
              <p:cNvSpPr>
                <a:spLocks noEditPoints="1"/>
              </p:cNvSpPr>
              <p:nvPr userDrawn="1"/>
            </p:nvSpPr>
            <p:spPr bwMode="auto">
              <a:xfrm>
                <a:off x="6557" y="3658"/>
                <a:ext cx="156" cy="248"/>
              </a:xfrm>
              <a:custGeom>
                <a:avLst/>
                <a:gdLst>
                  <a:gd name="T0" fmla="*/ 128 w 128"/>
                  <a:gd name="T1" fmla="*/ 101 h 203"/>
                  <a:gd name="T2" fmla="*/ 124 w 128"/>
                  <a:gd name="T3" fmla="*/ 144 h 203"/>
                  <a:gd name="T4" fmla="*/ 111 w 128"/>
                  <a:gd name="T5" fmla="*/ 176 h 203"/>
                  <a:gd name="T6" fmla="*/ 90 w 128"/>
                  <a:gd name="T7" fmla="*/ 196 h 203"/>
                  <a:gd name="T8" fmla="*/ 62 w 128"/>
                  <a:gd name="T9" fmla="*/ 203 h 203"/>
                  <a:gd name="T10" fmla="*/ 36 w 128"/>
                  <a:gd name="T11" fmla="*/ 197 h 203"/>
                  <a:gd name="T12" fmla="*/ 17 w 128"/>
                  <a:gd name="T13" fmla="*/ 178 h 203"/>
                  <a:gd name="T14" fmla="*/ 4 w 128"/>
                  <a:gd name="T15" fmla="*/ 147 h 203"/>
                  <a:gd name="T16" fmla="*/ 0 w 128"/>
                  <a:gd name="T17" fmla="*/ 106 h 203"/>
                  <a:gd name="T18" fmla="*/ 5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5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7" y="132"/>
                      <a:pt x="124" y="144"/>
                    </a:cubicBezTo>
                    <a:cubicBezTo>
                      <a:pt x="121" y="157"/>
                      <a:pt x="116" y="168"/>
                      <a:pt x="111" y="176"/>
                    </a:cubicBezTo>
                    <a:cubicBezTo>
                      <a:pt x="105" y="185"/>
                      <a:pt x="98" y="192"/>
                      <a:pt x="90" y="196"/>
                    </a:cubicBezTo>
                    <a:cubicBezTo>
                      <a:pt x="82" y="201"/>
                      <a:pt x="73" y="203"/>
                      <a:pt x="62" y="203"/>
                    </a:cubicBezTo>
                    <a:cubicBezTo>
                      <a:pt x="52" y="203"/>
                      <a:pt x="44" y="201"/>
                      <a:pt x="36" y="197"/>
                    </a:cubicBezTo>
                    <a:cubicBezTo>
                      <a:pt x="28" y="192"/>
                      <a:pt x="22" y="186"/>
                      <a:pt x="17" y="178"/>
                    </a:cubicBezTo>
                    <a:cubicBezTo>
                      <a:pt x="11" y="169"/>
                      <a:pt x="7" y="159"/>
                      <a:pt x="4" y="147"/>
                    </a:cubicBezTo>
                    <a:cubicBezTo>
                      <a:pt x="2" y="135"/>
                      <a:pt x="0" y="121"/>
                      <a:pt x="0" y="106"/>
                    </a:cubicBezTo>
                    <a:cubicBezTo>
                      <a:pt x="0" y="88"/>
                      <a:pt x="2" y="73"/>
                      <a:pt x="5" y="60"/>
                    </a:cubicBezTo>
                    <a:cubicBezTo>
                      <a:pt x="8" y="47"/>
                      <a:pt x="12" y="36"/>
                      <a:pt x="17" y="27"/>
                    </a:cubicBezTo>
                    <a:cubicBezTo>
                      <a:pt x="23" y="18"/>
                      <a:pt x="30" y="12"/>
                      <a:pt x="38" y="7"/>
                    </a:cubicBezTo>
                    <a:cubicBezTo>
                      <a:pt x="46" y="3"/>
                      <a:pt x="56" y="0"/>
                      <a:pt x="66" y="0"/>
                    </a:cubicBezTo>
                    <a:cubicBezTo>
                      <a:pt x="108" y="0"/>
                      <a:pt x="128" y="34"/>
                      <a:pt x="128" y="101"/>
                    </a:cubicBezTo>
                    <a:close/>
                    <a:moveTo>
                      <a:pt x="105" y="103"/>
                    </a:moveTo>
                    <a:cubicBezTo>
                      <a:pt x="105" y="47"/>
                      <a:pt x="92" y="19"/>
                      <a:pt x="65" y="19"/>
                    </a:cubicBezTo>
                    <a:cubicBezTo>
                      <a:pt x="37" y="19"/>
                      <a:pt x="23" y="48"/>
                      <a:pt x="23" y="105"/>
                    </a:cubicBezTo>
                    <a:cubicBezTo>
                      <a:pt x="23" y="157"/>
                      <a:pt x="37" y="184"/>
                      <a:pt x="64" y="184"/>
                    </a:cubicBezTo>
                    <a:cubicBezTo>
                      <a:pt x="92"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7" name="Freeform 114"/>
              <p:cNvSpPr>
                <a:spLocks/>
              </p:cNvSpPr>
              <p:nvPr userDrawn="1"/>
            </p:nvSpPr>
            <p:spPr bwMode="auto">
              <a:xfrm>
                <a:off x="6754" y="3657"/>
                <a:ext cx="83" cy="245"/>
              </a:xfrm>
              <a:custGeom>
                <a:avLst/>
                <a:gdLst>
                  <a:gd name="T0" fmla="*/ 68 w 68"/>
                  <a:gd name="T1" fmla="*/ 201 h 201"/>
                  <a:gd name="T2" fmla="*/ 46 w 68"/>
                  <a:gd name="T3" fmla="*/ 201 h 201"/>
                  <a:gd name="T4" fmla="*/ 46 w 68"/>
                  <a:gd name="T5" fmla="*/ 31 h 201"/>
                  <a:gd name="T6" fmla="*/ 38 w 68"/>
                  <a:gd name="T7" fmla="*/ 37 h 201"/>
                  <a:gd name="T8" fmla="*/ 27 w 68"/>
                  <a:gd name="T9" fmla="*/ 44 h 201"/>
                  <a:gd name="T10" fmla="*/ 14 w 68"/>
                  <a:gd name="T11" fmla="*/ 50 h 201"/>
                  <a:gd name="T12" fmla="*/ 0 w 68"/>
                  <a:gd name="T13" fmla="*/ 55 h 201"/>
                  <a:gd name="T14" fmla="*/ 0 w 68"/>
                  <a:gd name="T15" fmla="*/ 32 h 201"/>
                  <a:gd name="T16" fmla="*/ 16 w 68"/>
                  <a:gd name="T17" fmla="*/ 26 h 201"/>
                  <a:gd name="T18" fmla="*/ 32 w 68"/>
                  <a:gd name="T19" fmla="*/ 18 h 201"/>
                  <a:gd name="T20" fmla="*/ 47 w 68"/>
                  <a:gd name="T21" fmla="*/ 9 h 201"/>
                  <a:gd name="T22" fmla="*/ 60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6" y="201"/>
                      <a:pt x="46" y="201"/>
                      <a:pt x="46" y="201"/>
                    </a:cubicBezTo>
                    <a:cubicBezTo>
                      <a:pt x="46" y="31"/>
                      <a:pt x="46" y="31"/>
                      <a:pt x="46" y="31"/>
                    </a:cubicBezTo>
                    <a:cubicBezTo>
                      <a:pt x="44" y="33"/>
                      <a:pt x="42" y="35"/>
                      <a:pt x="38" y="37"/>
                    </a:cubicBezTo>
                    <a:cubicBezTo>
                      <a:pt x="35" y="39"/>
                      <a:pt x="31" y="42"/>
                      <a:pt x="27" y="44"/>
                    </a:cubicBezTo>
                    <a:cubicBezTo>
                      <a:pt x="23" y="46"/>
                      <a:pt x="19" y="48"/>
                      <a:pt x="14" y="50"/>
                    </a:cubicBezTo>
                    <a:cubicBezTo>
                      <a:pt x="9" y="52"/>
                      <a:pt x="5" y="53"/>
                      <a:pt x="0" y="55"/>
                    </a:cubicBezTo>
                    <a:cubicBezTo>
                      <a:pt x="0" y="32"/>
                      <a:pt x="0" y="32"/>
                      <a:pt x="0" y="32"/>
                    </a:cubicBezTo>
                    <a:cubicBezTo>
                      <a:pt x="5" y="30"/>
                      <a:pt x="11" y="29"/>
                      <a:pt x="16" y="26"/>
                    </a:cubicBezTo>
                    <a:cubicBezTo>
                      <a:pt x="22" y="24"/>
                      <a:pt x="27" y="21"/>
                      <a:pt x="32" y="18"/>
                    </a:cubicBezTo>
                    <a:cubicBezTo>
                      <a:pt x="38" y="16"/>
                      <a:pt x="43" y="13"/>
                      <a:pt x="47" y="9"/>
                    </a:cubicBezTo>
                    <a:cubicBezTo>
                      <a:pt x="52" y="6"/>
                      <a:pt x="56" y="3"/>
                      <a:pt x="60"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8" name="Freeform 115"/>
              <p:cNvSpPr>
                <a:spLocks/>
              </p:cNvSpPr>
              <p:nvPr userDrawn="1"/>
            </p:nvSpPr>
            <p:spPr bwMode="auto">
              <a:xfrm>
                <a:off x="6897" y="3663"/>
                <a:ext cx="77" cy="293"/>
              </a:xfrm>
              <a:custGeom>
                <a:avLst/>
                <a:gdLst>
                  <a:gd name="T0" fmla="*/ 63 w 63"/>
                  <a:gd name="T1" fmla="*/ 240 h 240"/>
                  <a:gd name="T2" fmla="*/ 21 w 63"/>
                  <a:gd name="T3" fmla="*/ 198 h 240"/>
                  <a:gd name="T4" fmla="*/ 21 w 63"/>
                  <a:gd name="T5" fmla="*/ 157 h 240"/>
                  <a:gd name="T6" fmla="*/ 0 w 63"/>
                  <a:gd name="T7" fmla="*/ 128 h 240"/>
                  <a:gd name="T8" fmla="*/ 0 w 63"/>
                  <a:gd name="T9" fmla="*/ 112 h 240"/>
                  <a:gd name="T10" fmla="*/ 21 w 63"/>
                  <a:gd name="T11" fmla="*/ 82 h 240"/>
                  <a:gd name="T12" fmla="*/ 21 w 63"/>
                  <a:gd name="T13" fmla="*/ 43 h 240"/>
                  <a:gd name="T14" fmla="*/ 63 w 63"/>
                  <a:gd name="T15" fmla="*/ 0 h 240"/>
                  <a:gd name="T16" fmla="*/ 63 w 63"/>
                  <a:gd name="T17" fmla="*/ 17 h 240"/>
                  <a:gd name="T18" fmla="*/ 42 w 63"/>
                  <a:gd name="T19" fmla="*/ 44 h 240"/>
                  <a:gd name="T20" fmla="*/ 42 w 63"/>
                  <a:gd name="T21" fmla="*/ 84 h 240"/>
                  <a:gd name="T22" fmla="*/ 21 w 63"/>
                  <a:gd name="T23" fmla="*/ 120 h 240"/>
                  <a:gd name="T24" fmla="*/ 21 w 63"/>
                  <a:gd name="T25" fmla="*/ 120 h 240"/>
                  <a:gd name="T26" fmla="*/ 42 w 63"/>
                  <a:gd name="T27" fmla="*/ 155 h 240"/>
                  <a:gd name="T28" fmla="*/ 42 w 63"/>
                  <a:gd name="T29" fmla="*/ 195 h 240"/>
                  <a:gd name="T30" fmla="*/ 46 w 63"/>
                  <a:gd name="T31" fmla="*/ 216 h 240"/>
                  <a:gd name="T32" fmla="*/ 63 w 63"/>
                  <a:gd name="T33" fmla="*/ 223 h 240"/>
                  <a:gd name="T34" fmla="*/ 63 w 63"/>
                  <a:gd name="T35" fmla="*/ 240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3" h="240">
                    <a:moveTo>
                      <a:pt x="63" y="240"/>
                    </a:moveTo>
                    <a:cubicBezTo>
                      <a:pt x="35" y="240"/>
                      <a:pt x="21" y="226"/>
                      <a:pt x="21" y="198"/>
                    </a:cubicBezTo>
                    <a:cubicBezTo>
                      <a:pt x="21" y="157"/>
                      <a:pt x="21" y="157"/>
                      <a:pt x="21" y="157"/>
                    </a:cubicBezTo>
                    <a:cubicBezTo>
                      <a:pt x="21" y="138"/>
                      <a:pt x="14" y="129"/>
                      <a:pt x="0" y="128"/>
                    </a:cubicBezTo>
                    <a:cubicBezTo>
                      <a:pt x="0" y="112"/>
                      <a:pt x="0" y="112"/>
                      <a:pt x="0" y="112"/>
                    </a:cubicBezTo>
                    <a:cubicBezTo>
                      <a:pt x="14" y="111"/>
                      <a:pt x="21" y="101"/>
                      <a:pt x="21" y="82"/>
                    </a:cubicBezTo>
                    <a:cubicBezTo>
                      <a:pt x="21" y="43"/>
                      <a:pt x="21" y="43"/>
                      <a:pt x="21" y="43"/>
                    </a:cubicBezTo>
                    <a:cubicBezTo>
                      <a:pt x="21" y="14"/>
                      <a:pt x="35" y="0"/>
                      <a:pt x="63" y="0"/>
                    </a:cubicBezTo>
                    <a:cubicBezTo>
                      <a:pt x="63" y="17"/>
                      <a:pt x="63" y="17"/>
                      <a:pt x="63" y="17"/>
                    </a:cubicBezTo>
                    <a:cubicBezTo>
                      <a:pt x="49" y="17"/>
                      <a:pt x="42" y="26"/>
                      <a:pt x="42" y="44"/>
                    </a:cubicBezTo>
                    <a:cubicBezTo>
                      <a:pt x="42" y="84"/>
                      <a:pt x="42" y="84"/>
                      <a:pt x="42" y="84"/>
                    </a:cubicBezTo>
                    <a:cubicBezTo>
                      <a:pt x="42" y="103"/>
                      <a:pt x="35" y="115"/>
                      <a:pt x="21" y="120"/>
                    </a:cubicBezTo>
                    <a:cubicBezTo>
                      <a:pt x="21" y="120"/>
                      <a:pt x="21" y="120"/>
                      <a:pt x="21" y="120"/>
                    </a:cubicBezTo>
                    <a:cubicBezTo>
                      <a:pt x="35" y="124"/>
                      <a:pt x="42" y="136"/>
                      <a:pt x="42" y="155"/>
                    </a:cubicBezTo>
                    <a:cubicBezTo>
                      <a:pt x="42" y="195"/>
                      <a:pt x="42" y="195"/>
                      <a:pt x="42" y="195"/>
                    </a:cubicBezTo>
                    <a:cubicBezTo>
                      <a:pt x="42" y="205"/>
                      <a:pt x="43" y="212"/>
                      <a:pt x="46" y="216"/>
                    </a:cubicBezTo>
                    <a:cubicBezTo>
                      <a:pt x="50" y="221"/>
                      <a:pt x="55" y="223"/>
                      <a:pt x="63" y="223"/>
                    </a:cubicBezTo>
                    <a:lnTo>
                      <a:pt x="63" y="2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9" name="Freeform 116"/>
              <p:cNvSpPr>
                <a:spLocks/>
              </p:cNvSpPr>
              <p:nvPr userDrawn="1"/>
            </p:nvSpPr>
            <p:spPr bwMode="auto">
              <a:xfrm>
                <a:off x="7004" y="3663"/>
                <a:ext cx="78" cy="293"/>
              </a:xfrm>
              <a:custGeom>
                <a:avLst/>
                <a:gdLst>
                  <a:gd name="T0" fmla="*/ 64 w 64"/>
                  <a:gd name="T1" fmla="*/ 128 h 240"/>
                  <a:gd name="T2" fmla="*/ 42 w 64"/>
                  <a:gd name="T3" fmla="*/ 157 h 240"/>
                  <a:gd name="T4" fmla="*/ 42 w 64"/>
                  <a:gd name="T5" fmla="*/ 198 h 240"/>
                  <a:gd name="T6" fmla="*/ 0 w 64"/>
                  <a:gd name="T7" fmla="*/ 240 h 240"/>
                  <a:gd name="T8" fmla="*/ 0 w 64"/>
                  <a:gd name="T9" fmla="*/ 223 h 240"/>
                  <a:gd name="T10" fmla="*/ 17 w 64"/>
                  <a:gd name="T11" fmla="*/ 216 h 240"/>
                  <a:gd name="T12" fmla="*/ 22 w 64"/>
                  <a:gd name="T13" fmla="*/ 195 h 240"/>
                  <a:gd name="T14" fmla="*/ 22 w 64"/>
                  <a:gd name="T15" fmla="*/ 155 h 240"/>
                  <a:gd name="T16" fmla="*/ 43 w 64"/>
                  <a:gd name="T17" fmla="*/ 120 h 240"/>
                  <a:gd name="T18" fmla="*/ 43 w 64"/>
                  <a:gd name="T19" fmla="*/ 120 h 240"/>
                  <a:gd name="T20" fmla="*/ 22 w 64"/>
                  <a:gd name="T21" fmla="*/ 84 h 240"/>
                  <a:gd name="T22" fmla="*/ 22 w 64"/>
                  <a:gd name="T23" fmla="*/ 44 h 240"/>
                  <a:gd name="T24" fmla="*/ 0 w 64"/>
                  <a:gd name="T25" fmla="*/ 17 h 240"/>
                  <a:gd name="T26" fmla="*/ 0 w 64"/>
                  <a:gd name="T27" fmla="*/ 0 h 240"/>
                  <a:gd name="T28" fmla="*/ 42 w 64"/>
                  <a:gd name="T29" fmla="*/ 43 h 240"/>
                  <a:gd name="T30" fmla="*/ 42 w 64"/>
                  <a:gd name="T31" fmla="*/ 82 h 240"/>
                  <a:gd name="T32" fmla="*/ 64 w 64"/>
                  <a:gd name="T33" fmla="*/ 112 h 240"/>
                  <a:gd name="T34" fmla="*/ 64 w 64"/>
                  <a:gd name="T35" fmla="*/ 128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4" h="240">
                    <a:moveTo>
                      <a:pt x="64" y="128"/>
                    </a:moveTo>
                    <a:cubicBezTo>
                      <a:pt x="49" y="129"/>
                      <a:pt x="42" y="138"/>
                      <a:pt x="42" y="157"/>
                    </a:cubicBezTo>
                    <a:cubicBezTo>
                      <a:pt x="42" y="198"/>
                      <a:pt x="42" y="198"/>
                      <a:pt x="42" y="198"/>
                    </a:cubicBezTo>
                    <a:cubicBezTo>
                      <a:pt x="42" y="226"/>
                      <a:pt x="28" y="240"/>
                      <a:pt x="0" y="240"/>
                    </a:cubicBezTo>
                    <a:cubicBezTo>
                      <a:pt x="0" y="223"/>
                      <a:pt x="0" y="223"/>
                      <a:pt x="0" y="223"/>
                    </a:cubicBezTo>
                    <a:cubicBezTo>
                      <a:pt x="8" y="223"/>
                      <a:pt x="14" y="221"/>
                      <a:pt x="17" y="216"/>
                    </a:cubicBezTo>
                    <a:cubicBezTo>
                      <a:pt x="21" y="212"/>
                      <a:pt x="22" y="205"/>
                      <a:pt x="22" y="195"/>
                    </a:cubicBezTo>
                    <a:cubicBezTo>
                      <a:pt x="22" y="155"/>
                      <a:pt x="22" y="155"/>
                      <a:pt x="22" y="155"/>
                    </a:cubicBezTo>
                    <a:cubicBezTo>
                      <a:pt x="22" y="136"/>
                      <a:pt x="29" y="124"/>
                      <a:pt x="43" y="120"/>
                    </a:cubicBezTo>
                    <a:cubicBezTo>
                      <a:pt x="43" y="120"/>
                      <a:pt x="43" y="120"/>
                      <a:pt x="43" y="120"/>
                    </a:cubicBezTo>
                    <a:cubicBezTo>
                      <a:pt x="29" y="115"/>
                      <a:pt x="22" y="103"/>
                      <a:pt x="22" y="84"/>
                    </a:cubicBezTo>
                    <a:cubicBezTo>
                      <a:pt x="22" y="44"/>
                      <a:pt x="22" y="44"/>
                      <a:pt x="22" y="44"/>
                    </a:cubicBezTo>
                    <a:cubicBezTo>
                      <a:pt x="22" y="26"/>
                      <a:pt x="15" y="17"/>
                      <a:pt x="0" y="17"/>
                    </a:cubicBezTo>
                    <a:cubicBezTo>
                      <a:pt x="0" y="0"/>
                      <a:pt x="0" y="0"/>
                      <a:pt x="0" y="0"/>
                    </a:cubicBezTo>
                    <a:cubicBezTo>
                      <a:pt x="28" y="0"/>
                      <a:pt x="42" y="14"/>
                      <a:pt x="42" y="43"/>
                    </a:cubicBezTo>
                    <a:cubicBezTo>
                      <a:pt x="42" y="82"/>
                      <a:pt x="42" y="82"/>
                      <a:pt x="42" y="82"/>
                    </a:cubicBezTo>
                    <a:cubicBezTo>
                      <a:pt x="42" y="101"/>
                      <a:pt x="49" y="111"/>
                      <a:pt x="64" y="112"/>
                    </a:cubicBezTo>
                    <a:lnTo>
                      <a:pt x="64" y="1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0" name="Freeform 117"/>
              <p:cNvSpPr>
                <a:spLocks noEditPoints="1"/>
              </p:cNvSpPr>
              <p:nvPr userDrawn="1"/>
            </p:nvSpPr>
            <p:spPr bwMode="auto">
              <a:xfrm>
                <a:off x="7116" y="3658"/>
                <a:ext cx="155" cy="248"/>
              </a:xfrm>
              <a:custGeom>
                <a:avLst/>
                <a:gdLst>
                  <a:gd name="T0" fmla="*/ 127 w 127"/>
                  <a:gd name="T1" fmla="*/ 101 h 203"/>
                  <a:gd name="T2" fmla="*/ 123 w 127"/>
                  <a:gd name="T3" fmla="*/ 144 h 203"/>
                  <a:gd name="T4" fmla="*/ 110 w 127"/>
                  <a:gd name="T5" fmla="*/ 176 h 203"/>
                  <a:gd name="T6" fmla="*/ 89 w 127"/>
                  <a:gd name="T7" fmla="*/ 196 h 203"/>
                  <a:gd name="T8" fmla="*/ 62 w 127"/>
                  <a:gd name="T9" fmla="*/ 203 h 203"/>
                  <a:gd name="T10" fmla="*/ 35 w 127"/>
                  <a:gd name="T11" fmla="*/ 197 h 203"/>
                  <a:gd name="T12" fmla="*/ 16 w 127"/>
                  <a:gd name="T13" fmla="*/ 178 h 203"/>
                  <a:gd name="T14" fmla="*/ 4 w 127"/>
                  <a:gd name="T15" fmla="*/ 147 h 203"/>
                  <a:gd name="T16" fmla="*/ 0 w 127"/>
                  <a:gd name="T17" fmla="*/ 106 h 203"/>
                  <a:gd name="T18" fmla="*/ 4 w 127"/>
                  <a:gd name="T19" fmla="*/ 60 h 203"/>
                  <a:gd name="T20" fmla="*/ 17 w 127"/>
                  <a:gd name="T21" fmla="*/ 27 h 203"/>
                  <a:gd name="T22" fmla="*/ 37 w 127"/>
                  <a:gd name="T23" fmla="*/ 7 h 203"/>
                  <a:gd name="T24" fmla="*/ 66 w 127"/>
                  <a:gd name="T25" fmla="*/ 0 h 203"/>
                  <a:gd name="T26" fmla="*/ 127 w 127"/>
                  <a:gd name="T27" fmla="*/ 101 h 203"/>
                  <a:gd name="T28" fmla="*/ 104 w 127"/>
                  <a:gd name="T29" fmla="*/ 103 h 203"/>
                  <a:gd name="T30" fmla="*/ 65 w 127"/>
                  <a:gd name="T31" fmla="*/ 19 h 203"/>
                  <a:gd name="T32" fmla="*/ 23 w 127"/>
                  <a:gd name="T33" fmla="*/ 105 h 203"/>
                  <a:gd name="T34" fmla="*/ 64 w 127"/>
                  <a:gd name="T35" fmla="*/ 184 h 203"/>
                  <a:gd name="T36" fmla="*/ 104 w 127"/>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7" h="203">
                    <a:moveTo>
                      <a:pt x="127" y="101"/>
                    </a:moveTo>
                    <a:cubicBezTo>
                      <a:pt x="127" y="117"/>
                      <a:pt x="126" y="132"/>
                      <a:pt x="123" y="144"/>
                    </a:cubicBezTo>
                    <a:cubicBezTo>
                      <a:pt x="120" y="157"/>
                      <a:pt x="116" y="168"/>
                      <a:pt x="110" y="176"/>
                    </a:cubicBezTo>
                    <a:cubicBezTo>
                      <a:pt x="104" y="185"/>
                      <a:pt x="98" y="192"/>
                      <a:pt x="89" y="196"/>
                    </a:cubicBezTo>
                    <a:cubicBezTo>
                      <a:pt x="81" y="201"/>
                      <a:pt x="72" y="203"/>
                      <a:pt x="62" y="203"/>
                    </a:cubicBezTo>
                    <a:cubicBezTo>
                      <a:pt x="52" y="203"/>
                      <a:pt x="43" y="201"/>
                      <a:pt x="35" y="197"/>
                    </a:cubicBezTo>
                    <a:cubicBezTo>
                      <a:pt x="28" y="192"/>
                      <a:pt x="21" y="186"/>
                      <a:pt x="16" y="178"/>
                    </a:cubicBezTo>
                    <a:cubicBezTo>
                      <a:pt x="10" y="169"/>
                      <a:pt x="6" y="159"/>
                      <a:pt x="4" y="147"/>
                    </a:cubicBezTo>
                    <a:cubicBezTo>
                      <a:pt x="1" y="135"/>
                      <a:pt x="0" y="121"/>
                      <a:pt x="0" y="106"/>
                    </a:cubicBezTo>
                    <a:cubicBezTo>
                      <a:pt x="0" y="88"/>
                      <a:pt x="1" y="73"/>
                      <a:pt x="4" y="60"/>
                    </a:cubicBezTo>
                    <a:cubicBezTo>
                      <a:pt x="7" y="47"/>
                      <a:pt x="11" y="36"/>
                      <a:pt x="17" y="27"/>
                    </a:cubicBezTo>
                    <a:cubicBezTo>
                      <a:pt x="22" y="18"/>
                      <a:pt x="29" y="12"/>
                      <a:pt x="37" y="7"/>
                    </a:cubicBezTo>
                    <a:cubicBezTo>
                      <a:pt x="46" y="3"/>
                      <a:pt x="55" y="0"/>
                      <a:pt x="66" y="0"/>
                    </a:cubicBezTo>
                    <a:cubicBezTo>
                      <a:pt x="107" y="0"/>
                      <a:pt x="127" y="34"/>
                      <a:pt x="127" y="101"/>
                    </a:cubicBezTo>
                    <a:close/>
                    <a:moveTo>
                      <a:pt x="104" y="103"/>
                    </a:moveTo>
                    <a:cubicBezTo>
                      <a:pt x="104" y="47"/>
                      <a:pt x="91" y="19"/>
                      <a:pt x="65" y="19"/>
                    </a:cubicBezTo>
                    <a:cubicBezTo>
                      <a:pt x="37" y="19"/>
                      <a:pt x="23" y="48"/>
                      <a:pt x="23" y="105"/>
                    </a:cubicBezTo>
                    <a:cubicBezTo>
                      <a:pt x="23" y="157"/>
                      <a:pt x="36" y="184"/>
                      <a:pt x="64" y="184"/>
                    </a:cubicBezTo>
                    <a:cubicBezTo>
                      <a:pt x="91" y="184"/>
                      <a:pt x="104" y="157"/>
                      <a:pt x="104"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1" name="Freeform 118"/>
              <p:cNvSpPr>
                <a:spLocks noEditPoints="1"/>
              </p:cNvSpPr>
              <p:nvPr userDrawn="1"/>
            </p:nvSpPr>
            <p:spPr bwMode="auto">
              <a:xfrm>
                <a:off x="7311" y="3658"/>
                <a:ext cx="155" cy="248"/>
              </a:xfrm>
              <a:custGeom>
                <a:avLst/>
                <a:gdLst>
                  <a:gd name="T0" fmla="*/ 127 w 127"/>
                  <a:gd name="T1" fmla="*/ 101 h 203"/>
                  <a:gd name="T2" fmla="*/ 123 w 127"/>
                  <a:gd name="T3" fmla="*/ 144 h 203"/>
                  <a:gd name="T4" fmla="*/ 110 w 127"/>
                  <a:gd name="T5" fmla="*/ 176 h 203"/>
                  <a:gd name="T6" fmla="*/ 89 w 127"/>
                  <a:gd name="T7" fmla="*/ 196 h 203"/>
                  <a:gd name="T8" fmla="*/ 62 w 127"/>
                  <a:gd name="T9" fmla="*/ 203 h 203"/>
                  <a:gd name="T10" fmla="*/ 35 w 127"/>
                  <a:gd name="T11" fmla="*/ 197 h 203"/>
                  <a:gd name="T12" fmla="*/ 16 w 127"/>
                  <a:gd name="T13" fmla="*/ 178 h 203"/>
                  <a:gd name="T14" fmla="*/ 4 w 127"/>
                  <a:gd name="T15" fmla="*/ 147 h 203"/>
                  <a:gd name="T16" fmla="*/ 0 w 127"/>
                  <a:gd name="T17" fmla="*/ 106 h 203"/>
                  <a:gd name="T18" fmla="*/ 4 w 127"/>
                  <a:gd name="T19" fmla="*/ 60 h 203"/>
                  <a:gd name="T20" fmla="*/ 17 w 127"/>
                  <a:gd name="T21" fmla="*/ 27 h 203"/>
                  <a:gd name="T22" fmla="*/ 37 w 127"/>
                  <a:gd name="T23" fmla="*/ 7 h 203"/>
                  <a:gd name="T24" fmla="*/ 66 w 127"/>
                  <a:gd name="T25" fmla="*/ 0 h 203"/>
                  <a:gd name="T26" fmla="*/ 127 w 127"/>
                  <a:gd name="T27" fmla="*/ 101 h 203"/>
                  <a:gd name="T28" fmla="*/ 104 w 127"/>
                  <a:gd name="T29" fmla="*/ 103 h 203"/>
                  <a:gd name="T30" fmla="*/ 65 w 127"/>
                  <a:gd name="T31" fmla="*/ 19 h 203"/>
                  <a:gd name="T32" fmla="*/ 23 w 127"/>
                  <a:gd name="T33" fmla="*/ 105 h 203"/>
                  <a:gd name="T34" fmla="*/ 64 w 127"/>
                  <a:gd name="T35" fmla="*/ 184 h 203"/>
                  <a:gd name="T36" fmla="*/ 104 w 127"/>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7" h="203">
                    <a:moveTo>
                      <a:pt x="127" y="101"/>
                    </a:moveTo>
                    <a:cubicBezTo>
                      <a:pt x="127" y="117"/>
                      <a:pt x="126" y="132"/>
                      <a:pt x="123" y="144"/>
                    </a:cubicBezTo>
                    <a:cubicBezTo>
                      <a:pt x="120" y="157"/>
                      <a:pt x="116" y="168"/>
                      <a:pt x="110" y="176"/>
                    </a:cubicBezTo>
                    <a:cubicBezTo>
                      <a:pt x="104" y="185"/>
                      <a:pt x="97" y="192"/>
                      <a:pt x="89" y="196"/>
                    </a:cubicBezTo>
                    <a:cubicBezTo>
                      <a:pt x="81" y="201"/>
                      <a:pt x="72" y="203"/>
                      <a:pt x="62" y="203"/>
                    </a:cubicBezTo>
                    <a:cubicBezTo>
                      <a:pt x="52" y="203"/>
                      <a:pt x="43" y="201"/>
                      <a:pt x="35" y="197"/>
                    </a:cubicBezTo>
                    <a:cubicBezTo>
                      <a:pt x="27" y="192"/>
                      <a:pt x="21" y="186"/>
                      <a:pt x="16" y="178"/>
                    </a:cubicBezTo>
                    <a:cubicBezTo>
                      <a:pt x="10" y="169"/>
                      <a:pt x="6" y="159"/>
                      <a:pt x="4" y="147"/>
                    </a:cubicBezTo>
                    <a:cubicBezTo>
                      <a:pt x="1" y="135"/>
                      <a:pt x="0" y="121"/>
                      <a:pt x="0" y="106"/>
                    </a:cubicBezTo>
                    <a:cubicBezTo>
                      <a:pt x="0" y="88"/>
                      <a:pt x="1" y="73"/>
                      <a:pt x="4" y="60"/>
                    </a:cubicBezTo>
                    <a:cubicBezTo>
                      <a:pt x="7" y="47"/>
                      <a:pt x="11" y="36"/>
                      <a:pt x="17" y="27"/>
                    </a:cubicBezTo>
                    <a:cubicBezTo>
                      <a:pt x="22" y="18"/>
                      <a:pt x="29" y="12"/>
                      <a:pt x="37" y="7"/>
                    </a:cubicBezTo>
                    <a:cubicBezTo>
                      <a:pt x="45" y="3"/>
                      <a:pt x="55" y="0"/>
                      <a:pt x="66" y="0"/>
                    </a:cubicBezTo>
                    <a:cubicBezTo>
                      <a:pt x="107" y="0"/>
                      <a:pt x="127" y="34"/>
                      <a:pt x="127" y="101"/>
                    </a:cubicBezTo>
                    <a:close/>
                    <a:moveTo>
                      <a:pt x="104" y="103"/>
                    </a:moveTo>
                    <a:cubicBezTo>
                      <a:pt x="104" y="47"/>
                      <a:pt x="91" y="19"/>
                      <a:pt x="65" y="19"/>
                    </a:cubicBezTo>
                    <a:cubicBezTo>
                      <a:pt x="37" y="19"/>
                      <a:pt x="23" y="48"/>
                      <a:pt x="23" y="105"/>
                    </a:cubicBezTo>
                    <a:cubicBezTo>
                      <a:pt x="23" y="157"/>
                      <a:pt x="36" y="184"/>
                      <a:pt x="64" y="184"/>
                    </a:cubicBezTo>
                    <a:cubicBezTo>
                      <a:pt x="91" y="184"/>
                      <a:pt x="104" y="157"/>
                      <a:pt x="104"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2" name="Freeform 119"/>
              <p:cNvSpPr>
                <a:spLocks/>
              </p:cNvSpPr>
              <p:nvPr userDrawn="1"/>
            </p:nvSpPr>
            <p:spPr bwMode="auto">
              <a:xfrm>
                <a:off x="7509" y="3657"/>
                <a:ext cx="81" cy="245"/>
              </a:xfrm>
              <a:custGeom>
                <a:avLst/>
                <a:gdLst>
                  <a:gd name="T0" fmla="*/ 67 w 67"/>
                  <a:gd name="T1" fmla="*/ 201 h 201"/>
                  <a:gd name="T2" fmla="*/ 45 w 67"/>
                  <a:gd name="T3" fmla="*/ 201 h 201"/>
                  <a:gd name="T4" fmla="*/ 45 w 67"/>
                  <a:gd name="T5" fmla="*/ 31 h 201"/>
                  <a:gd name="T6" fmla="*/ 37 w 67"/>
                  <a:gd name="T7" fmla="*/ 37 h 201"/>
                  <a:gd name="T8" fmla="*/ 26 w 67"/>
                  <a:gd name="T9" fmla="*/ 44 h 201"/>
                  <a:gd name="T10" fmla="*/ 13 w 67"/>
                  <a:gd name="T11" fmla="*/ 50 h 201"/>
                  <a:gd name="T12" fmla="*/ 0 w 67"/>
                  <a:gd name="T13" fmla="*/ 55 h 201"/>
                  <a:gd name="T14" fmla="*/ 0 w 67"/>
                  <a:gd name="T15" fmla="*/ 32 h 201"/>
                  <a:gd name="T16" fmla="*/ 15 w 67"/>
                  <a:gd name="T17" fmla="*/ 26 h 201"/>
                  <a:gd name="T18" fmla="*/ 32 w 67"/>
                  <a:gd name="T19" fmla="*/ 18 h 201"/>
                  <a:gd name="T20" fmla="*/ 47 w 67"/>
                  <a:gd name="T21" fmla="*/ 9 h 201"/>
                  <a:gd name="T22" fmla="*/ 59 w 67"/>
                  <a:gd name="T23" fmla="*/ 0 h 201"/>
                  <a:gd name="T24" fmla="*/ 67 w 67"/>
                  <a:gd name="T25" fmla="*/ 0 h 201"/>
                  <a:gd name="T26" fmla="*/ 67 w 67"/>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7" h="201">
                    <a:moveTo>
                      <a:pt x="67" y="201"/>
                    </a:moveTo>
                    <a:cubicBezTo>
                      <a:pt x="45" y="201"/>
                      <a:pt x="45" y="201"/>
                      <a:pt x="45" y="201"/>
                    </a:cubicBezTo>
                    <a:cubicBezTo>
                      <a:pt x="45" y="31"/>
                      <a:pt x="45" y="31"/>
                      <a:pt x="45" y="31"/>
                    </a:cubicBezTo>
                    <a:cubicBezTo>
                      <a:pt x="43" y="33"/>
                      <a:pt x="41" y="35"/>
                      <a:pt x="37" y="37"/>
                    </a:cubicBezTo>
                    <a:cubicBezTo>
                      <a:pt x="34" y="39"/>
                      <a:pt x="30" y="42"/>
                      <a:pt x="26" y="44"/>
                    </a:cubicBezTo>
                    <a:cubicBezTo>
                      <a:pt x="22" y="46"/>
                      <a:pt x="18" y="48"/>
                      <a:pt x="13" y="50"/>
                    </a:cubicBezTo>
                    <a:cubicBezTo>
                      <a:pt x="9" y="52"/>
                      <a:pt x="4" y="53"/>
                      <a:pt x="0" y="55"/>
                    </a:cubicBezTo>
                    <a:cubicBezTo>
                      <a:pt x="0" y="32"/>
                      <a:pt x="0" y="32"/>
                      <a:pt x="0" y="32"/>
                    </a:cubicBezTo>
                    <a:cubicBezTo>
                      <a:pt x="5" y="30"/>
                      <a:pt x="10" y="29"/>
                      <a:pt x="15" y="26"/>
                    </a:cubicBezTo>
                    <a:cubicBezTo>
                      <a:pt x="21" y="24"/>
                      <a:pt x="26" y="21"/>
                      <a:pt x="32" y="18"/>
                    </a:cubicBezTo>
                    <a:cubicBezTo>
                      <a:pt x="37" y="16"/>
                      <a:pt x="42" y="13"/>
                      <a:pt x="47" y="9"/>
                    </a:cubicBezTo>
                    <a:cubicBezTo>
                      <a:pt x="51" y="6"/>
                      <a:pt x="56" y="3"/>
                      <a:pt x="59" y="0"/>
                    </a:cubicBezTo>
                    <a:cubicBezTo>
                      <a:pt x="67" y="0"/>
                      <a:pt x="67" y="0"/>
                      <a:pt x="67" y="0"/>
                    </a:cubicBezTo>
                    <a:lnTo>
                      <a:pt x="67"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3" name="Freeform 120"/>
              <p:cNvSpPr>
                <a:spLocks/>
              </p:cNvSpPr>
              <p:nvPr userDrawn="1"/>
            </p:nvSpPr>
            <p:spPr bwMode="auto">
              <a:xfrm>
                <a:off x="7657" y="3657"/>
                <a:ext cx="83" cy="245"/>
              </a:xfrm>
              <a:custGeom>
                <a:avLst/>
                <a:gdLst>
                  <a:gd name="T0" fmla="*/ 68 w 68"/>
                  <a:gd name="T1" fmla="*/ 201 h 201"/>
                  <a:gd name="T2" fmla="*/ 46 w 68"/>
                  <a:gd name="T3" fmla="*/ 201 h 201"/>
                  <a:gd name="T4" fmla="*/ 46 w 68"/>
                  <a:gd name="T5" fmla="*/ 31 h 201"/>
                  <a:gd name="T6" fmla="*/ 38 w 68"/>
                  <a:gd name="T7" fmla="*/ 37 h 201"/>
                  <a:gd name="T8" fmla="*/ 27 w 68"/>
                  <a:gd name="T9" fmla="*/ 44 h 201"/>
                  <a:gd name="T10" fmla="*/ 14 w 68"/>
                  <a:gd name="T11" fmla="*/ 50 h 201"/>
                  <a:gd name="T12" fmla="*/ 0 w 68"/>
                  <a:gd name="T13" fmla="*/ 55 h 201"/>
                  <a:gd name="T14" fmla="*/ 0 w 68"/>
                  <a:gd name="T15" fmla="*/ 32 h 201"/>
                  <a:gd name="T16" fmla="*/ 16 w 68"/>
                  <a:gd name="T17" fmla="*/ 26 h 201"/>
                  <a:gd name="T18" fmla="*/ 32 w 68"/>
                  <a:gd name="T19" fmla="*/ 18 h 201"/>
                  <a:gd name="T20" fmla="*/ 47 w 68"/>
                  <a:gd name="T21" fmla="*/ 9 h 201"/>
                  <a:gd name="T22" fmla="*/ 60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6" y="201"/>
                      <a:pt x="46" y="201"/>
                      <a:pt x="46" y="201"/>
                    </a:cubicBezTo>
                    <a:cubicBezTo>
                      <a:pt x="46" y="31"/>
                      <a:pt x="46" y="31"/>
                      <a:pt x="46" y="31"/>
                    </a:cubicBezTo>
                    <a:cubicBezTo>
                      <a:pt x="44" y="33"/>
                      <a:pt x="41" y="35"/>
                      <a:pt x="38" y="37"/>
                    </a:cubicBezTo>
                    <a:cubicBezTo>
                      <a:pt x="35" y="39"/>
                      <a:pt x="31" y="42"/>
                      <a:pt x="27" y="44"/>
                    </a:cubicBezTo>
                    <a:cubicBezTo>
                      <a:pt x="23" y="46"/>
                      <a:pt x="18" y="48"/>
                      <a:pt x="14" y="50"/>
                    </a:cubicBezTo>
                    <a:cubicBezTo>
                      <a:pt x="9" y="52"/>
                      <a:pt x="5" y="53"/>
                      <a:pt x="0" y="55"/>
                    </a:cubicBezTo>
                    <a:cubicBezTo>
                      <a:pt x="0" y="32"/>
                      <a:pt x="0" y="32"/>
                      <a:pt x="0" y="32"/>
                    </a:cubicBezTo>
                    <a:cubicBezTo>
                      <a:pt x="5" y="30"/>
                      <a:pt x="10" y="29"/>
                      <a:pt x="16" y="26"/>
                    </a:cubicBezTo>
                    <a:cubicBezTo>
                      <a:pt x="21" y="24"/>
                      <a:pt x="27" y="21"/>
                      <a:pt x="32" y="18"/>
                    </a:cubicBezTo>
                    <a:cubicBezTo>
                      <a:pt x="37" y="16"/>
                      <a:pt x="43" y="13"/>
                      <a:pt x="47" y="9"/>
                    </a:cubicBezTo>
                    <a:cubicBezTo>
                      <a:pt x="52" y="6"/>
                      <a:pt x="56" y="3"/>
                      <a:pt x="60"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4" name="Freeform 121"/>
              <p:cNvSpPr>
                <a:spLocks noEditPoints="1"/>
              </p:cNvSpPr>
              <p:nvPr userDrawn="1"/>
            </p:nvSpPr>
            <p:spPr bwMode="auto">
              <a:xfrm>
                <a:off x="3990" y="3650"/>
                <a:ext cx="218" cy="255"/>
              </a:xfrm>
              <a:custGeom>
                <a:avLst/>
                <a:gdLst>
                  <a:gd name="T0" fmla="*/ 175 w 179"/>
                  <a:gd name="T1" fmla="*/ 174 h 209"/>
                  <a:gd name="T2" fmla="*/ 134 w 179"/>
                  <a:gd name="T3" fmla="*/ 209 h 209"/>
                  <a:gd name="T4" fmla="*/ 80 w 179"/>
                  <a:gd name="T5" fmla="*/ 198 h 209"/>
                  <a:gd name="T6" fmla="*/ 32 w 179"/>
                  <a:gd name="T7" fmla="*/ 202 h 209"/>
                  <a:gd name="T8" fmla="*/ 2 w 179"/>
                  <a:gd name="T9" fmla="*/ 184 h 209"/>
                  <a:gd name="T10" fmla="*/ 14 w 179"/>
                  <a:gd name="T11" fmla="*/ 159 h 209"/>
                  <a:gd name="T12" fmla="*/ 9 w 179"/>
                  <a:gd name="T13" fmla="*/ 162 h 209"/>
                  <a:gd name="T14" fmla="*/ 6 w 179"/>
                  <a:gd name="T15" fmla="*/ 183 h 209"/>
                  <a:gd name="T16" fmla="*/ 45 w 179"/>
                  <a:gd name="T17" fmla="*/ 202 h 209"/>
                  <a:gd name="T18" fmla="*/ 42 w 179"/>
                  <a:gd name="T19" fmla="*/ 152 h 209"/>
                  <a:gd name="T20" fmla="*/ 25 w 179"/>
                  <a:gd name="T21" fmla="*/ 134 h 209"/>
                  <a:gd name="T22" fmla="*/ 51 w 179"/>
                  <a:gd name="T23" fmla="*/ 83 h 209"/>
                  <a:gd name="T24" fmla="*/ 58 w 179"/>
                  <a:gd name="T25" fmla="*/ 27 h 209"/>
                  <a:gd name="T26" fmla="*/ 117 w 179"/>
                  <a:gd name="T27" fmla="*/ 18 h 209"/>
                  <a:gd name="T28" fmla="*/ 159 w 179"/>
                  <a:gd name="T29" fmla="*/ 128 h 209"/>
                  <a:gd name="T30" fmla="*/ 152 w 179"/>
                  <a:gd name="T31" fmla="*/ 152 h 209"/>
                  <a:gd name="T32" fmla="*/ 128 w 179"/>
                  <a:gd name="T33" fmla="*/ 151 h 209"/>
                  <a:gd name="T34" fmla="*/ 122 w 179"/>
                  <a:gd name="T35" fmla="*/ 186 h 209"/>
                  <a:gd name="T36" fmla="*/ 165 w 179"/>
                  <a:gd name="T37" fmla="*/ 186 h 209"/>
                  <a:gd name="T38" fmla="*/ 171 w 179"/>
                  <a:gd name="T39" fmla="*/ 174 h 209"/>
                  <a:gd name="T40" fmla="*/ 160 w 179"/>
                  <a:gd name="T41" fmla="*/ 153 h 209"/>
                  <a:gd name="T42" fmla="*/ 88 w 179"/>
                  <a:gd name="T43" fmla="*/ 72 h 209"/>
                  <a:gd name="T44" fmla="*/ 101 w 179"/>
                  <a:gd name="T45" fmla="*/ 68 h 209"/>
                  <a:gd name="T46" fmla="*/ 73 w 179"/>
                  <a:gd name="T47" fmla="*/ 79 h 209"/>
                  <a:gd name="T48" fmla="*/ 63 w 179"/>
                  <a:gd name="T49" fmla="*/ 77 h 209"/>
                  <a:gd name="T50" fmla="*/ 56 w 179"/>
                  <a:gd name="T51" fmla="*/ 101 h 209"/>
                  <a:gd name="T52" fmla="*/ 45 w 179"/>
                  <a:gd name="T53" fmla="*/ 140 h 209"/>
                  <a:gd name="T54" fmla="*/ 38 w 179"/>
                  <a:gd name="T55" fmla="*/ 121 h 209"/>
                  <a:gd name="T56" fmla="*/ 40 w 179"/>
                  <a:gd name="T57" fmla="*/ 143 h 209"/>
                  <a:gd name="T58" fmla="*/ 64 w 179"/>
                  <a:gd name="T59" fmla="*/ 177 h 209"/>
                  <a:gd name="T60" fmla="*/ 70 w 179"/>
                  <a:gd name="T61" fmla="*/ 197 h 209"/>
                  <a:gd name="T62" fmla="*/ 68 w 179"/>
                  <a:gd name="T63" fmla="*/ 183 h 209"/>
                  <a:gd name="T64" fmla="*/ 109 w 179"/>
                  <a:gd name="T65" fmla="*/ 179 h 209"/>
                  <a:gd name="T66" fmla="*/ 115 w 179"/>
                  <a:gd name="T67" fmla="*/ 186 h 209"/>
                  <a:gd name="T68" fmla="*/ 119 w 179"/>
                  <a:gd name="T69" fmla="*/ 171 h 209"/>
                  <a:gd name="T70" fmla="*/ 126 w 179"/>
                  <a:gd name="T71" fmla="*/ 146 h 209"/>
                  <a:gd name="T72" fmla="*/ 126 w 179"/>
                  <a:gd name="T73" fmla="*/ 92 h 209"/>
                  <a:gd name="T74" fmla="*/ 127 w 179"/>
                  <a:gd name="T75" fmla="*/ 135 h 209"/>
                  <a:gd name="T76" fmla="*/ 116 w 179"/>
                  <a:gd name="T77" fmla="*/ 94 h 209"/>
                  <a:gd name="T78" fmla="*/ 103 w 179"/>
                  <a:gd name="T79" fmla="*/ 54 h 209"/>
                  <a:gd name="T80" fmla="*/ 97 w 179"/>
                  <a:gd name="T81" fmla="*/ 37 h 209"/>
                  <a:gd name="T82" fmla="*/ 107 w 179"/>
                  <a:gd name="T83" fmla="*/ 48 h 209"/>
                  <a:gd name="T84" fmla="*/ 86 w 179"/>
                  <a:gd name="T85" fmla="*/ 42 h 209"/>
                  <a:gd name="T86" fmla="*/ 77 w 179"/>
                  <a:gd name="T87" fmla="*/ 44 h 209"/>
                  <a:gd name="T88" fmla="*/ 65 w 179"/>
                  <a:gd name="T89" fmla="*/ 35 h 209"/>
                  <a:gd name="T90" fmla="*/ 67 w 179"/>
                  <a:gd name="T91" fmla="*/ 47 h 209"/>
                  <a:gd name="T92" fmla="*/ 73 w 179"/>
                  <a:gd name="T93" fmla="*/ 48 h 209"/>
                  <a:gd name="T94" fmla="*/ 65 w 179"/>
                  <a:gd name="T95" fmla="*/ 60 h 209"/>
                  <a:gd name="T96" fmla="*/ 101 w 179"/>
                  <a:gd name="T97" fmla="*/ 58 h 209"/>
                  <a:gd name="T98" fmla="*/ 86 w 179"/>
                  <a:gd name="T99" fmla="*/ 68 h 209"/>
                  <a:gd name="T100" fmla="*/ 71 w 179"/>
                  <a:gd name="T101" fmla="*/ 40 h 209"/>
                  <a:gd name="T102" fmla="*/ 73 w 179"/>
                  <a:gd name="T103" fmla="*/ 45 h 209"/>
                  <a:gd name="T104" fmla="*/ 99 w 179"/>
                  <a:gd name="T105" fmla="*/ 39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79" h="209">
                    <a:moveTo>
                      <a:pt x="160" y="153"/>
                    </a:moveTo>
                    <a:cubicBezTo>
                      <a:pt x="161" y="156"/>
                      <a:pt x="162" y="159"/>
                      <a:pt x="162" y="161"/>
                    </a:cubicBezTo>
                    <a:cubicBezTo>
                      <a:pt x="164" y="165"/>
                      <a:pt x="166" y="169"/>
                      <a:pt x="170" y="171"/>
                    </a:cubicBezTo>
                    <a:cubicBezTo>
                      <a:pt x="172" y="172"/>
                      <a:pt x="174" y="173"/>
                      <a:pt x="175" y="174"/>
                    </a:cubicBezTo>
                    <a:cubicBezTo>
                      <a:pt x="179" y="177"/>
                      <a:pt x="179" y="180"/>
                      <a:pt x="175" y="183"/>
                    </a:cubicBezTo>
                    <a:cubicBezTo>
                      <a:pt x="173" y="186"/>
                      <a:pt x="169" y="188"/>
                      <a:pt x="166" y="189"/>
                    </a:cubicBezTo>
                    <a:cubicBezTo>
                      <a:pt x="156" y="193"/>
                      <a:pt x="148" y="199"/>
                      <a:pt x="141" y="206"/>
                    </a:cubicBezTo>
                    <a:cubicBezTo>
                      <a:pt x="139" y="208"/>
                      <a:pt x="136" y="208"/>
                      <a:pt x="134" y="209"/>
                    </a:cubicBezTo>
                    <a:cubicBezTo>
                      <a:pt x="131" y="209"/>
                      <a:pt x="127" y="209"/>
                      <a:pt x="124" y="208"/>
                    </a:cubicBezTo>
                    <a:cubicBezTo>
                      <a:pt x="121" y="207"/>
                      <a:pt x="119" y="206"/>
                      <a:pt x="118" y="203"/>
                    </a:cubicBezTo>
                    <a:cubicBezTo>
                      <a:pt x="116" y="200"/>
                      <a:pt x="113" y="198"/>
                      <a:pt x="109" y="198"/>
                    </a:cubicBezTo>
                    <a:cubicBezTo>
                      <a:pt x="100" y="198"/>
                      <a:pt x="90" y="198"/>
                      <a:pt x="80" y="198"/>
                    </a:cubicBezTo>
                    <a:cubicBezTo>
                      <a:pt x="76" y="198"/>
                      <a:pt x="71" y="199"/>
                      <a:pt x="67" y="202"/>
                    </a:cubicBezTo>
                    <a:cubicBezTo>
                      <a:pt x="66" y="203"/>
                      <a:pt x="64" y="204"/>
                      <a:pt x="62" y="205"/>
                    </a:cubicBezTo>
                    <a:cubicBezTo>
                      <a:pt x="58" y="208"/>
                      <a:pt x="53" y="209"/>
                      <a:pt x="48" y="207"/>
                    </a:cubicBezTo>
                    <a:cubicBezTo>
                      <a:pt x="43" y="206"/>
                      <a:pt x="37" y="203"/>
                      <a:pt x="32" y="202"/>
                    </a:cubicBezTo>
                    <a:cubicBezTo>
                      <a:pt x="25" y="200"/>
                      <a:pt x="18" y="199"/>
                      <a:pt x="11" y="197"/>
                    </a:cubicBezTo>
                    <a:cubicBezTo>
                      <a:pt x="9" y="197"/>
                      <a:pt x="6" y="196"/>
                      <a:pt x="4" y="195"/>
                    </a:cubicBezTo>
                    <a:cubicBezTo>
                      <a:pt x="1" y="194"/>
                      <a:pt x="0" y="191"/>
                      <a:pt x="1" y="188"/>
                    </a:cubicBezTo>
                    <a:cubicBezTo>
                      <a:pt x="1" y="187"/>
                      <a:pt x="1" y="185"/>
                      <a:pt x="2" y="184"/>
                    </a:cubicBezTo>
                    <a:cubicBezTo>
                      <a:pt x="4" y="180"/>
                      <a:pt x="4" y="176"/>
                      <a:pt x="3" y="172"/>
                    </a:cubicBezTo>
                    <a:cubicBezTo>
                      <a:pt x="2" y="170"/>
                      <a:pt x="2" y="168"/>
                      <a:pt x="2" y="167"/>
                    </a:cubicBezTo>
                    <a:cubicBezTo>
                      <a:pt x="1" y="162"/>
                      <a:pt x="3" y="160"/>
                      <a:pt x="7" y="160"/>
                    </a:cubicBezTo>
                    <a:cubicBezTo>
                      <a:pt x="9" y="160"/>
                      <a:pt x="12" y="160"/>
                      <a:pt x="14" y="159"/>
                    </a:cubicBezTo>
                    <a:cubicBezTo>
                      <a:pt x="19" y="158"/>
                      <a:pt x="22" y="155"/>
                      <a:pt x="23" y="150"/>
                    </a:cubicBezTo>
                    <a:cubicBezTo>
                      <a:pt x="23" y="150"/>
                      <a:pt x="23" y="150"/>
                      <a:pt x="23" y="150"/>
                    </a:cubicBezTo>
                    <a:cubicBezTo>
                      <a:pt x="24" y="153"/>
                      <a:pt x="23" y="160"/>
                      <a:pt x="17" y="162"/>
                    </a:cubicBezTo>
                    <a:cubicBezTo>
                      <a:pt x="14" y="162"/>
                      <a:pt x="12" y="163"/>
                      <a:pt x="9" y="162"/>
                    </a:cubicBezTo>
                    <a:cubicBezTo>
                      <a:pt x="9" y="162"/>
                      <a:pt x="9" y="162"/>
                      <a:pt x="8" y="162"/>
                    </a:cubicBezTo>
                    <a:cubicBezTo>
                      <a:pt x="5" y="162"/>
                      <a:pt x="3" y="164"/>
                      <a:pt x="4" y="168"/>
                    </a:cubicBezTo>
                    <a:cubicBezTo>
                      <a:pt x="5" y="169"/>
                      <a:pt x="5" y="171"/>
                      <a:pt x="6" y="173"/>
                    </a:cubicBezTo>
                    <a:cubicBezTo>
                      <a:pt x="8" y="176"/>
                      <a:pt x="8" y="180"/>
                      <a:pt x="6" y="183"/>
                    </a:cubicBezTo>
                    <a:cubicBezTo>
                      <a:pt x="5" y="185"/>
                      <a:pt x="5" y="186"/>
                      <a:pt x="4" y="188"/>
                    </a:cubicBezTo>
                    <a:cubicBezTo>
                      <a:pt x="3" y="190"/>
                      <a:pt x="4" y="192"/>
                      <a:pt x="6" y="193"/>
                    </a:cubicBezTo>
                    <a:cubicBezTo>
                      <a:pt x="8" y="193"/>
                      <a:pt x="11" y="194"/>
                      <a:pt x="13" y="194"/>
                    </a:cubicBezTo>
                    <a:cubicBezTo>
                      <a:pt x="24" y="196"/>
                      <a:pt x="35" y="199"/>
                      <a:pt x="45" y="202"/>
                    </a:cubicBezTo>
                    <a:cubicBezTo>
                      <a:pt x="48" y="203"/>
                      <a:pt x="52" y="204"/>
                      <a:pt x="55" y="203"/>
                    </a:cubicBezTo>
                    <a:cubicBezTo>
                      <a:pt x="63" y="202"/>
                      <a:pt x="66" y="197"/>
                      <a:pt x="64" y="190"/>
                    </a:cubicBezTo>
                    <a:cubicBezTo>
                      <a:pt x="63" y="186"/>
                      <a:pt x="62" y="182"/>
                      <a:pt x="60" y="179"/>
                    </a:cubicBezTo>
                    <a:cubicBezTo>
                      <a:pt x="54" y="170"/>
                      <a:pt x="49" y="161"/>
                      <a:pt x="42" y="152"/>
                    </a:cubicBezTo>
                    <a:cubicBezTo>
                      <a:pt x="40" y="150"/>
                      <a:pt x="37" y="147"/>
                      <a:pt x="34" y="145"/>
                    </a:cubicBezTo>
                    <a:cubicBezTo>
                      <a:pt x="32" y="143"/>
                      <a:pt x="29" y="143"/>
                      <a:pt x="26" y="145"/>
                    </a:cubicBezTo>
                    <a:cubicBezTo>
                      <a:pt x="26" y="145"/>
                      <a:pt x="25" y="145"/>
                      <a:pt x="25" y="144"/>
                    </a:cubicBezTo>
                    <a:cubicBezTo>
                      <a:pt x="24" y="140"/>
                      <a:pt x="24" y="137"/>
                      <a:pt x="25" y="134"/>
                    </a:cubicBezTo>
                    <a:cubicBezTo>
                      <a:pt x="25" y="133"/>
                      <a:pt x="26" y="131"/>
                      <a:pt x="27" y="130"/>
                    </a:cubicBezTo>
                    <a:cubicBezTo>
                      <a:pt x="30" y="125"/>
                      <a:pt x="32" y="119"/>
                      <a:pt x="34" y="113"/>
                    </a:cubicBezTo>
                    <a:cubicBezTo>
                      <a:pt x="37" y="106"/>
                      <a:pt x="39" y="100"/>
                      <a:pt x="43" y="94"/>
                    </a:cubicBezTo>
                    <a:cubicBezTo>
                      <a:pt x="46" y="90"/>
                      <a:pt x="49" y="87"/>
                      <a:pt x="51" y="83"/>
                    </a:cubicBezTo>
                    <a:cubicBezTo>
                      <a:pt x="54" y="80"/>
                      <a:pt x="56" y="77"/>
                      <a:pt x="58" y="73"/>
                    </a:cubicBezTo>
                    <a:cubicBezTo>
                      <a:pt x="59" y="71"/>
                      <a:pt x="60" y="68"/>
                      <a:pt x="60" y="65"/>
                    </a:cubicBezTo>
                    <a:cubicBezTo>
                      <a:pt x="59" y="58"/>
                      <a:pt x="59" y="51"/>
                      <a:pt x="58" y="44"/>
                    </a:cubicBezTo>
                    <a:cubicBezTo>
                      <a:pt x="58" y="39"/>
                      <a:pt x="58" y="33"/>
                      <a:pt x="58" y="27"/>
                    </a:cubicBezTo>
                    <a:cubicBezTo>
                      <a:pt x="58" y="16"/>
                      <a:pt x="63" y="8"/>
                      <a:pt x="73" y="3"/>
                    </a:cubicBezTo>
                    <a:cubicBezTo>
                      <a:pt x="76" y="1"/>
                      <a:pt x="81" y="0"/>
                      <a:pt x="85" y="0"/>
                    </a:cubicBezTo>
                    <a:cubicBezTo>
                      <a:pt x="91" y="0"/>
                      <a:pt x="96" y="1"/>
                      <a:pt x="102" y="3"/>
                    </a:cubicBezTo>
                    <a:cubicBezTo>
                      <a:pt x="109" y="6"/>
                      <a:pt x="114" y="11"/>
                      <a:pt x="117" y="18"/>
                    </a:cubicBezTo>
                    <a:cubicBezTo>
                      <a:pt x="120" y="24"/>
                      <a:pt x="122" y="30"/>
                      <a:pt x="122" y="36"/>
                    </a:cubicBezTo>
                    <a:cubicBezTo>
                      <a:pt x="122" y="40"/>
                      <a:pt x="122" y="44"/>
                      <a:pt x="122" y="47"/>
                    </a:cubicBezTo>
                    <a:cubicBezTo>
                      <a:pt x="124" y="61"/>
                      <a:pt x="128" y="74"/>
                      <a:pt x="138" y="85"/>
                    </a:cubicBezTo>
                    <a:cubicBezTo>
                      <a:pt x="150" y="97"/>
                      <a:pt x="156" y="112"/>
                      <a:pt x="159" y="128"/>
                    </a:cubicBezTo>
                    <a:cubicBezTo>
                      <a:pt x="160" y="133"/>
                      <a:pt x="161" y="138"/>
                      <a:pt x="159" y="143"/>
                    </a:cubicBezTo>
                    <a:cubicBezTo>
                      <a:pt x="159" y="144"/>
                      <a:pt x="159" y="145"/>
                      <a:pt x="158" y="146"/>
                    </a:cubicBezTo>
                    <a:cubicBezTo>
                      <a:pt x="158" y="147"/>
                      <a:pt x="158" y="148"/>
                      <a:pt x="157" y="148"/>
                    </a:cubicBezTo>
                    <a:cubicBezTo>
                      <a:pt x="155" y="149"/>
                      <a:pt x="154" y="151"/>
                      <a:pt x="152" y="152"/>
                    </a:cubicBezTo>
                    <a:cubicBezTo>
                      <a:pt x="151" y="154"/>
                      <a:pt x="149" y="156"/>
                      <a:pt x="147" y="158"/>
                    </a:cubicBezTo>
                    <a:cubicBezTo>
                      <a:pt x="143" y="161"/>
                      <a:pt x="139" y="161"/>
                      <a:pt x="135" y="160"/>
                    </a:cubicBezTo>
                    <a:cubicBezTo>
                      <a:pt x="133" y="159"/>
                      <a:pt x="131" y="157"/>
                      <a:pt x="130" y="156"/>
                    </a:cubicBezTo>
                    <a:cubicBezTo>
                      <a:pt x="130" y="154"/>
                      <a:pt x="129" y="152"/>
                      <a:pt x="128" y="151"/>
                    </a:cubicBezTo>
                    <a:cubicBezTo>
                      <a:pt x="127" y="149"/>
                      <a:pt x="126" y="148"/>
                      <a:pt x="124" y="148"/>
                    </a:cubicBezTo>
                    <a:cubicBezTo>
                      <a:pt x="122" y="148"/>
                      <a:pt x="122" y="150"/>
                      <a:pt x="121" y="151"/>
                    </a:cubicBezTo>
                    <a:cubicBezTo>
                      <a:pt x="120" y="155"/>
                      <a:pt x="120" y="159"/>
                      <a:pt x="121" y="163"/>
                    </a:cubicBezTo>
                    <a:cubicBezTo>
                      <a:pt x="123" y="171"/>
                      <a:pt x="123" y="179"/>
                      <a:pt x="122" y="186"/>
                    </a:cubicBezTo>
                    <a:cubicBezTo>
                      <a:pt x="121" y="189"/>
                      <a:pt x="121" y="192"/>
                      <a:pt x="121" y="194"/>
                    </a:cubicBezTo>
                    <a:cubicBezTo>
                      <a:pt x="123" y="202"/>
                      <a:pt x="129" y="205"/>
                      <a:pt x="136" y="203"/>
                    </a:cubicBezTo>
                    <a:cubicBezTo>
                      <a:pt x="139" y="202"/>
                      <a:pt x="142" y="200"/>
                      <a:pt x="144" y="197"/>
                    </a:cubicBezTo>
                    <a:cubicBezTo>
                      <a:pt x="150" y="192"/>
                      <a:pt x="157" y="189"/>
                      <a:pt x="165" y="186"/>
                    </a:cubicBezTo>
                    <a:cubicBezTo>
                      <a:pt x="168" y="185"/>
                      <a:pt x="170" y="184"/>
                      <a:pt x="173" y="183"/>
                    </a:cubicBezTo>
                    <a:cubicBezTo>
                      <a:pt x="173" y="182"/>
                      <a:pt x="174" y="182"/>
                      <a:pt x="175" y="181"/>
                    </a:cubicBezTo>
                    <a:cubicBezTo>
                      <a:pt x="176" y="180"/>
                      <a:pt x="176" y="178"/>
                      <a:pt x="175" y="177"/>
                    </a:cubicBezTo>
                    <a:cubicBezTo>
                      <a:pt x="173" y="176"/>
                      <a:pt x="172" y="175"/>
                      <a:pt x="171" y="174"/>
                    </a:cubicBezTo>
                    <a:cubicBezTo>
                      <a:pt x="170" y="173"/>
                      <a:pt x="169" y="173"/>
                      <a:pt x="168" y="173"/>
                    </a:cubicBezTo>
                    <a:cubicBezTo>
                      <a:pt x="163" y="171"/>
                      <a:pt x="160" y="168"/>
                      <a:pt x="160" y="163"/>
                    </a:cubicBezTo>
                    <a:cubicBezTo>
                      <a:pt x="159" y="161"/>
                      <a:pt x="159" y="158"/>
                      <a:pt x="160" y="155"/>
                    </a:cubicBezTo>
                    <a:cubicBezTo>
                      <a:pt x="160" y="155"/>
                      <a:pt x="160" y="154"/>
                      <a:pt x="160" y="153"/>
                    </a:cubicBezTo>
                    <a:close/>
                    <a:moveTo>
                      <a:pt x="71" y="69"/>
                    </a:moveTo>
                    <a:cubicBezTo>
                      <a:pt x="71" y="69"/>
                      <a:pt x="71" y="69"/>
                      <a:pt x="71" y="69"/>
                    </a:cubicBezTo>
                    <a:cubicBezTo>
                      <a:pt x="72" y="71"/>
                      <a:pt x="74" y="73"/>
                      <a:pt x="77" y="74"/>
                    </a:cubicBezTo>
                    <a:cubicBezTo>
                      <a:pt x="81" y="74"/>
                      <a:pt x="84" y="73"/>
                      <a:pt x="88" y="72"/>
                    </a:cubicBezTo>
                    <a:cubicBezTo>
                      <a:pt x="91" y="70"/>
                      <a:pt x="94" y="68"/>
                      <a:pt x="97" y="67"/>
                    </a:cubicBezTo>
                    <a:cubicBezTo>
                      <a:pt x="98" y="66"/>
                      <a:pt x="99" y="66"/>
                      <a:pt x="100" y="66"/>
                    </a:cubicBezTo>
                    <a:cubicBezTo>
                      <a:pt x="101" y="66"/>
                      <a:pt x="102" y="66"/>
                      <a:pt x="102" y="67"/>
                    </a:cubicBezTo>
                    <a:cubicBezTo>
                      <a:pt x="102" y="67"/>
                      <a:pt x="102" y="68"/>
                      <a:pt x="101" y="68"/>
                    </a:cubicBezTo>
                    <a:cubicBezTo>
                      <a:pt x="100" y="69"/>
                      <a:pt x="100" y="69"/>
                      <a:pt x="99" y="70"/>
                    </a:cubicBezTo>
                    <a:cubicBezTo>
                      <a:pt x="94" y="72"/>
                      <a:pt x="90" y="74"/>
                      <a:pt x="86" y="77"/>
                    </a:cubicBezTo>
                    <a:cubicBezTo>
                      <a:pt x="85" y="79"/>
                      <a:pt x="83" y="80"/>
                      <a:pt x="81" y="81"/>
                    </a:cubicBezTo>
                    <a:cubicBezTo>
                      <a:pt x="78" y="82"/>
                      <a:pt x="75" y="82"/>
                      <a:pt x="73" y="79"/>
                    </a:cubicBezTo>
                    <a:cubicBezTo>
                      <a:pt x="71" y="77"/>
                      <a:pt x="69" y="74"/>
                      <a:pt x="67" y="72"/>
                    </a:cubicBezTo>
                    <a:cubicBezTo>
                      <a:pt x="66" y="71"/>
                      <a:pt x="66" y="70"/>
                      <a:pt x="65" y="69"/>
                    </a:cubicBezTo>
                    <a:cubicBezTo>
                      <a:pt x="65" y="70"/>
                      <a:pt x="65" y="71"/>
                      <a:pt x="65" y="71"/>
                    </a:cubicBezTo>
                    <a:cubicBezTo>
                      <a:pt x="64" y="73"/>
                      <a:pt x="64" y="75"/>
                      <a:pt x="63" y="77"/>
                    </a:cubicBezTo>
                    <a:cubicBezTo>
                      <a:pt x="62" y="79"/>
                      <a:pt x="61" y="81"/>
                      <a:pt x="60" y="83"/>
                    </a:cubicBezTo>
                    <a:cubicBezTo>
                      <a:pt x="58" y="86"/>
                      <a:pt x="57" y="89"/>
                      <a:pt x="57" y="92"/>
                    </a:cubicBezTo>
                    <a:cubicBezTo>
                      <a:pt x="57" y="94"/>
                      <a:pt x="58" y="96"/>
                      <a:pt x="58" y="98"/>
                    </a:cubicBezTo>
                    <a:cubicBezTo>
                      <a:pt x="57" y="99"/>
                      <a:pt x="56" y="100"/>
                      <a:pt x="56" y="101"/>
                    </a:cubicBezTo>
                    <a:cubicBezTo>
                      <a:pt x="54" y="104"/>
                      <a:pt x="51" y="108"/>
                      <a:pt x="49" y="113"/>
                    </a:cubicBezTo>
                    <a:cubicBezTo>
                      <a:pt x="47" y="117"/>
                      <a:pt x="45" y="122"/>
                      <a:pt x="45" y="127"/>
                    </a:cubicBezTo>
                    <a:cubicBezTo>
                      <a:pt x="45" y="130"/>
                      <a:pt x="45" y="133"/>
                      <a:pt x="45" y="136"/>
                    </a:cubicBezTo>
                    <a:cubicBezTo>
                      <a:pt x="45" y="137"/>
                      <a:pt x="45" y="139"/>
                      <a:pt x="45" y="140"/>
                    </a:cubicBezTo>
                    <a:cubicBezTo>
                      <a:pt x="44" y="142"/>
                      <a:pt x="43" y="142"/>
                      <a:pt x="42" y="141"/>
                    </a:cubicBezTo>
                    <a:cubicBezTo>
                      <a:pt x="41" y="140"/>
                      <a:pt x="40" y="139"/>
                      <a:pt x="40" y="138"/>
                    </a:cubicBezTo>
                    <a:cubicBezTo>
                      <a:pt x="37" y="134"/>
                      <a:pt x="37" y="130"/>
                      <a:pt x="37" y="125"/>
                    </a:cubicBezTo>
                    <a:cubicBezTo>
                      <a:pt x="37" y="124"/>
                      <a:pt x="38" y="122"/>
                      <a:pt x="38" y="121"/>
                    </a:cubicBezTo>
                    <a:cubicBezTo>
                      <a:pt x="38" y="121"/>
                      <a:pt x="37" y="121"/>
                      <a:pt x="37" y="121"/>
                    </a:cubicBezTo>
                    <a:cubicBezTo>
                      <a:pt x="37" y="122"/>
                      <a:pt x="37" y="122"/>
                      <a:pt x="36" y="123"/>
                    </a:cubicBezTo>
                    <a:cubicBezTo>
                      <a:pt x="35" y="127"/>
                      <a:pt x="35" y="131"/>
                      <a:pt x="36" y="135"/>
                    </a:cubicBezTo>
                    <a:cubicBezTo>
                      <a:pt x="37" y="138"/>
                      <a:pt x="37" y="141"/>
                      <a:pt x="40" y="143"/>
                    </a:cubicBezTo>
                    <a:cubicBezTo>
                      <a:pt x="44" y="146"/>
                      <a:pt x="47" y="150"/>
                      <a:pt x="51" y="153"/>
                    </a:cubicBezTo>
                    <a:cubicBezTo>
                      <a:pt x="56" y="157"/>
                      <a:pt x="61" y="161"/>
                      <a:pt x="66" y="165"/>
                    </a:cubicBezTo>
                    <a:cubicBezTo>
                      <a:pt x="69" y="167"/>
                      <a:pt x="69" y="170"/>
                      <a:pt x="69" y="172"/>
                    </a:cubicBezTo>
                    <a:cubicBezTo>
                      <a:pt x="68" y="175"/>
                      <a:pt x="66" y="177"/>
                      <a:pt x="64" y="177"/>
                    </a:cubicBezTo>
                    <a:cubicBezTo>
                      <a:pt x="63" y="178"/>
                      <a:pt x="63" y="178"/>
                      <a:pt x="62" y="178"/>
                    </a:cubicBezTo>
                    <a:cubicBezTo>
                      <a:pt x="63" y="180"/>
                      <a:pt x="64" y="182"/>
                      <a:pt x="65" y="183"/>
                    </a:cubicBezTo>
                    <a:cubicBezTo>
                      <a:pt x="67" y="186"/>
                      <a:pt x="69" y="189"/>
                      <a:pt x="69" y="192"/>
                    </a:cubicBezTo>
                    <a:cubicBezTo>
                      <a:pt x="69" y="194"/>
                      <a:pt x="69" y="196"/>
                      <a:pt x="70" y="197"/>
                    </a:cubicBezTo>
                    <a:cubicBezTo>
                      <a:pt x="70" y="197"/>
                      <a:pt x="70" y="197"/>
                      <a:pt x="70" y="197"/>
                    </a:cubicBezTo>
                    <a:cubicBezTo>
                      <a:pt x="72" y="196"/>
                      <a:pt x="72" y="193"/>
                      <a:pt x="72" y="191"/>
                    </a:cubicBezTo>
                    <a:cubicBezTo>
                      <a:pt x="71" y="188"/>
                      <a:pt x="70" y="186"/>
                      <a:pt x="68" y="184"/>
                    </a:cubicBezTo>
                    <a:cubicBezTo>
                      <a:pt x="68" y="184"/>
                      <a:pt x="68" y="183"/>
                      <a:pt x="68" y="183"/>
                    </a:cubicBezTo>
                    <a:cubicBezTo>
                      <a:pt x="69" y="181"/>
                      <a:pt x="71" y="181"/>
                      <a:pt x="72" y="182"/>
                    </a:cubicBezTo>
                    <a:cubicBezTo>
                      <a:pt x="74" y="184"/>
                      <a:pt x="76" y="185"/>
                      <a:pt x="79" y="186"/>
                    </a:cubicBezTo>
                    <a:cubicBezTo>
                      <a:pt x="85" y="187"/>
                      <a:pt x="91" y="187"/>
                      <a:pt x="96" y="185"/>
                    </a:cubicBezTo>
                    <a:cubicBezTo>
                      <a:pt x="101" y="184"/>
                      <a:pt x="105" y="183"/>
                      <a:pt x="109" y="179"/>
                    </a:cubicBezTo>
                    <a:cubicBezTo>
                      <a:pt x="110" y="178"/>
                      <a:pt x="112" y="176"/>
                      <a:pt x="113" y="174"/>
                    </a:cubicBezTo>
                    <a:cubicBezTo>
                      <a:pt x="114" y="173"/>
                      <a:pt x="115" y="173"/>
                      <a:pt x="115" y="173"/>
                    </a:cubicBezTo>
                    <a:cubicBezTo>
                      <a:pt x="116" y="173"/>
                      <a:pt x="116" y="174"/>
                      <a:pt x="116" y="175"/>
                    </a:cubicBezTo>
                    <a:cubicBezTo>
                      <a:pt x="117" y="178"/>
                      <a:pt x="116" y="182"/>
                      <a:pt x="115" y="186"/>
                    </a:cubicBezTo>
                    <a:cubicBezTo>
                      <a:pt x="114" y="188"/>
                      <a:pt x="114" y="190"/>
                      <a:pt x="113" y="193"/>
                    </a:cubicBezTo>
                    <a:cubicBezTo>
                      <a:pt x="113" y="195"/>
                      <a:pt x="114" y="195"/>
                      <a:pt x="116" y="196"/>
                    </a:cubicBezTo>
                    <a:cubicBezTo>
                      <a:pt x="117" y="191"/>
                      <a:pt x="118" y="187"/>
                      <a:pt x="118" y="182"/>
                    </a:cubicBezTo>
                    <a:cubicBezTo>
                      <a:pt x="119" y="179"/>
                      <a:pt x="120" y="175"/>
                      <a:pt x="119" y="171"/>
                    </a:cubicBezTo>
                    <a:cubicBezTo>
                      <a:pt x="119" y="167"/>
                      <a:pt x="118" y="164"/>
                      <a:pt x="118" y="160"/>
                    </a:cubicBezTo>
                    <a:cubicBezTo>
                      <a:pt x="117" y="157"/>
                      <a:pt x="118" y="153"/>
                      <a:pt x="119" y="150"/>
                    </a:cubicBezTo>
                    <a:cubicBezTo>
                      <a:pt x="120" y="148"/>
                      <a:pt x="122" y="146"/>
                      <a:pt x="125" y="146"/>
                    </a:cubicBezTo>
                    <a:cubicBezTo>
                      <a:pt x="126" y="146"/>
                      <a:pt x="126" y="146"/>
                      <a:pt x="126" y="146"/>
                    </a:cubicBezTo>
                    <a:cubicBezTo>
                      <a:pt x="127" y="142"/>
                      <a:pt x="128" y="140"/>
                      <a:pt x="132" y="139"/>
                    </a:cubicBezTo>
                    <a:cubicBezTo>
                      <a:pt x="137" y="138"/>
                      <a:pt x="141" y="139"/>
                      <a:pt x="146" y="141"/>
                    </a:cubicBezTo>
                    <a:cubicBezTo>
                      <a:pt x="144" y="138"/>
                      <a:pt x="142" y="138"/>
                      <a:pt x="139" y="136"/>
                    </a:cubicBezTo>
                    <a:cubicBezTo>
                      <a:pt x="145" y="119"/>
                      <a:pt x="135" y="97"/>
                      <a:pt x="126" y="92"/>
                    </a:cubicBezTo>
                    <a:cubicBezTo>
                      <a:pt x="130" y="98"/>
                      <a:pt x="134" y="104"/>
                      <a:pt x="136" y="110"/>
                    </a:cubicBezTo>
                    <a:cubicBezTo>
                      <a:pt x="138" y="117"/>
                      <a:pt x="140" y="124"/>
                      <a:pt x="138" y="131"/>
                    </a:cubicBezTo>
                    <a:cubicBezTo>
                      <a:pt x="138" y="136"/>
                      <a:pt x="136" y="138"/>
                      <a:pt x="132" y="138"/>
                    </a:cubicBezTo>
                    <a:cubicBezTo>
                      <a:pt x="129" y="138"/>
                      <a:pt x="128" y="137"/>
                      <a:pt x="127" y="135"/>
                    </a:cubicBezTo>
                    <a:cubicBezTo>
                      <a:pt x="127" y="133"/>
                      <a:pt x="127" y="131"/>
                      <a:pt x="127" y="129"/>
                    </a:cubicBezTo>
                    <a:cubicBezTo>
                      <a:pt x="127" y="122"/>
                      <a:pt x="126" y="114"/>
                      <a:pt x="124" y="107"/>
                    </a:cubicBezTo>
                    <a:cubicBezTo>
                      <a:pt x="122" y="103"/>
                      <a:pt x="121" y="98"/>
                      <a:pt x="117" y="95"/>
                    </a:cubicBezTo>
                    <a:cubicBezTo>
                      <a:pt x="117" y="95"/>
                      <a:pt x="117" y="94"/>
                      <a:pt x="116" y="94"/>
                    </a:cubicBezTo>
                    <a:cubicBezTo>
                      <a:pt x="115" y="86"/>
                      <a:pt x="112" y="79"/>
                      <a:pt x="107" y="73"/>
                    </a:cubicBezTo>
                    <a:cubicBezTo>
                      <a:pt x="105" y="70"/>
                      <a:pt x="105" y="67"/>
                      <a:pt x="105" y="64"/>
                    </a:cubicBezTo>
                    <a:cubicBezTo>
                      <a:pt x="106" y="62"/>
                      <a:pt x="106" y="61"/>
                      <a:pt x="106" y="59"/>
                    </a:cubicBezTo>
                    <a:cubicBezTo>
                      <a:pt x="107" y="56"/>
                      <a:pt x="106" y="54"/>
                      <a:pt x="103" y="54"/>
                    </a:cubicBezTo>
                    <a:cubicBezTo>
                      <a:pt x="100" y="53"/>
                      <a:pt x="97" y="51"/>
                      <a:pt x="94" y="50"/>
                    </a:cubicBezTo>
                    <a:cubicBezTo>
                      <a:pt x="91" y="49"/>
                      <a:pt x="90" y="47"/>
                      <a:pt x="91" y="45"/>
                    </a:cubicBezTo>
                    <a:cubicBezTo>
                      <a:pt x="91" y="43"/>
                      <a:pt x="91" y="42"/>
                      <a:pt x="91" y="40"/>
                    </a:cubicBezTo>
                    <a:cubicBezTo>
                      <a:pt x="92" y="38"/>
                      <a:pt x="94" y="36"/>
                      <a:pt x="97" y="37"/>
                    </a:cubicBezTo>
                    <a:cubicBezTo>
                      <a:pt x="99" y="37"/>
                      <a:pt x="100" y="38"/>
                      <a:pt x="101" y="40"/>
                    </a:cubicBezTo>
                    <a:cubicBezTo>
                      <a:pt x="103" y="42"/>
                      <a:pt x="103" y="45"/>
                      <a:pt x="102" y="48"/>
                    </a:cubicBezTo>
                    <a:cubicBezTo>
                      <a:pt x="101" y="49"/>
                      <a:pt x="101" y="50"/>
                      <a:pt x="102" y="50"/>
                    </a:cubicBezTo>
                    <a:cubicBezTo>
                      <a:pt x="104" y="51"/>
                      <a:pt x="106" y="50"/>
                      <a:pt x="107" y="48"/>
                    </a:cubicBezTo>
                    <a:cubicBezTo>
                      <a:pt x="107" y="44"/>
                      <a:pt x="107" y="40"/>
                      <a:pt x="105" y="36"/>
                    </a:cubicBezTo>
                    <a:cubicBezTo>
                      <a:pt x="103" y="32"/>
                      <a:pt x="99" y="29"/>
                      <a:pt x="96" y="30"/>
                    </a:cubicBezTo>
                    <a:cubicBezTo>
                      <a:pt x="91" y="31"/>
                      <a:pt x="87" y="33"/>
                      <a:pt x="87" y="38"/>
                    </a:cubicBezTo>
                    <a:cubicBezTo>
                      <a:pt x="86" y="39"/>
                      <a:pt x="86" y="41"/>
                      <a:pt x="86" y="42"/>
                    </a:cubicBezTo>
                    <a:cubicBezTo>
                      <a:pt x="86" y="44"/>
                      <a:pt x="87" y="45"/>
                      <a:pt x="87" y="47"/>
                    </a:cubicBezTo>
                    <a:cubicBezTo>
                      <a:pt x="85" y="46"/>
                      <a:pt x="82" y="46"/>
                      <a:pt x="80" y="46"/>
                    </a:cubicBezTo>
                    <a:cubicBezTo>
                      <a:pt x="80" y="46"/>
                      <a:pt x="80" y="46"/>
                      <a:pt x="79" y="46"/>
                    </a:cubicBezTo>
                    <a:cubicBezTo>
                      <a:pt x="78" y="46"/>
                      <a:pt x="77" y="46"/>
                      <a:pt x="77" y="44"/>
                    </a:cubicBezTo>
                    <a:cubicBezTo>
                      <a:pt x="77" y="42"/>
                      <a:pt x="77" y="39"/>
                      <a:pt x="76" y="36"/>
                    </a:cubicBezTo>
                    <a:cubicBezTo>
                      <a:pt x="76" y="36"/>
                      <a:pt x="76" y="35"/>
                      <a:pt x="75" y="35"/>
                    </a:cubicBezTo>
                    <a:cubicBezTo>
                      <a:pt x="74" y="33"/>
                      <a:pt x="73" y="31"/>
                      <a:pt x="70" y="31"/>
                    </a:cubicBezTo>
                    <a:cubicBezTo>
                      <a:pt x="68" y="31"/>
                      <a:pt x="66" y="33"/>
                      <a:pt x="65" y="35"/>
                    </a:cubicBezTo>
                    <a:cubicBezTo>
                      <a:pt x="63" y="40"/>
                      <a:pt x="63" y="45"/>
                      <a:pt x="66" y="50"/>
                    </a:cubicBezTo>
                    <a:cubicBezTo>
                      <a:pt x="66" y="50"/>
                      <a:pt x="67" y="51"/>
                      <a:pt x="67" y="51"/>
                    </a:cubicBezTo>
                    <a:cubicBezTo>
                      <a:pt x="68" y="51"/>
                      <a:pt x="69" y="50"/>
                      <a:pt x="69" y="49"/>
                    </a:cubicBezTo>
                    <a:cubicBezTo>
                      <a:pt x="68" y="49"/>
                      <a:pt x="67" y="48"/>
                      <a:pt x="67" y="47"/>
                    </a:cubicBezTo>
                    <a:cubicBezTo>
                      <a:pt x="65" y="45"/>
                      <a:pt x="65" y="43"/>
                      <a:pt x="66" y="40"/>
                    </a:cubicBezTo>
                    <a:cubicBezTo>
                      <a:pt x="67" y="37"/>
                      <a:pt x="70" y="36"/>
                      <a:pt x="72" y="38"/>
                    </a:cubicBezTo>
                    <a:cubicBezTo>
                      <a:pt x="74" y="40"/>
                      <a:pt x="74" y="42"/>
                      <a:pt x="75" y="44"/>
                    </a:cubicBezTo>
                    <a:cubicBezTo>
                      <a:pt x="75" y="46"/>
                      <a:pt x="74" y="47"/>
                      <a:pt x="73" y="48"/>
                    </a:cubicBezTo>
                    <a:cubicBezTo>
                      <a:pt x="72" y="48"/>
                      <a:pt x="72" y="49"/>
                      <a:pt x="72" y="49"/>
                    </a:cubicBezTo>
                    <a:cubicBezTo>
                      <a:pt x="70" y="51"/>
                      <a:pt x="68" y="53"/>
                      <a:pt x="66" y="54"/>
                    </a:cubicBezTo>
                    <a:cubicBezTo>
                      <a:pt x="65" y="54"/>
                      <a:pt x="64" y="56"/>
                      <a:pt x="64" y="57"/>
                    </a:cubicBezTo>
                    <a:cubicBezTo>
                      <a:pt x="63" y="58"/>
                      <a:pt x="64" y="59"/>
                      <a:pt x="65" y="60"/>
                    </a:cubicBezTo>
                    <a:cubicBezTo>
                      <a:pt x="66" y="61"/>
                      <a:pt x="67" y="61"/>
                      <a:pt x="68" y="63"/>
                    </a:cubicBezTo>
                    <a:cubicBezTo>
                      <a:pt x="70" y="66"/>
                      <a:pt x="74" y="67"/>
                      <a:pt x="77" y="66"/>
                    </a:cubicBezTo>
                    <a:cubicBezTo>
                      <a:pt x="82" y="66"/>
                      <a:pt x="86" y="65"/>
                      <a:pt x="90" y="64"/>
                    </a:cubicBezTo>
                    <a:cubicBezTo>
                      <a:pt x="94" y="63"/>
                      <a:pt x="98" y="62"/>
                      <a:pt x="101" y="58"/>
                    </a:cubicBezTo>
                    <a:cubicBezTo>
                      <a:pt x="101" y="58"/>
                      <a:pt x="102" y="58"/>
                      <a:pt x="102" y="58"/>
                    </a:cubicBezTo>
                    <a:cubicBezTo>
                      <a:pt x="103" y="59"/>
                      <a:pt x="103" y="60"/>
                      <a:pt x="103" y="60"/>
                    </a:cubicBezTo>
                    <a:cubicBezTo>
                      <a:pt x="103" y="61"/>
                      <a:pt x="102" y="61"/>
                      <a:pt x="101" y="61"/>
                    </a:cubicBezTo>
                    <a:cubicBezTo>
                      <a:pt x="96" y="63"/>
                      <a:pt x="91" y="66"/>
                      <a:pt x="86" y="68"/>
                    </a:cubicBezTo>
                    <a:cubicBezTo>
                      <a:pt x="82" y="69"/>
                      <a:pt x="78" y="70"/>
                      <a:pt x="74" y="69"/>
                    </a:cubicBezTo>
                    <a:cubicBezTo>
                      <a:pt x="73" y="69"/>
                      <a:pt x="72" y="69"/>
                      <a:pt x="71" y="69"/>
                    </a:cubicBezTo>
                    <a:close/>
                    <a:moveTo>
                      <a:pt x="73" y="45"/>
                    </a:moveTo>
                    <a:cubicBezTo>
                      <a:pt x="73" y="43"/>
                      <a:pt x="73" y="42"/>
                      <a:pt x="71" y="40"/>
                    </a:cubicBezTo>
                    <a:cubicBezTo>
                      <a:pt x="71" y="40"/>
                      <a:pt x="71" y="40"/>
                      <a:pt x="70" y="40"/>
                    </a:cubicBezTo>
                    <a:cubicBezTo>
                      <a:pt x="70" y="40"/>
                      <a:pt x="70" y="41"/>
                      <a:pt x="70" y="41"/>
                    </a:cubicBezTo>
                    <a:cubicBezTo>
                      <a:pt x="72" y="42"/>
                      <a:pt x="71" y="43"/>
                      <a:pt x="71" y="44"/>
                    </a:cubicBezTo>
                    <a:cubicBezTo>
                      <a:pt x="71" y="45"/>
                      <a:pt x="71" y="45"/>
                      <a:pt x="73" y="45"/>
                    </a:cubicBezTo>
                    <a:close/>
                    <a:moveTo>
                      <a:pt x="97" y="40"/>
                    </a:moveTo>
                    <a:cubicBezTo>
                      <a:pt x="99" y="40"/>
                      <a:pt x="99" y="42"/>
                      <a:pt x="100" y="44"/>
                    </a:cubicBezTo>
                    <a:cubicBezTo>
                      <a:pt x="100" y="43"/>
                      <a:pt x="101" y="43"/>
                      <a:pt x="101" y="43"/>
                    </a:cubicBezTo>
                    <a:cubicBezTo>
                      <a:pt x="101" y="41"/>
                      <a:pt x="100" y="40"/>
                      <a:pt x="99" y="39"/>
                    </a:cubicBezTo>
                    <a:cubicBezTo>
                      <a:pt x="98" y="39"/>
                      <a:pt x="97" y="39"/>
                      <a:pt x="97" y="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5" name="Freeform 122"/>
              <p:cNvSpPr>
                <a:spLocks/>
              </p:cNvSpPr>
              <p:nvPr userDrawn="1"/>
            </p:nvSpPr>
            <p:spPr bwMode="auto">
              <a:xfrm>
                <a:off x="4080" y="3708"/>
                <a:ext cx="3" cy="3"/>
              </a:xfrm>
              <a:custGeom>
                <a:avLst/>
                <a:gdLst>
                  <a:gd name="T0" fmla="*/ 2 w 2"/>
                  <a:gd name="T1" fmla="*/ 0 h 2"/>
                  <a:gd name="T2" fmla="*/ 1 w 2"/>
                  <a:gd name="T3" fmla="*/ 2 h 2"/>
                  <a:gd name="T4" fmla="*/ 0 w 2"/>
                  <a:gd name="T5" fmla="*/ 2 h 2"/>
                  <a:gd name="T6" fmla="*/ 0 w 2"/>
                  <a:gd name="T7" fmla="*/ 1 h 2"/>
                  <a:gd name="T8" fmla="*/ 2 w 2"/>
                  <a:gd name="T9" fmla="*/ 0 h 2"/>
                  <a:gd name="T10" fmla="*/ 2 w 2"/>
                  <a:gd name="T11" fmla="*/ 0 h 2"/>
                </a:gdLst>
                <a:ahLst/>
                <a:cxnLst>
                  <a:cxn ang="0">
                    <a:pos x="T0" y="T1"/>
                  </a:cxn>
                  <a:cxn ang="0">
                    <a:pos x="T2" y="T3"/>
                  </a:cxn>
                  <a:cxn ang="0">
                    <a:pos x="T4" y="T5"/>
                  </a:cxn>
                  <a:cxn ang="0">
                    <a:pos x="T6" y="T7"/>
                  </a:cxn>
                  <a:cxn ang="0">
                    <a:pos x="T8" y="T9"/>
                  </a:cxn>
                  <a:cxn ang="0">
                    <a:pos x="T10" y="T11"/>
                  </a:cxn>
                </a:cxnLst>
                <a:rect l="0" t="0" r="r" b="b"/>
                <a:pathLst>
                  <a:path w="2" h="2">
                    <a:moveTo>
                      <a:pt x="2" y="0"/>
                    </a:moveTo>
                    <a:cubicBezTo>
                      <a:pt x="2" y="1"/>
                      <a:pt x="1" y="1"/>
                      <a:pt x="1" y="2"/>
                    </a:cubicBezTo>
                    <a:cubicBezTo>
                      <a:pt x="1" y="2"/>
                      <a:pt x="0" y="2"/>
                      <a:pt x="0" y="2"/>
                    </a:cubicBezTo>
                    <a:cubicBezTo>
                      <a:pt x="0" y="2"/>
                      <a:pt x="0" y="1"/>
                      <a:pt x="0" y="1"/>
                    </a:cubicBezTo>
                    <a:cubicBezTo>
                      <a:pt x="0" y="0"/>
                      <a:pt x="1" y="0"/>
                      <a:pt x="2" y="0"/>
                    </a:cubicBezTo>
                    <a:cubicBezTo>
                      <a:pt x="2" y="0"/>
                      <a:pt x="2" y="0"/>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6" name="Freeform 123"/>
              <p:cNvSpPr>
                <a:spLocks/>
              </p:cNvSpPr>
              <p:nvPr userDrawn="1"/>
            </p:nvSpPr>
            <p:spPr bwMode="auto">
              <a:xfrm>
                <a:off x="4093" y="3708"/>
                <a:ext cx="3" cy="3"/>
              </a:xfrm>
              <a:custGeom>
                <a:avLst/>
                <a:gdLst>
                  <a:gd name="T0" fmla="*/ 0 w 3"/>
                  <a:gd name="T1" fmla="*/ 0 h 2"/>
                  <a:gd name="T2" fmla="*/ 3 w 3"/>
                  <a:gd name="T3" fmla="*/ 0 h 2"/>
                  <a:gd name="T4" fmla="*/ 3 w 3"/>
                  <a:gd name="T5" fmla="*/ 1 h 2"/>
                  <a:gd name="T6" fmla="*/ 2 w 3"/>
                  <a:gd name="T7" fmla="*/ 1 h 2"/>
                  <a:gd name="T8" fmla="*/ 0 w 3"/>
                  <a:gd name="T9" fmla="*/ 0 h 2"/>
                </a:gdLst>
                <a:ahLst/>
                <a:cxnLst>
                  <a:cxn ang="0">
                    <a:pos x="T0" y="T1"/>
                  </a:cxn>
                  <a:cxn ang="0">
                    <a:pos x="T2" y="T3"/>
                  </a:cxn>
                  <a:cxn ang="0">
                    <a:pos x="T4" y="T5"/>
                  </a:cxn>
                  <a:cxn ang="0">
                    <a:pos x="T6" y="T7"/>
                  </a:cxn>
                  <a:cxn ang="0">
                    <a:pos x="T8" y="T9"/>
                  </a:cxn>
                </a:cxnLst>
                <a:rect l="0" t="0" r="r" b="b"/>
                <a:pathLst>
                  <a:path w="3" h="2">
                    <a:moveTo>
                      <a:pt x="0" y="0"/>
                    </a:moveTo>
                    <a:cubicBezTo>
                      <a:pt x="1" y="0"/>
                      <a:pt x="2" y="0"/>
                      <a:pt x="3" y="0"/>
                    </a:cubicBezTo>
                    <a:cubicBezTo>
                      <a:pt x="3" y="0"/>
                      <a:pt x="3" y="1"/>
                      <a:pt x="3" y="1"/>
                    </a:cubicBezTo>
                    <a:cubicBezTo>
                      <a:pt x="3" y="1"/>
                      <a:pt x="2" y="2"/>
                      <a:pt x="2" y="1"/>
                    </a:cubicBezTo>
                    <a:cubicBezTo>
                      <a:pt x="1" y="1"/>
                      <a:pt x="1" y="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7" name="Freeform 124"/>
              <p:cNvSpPr>
                <a:spLocks/>
              </p:cNvSpPr>
              <p:nvPr userDrawn="1"/>
            </p:nvSpPr>
            <p:spPr bwMode="auto">
              <a:xfrm>
                <a:off x="2044" y="4022"/>
                <a:ext cx="83" cy="244"/>
              </a:xfrm>
              <a:custGeom>
                <a:avLst/>
                <a:gdLst>
                  <a:gd name="T0" fmla="*/ 68 w 68"/>
                  <a:gd name="T1" fmla="*/ 200 h 200"/>
                  <a:gd name="T2" fmla="*/ 46 w 68"/>
                  <a:gd name="T3" fmla="*/ 200 h 200"/>
                  <a:gd name="T4" fmla="*/ 46 w 68"/>
                  <a:gd name="T5" fmla="*/ 31 h 200"/>
                  <a:gd name="T6" fmla="*/ 38 w 68"/>
                  <a:gd name="T7" fmla="*/ 37 h 200"/>
                  <a:gd name="T8" fmla="*/ 27 w 68"/>
                  <a:gd name="T9" fmla="*/ 44 h 200"/>
                  <a:gd name="T10" fmla="*/ 14 w 68"/>
                  <a:gd name="T11" fmla="*/ 50 h 200"/>
                  <a:gd name="T12" fmla="*/ 0 w 68"/>
                  <a:gd name="T13" fmla="*/ 54 h 200"/>
                  <a:gd name="T14" fmla="*/ 0 w 68"/>
                  <a:gd name="T15" fmla="*/ 32 h 200"/>
                  <a:gd name="T16" fmla="*/ 16 w 68"/>
                  <a:gd name="T17" fmla="*/ 26 h 200"/>
                  <a:gd name="T18" fmla="*/ 32 w 68"/>
                  <a:gd name="T19" fmla="*/ 18 h 200"/>
                  <a:gd name="T20" fmla="*/ 47 w 68"/>
                  <a:gd name="T21" fmla="*/ 9 h 200"/>
                  <a:gd name="T22" fmla="*/ 60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6" y="200"/>
                      <a:pt x="46" y="200"/>
                      <a:pt x="46" y="200"/>
                    </a:cubicBezTo>
                    <a:cubicBezTo>
                      <a:pt x="46" y="31"/>
                      <a:pt x="46" y="31"/>
                      <a:pt x="46" y="31"/>
                    </a:cubicBezTo>
                    <a:cubicBezTo>
                      <a:pt x="44" y="33"/>
                      <a:pt x="41" y="35"/>
                      <a:pt x="38" y="37"/>
                    </a:cubicBezTo>
                    <a:cubicBezTo>
                      <a:pt x="35" y="39"/>
                      <a:pt x="31" y="41"/>
                      <a:pt x="27" y="44"/>
                    </a:cubicBezTo>
                    <a:cubicBezTo>
                      <a:pt x="23" y="46"/>
                      <a:pt x="18" y="48"/>
                      <a:pt x="14" y="50"/>
                    </a:cubicBezTo>
                    <a:cubicBezTo>
                      <a:pt x="9" y="52"/>
                      <a:pt x="5" y="53"/>
                      <a:pt x="0" y="54"/>
                    </a:cubicBezTo>
                    <a:cubicBezTo>
                      <a:pt x="0" y="32"/>
                      <a:pt x="0" y="32"/>
                      <a:pt x="0" y="32"/>
                    </a:cubicBezTo>
                    <a:cubicBezTo>
                      <a:pt x="5" y="30"/>
                      <a:pt x="10" y="28"/>
                      <a:pt x="16" y="26"/>
                    </a:cubicBezTo>
                    <a:cubicBezTo>
                      <a:pt x="21" y="24"/>
                      <a:pt x="27" y="21"/>
                      <a:pt x="32" y="18"/>
                    </a:cubicBezTo>
                    <a:cubicBezTo>
                      <a:pt x="38" y="15"/>
                      <a:pt x="43" y="12"/>
                      <a:pt x="47" y="9"/>
                    </a:cubicBezTo>
                    <a:cubicBezTo>
                      <a:pt x="52" y="6"/>
                      <a:pt x="56" y="3"/>
                      <a:pt x="60"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8" name="Freeform 125"/>
              <p:cNvSpPr>
                <a:spLocks noEditPoints="1"/>
              </p:cNvSpPr>
              <p:nvPr userDrawn="1"/>
            </p:nvSpPr>
            <p:spPr bwMode="auto">
              <a:xfrm>
                <a:off x="2193" y="4023"/>
                <a:ext cx="156" cy="248"/>
              </a:xfrm>
              <a:custGeom>
                <a:avLst/>
                <a:gdLst>
                  <a:gd name="T0" fmla="*/ 128 w 128"/>
                  <a:gd name="T1" fmla="*/ 101 h 203"/>
                  <a:gd name="T2" fmla="*/ 123 w 128"/>
                  <a:gd name="T3" fmla="*/ 144 h 203"/>
                  <a:gd name="T4" fmla="*/ 110 w 128"/>
                  <a:gd name="T5" fmla="*/ 176 h 203"/>
                  <a:gd name="T6" fmla="*/ 90 w 128"/>
                  <a:gd name="T7" fmla="*/ 196 h 203"/>
                  <a:gd name="T8" fmla="*/ 62 w 128"/>
                  <a:gd name="T9" fmla="*/ 203 h 203"/>
                  <a:gd name="T10" fmla="*/ 36 w 128"/>
                  <a:gd name="T11" fmla="*/ 196 h 203"/>
                  <a:gd name="T12" fmla="*/ 16 w 128"/>
                  <a:gd name="T13" fmla="*/ 177 h 203"/>
                  <a:gd name="T14" fmla="*/ 4 w 128"/>
                  <a:gd name="T15" fmla="*/ 147 h 203"/>
                  <a:gd name="T16" fmla="*/ 0 w 128"/>
                  <a:gd name="T17" fmla="*/ 105 h 203"/>
                  <a:gd name="T18" fmla="*/ 4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4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6" y="132"/>
                      <a:pt x="123" y="144"/>
                    </a:cubicBezTo>
                    <a:cubicBezTo>
                      <a:pt x="120" y="157"/>
                      <a:pt x="116" y="168"/>
                      <a:pt x="110" y="176"/>
                    </a:cubicBezTo>
                    <a:cubicBezTo>
                      <a:pt x="105" y="185"/>
                      <a:pt x="98" y="192"/>
                      <a:pt x="90" y="196"/>
                    </a:cubicBezTo>
                    <a:cubicBezTo>
                      <a:pt x="82" y="201"/>
                      <a:pt x="72" y="203"/>
                      <a:pt x="62" y="203"/>
                    </a:cubicBezTo>
                    <a:cubicBezTo>
                      <a:pt x="52" y="203"/>
                      <a:pt x="43" y="201"/>
                      <a:pt x="36" y="196"/>
                    </a:cubicBezTo>
                    <a:cubicBezTo>
                      <a:pt x="28" y="192"/>
                      <a:pt x="21" y="186"/>
                      <a:pt x="16" y="177"/>
                    </a:cubicBezTo>
                    <a:cubicBezTo>
                      <a:pt x="11" y="169"/>
                      <a:pt x="7" y="159"/>
                      <a:pt x="4" y="147"/>
                    </a:cubicBezTo>
                    <a:cubicBezTo>
                      <a:pt x="1" y="135"/>
                      <a:pt x="0" y="121"/>
                      <a:pt x="0" y="105"/>
                    </a:cubicBezTo>
                    <a:cubicBezTo>
                      <a:pt x="0" y="88"/>
                      <a:pt x="1" y="73"/>
                      <a:pt x="4" y="60"/>
                    </a:cubicBezTo>
                    <a:cubicBezTo>
                      <a:pt x="7" y="47"/>
                      <a:pt x="11" y="36"/>
                      <a:pt x="17" y="27"/>
                    </a:cubicBezTo>
                    <a:cubicBezTo>
                      <a:pt x="22" y="18"/>
                      <a:pt x="29" y="11"/>
                      <a:pt x="38" y="7"/>
                    </a:cubicBezTo>
                    <a:cubicBezTo>
                      <a:pt x="46" y="2"/>
                      <a:pt x="55" y="0"/>
                      <a:pt x="66" y="0"/>
                    </a:cubicBezTo>
                    <a:cubicBezTo>
                      <a:pt x="107" y="0"/>
                      <a:pt x="128" y="34"/>
                      <a:pt x="128" y="101"/>
                    </a:cubicBezTo>
                    <a:close/>
                    <a:moveTo>
                      <a:pt x="105" y="103"/>
                    </a:moveTo>
                    <a:cubicBezTo>
                      <a:pt x="105" y="47"/>
                      <a:pt x="91" y="19"/>
                      <a:pt x="65" y="19"/>
                    </a:cubicBezTo>
                    <a:cubicBezTo>
                      <a:pt x="37" y="19"/>
                      <a:pt x="23" y="48"/>
                      <a:pt x="23" y="104"/>
                    </a:cubicBezTo>
                    <a:cubicBezTo>
                      <a:pt x="23" y="157"/>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9" name="Freeform 126"/>
              <p:cNvSpPr>
                <a:spLocks noEditPoints="1"/>
              </p:cNvSpPr>
              <p:nvPr userDrawn="1"/>
            </p:nvSpPr>
            <p:spPr bwMode="auto">
              <a:xfrm>
                <a:off x="2388" y="4023"/>
                <a:ext cx="156" cy="248"/>
              </a:xfrm>
              <a:custGeom>
                <a:avLst/>
                <a:gdLst>
                  <a:gd name="T0" fmla="*/ 128 w 128"/>
                  <a:gd name="T1" fmla="*/ 101 h 203"/>
                  <a:gd name="T2" fmla="*/ 123 w 128"/>
                  <a:gd name="T3" fmla="*/ 144 h 203"/>
                  <a:gd name="T4" fmla="*/ 110 w 128"/>
                  <a:gd name="T5" fmla="*/ 176 h 203"/>
                  <a:gd name="T6" fmla="*/ 90 w 128"/>
                  <a:gd name="T7" fmla="*/ 196 h 203"/>
                  <a:gd name="T8" fmla="*/ 62 w 128"/>
                  <a:gd name="T9" fmla="*/ 203 h 203"/>
                  <a:gd name="T10" fmla="*/ 36 w 128"/>
                  <a:gd name="T11" fmla="*/ 196 h 203"/>
                  <a:gd name="T12" fmla="*/ 16 w 128"/>
                  <a:gd name="T13" fmla="*/ 177 h 203"/>
                  <a:gd name="T14" fmla="*/ 4 w 128"/>
                  <a:gd name="T15" fmla="*/ 147 h 203"/>
                  <a:gd name="T16" fmla="*/ 0 w 128"/>
                  <a:gd name="T17" fmla="*/ 105 h 203"/>
                  <a:gd name="T18" fmla="*/ 4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4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6" y="132"/>
                      <a:pt x="123" y="144"/>
                    </a:cubicBezTo>
                    <a:cubicBezTo>
                      <a:pt x="120" y="157"/>
                      <a:pt x="116" y="168"/>
                      <a:pt x="110" y="176"/>
                    </a:cubicBezTo>
                    <a:cubicBezTo>
                      <a:pt x="105" y="185"/>
                      <a:pt x="98" y="192"/>
                      <a:pt x="90" y="196"/>
                    </a:cubicBezTo>
                    <a:cubicBezTo>
                      <a:pt x="81" y="201"/>
                      <a:pt x="72" y="203"/>
                      <a:pt x="62" y="203"/>
                    </a:cubicBezTo>
                    <a:cubicBezTo>
                      <a:pt x="52" y="203"/>
                      <a:pt x="43" y="201"/>
                      <a:pt x="36" y="196"/>
                    </a:cubicBezTo>
                    <a:cubicBezTo>
                      <a:pt x="28" y="192"/>
                      <a:pt x="21" y="186"/>
                      <a:pt x="16" y="177"/>
                    </a:cubicBezTo>
                    <a:cubicBezTo>
                      <a:pt x="11" y="169"/>
                      <a:pt x="7" y="159"/>
                      <a:pt x="4" y="147"/>
                    </a:cubicBezTo>
                    <a:cubicBezTo>
                      <a:pt x="1" y="135"/>
                      <a:pt x="0" y="121"/>
                      <a:pt x="0" y="105"/>
                    </a:cubicBezTo>
                    <a:cubicBezTo>
                      <a:pt x="0" y="88"/>
                      <a:pt x="1" y="73"/>
                      <a:pt x="4" y="60"/>
                    </a:cubicBezTo>
                    <a:cubicBezTo>
                      <a:pt x="7" y="47"/>
                      <a:pt x="11" y="36"/>
                      <a:pt x="17" y="27"/>
                    </a:cubicBezTo>
                    <a:cubicBezTo>
                      <a:pt x="22" y="18"/>
                      <a:pt x="29" y="11"/>
                      <a:pt x="38" y="7"/>
                    </a:cubicBezTo>
                    <a:cubicBezTo>
                      <a:pt x="46" y="2"/>
                      <a:pt x="55" y="0"/>
                      <a:pt x="66" y="0"/>
                    </a:cubicBezTo>
                    <a:cubicBezTo>
                      <a:pt x="107" y="0"/>
                      <a:pt x="128" y="34"/>
                      <a:pt x="128" y="101"/>
                    </a:cubicBezTo>
                    <a:close/>
                    <a:moveTo>
                      <a:pt x="105" y="103"/>
                    </a:moveTo>
                    <a:cubicBezTo>
                      <a:pt x="105" y="47"/>
                      <a:pt x="91" y="19"/>
                      <a:pt x="65" y="19"/>
                    </a:cubicBezTo>
                    <a:cubicBezTo>
                      <a:pt x="37" y="19"/>
                      <a:pt x="23" y="48"/>
                      <a:pt x="23" y="104"/>
                    </a:cubicBezTo>
                    <a:cubicBezTo>
                      <a:pt x="23" y="157"/>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0" name="Freeform 127"/>
              <p:cNvSpPr>
                <a:spLocks/>
              </p:cNvSpPr>
              <p:nvPr userDrawn="1"/>
            </p:nvSpPr>
            <p:spPr bwMode="auto">
              <a:xfrm>
                <a:off x="2813" y="4022"/>
                <a:ext cx="83" cy="244"/>
              </a:xfrm>
              <a:custGeom>
                <a:avLst/>
                <a:gdLst>
                  <a:gd name="T0" fmla="*/ 68 w 68"/>
                  <a:gd name="T1" fmla="*/ 200 h 200"/>
                  <a:gd name="T2" fmla="*/ 45 w 68"/>
                  <a:gd name="T3" fmla="*/ 200 h 200"/>
                  <a:gd name="T4" fmla="*/ 45 w 68"/>
                  <a:gd name="T5" fmla="*/ 31 h 200"/>
                  <a:gd name="T6" fmla="*/ 38 w 68"/>
                  <a:gd name="T7" fmla="*/ 37 h 200"/>
                  <a:gd name="T8" fmla="*/ 26 w 68"/>
                  <a:gd name="T9" fmla="*/ 44 h 200"/>
                  <a:gd name="T10" fmla="*/ 13 w 68"/>
                  <a:gd name="T11" fmla="*/ 50 h 200"/>
                  <a:gd name="T12" fmla="*/ 0 w 68"/>
                  <a:gd name="T13" fmla="*/ 54 h 200"/>
                  <a:gd name="T14" fmla="*/ 0 w 68"/>
                  <a:gd name="T15" fmla="*/ 32 h 200"/>
                  <a:gd name="T16" fmla="*/ 15 w 68"/>
                  <a:gd name="T17" fmla="*/ 26 h 200"/>
                  <a:gd name="T18" fmla="*/ 32 w 68"/>
                  <a:gd name="T19" fmla="*/ 18 h 200"/>
                  <a:gd name="T20" fmla="*/ 47 w 68"/>
                  <a:gd name="T21" fmla="*/ 9 h 200"/>
                  <a:gd name="T22" fmla="*/ 59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5" y="200"/>
                      <a:pt x="45" y="200"/>
                      <a:pt x="45" y="200"/>
                    </a:cubicBezTo>
                    <a:cubicBezTo>
                      <a:pt x="45" y="31"/>
                      <a:pt x="45" y="31"/>
                      <a:pt x="45" y="31"/>
                    </a:cubicBezTo>
                    <a:cubicBezTo>
                      <a:pt x="43" y="33"/>
                      <a:pt x="41" y="35"/>
                      <a:pt x="38" y="37"/>
                    </a:cubicBezTo>
                    <a:cubicBezTo>
                      <a:pt x="34" y="39"/>
                      <a:pt x="31" y="41"/>
                      <a:pt x="26" y="44"/>
                    </a:cubicBezTo>
                    <a:cubicBezTo>
                      <a:pt x="22" y="46"/>
                      <a:pt x="18" y="48"/>
                      <a:pt x="13" y="50"/>
                    </a:cubicBezTo>
                    <a:cubicBezTo>
                      <a:pt x="9" y="52"/>
                      <a:pt x="4" y="53"/>
                      <a:pt x="0" y="54"/>
                    </a:cubicBezTo>
                    <a:cubicBezTo>
                      <a:pt x="0" y="32"/>
                      <a:pt x="0" y="32"/>
                      <a:pt x="0" y="32"/>
                    </a:cubicBezTo>
                    <a:cubicBezTo>
                      <a:pt x="5" y="30"/>
                      <a:pt x="10" y="28"/>
                      <a:pt x="15" y="26"/>
                    </a:cubicBezTo>
                    <a:cubicBezTo>
                      <a:pt x="21" y="24"/>
                      <a:pt x="26" y="21"/>
                      <a:pt x="32" y="18"/>
                    </a:cubicBezTo>
                    <a:cubicBezTo>
                      <a:pt x="37" y="15"/>
                      <a:pt x="42" y="12"/>
                      <a:pt x="47" y="9"/>
                    </a:cubicBezTo>
                    <a:cubicBezTo>
                      <a:pt x="52" y="6"/>
                      <a:pt x="56" y="3"/>
                      <a:pt x="59"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1" name="Freeform 128"/>
              <p:cNvSpPr>
                <a:spLocks noEditPoints="1"/>
              </p:cNvSpPr>
              <p:nvPr userDrawn="1"/>
            </p:nvSpPr>
            <p:spPr bwMode="auto">
              <a:xfrm>
                <a:off x="2960" y="4023"/>
                <a:ext cx="156" cy="248"/>
              </a:xfrm>
              <a:custGeom>
                <a:avLst/>
                <a:gdLst>
                  <a:gd name="T0" fmla="*/ 128 w 128"/>
                  <a:gd name="T1" fmla="*/ 101 h 203"/>
                  <a:gd name="T2" fmla="*/ 124 w 128"/>
                  <a:gd name="T3" fmla="*/ 144 h 203"/>
                  <a:gd name="T4" fmla="*/ 111 w 128"/>
                  <a:gd name="T5" fmla="*/ 176 h 203"/>
                  <a:gd name="T6" fmla="*/ 90 w 128"/>
                  <a:gd name="T7" fmla="*/ 196 h 203"/>
                  <a:gd name="T8" fmla="*/ 62 w 128"/>
                  <a:gd name="T9" fmla="*/ 203 h 203"/>
                  <a:gd name="T10" fmla="*/ 36 w 128"/>
                  <a:gd name="T11" fmla="*/ 196 h 203"/>
                  <a:gd name="T12" fmla="*/ 17 w 128"/>
                  <a:gd name="T13" fmla="*/ 177 h 203"/>
                  <a:gd name="T14" fmla="*/ 5 w 128"/>
                  <a:gd name="T15" fmla="*/ 147 h 203"/>
                  <a:gd name="T16" fmla="*/ 0 w 128"/>
                  <a:gd name="T17" fmla="*/ 105 h 203"/>
                  <a:gd name="T18" fmla="*/ 5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4 h 203"/>
                  <a:gd name="T34" fmla="*/ 65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7" y="132"/>
                      <a:pt x="124" y="144"/>
                    </a:cubicBezTo>
                    <a:cubicBezTo>
                      <a:pt x="121" y="157"/>
                      <a:pt x="116" y="168"/>
                      <a:pt x="111" y="176"/>
                    </a:cubicBezTo>
                    <a:cubicBezTo>
                      <a:pt x="105" y="185"/>
                      <a:pt x="98" y="192"/>
                      <a:pt x="90" y="196"/>
                    </a:cubicBezTo>
                    <a:cubicBezTo>
                      <a:pt x="82" y="201"/>
                      <a:pt x="73" y="203"/>
                      <a:pt x="62" y="203"/>
                    </a:cubicBezTo>
                    <a:cubicBezTo>
                      <a:pt x="53" y="203"/>
                      <a:pt x="44" y="201"/>
                      <a:pt x="36" y="196"/>
                    </a:cubicBezTo>
                    <a:cubicBezTo>
                      <a:pt x="28" y="192"/>
                      <a:pt x="22" y="186"/>
                      <a:pt x="17" y="177"/>
                    </a:cubicBezTo>
                    <a:cubicBezTo>
                      <a:pt x="11" y="169"/>
                      <a:pt x="7" y="159"/>
                      <a:pt x="5" y="147"/>
                    </a:cubicBezTo>
                    <a:cubicBezTo>
                      <a:pt x="2" y="135"/>
                      <a:pt x="0" y="121"/>
                      <a:pt x="0" y="105"/>
                    </a:cubicBezTo>
                    <a:cubicBezTo>
                      <a:pt x="0" y="88"/>
                      <a:pt x="2" y="73"/>
                      <a:pt x="5" y="60"/>
                    </a:cubicBezTo>
                    <a:cubicBezTo>
                      <a:pt x="8" y="47"/>
                      <a:pt x="12" y="36"/>
                      <a:pt x="17" y="27"/>
                    </a:cubicBezTo>
                    <a:cubicBezTo>
                      <a:pt x="23" y="18"/>
                      <a:pt x="30" y="11"/>
                      <a:pt x="38" y="7"/>
                    </a:cubicBezTo>
                    <a:cubicBezTo>
                      <a:pt x="46" y="2"/>
                      <a:pt x="56" y="0"/>
                      <a:pt x="66" y="0"/>
                    </a:cubicBezTo>
                    <a:cubicBezTo>
                      <a:pt x="108" y="0"/>
                      <a:pt x="128" y="34"/>
                      <a:pt x="128" y="101"/>
                    </a:cubicBezTo>
                    <a:close/>
                    <a:moveTo>
                      <a:pt x="105" y="103"/>
                    </a:moveTo>
                    <a:cubicBezTo>
                      <a:pt x="105" y="47"/>
                      <a:pt x="92" y="19"/>
                      <a:pt x="65" y="19"/>
                    </a:cubicBezTo>
                    <a:cubicBezTo>
                      <a:pt x="37" y="19"/>
                      <a:pt x="23" y="48"/>
                      <a:pt x="23" y="104"/>
                    </a:cubicBezTo>
                    <a:cubicBezTo>
                      <a:pt x="23" y="157"/>
                      <a:pt x="37" y="184"/>
                      <a:pt x="65" y="184"/>
                    </a:cubicBezTo>
                    <a:cubicBezTo>
                      <a:pt x="92"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2" name="Freeform 129"/>
              <p:cNvSpPr>
                <a:spLocks/>
              </p:cNvSpPr>
              <p:nvPr userDrawn="1"/>
            </p:nvSpPr>
            <p:spPr bwMode="auto">
              <a:xfrm>
                <a:off x="3159" y="4022"/>
                <a:ext cx="82" cy="244"/>
              </a:xfrm>
              <a:custGeom>
                <a:avLst/>
                <a:gdLst>
                  <a:gd name="T0" fmla="*/ 67 w 67"/>
                  <a:gd name="T1" fmla="*/ 200 h 200"/>
                  <a:gd name="T2" fmla="*/ 45 w 67"/>
                  <a:gd name="T3" fmla="*/ 200 h 200"/>
                  <a:gd name="T4" fmla="*/ 45 w 67"/>
                  <a:gd name="T5" fmla="*/ 31 h 200"/>
                  <a:gd name="T6" fmla="*/ 37 w 67"/>
                  <a:gd name="T7" fmla="*/ 37 h 200"/>
                  <a:gd name="T8" fmla="*/ 26 w 67"/>
                  <a:gd name="T9" fmla="*/ 44 h 200"/>
                  <a:gd name="T10" fmla="*/ 13 w 67"/>
                  <a:gd name="T11" fmla="*/ 50 h 200"/>
                  <a:gd name="T12" fmla="*/ 0 w 67"/>
                  <a:gd name="T13" fmla="*/ 54 h 200"/>
                  <a:gd name="T14" fmla="*/ 0 w 67"/>
                  <a:gd name="T15" fmla="*/ 32 h 200"/>
                  <a:gd name="T16" fmla="*/ 15 w 67"/>
                  <a:gd name="T17" fmla="*/ 26 h 200"/>
                  <a:gd name="T18" fmla="*/ 31 w 67"/>
                  <a:gd name="T19" fmla="*/ 18 h 200"/>
                  <a:gd name="T20" fmla="*/ 47 w 67"/>
                  <a:gd name="T21" fmla="*/ 9 h 200"/>
                  <a:gd name="T22" fmla="*/ 59 w 67"/>
                  <a:gd name="T23" fmla="*/ 0 h 200"/>
                  <a:gd name="T24" fmla="*/ 67 w 67"/>
                  <a:gd name="T25" fmla="*/ 0 h 200"/>
                  <a:gd name="T26" fmla="*/ 67 w 67"/>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7" h="200">
                    <a:moveTo>
                      <a:pt x="67" y="200"/>
                    </a:moveTo>
                    <a:cubicBezTo>
                      <a:pt x="45" y="200"/>
                      <a:pt x="45" y="200"/>
                      <a:pt x="45" y="200"/>
                    </a:cubicBezTo>
                    <a:cubicBezTo>
                      <a:pt x="45" y="31"/>
                      <a:pt x="45" y="31"/>
                      <a:pt x="45" y="31"/>
                    </a:cubicBezTo>
                    <a:cubicBezTo>
                      <a:pt x="43" y="33"/>
                      <a:pt x="41" y="35"/>
                      <a:pt x="37" y="37"/>
                    </a:cubicBezTo>
                    <a:cubicBezTo>
                      <a:pt x="34" y="39"/>
                      <a:pt x="30" y="41"/>
                      <a:pt x="26" y="44"/>
                    </a:cubicBezTo>
                    <a:cubicBezTo>
                      <a:pt x="22" y="46"/>
                      <a:pt x="18" y="48"/>
                      <a:pt x="13" y="50"/>
                    </a:cubicBezTo>
                    <a:cubicBezTo>
                      <a:pt x="8" y="52"/>
                      <a:pt x="4" y="53"/>
                      <a:pt x="0" y="54"/>
                    </a:cubicBezTo>
                    <a:cubicBezTo>
                      <a:pt x="0" y="32"/>
                      <a:pt x="0" y="32"/>
                      <a:pt x="0" y="32"/>
                    </a:cubicBezTo>
                    <a:cubicBezTo>
                      <a:pt x="4" y="30"/>
                      <a:pt x="10" y="28"/>
                      <a:pt x="15" y="26"/>
                    </a:cubicBezTo>
                    <a:cubicBezTo>
                      <a:pt x="21" y="24"/>
                      <a:pt x="26" y="21"/>
                      <a:pt x="31" y="18"/>
                    </a:cubicBezTo>
                    <a:cubicBezTo>
                      <a:pt x="37" y="15"/>
                      <a:pt x="42" y="12"/>
                      <a:pt x="47" y="9"/>
                    </a:cubicBezTo>
                    <a:cubicBezTo>
                      <a:pt x="51" y="6"/>
                      <a:pt x="55" y="3"/>
                      <a:pt x="59" y="0"/>
                    </a:cubicBezTo>
                    <a:cubicBezTo>
                      <a:pt x="67" y="0"/>
                      <a:pt x="67" y="0"/>
                      <a:pt x="67" y="0"/>
                    </a:cubicBezTo>
                    <a:lnTo>
                      <a:pt x="67"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3" name="Freeform 130"/>
              <p:cNvSpPr>
                <a:spLocks/>
              </p:cNvSpPr>
              <p:nvPr userDrawn="1"/>
            </p:nvSpPr>
            <p:spPr bwMode="auto">
              <a:xfrm>
                <a:off x="3308" y="4022"/>
                <a:ext cx="83" cy="244"/>
              </a:xfrm>
              <a:custGeom>
                <a:avLst/>
                <a:gdLst>
                  <a:gd name="T0" fmla="*/ 68 w 68"/>
                  <a:gd name="T1" fmla="*/ 200 h 200"/>
                  <a:gd name="T2" fmla="*/ 45 w 68"/>
                  <a:gd name="T3" fmla="*/ 200 h 200"/>
                  <a:gd name="T4" fmla="*/ 45 w 68"/>
                  <a:gd name="T5" fmla="*/ 31 h 200"/>
                  <a:gd name="T6" fmla="*/ 38 w 68"/>
                  <a:gd name="T7" fmla="*/ 37 h 200"/>
                  <a:gd name="T8" fmla="*/ 27 w 68"/>
                  <a:gd name="T9" fmla="*/ 44 h 200"/>
                  <a:gd name="T10" fmla="*/ 14 w 68"/>
                  <a:gd name="T11" fmla="*/ 50 h 200"/>
                  <a:gd name="T12" fmla="*/ 0 w 68"/>
                  <a:gd name="T13" fmla="*/ 54 h 200"/>
                  <a:gd name="T14" fmla="*/ 0 w 68"/>
                  <a:gd name="T15" fmla="*/ 32 h 200"/>
                  <a:gd name="T16" fmla="*/ 16 w 68"/>
                  <a:gd name="T17" fmla="*/ 26 h 200"/>
                  <a:gd name="T18" fmla="*/ 32 w 68"/>
                  <a:gd name="T19" fmla="*/ 18 h 200"/>
                  <a:gd name="T20" fmla="*/ 47 w 68"/>
                  <a:gd name="T21" fmla="*/ 9 h 200"/>
                  <a:gd name="T22" fmla="*/ 59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5" y="200"/>
                      <a:pt x="45" y="200"/>
                      <a:pt x="45" y="200"/>
                    </a:cubicBezTo>
                    <a:cubicBezTo>
                      <a:pt x="45" y="31"/>
                      <a:pt x="45" y="31"/>
                      <a:pt x="45" y="31"/>
                    </a:cubicBezTo>
                    <a:cubicBezTo>
                      <a:pt x="44" y="33"/>
                      <a:pt x="41" y="35"/>
                      <a:pt x="38" y="37"/>
                    </a:cubicBezTo>
                    <a:cubicBezTo>
                      <a:pt x="35" y="39"/>
                      <a:pt x="31" y="41"/>
                      <a:pt x="27" y="44"/>
                    </a:cubicBezTo>
                    <a:cubicBezTo>
                      <a:pt x="23" y="46"/>
                      <a:pt x="18" y="48"/>
                      <a:pt x="14" y="50"/>
                    </a:cubicBezTo>
                    <a:cubicBezTo>
                      <a:pt x="9" y="52"/>
                      <a:pt x="4" y="53"/>
                      <a:pt x="0" y="54"/>
                    </a:cubicBezTo>
                    <a:cubicBezTo>
                      <a:pt x="0" y="32"/>
                      <a:pt x="0" y="32"/>
                      <a:pt x="0" y="32"/>
                    </a:cubicBezTo>
                    <a:cubicBezTo>
                      <a:pt x="5" y="30"/>
                      <a:pt x="10" y="28"/>
                      <a:pt x="16" y="26"/>
                    </a:cubicBezTo>
                    <a:cubicBezTo>
                      <a:pt x="21" y="24"/>
                      <a:pt x="27" y="21"/>
                      <a:pt x="32" y="18"/>
                    </a:cubicBezTo>
                    <a:cubicBezTo>
                      <a:pt x="37" y="15"/>
                      <a:pt x="42" y="12"/>
                      <a:pt x="47" y="9"/>
                    </a:cubicBezTo>
                    <a:cubicBezTo>
                      <a:pt x="52" y="6"/>
                      <a:pt x="56" y="3"/>
                      <a:pt x="59"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4" name="Freeform 131"/>
              <p:cNvSpPr>
                <a:spLocks noEditPoints="1"/>
              </p:cNvSpPr>
              <p:nvPr userDrawn="1"/>
            </p:nvSpPr>
            <p:spPr bwMode="auto">
              <a:xfrm>
                <a:off x="3456" y="4023"/>
                <a:ext cx="155" cy="248"/>
              </a:xfrm>
              <a:custGeom>
                <a:avLst/>
                <a:gdLst>
                  <a:gd name="T0" fmla="*/ 127 w 127"/>
                  <a:gd name="T1" fmla="*/ 101 h 203"/>
                  <a:gd name="T2" fmla="*/ 123 w 127"/>
                  <a:gd name="T3" fmla="*/ 144 h 203"/>
                  <a:gd name="T4" fmla="*/ 110 w 127"/>
                  <a:gd name="T5" fmla="*/ 176 h 203"/>
                  <a:gd name="T6" fmla="*/ 89 w 127"/>
                  <a:gd name="T7" fmla="*/ 196 h 203"/>
                  <a:gd name="T8" fmla="*/ 62 w 127"/>
                  <a:gd name="T9" fmla="*/ 203 h 203"/>
                  <a:gd name="T10" fmla="*/ 35 w 127"/>
                  <a:gd name="T11" fmla="*/ 196 h 203"/>
                  <a:gd name="T12" fmla="*/ 16 w 127"/>
                  <a:gd name="T13" fmla="*/ 177 h 203"/>
                  <a:gd name="T14" fmla="*/ 4 w 127"/>
                  <a:gd name="T15" fmla="*/ 147 h 203"/>
                  <a:gd name="T16" fmla="*/ 0 w 127"/>
                  <a:gd name="T17" fmla="*/ 105 h 203"/>
                  <a:gd name="T18" fmla="*/ 4 w 127"/>
                  <a:gd name="T19" fmla="*/ 60 h 203"/>
                  <a:gd name="T20" fmla="*/ 17 w 127"/>
                  <a:gd name="T21" fmla="*/ 27 h 203"/>
                  <a:gd name="T22" fmla="*/ 37 w 127"/>
                  <a:gd name="T23" fmla="*/ 7 h 203"/>
                  <a:gd name="T24" fmla="*/ 66 w 127"/>
                  <a:gd name="T25" fmla="*/ 0 h 203"/>
                  <a:gd name="T26" fmla="*/ 127 w 127"/>
                  <a:gd name="T27" fmla="*/ 101 h 203"/>
                  <a:gd name="T28" fmla="*/ 104 w 127"/>
                  <a:gd name="T29" fmla="*/ 103 h 203"/>
                  <a:gd name="T30" fmla="*/ 65 w 127"/>
                  <a:gd name="T31" fmla="*/ 19 h 203"/>
                  <a:gd name="T32" fmla="*/ 23 w 127"/>
                  <a:gd name="T33" fmla="*/ 104 h 203"/>
                  <a:gd name="T34" fmla="*/ 64 w 127"/>
                  <a:gd name="T35" fmla="*/ 184 h 203"/>
                  <a:gd name="T36" fmla="*/ 104 w 127"/>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7" h="203">
                    <a:moveTo>
                      <a:pt x="127" y="101"/>
                    </a:moveTo>
                    <a:cubicBezTo>
                      <a:pt x="127" y="117"/>
                      <a:pt x="126" y="132"/>
                      <a:pt x="123" y="144"/>
                    </a:cubicBezTo>
                    <a:cubicBezTo>
                      <a:pt x="120" y="157"/>
                      <a:pt x="116" y="168"/>
                      <a:pt x="110" y="176"/>
                    </a:cubicBezTo>
                    <a:cubicBezTo>
                      <a:pt x="104" y="185"/>
                      <a:pt x="98" y="192"/>
                      <a:pt x="89" y="196"/>
                    </a:cubicBezTo>
                    <a:cubicBezTo>
                      <a:pt x="81" y="201"/>
                      <a:pt x="72" y="203"/>
                      <a:pt x="62" y="203"/>
                    </a:cubicBezTo>
                    <a:cubicBezTo>
                      <a:pt x="52" y="203"/>
                      <a:pt x="43" y="201"/>
                      <a:pt x="35" y="196"/>
                    </a:cubicBezTo>
                    <a:cubicBezTo>
                      <a:pt x="28" y="192"/>
                      <a:pt x="21" y="186"/>
                      <a:pt x="16" y="177"/>
                    </a:cubicBezTo>
                    <a:cubicBezTo>
                      <a:pt x="11" y="169"/>
                      <a:pt x="7" y="159"/>
                      <a:pt x="4" y="147"/>
                    </a:cubicBezTo>
                    <a:cubicBezTo>
                      <a:pt x="1" y="135"/>
                      <a:pt x="0" y="121"/>
                      <a:pt x="0" y="105"/>
                    </a:cubicBezTo>
                    <a:cubicBezTo>
                      <a:pt x="0" y="88"/>
                      <a:pt x="1" y="73"/>
                      <a:pt x="4" y="60"/>
                    </a:cubicBezTo>
                    <a:cubicBezTo>
                      <a:pt x="7" y="47"/>
                      <a:pt x="11" y="36"/>
                      <a:pt x="17" y="27"/>
                    </a:cubicBezTo>
                    <a:cubicBezTo>
                      <a:pt x="22" y="18"/>
                      <a:pt x="29" y="11"/>
                      <a:pt x="37" y="7"/>
                    </a:cubicBezTo>
                    <a:cubicBezTo>
                      <a:pt x="46" y="2"/>
                      <a:pt x="55" y="0"/>
                      <a:pt x="66" y="0"/>
                    </a:cubicBezTo>
                    <a:cubicBezTo>
                      <a:pt x="107" y="0"/>
                      <a:pt x="127" y="34"/>
                      <a:pt x="127" y="101"/>
                    </a:cubicBezTo>
                    <a:close/>
                    <a:moveTo>
                      <a:pt x="104" y="103"/>
                    </a:moveTo>
                    <a:cubicBezTo>
                      <a:pt x="104" y="47"/>
                      <a:pt x="91" y="19"/>
                      <a:pt x="65" y="19"/>
                    </a:cubicBezTo>
                    <a:cubicBezTo>
                      <a:pt x="37" y="19"/>
                      <a:pt x="23" y="48"/>
                      <a:pt x="23" y="104"/>
                    </a:cubicBezTo>
                    <a:cubicBezTo>
                      <a:pt x="23" y="157"/>
                      <a:pt x="36" y="184"/>
                      <a:pt x="64" y="184"/>
                    </a:cubicBezTo>
                    <a:cubicBezTo>
                      <a:pt x="91" y="184"/>
                      <a:pt x="104" y="157"/>
                      <a:pt x="104"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5" name="Freeform 132"/>
              <p:cNvSpPr>
                <a:spLocks/>
              </p:cNvSpPr>
              <p:nvPr userDrawn="1"/>
            </p:nvSpPr>
            <p:spPr bwMode="auto">
              <a:xfrm>
                <a:off x="3654" y="4022"/>
                <a:ext cx="83" cy="244"/>
              </a:xfrm>
              <a:custGeom>
                <a:avLst/>
                <a:gdLst>
                  <a:gd name="T0" fmla="*/ 68 w 68"/>
                  <a:gd name="T1" fmla="*/ 200 h 200"/>
                  <a:gd name="T2" fmla="*/ 45 w 68"/>
                  <a:gd name="T3" fmla="*/ 200 h 200"/>
                  <a:gd name="T4" fmla="*/ 45 w 68"/>
                  <a:gd name="T5" fmla="*/ 31 h 200"/>
                  <a:gd name="T6" fmla="*/ 38 w 68"/>
                  <a:gd name="T7" fmla="*/ 37 h 200"/>
                  <a:gd name="T8" fmla="*/ 26 w 68"/>
                  <a:gd name="T9" fmla="*/ 44 h 200"/>
                  <a:gd name="T10" fmla="*/ 13 w 68"/>
                  <a:gd name="T11" fmla="*/ 50 h 200"/>
                  <a:gd name="T12" fmla="*/ 0 w 68"/>
                  <a:gd name="T13" fmla="*/ 54 h 200"/>
                  <a:gd name="T14" fmla="*/ 0 w 68"/>
                  <a:gd name="T15" fmla="*/ 32 h 200"/>
                  <a:gd name="T16" fmla="*/ 15 w 68"/>
                  <a:gd name="T17" fmla="*/ 26 h 200"/>
                  <a:gd name="T18" fmla="*/ 32 w 68"/>
                  <a:gd name="T19" fmla="*/ 18 h 200"/>
                  <a:gd name="T20" fmla="*/ 47 w 68"/>
                  <a:gd name="T21" fmla="*/ 9 h 200"/>
                  <a:gd name="T22" fmla="*/ 59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5" y="200"/>
                      <a:pt x="45" y="200"/>
                      <a:pt x="45" y="200"/>
                    </a:cubicBezTo>
                    <a:cubicBezTo>
                      <a:pt x="45" y="31"/>
                      <a:pt x="45" y="31"/>
                      <a:pt x="45" y="31"/>
                    </a:cubicBezTo>
                    <a:cubicBezTo>
                      <a:pt x="43" y="33"/>
                      <a:pt x="41" y="35"/>
                      <a:pt x="38" y="37"/>
                    </a:cubicBezTo>
                    <a:cubicBezTo>
                      <a:pt x="34" y="39"/>
                      <a:pt x="31" y="41"/>
                      <a:pt x="26" y="44"/>
                    </a:cubicBezTo>
                    <a:cubicBezTo>
                      <a:pt x="22" y="46"/>
                      <a:pt x="18" y="48"/>
                      <a:pt x="13" y="50"/>
                    </a:cubicBezTo>
                    <a:cubicBezTo>
                      <a:pt x="9" y="52"/>
                      <a:pt x="4" y="53"/>
                      <a:pt x="0" y="54"/>
                    </a:cubicBezTo>
                    <a:cubicBezTo>
                      <a:pt x="0" y="32"/>
                      <a:pt x="0" y="32"/>
                      <a:pt x="0" y="32"/>
                    </a:cubicBezTo>
                    <a:cubicBezTo>
                      <a:pt x="5" y="30"/>
                      <a:pt x="10" y="28"/>
                      <a:pt x="15" y="26"/>
                    </a:cubicBezTo>
                    <a:cubicBezTo>
                      <a:pt x="21" y="24"/>
                      <a:pt x="26" y="21"/>
                      <a:pt x="32" y="18"/>
                    </a:cubicBezTo>
                    <a:cubicBezTo>
                      <a:pt x="37" y="15"/>
                      <a:pt x="42" y="12"/>
                      <a:pt x="47" y="9"/>
                    </a:cubicBezTo>
                    <a:cubicBezTo>
                      <a:pt x="52" y="6"/>
                      <a:pt x="56" y="3"/>
                      <a:pt x="59"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6" name="Freeform 133"/>
              <p:cNvSpPr>
                <a:spLocks noEditPoints="1"/>
              </p:cNvSpPr>
              <p:nvPr userDrawn="1"/>
            </p:nvSpPr>
            <p:spPr bwMode="auto">
              <a:xfrm>
                <a:off x="3801" y="4023"/>
                <a:ext cx="156" cy="248"/>
              </a:xfrm>
              <a:custGeom>
                <a:avLst/>
                <a:gdLst>
                  <a:gd name="T0" fmla="*/ 128 w 128"/>
                  <a:gd name="T1" fmla="*/ 101 h 203"/>
                  <a:gd name="T2" fmla="*/ 124 w 128"/>
                  <a:gd name="T3" fmla="*/ 144 h 203"/>
                  <a:gd name="T4" fmla="*/ 111 w 128"/>
                  <a:gd name="T5" fmla="*/ 176 h 203"/>
                  <a:gd name="T6" fmla="*/ 90 w 128"/>
                  <a:gd name="T7" fmla="*/ 196 h 203"/>
                  <a:gd name="T8" fmla="*/ 62 w 128"/>
                  <a:gd name="T9" fmla="*/ 203 h 203"/>
                  <a:gd name="T10" fmla="*/ 36 w 128"/>
                  <a:gd name="T11" fmla="*/ 196 h 203"/>
                  <a:gd name="T12" fmla="*/ 17 w 128"/>
                  <a:gd name="T13" fmla="*/ 177 h 203"/>
                  <a:gd name="T14" fmla="*/ 5 w 128"/>
                  <a:gd name="T15" fmla="*/ 147 h 203"/>
                  <a:gd name="T16" fmla="*/ 0 w 128"/>
                  <a:gd name="T17" fmla="*/ 105 h 203"/>
                  <a:gd name="T18" fmla="*/ 5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4 h 203"/>
                  <a:gd name="T34" fmla="*/ 65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7" y="132"/>
                      <a:pt x="124" y="144"/>
                    </a:cubicBezTo>
                    <a:cubicBezTo>
                      <a:pt x="121" y="157"/>
                      <a:pt x="116" y="168"/>
                      <a:pt x="111" y="176"/>
                    </a:cubicBezTo>
                    <a:cubicBezTo>
                      <a:pt x="105" y="185"/>
                      <a:pt x="98" y="192"/>
                      <a:pt x="90" y="196"/>
                    </a:cubicBezTo>
                    <a:cubicBezTo>
                      <a:pt x="82" y="201"/>
                      <a:pt x="73" y="203"/>
                      <a:pt x="62" y="203"/>
                    </a:cubicBezTo>
                    <a:cubicBezTo>
                      <a:pt x="52" y="203"/>
                      <a:pt x="44" y="201"/>
                      <a:pt x="36" y="196"/>
                    </a:cubicBezTo>
                    <a:cubicBezTo>
                      <a:pt x="28" y="192"/>
                      <a:pt x="22" y="186"/>
                      <a:pt x="17" y="177"/>
                    </a:cubicBezTo>
                    <a:cubicBezTo>
                      <a:pt x="11" y="169"/>
                      <a:pt x="7" y="159"/>
                      <a:pt x="5" y="147"/>
                    </a:cubicBezTo>
                    <a:cubicBezTo>
                      <a:pt x="2" y="135"/>
                      <a:pt x="0" y="121"/>
                      <a:pt x="0" y="105"/>
                    </a:cubicBezTo>
                    <a:cubicBezTo>
                      <a:pt x="0" y="88"/>
                      <a:pt x="2" y="73"/>
                      <a:pt x="5" y="60"/>
                    </a:cubicBezTo>
                    <a:cubicBezTo>
                      <a:pt x="8" y="47"/>
                      <a:pt x="12" y="36"/>
                      <a:pt x="17" y="27"/>
                    </a:cubicBezTo>
                    <a:cubicBezTo>
                      <a:pt x="23" y="18"/>
                      <a:pt x="30" y="11"/>
                      <a:pt x="38" y="7"/>
                    </a:cubicBezTo>
                    <a:cubicBezTo>
                      <a:pt x="46" y="2"/>
                      <a:pt x="56" y="0"/>
                      <a:pt x="66" y="0"/>
                    </a:cubicBezTo>
                    <a:cubicBezTo>
                      <a:pt x="108" y="0"/>
                      <a:pt x="128" y="34"/>
                      <a:pt x="128" y="101"/>
                    </a:cubicBezTo>
                    <a:close/>
                    <a:moveTo>
                      <a:pt x="105" y="103"/>
                    </a:moveTo>
                    <a:cubicBezTo>
                      <a:pt x="105" y="47"/>
                      <a:pt x="92" y="19"/>
                      <a:pt x="65" y="19"/>
                    </a:cubicBezTo>
                    <a:cubicBezTo>
                      <a:pt x="37" y="19"/>
                      <a:pt x="23" y="48"/>
                      <a:pt x="23" y="104"/>
                    </a:cubicBezTo>
                    <a:cubicBezTo>
                      <a:pt x="23" y="157"/>
                      <a:pt x="37" y="184"/>
                      <a:pt x="65" y="184"/>
                    </a:cubicBezTo>
                    <a:cubicBezTo>
                      <a:pt x="92"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7" name="Freeform 134"/>
              <p:cNvSpPr>
                <a:spLocks noEditPoints="1"/>
              </p:cNvSpPr>
              <p:nvPr userDrawn="1"/>
            </p:nvSpPr>
            <p:spPr bwMode="auto">
              <a:xfrm>
                <a:off x="3996" y="4023"/>
                <a:ext cx="156" cy="248"/>
              </a:xfrm>
              <a:custGeom>
                <a:avLst/>
                <a:gdLst>
                  <a:gd name="T0" fmla="*/ 128 w 128"/>
                  <a:gd name="T1" fmla="*/ 101 h 203"/>
                  <a:gd name="T2" fmla="*/ 124 w 128"/>
                  <a:gd name="T3" fmla="*/ 144 h 203"/>
                  <a:gd name="T4" fmla="*/ 111 w 128"/>
                  <a:gd name="T5" fmla="*/ 176 h 203"/>
                  <a:gd name="T6" fmla="*/ 90 w 128"/>
                  <a:gd name="T7" fmla="*/ 196 h 203"/>
                  <a:gd name="T8" fmla="*/ 62 w 128"/>
                  <a:gd name="T9" fmla="*/ 203 h 203"/>
                  <a:gd name="T10" fmla="*/ 36 w 128"/>
                  <a:gd name="T11" fmla="*/ 196 h 203"/>
                  <a:gd name="T12" fmla="*/ 17 w 128"/>
                  <a:gd name="T13" fmla="*/ 177 h 203"/>
                  <a:gd name="T14" fmla="*/ 4 w 128"/>
                  <a:gd name="T15" fmla="*/ 147 h 203"/>
                  <a:gd name="T16" fmla="*/ 0 w 128"/>
                  <a:gd name="T17" fmla="*/ 105 h 203"/>
                  <a:gd name="T18" fmla="*/ 5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4 h 203"/>
                  <a:gd name="T34" fmla="*/ 65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7" y="132"/>
                      <a:pt x="124" y="144"/>
                    </a:cubicBezTo>
                    <a:cubicBezTo>
                      <a:pt x="121" y="157"/>
                      <a:pt x="116" y="168"/>
                      <a:pt x="111" y="176"/>
                    </a:cubicBezTo>
                    <a:cubicBezTo>
                      <a:pt x="105" y="185"/>
                      <a:pt x="98" y="192"/>
                      <a:pt x="90" y="196"/>
                    </a:cubicBezTo>
                    <a:cubicBezTo>
                      <a:pt x="82" y="201"/>
                      <a:pt x="73" y="203"/>
                      <a:pt x="62" y="203"/>
                    </a:cubicBezTo>
                    <a:cubicBezTo>
                      <a:pt x="52" y="203"/>
                      <a:pt x="44" y="201"/>
                      <a:pt x="36" y="196"/>
                    </a:cubicBezTo>
                    <a:cubicBezTo>
                      <a:pt x="28" y="192"/>
                      <a:pt x="22" y="186"/>
                      <a:pt x="17" y="177"/>
                    </a:cubicBezTo>
                    <a:cubicBezTo>
                      <a:pt x="11" y="169"/>
                      <a:pt x="7" y="159"/>
                      <a:pt x="4" y="147"/>
                    </a:cubicBezTo>
                    <a:cubicBezTo>
                      <a:pt x="2" y="135"/>
                      <a:pt x="0" y="121"/>
                      <a:pt x="0" y="105"/>
                    </a:cubicBezTo>
                    <a:cubicBezTo>
                      <a:pt x="0" y="88"/>
                      <a:pt x="2" y="73"/>
                      <a:pt x="5" y="60"/>
                    </a:cubicBezTo>
                    <a:cubicBezTo>
                      <a:pt x="8" y="47"/>
                      <a:pt x="12" y="36"/>
                      <a:pt x="17" y="27"/>
                    </a:cubicBezTo>
                    <a:cubicBezTo>
                      <a:pt x="23" y="18"/>
                      <a:pt x="30" y="11"/>
                      <a:pt x="38" y="7"/>
                    </a:cubicBezTo>
                    <a:cubicBezTo>
                      <a:pt x="46" y="2"/>
                      <a:pt x="56" y="0"/>
                      <a:pt x="66" y="0"/>
                    </a:cubicBezTo>
                    <a:cubicBezTo>
                      <a:pt x="108" y="0"/>
                      <a:pt x="128" y="34"/>
                      <a:pt x="128" y="101"/>
                    </a:cubicBezTo>
                    <a:close/>
                    <a:moveTo>
                      <a:pt x="105" y="103"/>
                    </a:moveTo>
                    <a:cubicBezTo>
                      <a:pt x="105" y="47"/>
                      <a:pt x="92" y="19"/>
                      <a:pt x="65" y="19"/>
                    </a:cubicBezTo>
                    <a:cubicBezTo>
                      <a:pt x="37" y="19"/>
                      <a:pt x="23" y="48"/>
                      <a:pt x="23" y="104"/>
                    </a:cubicBezTo>
                    <a:cubicBezTo>
                      <a:pt x="23" y="157"/>
                      <a:pt x="37" y="184"/>
                      <a:pt x="65" y="184"/>
                    </a:cubicBezTo>
                    <a:cubicBezTo>
                      <a:pt x="92"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8" name="Freeform 135"/>
              <p:cNvSpPr>
                <a:spLocks noEditPoints="1"/>
              </p:cNvSpPr>
              <p:nvPr userDrawn="1"/>
            </p:nvSpPr>
            <p:spPr bwMode="auto">
              <a:xfrm>
                <a:off x="4191" y="4023"/>
                <a:ext cx="156" cy="248"/>
              </a:xfrm>
              <a:custGeom>
                <a:avLst/>
                <a:gdLst>
                  <a:gd name="T0" fmla="*/ 128 w 128"/>
                  <a:gd name="T1" fmla="*/ 101 h 203"/>
                  <a:gd name="T2" fmla="*/ 124 w 128"/>
                  <a:gd name="T3" fmla="*/ 144 h 203"/>
                  <a:gd name="T4" fmla="*/ 111 w 128"/>
                  <a:gd name="T5" fmla="*/ 176 h 203"/>
                  <a:gd name="T6" fmla="*/ 90 w 128"/>
                  <a:gd name="T7" fmla="*/ 196 h 203"/>
                  <a:gd name="T8" fmla="*/ 62 w 128"/>
                  <a:gd name="T9" fmla="*/ 203 h 203"/>
                  <a:gd name="T10" fmla="*/ 36 w 128"/>
                  <a:gd name="T11" fmla="*/ 196 h 203"/>
                  <a:gd name="T12" fmla="*/ 16 w 128"/>
                  <a:gd name="T13" fmla="*/ 177 h 203"/>
                  <a:gd name="T14" fmla="*/ 4 w 128"/>
                  <a:gd name="T15" fmla="*/ 147 h 203"/>
                  <a:gd name="T16" fmla="*/ 0 w 128"/>
                  <a:gd name="T17" fmla="*/ 105 h 203"/>
                  <a:gd name="T18" fmla="*/ 5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4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7" y="132"/>
                      <a:pt x="124" y="144"/>
                    </a:cubicBezTo>
                    <a:cubicBezTo>
                      <a:pt x="121" y="157"/>
                      <a:pt x="116" y="168"/>
                      <a:pt x="111" y="176"/>
                    </a:cubicBezTo>
                    <a:cubicBezTo>
                      <a:pt x="105" y="185"/>
                      <a:pt x="98" y="192"/>
                      <a:pt x="90" y="196"/>
                    </a:cubicBezTo>
                    <a:cubicBezTo>
                      <a:pt x="82" y="201"/>
                      <a:pt x="73" y="203"/>
                      <a:pt x="62" y="203"/>
                    </a:cubicBezTo>
                    <a:cubicBezTo>
                      <a:pt x="52" y="203"/>
                      <a:pt x="44" y="201"/>
                      <a:pt x="36" y="196"/>
                    </a:cubicBezTo>
                    <a:cubicBezTo>
                      <a:pt x="28" y="192"/>
                      <a:pt x="22" y="186"/>
                      <a:pt x="16" y="177"/>
                    </a:cubicBezTo>
                    <a:cubicBezTo>
                      <a:pt x="11" y="169"/>
                      <a:pt x="7" y="159"/>
                      <a:pt x="4" y="147"/>
                    </a:cubicBezTo>
                    <a:cubicBezTo>
                      <a:pt x="2" y="135"/>
                      <a:pt x="0" y="121"/>
                      <a:pt x="0" y="105"/>
                    </a:cubicBezTo>
                    <a:cubicBezTo>
                      <a:pt x="0" y="88"/>
                      <a:pt x="2" y="73"/>
                      <a:pt x="5" y="60"/>
                    </a:cubicBezTo>
                    <a:cubicBezTo>
                      <a:pt x="8" y="47"/>
                      <a:pt x="12" y="36"/>
                      <a:pt x="17" y="27"/>
                    </a:cubicBezTo>
                    <a:cubicBezTo>
                      <a:pt x="23" y="18"/>
                      <a:pt x="30" y="11"/>
                      <a:pt x="38" y="7"/>
                    </a:cubicBezTo>
                    <a:cubicBezTo>
                      <a:pt x="46" y="2"/>
                      <a:pt x="56" y="0"/>
                      <a:pt x="66" y="0"/>
                    </a:cubicBezTo>
                    <a:cubicBezTo>
                      <a:pt x="108" y="0"/>
                      <a:pt x="128" y="34"/>
                      <a:pt x="128" y="101"/>
                    </a:cubicBezTo>
                    <a:close/>
                    <a:moveTo>
                      <a:pt x="105" y="103"/>
                    </a:moveTo>
                    <a:cubicBezTo>
                      <a:pt x="105" y="47"/>
                      <a:pt x="92" y="19"/>
                      <a:pt x="65" y="19"/>
                    </a:cubicBezTo>
                    <a:cubicBezTo>
                      <a:pt x="37" y="19"/>
                      <a:pt x="23" y="48"/>
                      <a:pt x="23" y="104"/>
                    </a:cubicBezTo>
                    <a:cubicBezTo>
                      <a:pt x="23" y="157"/>
                      <a:pt x="37" y="184"/>
                      <a:pt x="64" y="184"/>
                    </a:cubicBezTo>
                    <a:cubicBezTo>
                      <a:pt x="92"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9" name="Freeform 136"/>
              <p:cNvSpPr>
                <a:spLocks/>
              </p:cNvSpPr>
              <p:nvPr userDrawn="1"/>
            </p:nvSpPr>
            <p:spPr bwMode="auto">
              <a:xfrm>
                <a:off x="4389" y="4022"/>
                <a:ext cx="83" cy="244"/>
              </a:xfrm>
              <a:custGeom>
                <a:avLst/>
                <a:gdLst>
                  <a:gd name="T0" fmla="*/ 68 w 68"/>
                  <a:gd name="T1" fmla="*/ 200 h 200"/>
                  <a:gd name="T2" fmla="*/ 46 w 68"/>
                  <a:gd name="T3" fmla="*/ 200 h 200"/>
                  <a:gd name="T4" fmla="*/ 46 w 68"/>
                  <a:gd name="T5" fmla="*/ 31 h 200"/>
                  <a:gd name="T6" fmla="*/ 38 w 68"/>
                  <a:gd name="T7" fmla="*/ 37 h 200"/>
                  <a:gd name="T8" fmla="*/ 27 w 68"/>
                  <a:gd name="T9" fmla="*/ 44 h 200"/>
                  <a:gd name="T10" fmla="*/ 14 w 68"/>
                  <a:gd name="T11" fmla="*/ 50 h 200"/>
                  <a:gd name="T12" fmla="*/ 0 w 68"/>
                  <a:gd name="T13" fmla="*/ 54 h 200"/>
                  <a:gd name="T14" fmla="*/ 0 w 68"/>
                  <a:gd name="T15" fmla="*/ 32 h 200"/>
                  <a:gd name="T16" fmla="*/ 16 w 68"/>
                  <a:gd name="T17" fmla="*/ 26 h 200"/>
                  <a:gd name="T18" fmla="*/ 32 w 68"/>
                  <a:gd name="T19" fmla="*/ 18 h 200"/>
                  <a:gd name="T20" fmla="*/ 47 w 68"/>
                  <a:gd name="T21" fmla="*/ 9 h 200"/>
                  <a:gd name="T22" fmla="*/ 60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6" y="200"/>
                      <a:pt x="46" y="200"/>
                      <a:pt x="46" y="200"/>
                    </a:cubicBezTo>
                    <a:cubicBezTo>
                      <a:pt x="46" y="31"/>
                      <a:pt x="46" y="31"/>
                      <a:pt x="46" y="31"/>
                    </a:cubicBezTo>
                    <a:cubicBezTo>
                      <a:pt x="44" y="33"/>
                      <a:pt x="42" y="35"/>
                      <a:pt x="38" y="37"/>
                    </a:cubicBezTo>
                    <a:cubicBezTo>
                      <a:pt x="35" y="39"/>
                      <a:pt x="31" y="41"/>
                      <a:pt x="27" y="44"/>
                    </a:cubicBezTo>
                    <a:cubicBezTo>
                      <a:pt x="23" y="46"/>
                      <a:pt x="19" y="48"/>
                      <a:pt x="14" y="50"/>
                    </a:cubicBezTo>
                    <a:cubicBezTo>
                      <a:pt x="9" y="52"/>
                      <a:pt x="5" y="53"/>
                      <a:pt x="0" y="54"/>
                    </a:cubicBezTo>
                    <a:cubicBezTo>
                      <a:pt x="0" y="32"/>
                      <a:pt x="0" y="32"/>
                      <a:pt x="0" y="32"/>
                    </a:cubicBezTo>
                    <a:cubicBezTo>
                      <a:pt x="5" y="30"/>
                      <a:pt x="11" y="28"/>
                      <a:pt x="16" y="26"/>
                    </a:cubicBezTo>
                    <a:cubicBezTo>
                      <a:pt x="22" y="24"/>
                      <a:pt x="27" y="21"/>
                      <a:pt x="32" y="18"/>
                    </a:cubicBezTo>
                    <a:cubicBezTo>
                      <a:pt x="38" y="15"/>
                      <a:pt x="43" y="12"/>
                      <a:pt x="47" y="9"/>
                    </a:cubicBezTo>
                    <a:cubicBezTo>
                      <a:pt x="52" y="6"/>
                      <a:pt x="56" y="3"/>
                      <a:pt x="60"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0" name="Freeform 137"/>
              <p:cNvSpPr>
                <a:spLocks noEditPoints="1"/>
              </p:cNvSpPr>
              <p:nvPr userDrawn="1"/>
            </p:nvSpPr>
            <p:spPr bwMode="auto">
              <a:xfrm>
                <a:off x="4537" y="4023"/>
                <a:ext cx="156" cy="248"/>
              </a:xfrm>
              <a:custGeom>
                <a:avLst/>
                <a:gdLst>
                  <a:gd name="T0" fmla="*/ 128 w 128"/>
                  <a:gd name="T1" fmla="*/ 101 h 203"/>
                  <a:gd name="T2" fmla="*/ 123 w 128"/>
                  <a:gd name="T3" fmla="*/ 144 h 203"/>
                  <a:gd name="T4" fmla="*/ 110 w 128"/>
                  <a:gd name="T5" fmla="*/ 176 h 203"/>
                  <a:gd name="T6" fmla="*/ 90 w 128"/>
                  <a:gd name="T7" fmla="*/ 196 h 203"/>
                  <a:gd name="T8" fmla="*/ 62 w 128"/>
                  <a:gd name="T9" fmla="*/ 203 h 203"/>
                  <a:gd name="T10" fmla="*/ 36 w 128"/>
                  <a:gd name="T11" fmla="*/ 196 h 203"/>
                  <a:gd name="T12" fmla="*/ 16 w 128"/>
                  <a:gd name="T13" fmla="*/ 177 h 203"/>
                  <a:gd name="T14" fmla="*/ 4 w 128"/>
                  <a:gd name="T15" fmla="*/ 147 h 203"/>
                  <a:gd name="T16" fmla="*/ 0 w 128"/>
                  <a:gd name="T17" fmla="*/ 105 h 203"/>
                  <a:gd name="T18" fmla="*/ 4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4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6" y="132"/>
                      <a:pt x="123" y="144"/>
                    </a:cubicBezTo>
                    <a:cubicBezTo>
                      <a:pt x="120" y="157"/>
                      <a:pt x="116" y="168"/>
                      <a:pt x="110" y="176"/>
                    </a:cubicBezTo>
                    <a:cubicBezTo>
                      <a:pt x="105" y="185"/>
                      <a:pt x="98" y="192"/>
                      <a:pt x="90" y="196"/>
                    </a:cubicBezTo>
                    <a:cubicBezTo>
                      <a:pt x="82" y="201"/>
                      <a:pt x="72" y="203"/>
                      <a:pt x="62" y="203"/>
                    </a:cubicBezTo>
                    <a:cubicBezTo>
                      <a:pt x="52" y="203"/>
                      <a:pt x="43" y="201"/>
                      <a:pt x="36" y="196"/>
                    </a:cubicBezTo>
                    <a:cubicBezTo>
                      <a:pt x="28" y="192"/>
                      <a:pt x="21" y="186"/>
                      <a:pt x="16" y="177"/>
                    </a:cubicBezTo>
                    <a:cubicBezTo>
                      <a:pt x="11" y="169"/>
                      <a:pt x="7" y="159"/>
                      <a:pt x="4" y="147"/>
                    </a:cubicBezTo>
                    <a:cubicBezTo>
                      <a:pt x="1" y="135"/>
                      <a:pt x="0" y="121"/>
                      <a:pt x="0" y="105"/>
                    </a:cubicBezTo>
                    <a:cubicBezTo>
                      <a:pt x="0" y="88"/>
                      <a:pt x="2" y="73"/>
                      <a:pt x="4" y="60"/>
                    </a:cubicBezTo>
                    <a:cubicBezTo>
                      <a:pt x="7" y="47"/>
                      <a:pt x="11" y="36"/>
                      <a:pt x="17" y="27"/>
                    </a:cubicBezTo>
                    <a:cubicBezTo>
                      <a:pt x="23" y="18"/>
                      <a:pt x="29" y="11"/>
                      <a:pt x="38" y="7"/>
                    </a:cubicBezTo>
                    <a:cubicBezTo>
                      <a:pt x="46" y="2"/>
                      <a:pt x="55" y="0"/>
                      <a:pt x="66" y="0"/>
                    </a:cubicBezTo>
                    <a:cubicBezTo>
                      <a:pt x="107" y="0"/>
                      <a:pt x="128" y="34"/>
                      <a:pt x="128" y="101"/>
                    </a:cubicBezTo>
                    <a:close/>
                    <a:moveTo>
                      <a:pt x="105" y="103"/>
                    </a:moveTo>
                    <a:cubicBezTo>
                      <a:pt x="105" y="47"/>
                      <a:pt x="92" y="19"/>
                      <a:pt x="65" y="19"/>
                    </a:cubicBezTo>
                    <a:cubicBezTo>
                      <a:pt x="37" y="19"/>
                      <a:pt x="23" y="48"/>
                      <a:pt x="23" y="104"/>
                    </a:cubicBezTo>
                    <a:cubicBezTo>
                      <a:pt x="23" y="157"/>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1" name="Freeform 138"/>
              <p:cNvSpPr>
                <a:spLocks noEditPoints="1"/>
              </p:cNvSpPr>
              <p:nvPr userDrawn="1"/>
            </p:nvSpPr>
            <p:spPr bwMode="auto">
              <a:xfrm>
                <a:off x="4723" y="4027"/>
                <a:ext cx="187" cy="220"/>
              </a:xfrm>
              <a:custGeom>
                <a:avLst/>
                <a:gdLst>
                  <a:gd name="T0" fmla="*/ 187 w 187"/>
                  <a:gd name="T1" fmla="*/ 67 h 220"/>
                  <a:gd name="T2" fmla="*/ 184 w 187"/>
                  <a:gd name="T3" fmla="*/ 85 h 220"/>
                  <a:gd name="T4" fmla="*/ 141 w 187"/>
                  <a:gd name="T5" fmla="*/ 85 h 220"/>
                  <a:gd name="T6" fmla="*/ 130 w 187"/>
                  <a:gd name="T7" fmla="*/ 135 h 220"/>
                  <a:gd name="T8" fmla="*/ 176 w 187"/>
                  <a:gd name="T9" fmla="*/ 135 h 220"/>
                  <a:gd name="T10" fmla="*/ 173 w 187"/>
                  <a:gd name="T11" fmla="*/ 153 h 220"/>
                  <a:gd name="T12" fmla="*/ 126 w 187"/>
                  <a:gd name="T13" fmla="*/ 153 h 220"/>
                  <a:gd name="T14" fmla="*/ 112 w 187"/>
                  <a:gd name="T15" fmla="*/ 220 h 220"/>
                  <a:gd name="T16" fmla="*/ 91 w 187"/>
                  <a:gd name="T17" fmla="*/ 220 h 220"/>
                  <a:gd name="T18" fmla="*/ 106 w 187"/>
                  <a:gd name="T19" fmla="*/ 153 h 220"/>
                  <a:gd name="T20" fmla="*/ 64 w 187"/>
                  <a:gd name="T21" fmla="*/ 153 h 220"/>
                  <a:gd name="T22" fmla="*/ 50 w 187"/>
                  <a:gd name="T23" fmla="*/ 220 h 220"/>
                  <a:gd name="T24" fmla="*/ 29 w 187"/>
                  <a:gd name="T25" fmla="*/ 220 h 220"/>
                  <a:gd name="T26" fmla="*/ 42 w 187"/>
                  <a:gd name="T27" fmla="*/ 153 h 220"/>
                  <a:gd name="T28" fmla="*/ 0 w 187"/>
                  <a:gd name="T29" fmla="*/ 153 h 220"/>
                  <a:gd name="T30" fmla="*/ 2 w 187"/>
                  <a:gd name="T31" fmla="*/ 135 h 220"/>
                  <a:gd name="T32" fmla="*/ 47 w 187"/>
                  <a:gd name="T33" fmla="*/ 135 h 220"/>
                  <a:gd name="T34" fmla="*/ 57 w 187"/>
                  <a:gd name="T35" fmla="*/ 85 h 220"/>
                  <a:gd name="T36" fmla="*/ 11 w 187"/>
                  <a:gd name="T37" fmla="*/ 85 h 220"/>
                  <a:gd name="T38" fmla="*/ 14 w 187"/>
                  <a:gd name="T39" fmla="*/ 67 h 220"/>
                  <a:gd name="T40" fmla="*/ 61 w 187"/>
                  <a:gd name="T41" fmla="*/ 67 h 220"/>
                  <a:gd name="T42" fmla="*/ 74 w 187"/>
                  <a:gd name="T43" fmla="*/ 0 h 220"/>
                  <a:gd name="T44" fmla="*/ 95 w 187"/>
                  <a:gd name="T45" fmla="*/ 0 h 220"/>
                  <a:gd name="T46" fmla="*/ 81 w 187"/>
                  <a:gd name="T47" fmla="*/ 67 h 220"/>
                  <a:gd name="T48" fmla="*/ 123 w 187"/>
                  <a:gd name="T49" fmla="*/ 67 h 220"/>
                  <a:gd name="T50" fmla="*/ 137 w 187"/>
                  <a:gd name="T51" fmla="*/ 0 h 220"/>
                  <a:gd name="T52" fmla="*/ 158 w 187"/>
                  <a:gd name="T53" fmla="*/ 0 h 220"/>
                  <a:gd name="T54" fmla="*/ 145 w 187"/>
                  <a:gd name="T55" fmla="*/ 67 h 220"/>
                  <a:gd name="T56" fmla="*/ 187 w 187"/>
                  <a:gd name="T57" fmla="*/ 67 h 220"/>
                  <a:gd name="T58" fmla="*/ 120 w 187"/>
                  <a:gd name="T59" fmla="*/ 85 h 220"/>
                  <a:gd name="T60" fmla="*/ 78 w 187"/>
                  <a:gd name="T61" fmla="*/ 85 h 220"/>
                  <a:gd name="T62" fmla="*/ 67 w 187"/>
                  <a:gd name="T63" fmla="*/ 135 h 220"/>
                  <a:gd name="T64" fmla="*/ 109 w 187"/>
                  <a:gd name="T65" fmla="*/ 135 h 220"/>
                  <a:gd name="T66" fmla="*/ 120 w 187"/>
                  <a:gd name="T67" fmla="*/ 85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7" h="220">
                    <a:moveTo>
                      <a:pt x="187" y="67"/>
                    </a:moveTo>
                    <a:lnTo>
                      <a:pt x="184" y="85"/>
                    </a:lnTo>
                    <a:lnTo>
                      <a:pt x="141" y="85"/>
                    </a:lnTo>
                    <a:lnTo>
                      <a:pt x="130" y="135"/>
                    </a:lnTo>
                    <a:lnTo>
                      <a:pt x="176" y="135"/>
                    </a:lnTo>
                    <a:lnTo>
                      <a:pt x="173" y="153"/>
                    </a:lnTo>
                    <a:lnTo>
                      <a:pt x="126" y="153"/>
                    </a:lnTo>
                    <a:lnTo>
                      <a:pt x="112" y="220"/>
                    </a:lnTo>
                    <a:lnTo>
                      <a:pt x="91" y="220"/>
                    </a:lnTo>
                    <a:lnTo>
                      <a:pt x="106" y="153"/>
                    </a:lnTo>
                    <a:lnTo>
                      <a:pt x="64" y="153"/>
                    </a:lnTo>
                    <a:lnTo>
                      <a:pt x="50" y="220"/>
                    </a:lnTo>
                    <a:lnTo>
                      <a:pt x="29" y="220"/>
                    </a:lnTo>
                    <a:lnTo>
                      <a:pt x="42" y="153"/>
                    </a:lnTo>
                    <a:lnTo>
                      <a:pt x="0" y="153"/>
                    </a:lnTo>
                    <a:lnTo>
                      <a:pt x="2" y="135"/>
                    </a:lnTo>
                    <a:lnTo>
                      <a:pt x="47" y="135"/>
                    </a:lnTo>
                    <a:lnTo>
                      <a:pt x="57" y="85"/>
                    </a:lnTo>
                    <a:lnTo>
                      <a:pt x="11" y="85"/>
                    </a:lnTo>
                    <a:lnTo>
                      <a:pt x="14" y="67"/>
                    </a:lnTo>
                    <a:lnTo>
                      <a:pt x="61" y="67"/>
                    </a:lnTo>
                    <a:lnTo>
                      <a:pt x="74" y="0"/>
                    </a:lnTo>
                    <a:lnTo>
                      <a:pt x="95" y="0"/>
                    </a:lnTo>
                    <a:lnTo>
                      <a:pt x="81" y="67"/>
                    </a:lnTo>
                    <a:lnTo>
                      <a:pt x="123" y="67"/>
                    </a:lnTo>
                    <a:lnTo>
                      <a:pt x="137" y="0"/>
                    </a:lnTo>
                    <a:lnTo>
                      <a:pt x="158" y="0"/>
                    </a:lnTo>
                    <a:lnTo>
                      <a:pt x="145" y="67"/>
                    </a:lnTo>
                    <a:lnTo>
                      <a:pt x="187" y="67"/>
                    </a:lnTo>
                    <a:close/>
                    <a:moveTo>
                      <a:pt x="120" y="85"/>
                    </a:moveTo>
                    <a:lnTo>
                      <a:pt x="78" y="85"/>
                    </a:lnTo>
                    <a:lnTo>
                      <a:pt x="67" y="135"/>
                    </a:lnTo>
                    <a:lnTo>
                      <a:pt x="109" y="135"/>
                    </a:lnTo>
                    <a:lnTo>
                      <a:pt x="120" y="8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2" name="Freeform 139"/>
              <p:cNvSpPr>
                <a:spLocks noEditPoints="1"/>
              </p:cNvSpPr>
              <p:nvPr userDrawn="1"/>
            </p:nvSpPr>
            <p:spPr bwMode="auto">
              <a:xfrm>
                <a:off x="4940" y="4023"/>
                <a:ext cx="156" cy="248"/>
              </a:xfrm>
              <a:custGeom>
                <a:avLst/>
                <a:gdLst>
                  <a:gd name="T0" fmla="*/ 128 w 128"/>
                  <a:gd name="T1" fmla="*/ 101 h 203"/>
                  <a:gd name="T2" fmla="*/ 123 w 128"/>
                  <a:gd name="T3" fmla="*/ 144 h 203"/>
                  <a:gd name="T4" fmla="*/ 110 w 128"/>
                  <a:gd name="T5" fmla="*/ 176 h 203"/>
                  <a:gd name="T6" fmla="*/ 90 w 128"/>
                  <a:gd name="T7" fmla="*/ 196 h 203"/>
                  <a:gd name="T8" fmla="*/ 62 w 128"/>
                  <a:gd name="T9" fmla="*/ 203 h 203"/>
                  <a:gd name="T10" fmla="*/ 35 w 128"/>
                  <a:gd name="T11" fmla="*/ 196 h 203"/>
                  <a:gd name="T12" fmla="*/ 16 w 128"/>
                  <a:gd name="T13" fmla="*/ 177 h 203"/>
                  <a:gd name="T14" fmla="*/ 4 w 128"/>
                  <a:gd name="T15" fmla="*/ 147 h 203"/>
                  <a:gd name="T16" fmla="*/ 0 w 128"/>
                  <a:gd name="T17" fmla="*/ 105 h 203"/>
                  <a:gd name="T18" fmla="*/ 4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4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6" y="132"/>
                      <a:pt x="123" y="144"/>
                    </a:cubicBezTo>
                    <a:cubicBezTo>
                      <a:pt x="120" y="157"/>
                      <a:pt x="116" y="168"/>
                      <a:pt x="110" y="176"/>
                    </a:cubicBezTo>
                    <a:cubicBezTo>
                      <a:pt x="105" y="185"/>
                      <a:pt x="98" y="192"/>
                      <a:pt x="90" y="196"/>
                    </a:cubicBezTo>
                    <a:cubicBezTo>
                      <a:pt x="81" y="201"/>
                      <a:pt x="72" y="203"/>
                      <a:pt x="62" y="203"/>
                    </a:cubicBezTo>
                    <a:cubicBezTo>
                      <a:pt x="52" y="203"/>
                      <a:pt x="43" y="201"/>
                      <a:pt x="35" y="196"/>
                    </a:cubicBezTo>
                    <a:cubicBezTo>
                      <a:pt x="28" y="192"/>
                      <a:pt x="21" y="186"/>
                      <a:pt x="16" y="177"/>
                    </a:cubicBezTo>
                    <a:cubicBezTo>
                      <a:pt x="11" y="169"/>
                      <a:pt x="7" y="159"/>
                      <a:pt x="4" y="147"/>
                    </a:cubicBezTo>
                    <a:cubicBezTo>
                      <a:pt x="1" y="135"/>
                      <a:pt x="0" y="121"/>
                      <a:pt x="0" y="105"/>
                    </a:cubicBezTo>
                    <a:cubicBezTo>
                      <a:pt x="0" y="88"/>
                      <a:pt x="1" y="73"/>
                      <a:pt x="4" y="60"/>
                    </a:cubicBezTo>
                    <a:cubicBezTo>
                      <a:pt x="7" y="47"/>
                      <a:pt x="11" y="36"/>
                      <a:pt x="17" y="27"/>
                    </a:cubicBezTo>
                    <a:cubicBezTo>
                      <a:pt x="22" y="18"/>
                      <a:pt x="29" y="11"/>
                      <a:pt x="38" y="7"/>
                    </a:cubicBezTo>
                    <a:cubicBezTo>
                      <a:pt x="46" y="2"/>
                      <a:pt x="55" y="0"/>
                      <a:pt x="66" y="0"/>
                    </a:cubicBezTo>
                    <a:cubicBezTo>
                      <a:pt x="107" y="0"/>
                      <a:pt x="128" y="34"/>
                      <a:pt x="128" y="101"/>
                    </a:cubicBezTo>
                    <a:close/>
                    <a:moveTo>
                      <a:pt x="105" y="103"/>
                    </a:moveTo>
                    <a:cubicBezTo>
                      <a:pt x="105" y="47"/>
                      <a:pt x="91" y="19"/>
                      <a:pt x="65" y="19"/>
                    </a:cubicBezTo>
                    <a:cubicBezTo>
                      <a:pt x="37" y="19"/>
                      <a:pt x="23" y="48"/>
                      <a:pt x="23" y="104"/>
                    </a:cubicBezTo>
                    <a:cubicBezTo>
                      <a:pt x="23" y="157"/>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3" name="Freeform 140"/>
              <p:cNvSpPr>
                <a:spLocks/>
              </p:cNvSpPr>
              <p:nvPr userDrawn="1"/>
            </p:nvSpPr>
            <p:spPr bwMode="auto">
              <a:xfrm>
                <a:off x="5137" y="4022"/>
                <a:ext cx="83" cy="244"/>
              </a:xfrm>
              <a:custGeom>
                <a:avLst/>
                <a:gdLst>
                  <a:gd name="T0" fmla="*/ 68 w 68"/>
                  <a:gd name="T1" fmla="*/ 200 h 200"/>
                  <a:gd name="T2" fmla="*/ 45 w 68"/>
                  <a:gd name="T3" fmla="*/ 200 h 200"/>
                  <a:gd name="T4" fmla="*/ 45 w 68"/>
                  <a:gd name="T5" fmla="*/ 31 h 200"/>
                  <a:gd name="T6" fmla="*/ 38 w 68"/>
                  <a:gd name="T7" fmla="*/ 37 h 200"/>
                  <a:gd name="T8" fmla="*/ 27 w 68"/>
                  <a:gd name="T9" fmla="*/ 44 h 200"/>
                  <a:gd name="T10" fmla="*/ 13 w 68"/>
                  <a:gd name="T11" fmla="*/ 50 h 200"/>
                  <a:gd name="T12" fmla="*/ 0 w 68"/>
                  <a:gd name="T13" fmla="*/ 54 h 200"/>
                  <a:gd name="T14" fmla="*/ 0 w 68"/>
                  <a:gd name="T15" fmla="*/ 32 h 200"/>
                  <a:gd name="T16" fmla="*/ 16 w 68"/>
                  <a:gd name="T17" fmla="*/ 26 h 200"/>
                  <a:gd name="T18" fmla="*/ 32 w 68"/>
                  <a:gd name="T19" fmla="*/ 18 h 200"/>
                  <a:gd name="T20" fmla="*/ 47 w 68"/>
                  <a:gd name="T21" fmla="*/ 9 h 200"/>
                  <a:gd name="T22" fmla="*/ 59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5" y="200"/>
                      <a:pt x="45" y="200"/>
                      <a:pt x="45" y="200"/>
                    </a:cubicBezTo>
                    <a:cubicBezTo>
                      <a:pt x="45" y="31"/>
                      <a:pt x="45" y="31"/>
                      <a:pt x="45" y="31"/>
                    </a:cubicBezTo>
                    <a:cubicBezTo>
                      <a:pt x="44" y="33"/>
                      <a:pt x="41" y="35"/>
                      <a:pt x="38" y="37"/>
                    </a:cubicBezTo>
                    <a:cubicBezTo>
                      <a:pt x="34" y="39"/>
                      <a:pt x="31" y="41"/>
                      <a:pt x="27" y="44"/>
                    </a:cubicBezTo>
                    <a:cubicBezTo>
                      <a:pt x="22" y="46"/>
                      <a:pt x="18" y="48"/>
                      <a:pt x="13" y="50"/>
                    </a:cubicBezTo>
                    <a:cubicBezTo>
                      <a:pt x="9" y="52"/>
                      <a:pt x="4" y="53"/>
                      <a:pt x="0" y="54"/>
                    </a:cubicBezTo>
                    <a:cubicBezTo>
                      <a:pt x="0" y="32"/>
                      <a:pt x="0" y="32"/>
                      <a:pt x="0" y="32"/>
                    </a:cubicBezTo>
                    <a:cubicBezTo>
                      <a:pt x="5" y="30"/>
                      <a:pt x="10" y="28"/>
                      <a:pt x="16" y="26"/>
                    </a:cubicBezTo>
                    <a:cubicBezTo>
                      <a:pt x="21" y="24"/>
                      <a:pt x="27" y="21"/>
                      <a:pt x="32" y="18"/>
                    </a:cubicBezTo>
                    <a:cubicBezTo>
                      <a:pt x="37" y="15"/>
                      <a:pt x="42" y="12"/>
                      <a:pt x="47" y="9"/>
                    </a:cubicBezTo>
                    <a:cubicBezTo>
                      <a:pt x="52" y="6"/>
                      <a:pt x="56" y="3"/>
                      <a:pt x="59"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4" name="Freeform 141"/>
              <p:cNvSpPr>
                <a:spLocks noEditPoints="1"/>
              </p:cNvSpPr>
              <p:nvPr userDrawn="1"/>
            </p:nvSpPr>
            <p:spPr bwMode="auto">
              <a:xfrm>
                <a:off x="5286" y="4023"/>
                <a:ext cx="154" cy="248"/>
              </a:xfrm>
              <a:custGeom>
                <a:avLst/>
                <a:gdLst>
                  <a:gd name="T0" fmla="*/ 127 w 127"/>
                  <a:gd name="T1" fmla="*/ 101 h 203"/>
                  <a:gd name="T2" fmla="*/ 123 w 127"/>
                  <a:gd name="T3" fmla="*/ 144 h 203"/>
                  <a:gd name="T4" fmla="*/ 110 w 127"/>
                  <a:gd name="T5" fmla="*/ 176 h 203"/>
                  <a:gd name="T6" fmla="*/ 89 w 127"/>
                  <a:gd name="T7" fmla="*/ 196 h 203"/>
                  <a:gd name="T8" fmla="*/ 62 w 127"/>
                  <a:gd name="T9" fmla="*/ 203 h 203"/>
                  <a:gd name="T10" fmla="*/ 35 w 127"/>
                  <a:gd name="T11" fmla="*/ 196 h 203"/>
                  <a:gd name="T12" fmla="*/ 16 w 127"/>
                  <a:gd name="T13" fmla="*/ 177 h 203"/>
                  <a:gd name="T14" fmla="*/ 4 w 127"/>
                  <a:gd name="T15" fmla="*/ 147 h 203"/>
                  <a:gd name="T16" fmla="*/ 0 w 127"/>
                  <a:gd name="T17" fmla="*/ 105 h 203"/>
                  <a:gd name="T18" fmla="*/ 4 w 127"/>
                  <a:gd name="T19" fmla="*/ 60 h 203"/>
                  <a:gd name="T20" fmla="*/ 17 w 127"/>
                  <a:gd name="T21" fmla="*/ 27 h 203"/>
                  <a:gd name="T22" fmla="*/ 37 w 127"/>
                  <a:gd name="T23" fmla="*/ 7 h 203"/>
                  <a:gd name="T24" fmla="*/ 66 w 127"/>
                  <a:gd name="T25" fmla="*/ 0 h 203"/>
                  <a:gd name="T26" fmla="*/ 127 w 127"/>
                  <a:gd name="T27" fmla="*/ 101 h 203"/>
                  <a:gd name="T28" fmla="*/ 104 w 127"/>
                  <a:gd name="T29" fmla="*/ 103 h 203"/>
                  <a:gd name="T30" fmla="*/ 65 w 127"/>
                  <a:gd name="T31" fmla="*/ 19 h 203"/>
                  <a:gd name="T32" fmla="*/ 23 w 127"/>
                  <a:gd name="T33" fmla="*/ 104 h 203"/>
                  <a:gd name="T34" fmla="*/ 64 w 127"/>
                  <a:gd name="T35" fmla="*/ 184 h 203"/>
                  <a:gd name="T36" fmla="*/ 104 w 127"/>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7" h="203">
                    <a:moveTo>
                      <a:pt x="127" y="101"/>
                    </a:moveTo>
                    <a:cubicBezTo>
                      <a:pt x="127" y="117"/>
                      <a:pt x="126" y="132"/>
                      <a:pt x="123" y="144"/>
                    </a:cubicBezTo>
                    <a:cubicBezTo>
                      <a:pt x="120" y="157"/>
                      <a:pt x="116" y="168"/>
                      <a:pt x="110" y="176"/>
                    </a:cubicBezTo>
                    <a:cubicBezTo>
                      <a:pt x="104" y="185"/>
                      <a:pt x="97" y="192"/>
                      <a:pt x="89" y="196"/>
                    </a:cubicBezTo>
                    <a:cubicBezTo>
                      <a:pt x="81" y="201"/>
                      <a:pt x="72" y="203"/>
                      <a:pt x="62" y="203"/>
                    </a:cubicBezTo>
                    <a:cubicBezTo>
                      <a:pt x="52" y="203"/>
                      <a:pt x="43" y="201"/>
                      <a:pt x="35" y="196"/>
                    </a:cubicBezTo>
                    <a:cubicBezTo>
                      <a:pt x="27" y="192"/>
                      <a:pt x="21" y="186"/>
                      <a:pt x="16" y="177"/>
                    </a:cubicBezTo>
                    <a:cubicBezTo>
                      <a:pt x="10" y="169"/>
                      <a:pt x="6" y="159"/>
                      <a:pt x="4" y="147"/>
                    </a:cubicBezTo>
                    <a:cubicBezTo>
                      <a:pt x="1" y="135"/>
                      <a:pt x="0" y="121"/>
                      <a:pt x="0" y="105"/>
                    </a:cubicBezTo>
                    <a:cubicBezTo>
                      <a:pt x="0" y="88"/>
                      <a:pt x="1" y="73"/>
                      <a:pt x="4" y="60"/>
                    </a:cubicBezTo>
                    <a:cubicBezTo>
                      <a:pt x="7" y="47"/>
                      <a:pt x="11" y="36"/>
                      <a:pt x="17" y="27"/>
                    </a:cubicBezTo>
                    <a:cubicBezTo>
                      <a:pt x="22" y="18"/>
                      <a:pt x="29" y="11"/>
                      <a:pt x="37" y="7"/>
                    </a:cubicBezTo>
                    <a:cubicBezTo>
                      <a:pt x="45" y="2"/>
                      <a:pt x="55" y="0"/>
                      <a:pt x="66" y="0"/>
                    </a:cubicBezTo>
                    <a:cubicBezTo>
                      <a:pt x="107" y="0"/>
                      <a:pt x="127" y="34"/>
                      <a:pt x="127" y="101"/>
                    </a:cubicBezTo>
                    <a:close/>
                    <a:moveTo>
                      <a:pt x="104" y="103"/>
                    </a:moveTo>
                    <a:cubicBezTo>
                      <a:pt x="104" y="47"/>
                      <a:pt x="91" y="19"/>
                      <a:pt x="65" y="19"/>
                    </a:cubicBezTo>
                    <a:cubicBezTo>
                      <a:pt x="37" y="19"/>
                      <a:pt x="23" y="48"/>
                      <a:pt x="23" y="104"/>
                    </a:cubicBezTo>
                    <a:cubicBezTo>
                      <a:pt x="23" y="157"/>
                      <a:pt x="36" y="184"/>
                      <a:pt x="64" y="184"/>
                    </a:cubicBezTo>
                    <a:cubicBezTo>
                      <a:pt x="91" y="184"/>
                      <a:pt x="104" y="157"/>
                      <a:pt x="104"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5" name="Freeform 142"/>
              <p:cNvSpPr>
                <a:spLocks/>
              </p:cNvSpPr>
              <p:nvPr userDrawn="1"/>
            </p:nvSpPr>
            <p:spPr bwMode="auto">
              <a:xfrm>
                <a:off x="5483" y="4022"/>
                <a:ext cx="82" cy="244"/>
              </a:xfrm>
              <a:custGeom>
                <a:avLst/>
                <a:gdLst>
                  <a:gd name="T0" fmla="*/ 67 w 67"/>
                  <a:gd name="T1" fmla="*/ 200 h 200"/>
                  <a:gd name="T2" fmla="*/ 45 w 67"/>
                  <a:gd name="T3" fmla="*/ 200 h 200"/>
                  <a:gd name="T4" fmla="*/ 45 w 67"/>
                  <a:gd name="T5" fmla="*/ 31 h 200"/>
                  <a:gd name="T6" fmla="*/ 37 w 67"/>
                  <a:gd name="T7" fmla="*/ 37 h 200"/>
                  <a:gd name="T8" fmla="*/ 26 w 67"/>
                  <a:gd name="T9" fmla="*/ 44 h 200"/>
                  <a:gd name="T10" fmla="*/ 13 w 67"/>
                  <a:gd name="T11" fmla="*/ 50 h 200"/>
                  <a:gd name="T12" fmla="*/ 0 w 67"/>
                  <a:gd name="T13" fmla="*/ 54 h 200"/>
                  <a:gd name="T14" fmla="*/ 0 w 67"/>
                  <a:gd name="T15" fmla="*/ 32 h 200"/>
                  <a:gd name="T16" fmla="*/ 15 w 67"/>
                  <a:gd name="T17" fmla="*/ 26 h 200"/>
                  <a:gd name="T18" fmla="*/ 32 w 67"/>
                  <a:gd name="T19" fmla="*/ 18 h 200"/>
                  <a:gd name="T20" fmla="*/ 47 w 67"/>
                  <a:gd name="T21" fmla="*/ 9 h 200"/>
                  <a:gd name="T22" fmla="*/ 59 w 67"/>
                  <a:gd name="T23" fmla="*/ 0 h 200"/>
                  <a:gd name="T24" fmla="*/ 67 w 67"/>
                  <a:gd name="T25" fmla="*/ 0 h 200"/>
                  <a:gd name="T26" fmla="*/ 67 w 67"/>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7" h="200">
                    <a:moveTo>
                      <a:pt x="67" y="200"/>
                    </a:moveTo>
                    <a:cubicBezTo>
                      <a:pt x="45" y="200"/>
                      <a:pt x="45" y="200"/>
                      <a:pt x="45" y="200"/>
                    </a:cubicBezTo>
                    <a:cubicBezTo>
                      <a:pt x="45" y="31"/>
                      <a:pt x="45" y="31"/>
                      <a:pt x="45" y="31"/>
                    </a:cubicBezTo>
                    <a:cubicBezTo>
                      <a:pt x="43" y="33"/>
                      <a:pt x="41" y="35"/>
                      <a:pt x="37" y="37"/>
                    </a:cubicBezTo>
                    <a:cubicBezTo>
                      <a:pt x="34" y="39"/>
                      <a:pt x="30" y="41"/>
                      <a:pt x="26" y="44"/>
                    </a:cubicBezTo>
                    <a:cubicBezTo>
                      <a:pt x="22" y="46"/>
                      <a:pt x="18" y="48"/>
                      <a:pt x="13" y="50"/>
                    </a:cubicBezTo>
                    <a:cubicBezTo>
                      <a:pt x="9" y="52"/>
                      <a:pt x="4" y="53"/>
                      <a:pt x="0" y="54"/>
                    </a:cubicBezTo>
                    <a:cubicBezTo>
                      <a:pt x="0" y="32"/>
                      <a:pt x="0" y="32"/>
                      <a:pt x="0" y="32"/>
                    </a:cubicBezTo>
                    <a:cubicBezTo>
                      <a:pt x="5" y="30"/>
                      <a:pt x="10" y="28"/>
                      <a:pt x="15" y="26"/>
                    </a:cubicBezTo>
                    <a:cubicBezTo>
                      <a:pt x="21" y="24"/>
                      <a:pt x="26" y="21"/>
                      <a:pt x="32" y="18"/>
                    </a:cubicBezTo>
                    <a:cubicBezTo>
                      <a:pt x="37" y="15"/>
                      <a:pt x="42" y="12"/>
                      <a:pt x="47" y="9"/>
                    </a:cubicBezTo>
                    <a:cubicBezTo>
                      <a:pt x="51" y="6"/>
                      <a:pt x="56" y="3"/>
                      <a:pt x="59" y="0"/>
                    </a:cubicBezTo>
                    <a:cubicBezTo>
                      <a:pt x="67" y="0"/>
                      <a:pt x="67" y="0"/>
                      <a:pt x="67" y="0"/>
                    </a:cubicBezTo>
                    <a:lnTo>
                      <a:pt x="67"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6" name="Freeform 143"/>
              <p:cNvSpPr>
                <a:spLocks noEditPoints="1"/>
              </p:cNvSpPr>
              <p:nvPr userDrawn="1"/>
            </p:nvSpPr>
            <p:spPr bwMode="auto">
              <a:xfrm>
                <a:off x="5631" y="4023"/>
                <a:ext cx="156" cy="248"/>
              </a:xfrm>
              <a:custGeom>
                <a:avLst/>
                <a:gdLst>
                  <a:gd name="T0" fmla="*/ 128 w 128"/>
                  <a:gd name="T1" fmla="*/ 101 h 203"/>
                  <a:gd name="T2" fmla="*/ 124 w 128"/>
                  <a:gd name="T3" fmla="*/ 144 h 203"/>
                  <a:gd name="T4" fmla="*/ 111 w 128"/>
                  <a:gd name="T5" fmla="*/ 176 h 203"/>
                  <a:gd name="T6" fmla="*/ 90 w 128"/>
                  <a:gd name="T7" fmla="*/ 196 h 203"/>
                  <a:gd name="T8" fmla="*/ 62 w 128"/>
                  <a:gd name="T9" fmla="*/ 203 h 203"/>
                  <a:gd name="T10" fmla="*/ 36 w 128"/>
                  <a:gd name="T11" fmla="*/ 196 h 203"/>
                  <a:gd name="T12" fmla="*/ 16 w 128"/>
                  <a:gd name="T13" fmla="*/ 177 h 203"/>
                  <a:gd name="T14" fmla="*/ 4 w 128"/>
                  <a:gd name="T15" fmla="*/ 147 h 203"/>
                  <a:gd name="T16" fmla="*/ 0 w 128"/>
                  <a:gd name="T17" fmla="*/ 105 h 203"/>
                  <a:gd name="T18" fmla="*/ 5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4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6" y="132"/>
                      <a:pt x="124" y="144"/>
                    </a:cubicBezTo>
                    <a:cubicBezTo>
                      <a:pt x="121" y="157"/>
                      <a:pt x="116" y="168"/>
                      <a:pt x="111" y="176"/>
                    </a:cubicBezTo>
                    <a:cubicBezTo>
                      <a:pt x="105" y="185"/>
                      <a:pt x="98" y="192"/>
                      <a:pt x="90" y="196"/>
                    </a:cubicBezTo>
                    <a:cubicBezTo>
                      <a:pt x="82" y="201"/>
                      <a:pt x="73" y="203"/>
                      <a:pt x="62" y="203"/>
                    </a:cubicBezTo>
                    <a:cubicBezTo>
                      <a:pt x="52" y="203"/>
                      <a:pt x="44" y="201"/>
                      <a:pt x="36" y="196"/>
                    </a:cubicBezTo>
                    <a:cubicBezTo>
                      <a:pt x="28" y="192"/>
                      <a:pt x="22" y="186"/>
                      <a:pt x="16" y="177"/>
                    </a:cubicBezTo>
                    <a:cubicBezTo>
                      <a:pt x="11" y="169"/>
                      <a:pt x="7" y="159"/>
                      <a:pt x="4" y="147"/>
                    </a:cubicBezTo>
                    <a:cubicBezTo>
                      <a:pt x="2" y="135"/>
                      <a:pt x="0" y="121"/>
                      <a:pt x="0" y="105"/>
                    </a:cubicBezTo>
                    <a:cubicBezTo>
                      <a:pt x="0" y="88"/>
                      <a:pt x="2" y="73"/>
                      <a:pt x="5" y="60"/>
                    </a:cubicBezTo>
                    <a:cubicBezTo>
                      <a:pt x="7" y="47"/>
                      <a:pt x="12" y="36"/>
                      <a:pt x="17" y="27"/>
                    </a:cubicBezTo>
                    <a:cubicBezTo>
                      <a:pt x="23" y="18"/>
                      <a:pt x="30" y="11"/>
                      <a:pt x="38" y="7"/>
                    </a:cubicBezTo>
                    <a:cubicBezTo>
                      <a:pt x="46" y="2"/>
                      <a:pt x="56" y="0"/>
                      <a:pt x="66" y="0"/>
                    </a:cubicBezTo>
                    <a:cubicBezTo>
                      <a:pt x="107" y="0"/>
                      <a:pt x="128" y="34"/>
                      <a:pt x="128" y="101"/>
                    </a:cubicBezTo>
                    <a:close/>
                    <a:moveTo>
                      <a:pt x="105" y="103"/>
                    </a:moveTo>
                    <a:cubicBezTo>
                      <a:pt x="105" y="47"/>
                      <a:pt x="92" y="19"/>
                      <a:pt x="65" y="19"/>
                    </a:cubicBezTo>
                    <a:cubicBezTo>
                      <a:pt x="37" y="19"/>
                      <a:pt x="23" y="48"/>
                      <a:pt x="23" y="104"/>
                    </a:cubicBezTo>
                    <a:cubicBezTo>
                      <a:pt x="23" y="157"/>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7" name="Freeform 144"/>
              <p:cNvSpPr>
                <a:spLocks/>
              </p:cNvSpPr>
              <p:nvPr userDrawn="1"/>
            </p:nvSpPr>
            <p:spPr bwMode="auto">
              <a:xfrm>
                <a:off x="5828" y="4022"/>
                <a:ext cx="83" cy="244"/>
              </a:xfrm>
              <a:custGeom>
                <a:avLst/>
                <a:gdLst>
                  <a:gd name="T0" fmla="*/ 68 w 68"/>
                  <a:gd name="T1" fmla="*/ 200 h 200"/>
                  <a:gd name="T2" fmla="*/ 46 w 68"/>
                  <a:gd name="T3" fmla="*/ 200 h 200"/>
                  <a:gd name="T4" fmla="*/ 46 w 68"/>
                  <a:gd name="T5" fmla="*/ 31 h 200"/>
                  <a:gd name="T6" fmla="*/ 38 w 68"/>
                  <a:gd name="T7" fmla="*/ 37 h 200"/>
                  <a:gd name="T8" fmla="*/ 27 w 68"/>
                  <a:gd name="T9" fmla="*/ 44 h 200"/>
                  <a:gd name="T10" fmla="*/ 14 w 68"/>
                  <a:gd name="T11" fmla="*/ 50 h 200"/>
                  <a:gd name="T12" fmla="*/ 0 w 68"/>
                  <a:gd name="T13" fmla="*/ 54 h 200"/>
                  <a:gd name="T14" fmla="*/ 0 w 68"/>
                  <a:gd name="T15" fmla="*/ 32 h 200"/>
                  <a:gd name="T16" fmla="*/ 16 w 68"/>
                  <a:gd name="T17" fmla="*/ 26 h 200"/>
                  <a:gd name="T18" fmla="*/ 32 w 68"/>
                  <a:gd name="T19" fmla="*/ 18 h 200"/>
                  <a:gd name="T20" fmla="*/ 47 w 68"/>
                  <a:gd name="T21" fmla="*/ 9 h 200"/>
                  <a:gd name="T22" fmla="*/ 60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6" y="200"/>
                      <a:pt x="46" y="200"/>
                      <a:pt x="46" y="200"/>
                    </a:cubicBezTo>
                    <a:cubicBezTo>
                      <a:pt x="46" y="31"/>
                      <a:pt x="46" y="31"/>
                      <a:pt x="46" y="31"/>
                    </a:cubicBezTo>
                    <a:cubicBezTo>
                      <a:pt x="44" y="33"/>
                      <a:pt x="41" y="35"/>
                      <a:pt x="38" y="37"/>
                    </a:cubicBezTo>
                    <a:cubicBezTo>
                      <a:pt x="35" y="39"/>
                      <a:pt x="31" y="41"/>
                      <a:pt x="27" y="44"/>
                    </a:cubicBezTo>
                    <a:cubicBezTo>
                      <a:pt x="23" y="46"/>
                      <a:pt x="18" y="48"/>
                      <a:pt x="14" y="50"/>
                    </a:cubicBezTo>
                    <a:cubicBezTo>
                      <a:pt x="9" y="52"/>
                      <a:pt x="5" y="53"/>
                      <a:pt x="0" y="54"/>
                    </a:cubicBezTo>
                    <a:cubicBezTo>
                      <a:pt x="0" y="32"/>
                      <a:pt x="0" y="32"/>
                      <a:pt x="0" y="32"/>
                    </a:cubicBezTo>
                    <a:cubicBezTo>
                      <a:pt x="5" y="30"/>
                      <a:pt x="11" y="28"/>
                      <a:pt x="16" y="26"/>
                    </a:cubicBezTo>
                    <a:cubicBezTo>
                      <a:pt x="22" y="24"/>
                      <a:pt x="27" y="21"/>
                      <a:pt x="32" y="18"/>
                    </a:cubicBezTo>
                    <a:cubicBezTo>
                      <a:pt x="38" y="15"/>
                      <a:pt x="43" y="12"/>
                      <a:pt x="47" y="9"/>
                    </a:cubicBezTo>
                    <a:cubicBezTo>
                      <a:pt x="52" y="6"/>
                      <a:pt x="56" y="3"/>
                      <a:pt x="60"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8" name="Freeform 145"/>
              <p:cNvSpPr>
                <a:spLocks noEditPoints="1"/>
              </p:cNvSpPr>
              <p:nvPr userDrawn="1"/>
            </p:nvSpPr>
            <p:spPr bwMode="auto">
              <a:xfrm>
                <a:off x="5977" y="4023"/>
                <a:ext cx="156" cy="248"/>
              </a:xfrm>
              <a:custGeom>
                <a:avLst/>
                <a:gdLst>
                  <a:gd name="T0" fmla="*/ 128 w 128"/>
                  <a:gd name="T1" fmla="*/ 101 h 203"/>
                  <a:gd name="T2" fmla="*/ 123 w 128"/>
                  <a:gd name="T3" fmla="*/ 144 h 203"/>
                  <a:gd name="T4" fmla="*/ 110 w 128"/>
                  <a:gd name="T5" fmla="*/ 176 h 203"/>
                  <a:gd name="T6" fmla="*/ 90 w 128"/>
                  <a:gd name="T7" fmla="*/ 196 h 203"/>
                  <a:gd name="T8" fmla="*/ 62 w 128"/>
                  <a:gd name="T9" fmla="*/ 203 h 203"/>
                  <a:gd name="T10" fmla="*/ 36 w 128"/>
                  <a:gd name="T11" fmla="*/ 196 h 203"/>
                  <a:gd name="T12" fmla="*/ 16 w 128"/>
                  <a:gd name="T13" fmla="*/ 177 h 203"/>
                  <a:gd name="T14" fmla="*/ 4 w 128"/>
                  <a:gd name="T15" fmla="*/ 147 h 203"/>
                  <a:gd name="T16" fmla="*/ 0 w 128"/>
                  <a:gd name="T17" fmla="*/ 105 h 203"/>
                  <a:gd name="T18" fmla="*/ 4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4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6" y="132"/>
                      <a:pt x="123" y="144"/>
                    </a:cubicBezTo>
                    <a:cubicBezTo>
                      <a:pt x="120" y="157"/>
                      <a:pt x="116" y="168"/>
                      <a:pt x="110" y="176"/>
                    </a:cubicBezTo>
                    <a:cubicBezTo>
                      <a:pt x="105" y="185"/>
                      <a:pt x="98" y="192"/>
                      <a:pt x="90" y="196"/>
                    </a:cubicBezTo>
                    <a:cubicBezTo>
                      <a:pt x="82" y="201"/>
                      <a:pt x="72" y="203"/>
                      <a:pt x="62" y="203"/>
                    </a:cubicBezTo>
                    <a:cubicBezTo>
                      <a:pt x="52" y="203"/>
                      <a:pt x="43" y="201"/>
                      <a:pt x="36" y="196"/>
                    </a:cubicBezTo>
                    <a:cubicBezTo>
                      <a:pt x="28" y="192"/>
                      <a:pt x="21" y="186"/>
                      <a:pt x="16" y="177"/>
                    </a:cubicBezTo>
                    <a:cubicBezTo>
                      <a:pt x="11" y="169"/>
                      <a:pt x="7" y="159"/>
                      <a:pt x="4" y="147"/>
                    </a:cubicBezTo>
                    <a:cubicBezTo>
                      <a:pt x="1" y="135"/>
                      <a:pt x="0" y="121"/>
                      <a:pt x="0" y="105"/>
                    </a:cubicBezTo>
                    <a:cubicBezTo>
                      <a:pt x="0" y="88"/>
                      <a:pt x="1" y="73"/>
                      <a:pt x="4" y="60"/>
                    </a:cubicBezTo>
                    <a:cubicBezTo>
                      <a:pt x="7" y="47"/>
                      <a:pt x="11" y="36"/>
                      <a:pt x="17" y="27"/>
                    </a:cubicBezTo>
                    <a:cubicBezTo>
                      <a:pt x="22" y="18"/>
                      <a:pt x="29" y="11"/>
                      <a:pt x="38" y="7"/>
                    </a:cubicBezTo>
                    <a:cubicBezTo>
                      <a:pt x="46" y="2"/>
                      <a:pt x="55" y="0"/>
                      <a:pt x="66" y="0"/>
                    </a:cubicBezTo>
                    <a:cubicBezTo>
                      <a:pt x="107" y="0"/>
                      <a:pt x="128" y="34"/>
                      <a:pt x="128" y="101"/>
                    </a:cubicBezTo>
                    <a:close/>
                    <a:moveTo>
                      <a:pt x="105" y="103"/>
                    </a:moveTo>
                    <a:cubicBezTo>
                      <a:pt x="105" y="47"/>
                      <a:pt x="91" y="19"/>
                      <a:pt x="65" y="19"/>
                    </a:cubicBezTo>
                    <a:cubicBezTo>
                      <a:pt x="37" y="19"/>
                      <a:pt x="23" y="48"/>
                      <a:pt x="23" y="104"/>
                    </a:cubicBezTo>
                    <a:cubicBezTo>
                      <a:pt x="23" y="157"/>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9" name="Freeform 146"/>
              <p:cNvSpPr>
                <a:spLocks noEditPoints="1"/>
              </p:cNvSpPr>
              <p:nvPr userDrawn="1"/>
            </p:nvSpPr>
            <p:spPr bwMode="auto">
              <a:xfrm>
                <a:off x="6172" y="4023"/>
                <a:ext cx="156" cy="248"/>
              </a:xfrm>
              <a:custGeom>
                <a:avLst/>
                <a:gdLst>
                  <a:gd name="T0" fmla="*/ 128 w 128"/>
                  <a:gd name="T1" fmla="*/ 101 h 203"/>
                  <a:gd name="T2" fmla="*/ 123 w 128"/>
                  <a:gd name="T3" fmla="*/ 144 h 203"/>
                  <a:gd name="T4" fmla="*/ 110 w 128"/>
                  <a:gd name="T5" fmla="*/ 176 h 203"/>
                  <a:gd name="T6" fmla="*/ 90 w 128"/>
                  <a:gd name="T7" fmla="*/ 196 h 203"/>
                  <a:gd name="T8" fmla="*/ 62 w 128"/>
                  <a:gd name="T9" fmla="*/ 203 h 203"/>
                  <a:gd name="T10" fmla="*/ 36 w 128"/>
                  <a:gd name="T11" fmla="*/ 196 h 203"/>
                  <a:gd name="T12" fmla="*/ 16 w 128"/>
                  <a:gd name="T13" fmla="*/ 177 h 203"/>
                  <a:gd name="T14" fmla="*/ 4 w 128"/>
                  <a:gd name="T15" fmla="*/ 147 h 203"/>
                  <a:gd name="T16" fmla="*/ 0 w 128"/>
                  <a:gd name="T17" fmla="*/ 105 h 203"/>
                  <a:gd name="T18" fmla="*/ 4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4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6" y="132"/>
                      <a:pt x="123" y="144"/>
                    </a:cubicBezTo>
                    <a:cubicBezTo>
                      <a:pt x="120" y="157"/>
                      <a:pt x="116" y="168"/>
                      <a:pt x="110" y="176"/>
                    </a:cubicBezTo>
                    <a:cubicBezTo>
                      <a:pt x="105" y="185"/>
                      <a:pt x="98" y="192"/>
                      <a:pt x="90" y="196"/>
                    </a:cubicBezTo>
                    <a:cubicBezTo>
                      <a:pt x="82" y="201"/>
                      <a:pt x="72" y="203"/>
                      <a:pt x="62" y="203"/>
                    </a:cubicBezTo>
                    <a:cubicBezTo>
                      <a:pt x="52" y="203"/>
                      <a:pt x="43" y="201"/>
                      <a:pt x="36" y="196"/>
                    </a:cubicBezTo>
                    <a:cubicBezTo>
                      <a:pt x="28" y="192"/>
                      <a:pt x="21" y="186"/>
                      <a:pt x="16" y="177"/>
                    </a:cubicBezTo>
                    <a:cubicBezTo>
                      <a:pt x="11" y="169"/>
                      <a:pt x="7" y="159"/>
                      <a:pt x="4" y="147"/>
                    </a:cubicBezTo>
                    <a:cubicBezTo>
                      <a:pt x="1" y="135"/>
                      <a:pt x="0" y="121"/>
                      <a:pt x="0" y="105"/>
                    </a:cubicBezTo>
                    <a:cubicBezTo>
                      <a:pt x="0" y="88"/>
                      <a:pt x="1" y="73"/>
                      <a:pt x="4" y="60"/>
                    </a:cubicBezTo>
                    <a:cubicBezTo>
                      <a:pt x="7" y="47"/>
                      <a:pt x="11" y="36"/>
                      <a:pt x="17" y="27"/>
                    </a:cubicBezTo>
                    <a:cubicBezTo>
                      <a:pt x="22" y="18"/>
                      <a:pt x="29" y="11"/>
                      <a:pt x="38" y="7"/>
                    </a:cubicBezTo>
                    <a:cubicBezTo>
                      <a:pt x="46" y="2"/>
                      <a:pt x="55" y="0"/>
                      <a:pt x="66" y="0"/>
                    </a:cubicBezTo>
                    <a:cubicBezTo>
                      <a:pt x="107" y="0"/>
                      <a:pt x="128" y="34"/>
                      <a:pt x="128" y="101"/>
                    </a:cubicBezTo>
                    <a:close/>
                    <a:moveTo>
                      <a:pt x="105" y="103"/>
                    </a:moveTo>
                    <a:cubicBezTo>
                      <a:pt x="105" y="47"/>
                      <a:pt x="91" y="19"/>
                      <a:pt x="65" y="19"/>
                    </a:cubicBezTo>
                    <a:cubicBezTo>
                      <a:pt x="37" y="19"/>
                      <a:pt x="23" y="48"/>
                      <a:pt x="23" y="104"/>
                    </a:cubicBezTo>
                    <a:cubicBezTo>
                      <a:pt x="23" y="157"/>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0" name="Freeform 147"/>
              <p:cNvSpPr>
                <a:spLocks noEditPoints="1"/>
              </p:cNvSpPr>
              <p:nvPr userDrawn="1"/>
            </p:nvSpPr>
            <p:spPr bwMode="auto">
              <a:xfrm>
                <a:off x="6356" y="4027"/>
                <a:ext cx="189" cy="220"/>
              </a:xfrm>
              <a:custGeom>
                <a:avLst/>
                <a:gdLst>
                  <a:gd name="T0" fmla="*/ 189 w 189"/>
                  <a:gd name="T1" fmla="*/ 67 h 220"/>
                  <a:gd name="T2" fmla="*/ 185 w 189"/>
                  <a:gd name="T3" fmla="*/ 85 h 220"/>
                  <a:gd name="T4" fmla="*/ 142 w 189"/>
                  <a:gd name="T5" fmla="*/ 85 h 220"/>
                  <a:gd name="T6" fmla="*/ 131 w 189"/>
                  <a:gd name="T7" fmla="*/ 135 h 220"/>
                  <a:gd name="T8" fmla="*/ 178 w 189"/>
                  <a:gd name="T9" fmla="*/ 135 h 220"/>
                  <a:gd name="T10" fmla="*/ 174 w 189"/>
                  <a:gd name="T11" fmla="*/ 153 h 220"/>
                  <a:gd name="T12" fmla="*/ 128 w 189"/>
                  <a:gd name="T13" fmla="*/ 153 h 220"/>
                  <a:gd name="T14" fmla="*/ 113 w 189"/>
                  <a:gd name="T15" fmla="*/ 220 h 220"/>
                  <a:gd name="T16" fmla="*/ 92 w 189"/>
                  <a:gd name="T17" fmla="*/ 220 h 220"/>
                  <a:gd name="T18" fmla="*/ 107 w 189"/>
                  <a:gd name="T19" fmla="*/ 153 h 220"/>
                  <a:gd name="T20" fmla="*/ 64 w 189"/>
                  <a:gd name="T21" fmla="*/ 153 h 220"/>
                  <a:gd name="T22" fmla="*/ 51 w 189"/>
                  <a:gd name="T23" fmla="*/ 220 h 220"/>
                  <a:gd name="T24" fmla="*/ 30 w 189"/>
                  <a:gd name="T25" fmla="*/ 220 h 220"/>
                  <a:gd name="T26" fmla="*/ 44 w 189"/>
                  <a:gd name="T27" fmla="*/ 153 h 220"/>
                  <a:gd name="T28" fmla="*/ 0 w 189"/>
                  <a:gd name="T29" fmla="*/ 153 h 220"/>
                  <a:gd name="T30" fmla="*/ 3 w 189"/>
                  <a:gd name="T31" fmla="*/ 135 h 220"/>
                  <a:gd name="T32" fmla="*/ 47 w 189"/>
                  <a:gd name="T33" fmla="*/ 135 h 220"/>
                  <a:gd name="T34" fmla="*/ 58 w 189"/>
                  <a:gd name="T35" fmla="*/ 85 h 220"/>
                  <a:gd name="T36" fmla="*/ 12 w 189"/>
                  <a:gd name="T37" fmla="*/ 85 h 220"/>
                  <a:gd name="T38" fmla="*/ 15 w 189"/>
                  <a:gd name="T39" fmla="*/ 67 h 220"/>
                  <a:gd name="T40" fmla="*/ 62 w 189"/>
                  <a:gd name="T41" fmla="*/ 67 h 220"/>
                  <a:gd name="T42" fmla="*/ 75 w 189"/>
                  <a:gd name="T43" fmla="*/ 0 h 220"/>
                  <a:gd name="T44" fmla="*/ 96 w 189"/>
                  <a:gd name="T45" fmla="*/ 0 h 220"/>
                  <a:gd name="T46" fmla="*/ 83 w 189"/>
                  <a:gd name="T47" fmla="*/ 67 h 220"/>
                  <a:gd name="T48" fmla="*/ 124 w 189"/>
                  <a:gd name="T49" fmla="*/ 67 h 220"/>
                  <a:gd name="T50" fmla="*/ 139 w 189"/>
                  <a:gd name="T51" fmla="*/ 0 h 220"/>
                  <a:gd name="T52" fmla="*/ 159 w 189"/>
                  <a:gd name="T53" fmla="*/ 0 h 220"/>
                  <a:gd name="T54" fmla="*/ 145 w 189"/>
                  <a:gd name="T55" fmla="*/ 67 h 220"/>
                  <a:gd name="T56" fmla="*/ 189 w 189"/>
                  <a:gd name="T57" fmla="*/ 67 h 220"/>
                  <a:gd name="T58" fmla="*/ 122 w 189"/>
                  <a:gd name="T59" fmla="*/ 85 h 220"/>
                  <a:gd name="T60" fmla="*/ 79 w 189"/>
                  <a:gd name="T61" fmla="*/ 85 h 220"/>
                  <a:gd name="T62" fmla="*/ 68 w 189"/>
                  <a:gd name="T63" fmla="*/ 135 h 220"/>
                  <a:gd name="T64" fmla="*/ 111 w 189"/>
                  <a:gd name="T65" fmla="*/ 135 h 220"/>
                  <a:gd name="T66" fmla="*/ 122 w 189"/>
                  <a:gd name="T67" fmla="*/ 85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9" h="220">
                    <a:moveTo>
                      <a:pt x="189" y="67"/>
                    </a:moveTo>
                    <a:lnTo>
                      <a:pt x="185" y="85"/>
                    </a:lnTo>
                    <a:lnTo>
                      <a:pt x="142" y="85"/>
                    </a:lnTo>
                    <a:lnTo>
                      <a:pt x="131" y="135"/>
                    </a:lnTo>
                    <a:lnTo>
                      <a:pt x="178" y="135"/>
                    </a:lnTo>
                    <a:lnTo>
                      <a:pt x="174" y="153"/>
                    </a:lnTo>
                    <a:lnTo>
                      <a:pt x="128" y="153"/>
                    </a:lnTo>
                    <a:lnTo>
                      <a:pt x="113" y="220"/>
                    </a:lnTo>
                    <a:lnTo>
                      <a:pt x="92" y="220"/>
                    </a:lnTo>
                    <a:lnTo>
                      <a:pt x="107" y="153"/>
                    </a:lnTo>
                    <a:lnTo>
                      <a:pt x="64" y="153"/>
                    </a:lnTo>
                    <a:lnTo>
                      <a:pt x="51" y="220"/>
                    </a:lnTo>
                    <a:lnTo>
                      <a:pt x="30" y="220"/>
                    </a:lnTo>
                    <a:lnTo>
                      <a:pt x="44" y="153"/>
                    </a:lnTo>
                    <a:lnTo>
                      <a:pt x="0" y="153"/>
                    </a:lnTo>
                    <a:lnTo>
                      <a:pt x="3" y="135"/>
                    </a:lnTo>
                    <a:lnTo>
                      <a:pt x="47" y="135"/>
                    </a:lnTo>
                    <a:lnTo>
                      <a:pt x="58" y="85"/>
                    </a:lnTo>
                    <a:lnTo>
                      <a:pt x="12" y="85"/>
                    </a:lnTo>
                    <a:lnTo>
                      <a:pt x="15" y="67"/>
                    </a:lnTo>
                    <a:lnTo>
                      <a:pt x="62" y="67"/>
                    </a:lnTo>
                    <a:lnTo>
                      <a:pt x="75" y="0"/>
                    </a:lnTo>
                    <a:lnTo>
                      <a:pt x="96" y="0"/>
                    </a:lnTo>
                    <a:lnTo>
                      <a:pt x="83" y="67"/>
                    </a:lnTo>
                    <a:lnTo>
                      <a:pt x="124" y="67"/>
                    </a:lnTo>
                    <a:lnTo>
                      <a:pt x="139" y="0"/>
                    </a:lnTo>
                    <a:lnTo>
                      <a:pt x="159" y="0"/>
                    </a:lnTo>
                    <a:lnTo>
                      <a:pt x="145" y="67"/>
                    </a:lnTo>
                    <a:lnTo>
                      <a:pt x="189" y="67"/>
                    </a:lnTo>
                    <a:close/>
                    <a:moveTo>
                      <a:pt x="122" y="85"/>
                    </a:moveTo>
                    <a:lnTo>
                      <a:pt x="79" y="85"/>
                    </a:lnTo>
                    <a:lnTo>
                      <a:pt x="68" y="135"/>
                    </a:lnTo>
                    <a:lnTo>
                      <a:pt x="111" y="135"/>
                    </a:lnTo>
                    <a:lnTo>
                      <a:pt x="122" y="8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1" name="Freeform 148"/>
              <p:cNvSpPr>
                <a:spLocks noEditPoints="1"/>
              </p:cNvSpPr>
              <p:nvPr userDrawn="1"/>
            </p:nvSpPr>
            <p:spPr bwMode="auto">
              <a:xfrm>
                <a:off x="6574" y="4023"/>
                <a:ext cx="155" cy="248"/>
              </a:xfrm>
              <a:custGeom>
                <a:avLst/>
                <a:gdLst>
                  <a:gd name="T0" fmla="*/ 127 w 127"/>
                  <a:gd name="T1" fmla="*/ 101 h 203"/>
                  <a:gd name="T2" fmla="*/ 123 w 127"/>
                  <a:gd name="T3" fmla="*/ 144 h 203"/>
                  <a:gd name="T4" fmla="*/ 110 w 127"/>
                  <a:gd name="T5" fmla="*/ 176 h 203"/>
                  <a:gd name="T6" fmla="*/ 90 w 127"/>
                  <a:gd name="T7" fmla="*/ 196 h 203"/>
                  <a:gd name="T8" fmla="*/ 62 w 127"/>
                  <a:gd name="T9" fmla="*/ 203 h 203"/>
                  <a:gd name="T10" fmla="*/ 35 w 127"/>
                  <a:gd name="T11" fmla="*/ 196 h 203"/>
                  <a:gd name="T12" fmla="*/ 16 w 127"/>
                  <a:gd name="T13" fmla="*/ 177 h 203"/>
                  <a:gd name="T14" fmla="*/ 4 w 127"/>
                  <a:gd name="T15" fmla="*/ 147 h 203"/>
                  <a:gd name="T16" fmla="*/ 0 w 127"/>
                  <a:gd name="T17" fmla="*/ 105 h 203"/>
                  <a:gd name="T18" fmla="*/ 4 w 127"/>
                  <a:gd name="T19" fmla="*/ 60 h 203"/>
                  <a:gd name="T20" fmla="*/ 17 w 127"/>
                  <a:gd name="T21" fmla="*/ 27 h 203"/>
                  <a:gd name="T22" fmla="*/ 37 w 127"/>
                  <a:gd name="T23" fmla="*/ 7 h 203"/>
                  <a:gd name="T24" fmla="*/ 66 w 127"/>
                  <a:gd name="T25" fmla="*/ 0 h 203"/>
                  <a:gd name="T26" fmla="*/ 127 w 127"/>
                  <a:gd name="T27" fmla="*/ 101 h 203"/>
                  <a:gd name="T28" fmla="*/ 104 w 127"/>
                  <a:gd name="T29" fmla="*/ 103 h 203"/>
                  <a:gd name="T30" fmla="*/ 65 w 127"/>
                  <a:gd name="T31" fmla="*/ 19 h 203"/>
                  <a:gd name="T32" fmla="*/ 23 w 127"/>
                  <a:gd name="T33" fmla="*/ 104 h 203"/>
                  <a:gd name="T34" fmla="*/ 64 w 127"/>
                  <a:gd name="T35" fmla="*/ 184 h 203"/>
                  <a:gd name="T36" fmla="*/ 104 w 127"/>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7" h="203">
                    <a:moveTo>
                      <a:pt x="127" y="101"/>
                    </a:moveTo>
                    <a:cubicBezTo>
                      <a:pt x="127" y="117"/>
                      <a:pt x="126" y="132"/>
                      <a:pt x="123" y="144"/>
                    </a:cubicBezTo>
                    <a:cubicBezTo>
                      <a:pt x="120" y="157"/>
                      <a:pt x="116" y="168"/>
                      <a:pt x="110" y="176"/>
                    </a:cubicBezTo>
                    <a:cubicBezTo>
                      <a:pt x="105" y="185"/>
                      <a:pt x="98" y="192"/>
                      <a:pt x="90" y="196"/>
                    </a:cubicBezTo>
                    <a:cubicBezTo>
                      <a:pt x="81" y="201"/>
                      <a:pt x="72" y="203"/>
                      <a:pt x="62" y="203"/>
                    </a:cubicBezTo>
                    <a:cubicBezTo>
                      <a:pt x="52" y="203"/>
                      <a:pt x="43" y="201"/>
                      <a:pt x="35" y="196"/>
                    </a:cubicBezTo>
                    <a:cubicBezTo>
                      <a:pt x="28" y="192"/>
                      <a:pt x="21" y="186"/>
                      <a:pt x="16" y="177"/>
                    </a:cubicBezTo>
                    <a:cubicBezTo>
                      <a:pt x="11" y="169"/>
                      <a:pt x="7" y="159"/>
                      <a:pt x="4" y="147"/>
                    </a:cubicBezTo>
                    <a:cubicBezTo>
                      <a:pt x="1" y="135"/>
                      <a:pt x="0" y="121"/>
                      <a:pt x="0" y="105"/>
                    </a:cubicBezTo>
                    <a:cubicBezTo>
                      <a:pt x="0" y="88"/>
                      <a:pt x="1" y="73"/>
                      <a:pt x="4" y="60"/>
                    </a:cubicBezTo>
                    <a:cubicBezTo>
                      <a:pt x="7" y="47"/>
                      <a:pt x="11" y="36"/>
                      <a:pt x="17" y="27"/>
                    </a:cubicBezTo>
                    <a:cubicBezTo>
                      <a:pt x="22" y="18"/>
                      <a:pt x="29" y="11"/>
                      <a:pt x="37" y="7"/>
                    </a:cubicBezTo>
                    <a:cubicBezTo>
                      <a:pt x="46" y="2"/>
                      <a:pt x="55" y="0"/>
                      <a:pt x="66" y="0"/>
                    </a:cubicBezTo>
                    <a:cubicBezTo>
                      <a:pt x="107" y="0"/>
                      <a:pt x="127" y="34"/>
                      <a:pt x="127" y="101"/>
                    </a:cubicBezTo>
                    <a:close/>
                    <a:moveTo>
                      <a:pt x="104" y="103"/>
                    </a:moveTo>
                    <a:cubicBezTo>
                      <a:pt x="104" y="47"/>
                      <a:pt x="91" y="19"/>
                      <a:pt x="65" y="19"/>
                    </a:cubicBezTo>
                    <a:cubicBezTo>
                      <a:pt x="37" y="19"/>
                      <a:pt x="23" y="48"/>
                      <a:pt x="23" y="104"/>
                    </a:cubicBezTo>
                    <a:cubicBezTo>
                      <a:pt x="23" y="157"/>
                      <a:pt x="36" y="184"/>
                      <a:pt x="64" y="184"/>
                    </a:cubicBezTo>
                    <a:cubicBezTo>
                      <a:pt x="91" y="184"/>
                      <a:pt x="104" y="157"/>
                      <a:pt x="104"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2" name="Freeform 149"/>
              <p:cNvSpPr>
                <a:spLocks noEditPoints="1"/>
              </p:cNvSpPr>
              <p:nvPr userDrawn="1"/>
            </p:nvSpPr>
            <p:spPr bwMode="auto">
              <a:xfrm>
                <a:off x="6769" y="4023"/>
                <a:ext cx="155" cy="248"/>
              </a:xfrm>
              <a:custGeom>
                <a:avLst/>
                <a:gdLst>
                  <a:gd name="T0" fmla="*/ 127 w 127"/>
                  <a:gd name="T1" fmla="*/ 101 h 203"/>
                  <a:gd name="T2" fmla="*/ 123 w 127"/>
                  <a:gd name="T3" fmla="*/ 144 h 203"/>
                  <a:gd name="T4" fmla="*/ 110 w 127"/>
                  <a:gd name="T5" fmla="*/ 176 h 203"/>
                  <a:gd name="T6" fmla="*/ 90 w 127"/>
                  <a:gd name="T7" fmla="*/ 196 h 203"/>
                  <a:gd name="T8" fmla="*/ 62 w 127"/>
                  <a:gd name="T9" fmla="*/ 203 h 203"/>
                  <a:gd name="T10" fmla="*/ 35 w 127"/>
                  <a:gd name="T11" fmla="*/ 196 h 203"/>
                  <a:gd name="T12" fmla="*/ 16 w 127"/>
                  <a:gd name="T13" fmla="*/ 177 h 203"/>
                  <a:gd name="T14" fmla="*/ 4 w 127"/>
                  <a:gd name="T15" fmla="*/ 147 h 203"/>
                  <a:gd name="T16" fmla="*/ 0 w 127"/>
                  <a:gd name="T17" fmla="*/ 105 h 203"/>
                  <a:gd name="T18" fmla="*/ 4 w 127"/>
                  <a:gd name="T19" fmla="*/ 60 h 203"/>
                  <a:gd name="T20" fmla="*/ 17 w 127"/>
                  <a:gd name="T21" fmla="*/ 27 h 203"/>
                  <a:gd name="T22" fmla="*/ 37 w 127"/>
                  <a:gd name="T23" fmla="*/ 7 h 203"/>
                  <a:gd name="T24" fmla="*/ 66 w 127"/>
                  <a:gd name="T25" fmla="*/ 0 h 203"/>
                  <a:gd name="T26" fmla="*/ 127 w 127"/>
                  <a:gd name="T27" fmla="*/ 101 h 203"/>
                  <a:gd name="T28" fmla="*/ 104 w 127"/>
                  <a:gd name="T29" fmla="*/ 103 h 203"/>
                  <a:gd name="T30" fmla="*/ 65 w 127"/>
                  <a:gd name="T31" fmla="*/ 19 h 203"/>
                  <a:gd name="T32" fmla="*/ 23 w 127"/>
                  <a:gd name="T33" fmla="*/ 104 h 203"/>
                  <a:gd name="T34" fmla="*/ 64 w 127"/>
                  <a:gd name="T35" fmla="*/ 184 h 203"/>
                  <a:gd name="T36" fmla="*/ 104 w 127"/>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7" h="203">
                    <a:moveTo>
                      <a:pt x="127" y="101"/>
                    </a:moveTo>
                    <a:cubicBezTo>
                      <a:pt x="127" y="117"/>
                      <a:pt x="126" y="132"/>
                      <a:pt x="123" y="144"/>
                    </a:cubicBezTo>
                    <a:cubicBezTo>
                      <a:pt x="120" y="157"/>
                      <a:pt x="116" y="168"/>
                      <a:pt x="110" y="176"/>
                    </a:cubicBezTo>
                    <a:cubicBezTo>
                      <a:pt x="105" y="185"/>
                      <a:pt x="98" y="192"/>
                      <a:pt x="90" y="196"/>
                    </a:cubicBezTo>
                    <a:cubicBezTo>
                      <a:pt x="81" y="201"/>
                      <a:pt x="72" y="203"/>
                      <a:pt x="62" y="203"/>
                    </a:cubicBezTo>
                    <a:cubicBezTo>
                      <a:pt x="52" y="203"/>
                      <a:pt x="43" y="201"/>
                      <a:pt x="35" y="196"/>
                    </a:cubicBezTo>
                    <a:cubicBezTo>
                      <a:pt x="28" y="192"/>
                      <a:pt x="21" y="186"/>
                      <a:pt x="16" y="177"/>
                    </a:cubicBezTo>
                    <a:cubicBezTo>
                      <a:pt x="11" y="169"/>
                      <a:pt x="7" y="159"/>
                      <a:pt x="4" y="147"/>
                    </a:cubicBezTo>
                    <a:cubicBezTo>
                      <a:pt x="1" y="135"/>
                      <a:pt x="0" y="121"/>
                      <a:pt x="0" y="105"/>
                    </a:cubicBezTo>
                    <a:cubicBezTo>
                      <a:pt x="0" y="88"/>
                      <a:pt x="1" y="73"/>
                      <a:pt x="4" y="60"/>
                    </a:cubicBezTo>
                    <a:cubicBezTo>
                      <a:pt x="7" y="47"/>
                      <a:pt x="11" y="36"/>
                      <a:pt x="17" y="27"/>
                    </a:cubicBezTo>
                    <a:cubicBezTo>
                      <a:pt x="22" y="18"/>
                      <a:pt x="29" y="11"/>
                      <a:pt x="37" y="7"/>
                    </a:cubicBezTo>
                    <a:cubicBezTo>
                      <a:pt x="46" y="2"/>
                      <a:pt x="55" y="0"/>
                      <a:pt x="66" y="0"/>
                    </a:cubicBezTo>
                    <a:cubicBezTo>
                      <a:pt x="107" y="0"/>
                      <a:pt x="127" y="34"/>
                      <a:pt x="127" y="101"/>
                    </a:cubicBezTo>
                    <a:close/>
                    <a:moveTo>
                      <a:pt x="104" y="103"/>
                    </a:moveTo>
                    <a:cubicBezTo>
                      <a:pt x="104" y="47"/>
                      <a:pt x="91" y="19"/>
                      <a:pt x="65" y="19"/>
                    </a:cubicBezTo>
                    <a:cubicBezTo>
                      <a:pt x="37" y="19"/>
                      <a:pt x="23" y="48"/>
                      <a:pt x="23" y="104"/>
                    </a:cubicBezTo>
                    <a:cubicBezTo>
                      <a:pt x="23" y="157"/>
                      <a:pt x="36" y="184"/>
                      <a:pt x="64" y="184"/>
                    </a:cubicBezTo>
                    <a:cubicBezTo>
                      <a:pt x="91" y="184"/>
                      <a:pt x="104" y="157"/>
                      <a:pt x="104"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3" name="Freeform 150"/>
              <p:cNvSpPr>
                <a:spLocks/>
              </p:cNvSpPr>
              <p:nvPr userDrawn="1"/>
            </p:nvSpPr>
            <p:spPr bwMode="auto">
              <a:xfrm>
                <a:off x="6966" y="4022"/>
                <a:ext cx="83" cy="244"/>
              </a:xfrm>
              <a:custGeom>
                <a:avLst/>
                <a:gdLst>
                  <a:gd name="T0" fmla="*/ 68 w 68"/>
                  <a:gd name="T1" fmla="*/ 200 h 200"/>
                  <a:gd name="T2" fmla="*/ 45 w 68"/>
                  <a:gd name="T3" fmla="*/ 200 h 200"/>
                  <a:gd name="T4" fmla="*/ 45 w 68"/>
                  <a:gd name="T5" fmla="*/ 31 h 200"/>
                  <a:gd name="T6" fmla="*/ 38 w 68"/>
                  <a:gd name="T7" fmla="*/ 37 h 200"/>
                  <a:gd name="T8" fmla="*/ 26 w 68"/>
                  <a:gd name="T9" fmla="*/ 44 h 200"/>
                  <a:gd name="T10" fmla="*/ 13 w 68"/>
                  <a:gd name="T11" fmla="*/ 50 h 200"/>
                  <a:gd name="T12" fmla="*/ 0 w 68"/>
                  <a:gd name="T13" fmla="*/ 54 h 200"/>
                  <a:gd name="T14" fmla="*/ 0 w 68"/>
                  <a:gd name="T15" fmla="*/ 32 h 200"/>
                  <a:gd name="T16" fmla="*/ 15 w 68"/>
                  <a:gd name="T17" fmla="*/ 26 h 200"/>
                  <a:gd name="T18" fmla="*/ 32 w 68"/>
                  <a:gd name="T19" fmla="*/ 18 h 200"/>
                  <a:gd name="T20" fmla="*/ 47 w 68"/>
                  <a:gd name="T21" fmla="*/ 9 h 200"/>
                  <a:gd name="T22" fmla="*/ 59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5" y="200"/>
                      <a:pt x="45" y="200"/>
                      <a:pt x="45" y="200"/>
                    </a:cubicBezTo>
                    <a:cubicBezTo>
                      <a:pt x="45" y="31"/>
                      <a:pt x="45" y="31"/>
                      <a:pt x="45" y="31"/>
                    </a:cubicBezTo>
                    <a:cubicBezTo>
                      <a:pt x="44" y="33"/>
                      <a:pt x="41" y="35"/>
                      <a:pt x="38" y="37"/>
                    </a:cubicBezTo>
                    <a:cubicBezTo>
                      <a:pt x="34" y="39"/>
                      <a:pt x="31" y="41"/>
                      <a:pt x="26" y="44"/>
                    </a:cubicBezTo>
                    <a:cubicBezTo>
                      <a:pt x="22" y="46"/>
                      <a:pt x="18" y="48"/>
                      <a:pt x="13" y="50"/>
                    </a:cubicBezTo>
                    <a:cubicBezTo>
                      <a:pt x="9" y="52"/>
                      <a:pt x="4" y="53"/>
                      <a:pt x="0" y="54"/>
                    </a:cubicBezTo>
                    <a:cubicBezTo>
                      <a:pt x="0" y="32"/>
                      <a:pt x="0" y="32"/>
                      <a:pt x="0" y="32"/>
                    </a:cubicBezTo>
                    <a:cubicBezTo>
                      <a:pt x="5" y="30"/>
                      <a:pt x="10" y="28"/>
                      <a:pt x="15" y="26"/>
                    </a:cubicBezTo>
                    <a:cubicBezTo>
                      <a:pt x="21" y="24"/>
                      <a:pt x="26" y="21"/>
                      <a:pt x="32" y="18"/>
                    </a:cubicBezTo>
                    <a:cubicBezTo>
                      <a:pt x="37" y="15"/>
                      <a:pt x="42" y="12"/>
                      <a:pt x="47" y="9"/>
                    </a:cubicBezTo>
                    <a:cubicBezTo>
                      <a:pt x="52" y="6"/>
                      <a:pt x="56" y="3"/>
                      <a:pt x="59"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4" name="Freeform 151"/>
              <p:cNvSpPr>
                <a:spLocks noEditPoints="1"/>
              </p:cNvSpPr>
              <p:nvPr userDrawn="1"/>
            </p:nvSpPr>
            <p:spPr bwMode="auto">
              <a:xfrm>
                <a:off x="7114" y="4023"/>
                <a:ext cx="156" cy="248"/>
              </a:xfrm>
              <a:custGeom>
                <a:avLst/>
                <a:gdLst>
                  <a:gd name="T0" fmla="*/ 128 w 128"/>
                  <a:gd name="T1" fmla="*/ 101 h 203"/>
                  <a:gd name="T2" fmla="*/ 124 w 128"/>
                  <a:gd name="T3" fmla="*/ 144 h 203"/>
                  <a:gd name="T4" fmla="*/ 111 w 128"/>
                  <a:gd name="T5" fmla="*/ 176 h 203"/>
                  <a:gd name="T6" fmla="*/ 90 w 128"/>
                  <a:gd name="T7" fmla="*/ 196 h 203"/>
                  <a:gd name="T8" fmla="*/ 62 w 128"/>
                  <a:gd name="T9" fmla="*/ 203 h 203"/>
                  <a:gd name="T10" fmla="*/ 36 w 128"/>
                  <a:gd name="T11" fmla="*/ 196 h 203"/>
                  <a:gd name="T12" fmla="*/ 17 w 128"/>
                  <a:gd name="T13" fmla="*/ 177 h 203"/>
                  <a:gd name="T14" fmla="*/ 5 w 128"/>
                  <a:gd name="T15" fmla="*/ 147 h 203"/>
                  <a:gd name="T16" fmla="*/ 0 w 128"/>
                  <a:gd name="T17" fmla="*/ 105 h 203"/>
                  <a:gd name="T18" fmla="*/ 5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4 h 203"/>
                  <a:gd name="T34" fmla="*/ 65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7" y="132"/>
                      <a:pt x="124" y="144"/>
                    </a:cubicBezTo>
                    <a:cubicBezTo>
                      <a:pt x="121" y="157"/>
                      <a:pt x="116" y="168"/>
                      <a:pt x="111" y="176"/>
                    </a:cubicBezTo>
                    <a:cubicBezTo>
                      <a:pt x="105" y="185"/>
                      <a:pt x="98" y="192"/>
                      <a:pt x="90" y="196"/>
                    </a:cubicBezTo>
                    <a:cubicBezTo>
                      <a:pt x="82" y="201"/>
                      <a:pt x="73" y="203"/>
                      <a:pt x="62" y="203"/>
                    </a:cubicBezTo>
                    <a:cubicBezTo>
                      <a:pt x="53" y="203"/>
                      <a:pt x="44" y="201"/>
                      <a:pt x="36" y="196"/>
                    </a:cubicBezTo>
                    <a:cubicBezTo>
                      <a:pt x="28" y="192"/>
                      <a:pt x="22" y="186"/>
                      <a:pt x="17" y="177"/>
                    </a:cubicBezTo>
                    <a:cubicBezTo>
                      <a:pt x="11" y="169"/>
                      <a:pt x="7" y="159"/>
                      <a:pt x="5" y="147"/>
                    </a:cubicBezTo>
                    <a:cubicBezTo>
                      <a:pt x="2" y="135"/>
                      <a:pt x="0" y="121"/>
                      <a:pt x="0" y="105"/>
                    </a:cubicBezTo>
                    <a:cubicBezTo>
                      <a:pt x="0" y="88"/>
                      <a:pt x="2" y="73"/>
                      <a:pt x="5" y="60"/>
                    </a:cubicBezTo>
                    <a:cubicBezTo>
                      <a:pt x="8" y="47"/>
                      <a:pt x="12" y="36"/>
                      <a:pt x="17" y="27"/>
                    </a:cubicBezTo>
                    <a:cubicBezTo>
                      <a:pt x="23" y="18"/>
                      <a:pt x="30" y="11"/>
                      <a:pt x="38" y="7"/>
                    </a:cubicBezTo>
                    <a:cubicBezTo>
                      <a:pt x="46" y="2"/>
                      <a:pt x="56" y="0"/>
                      <a:pt x="66" y="0"/>
                    </a:cubicBezTo>
                    <a:cubicBezTo>
                      <a:pt x="108" y="0"/>
                      <a:pt x="128" y="34"/>
                      <a:pt x="128" y="101"/>
                    </a:cubicBezTo>
                    <a:close/>
                    <a:moveTo>
                      <a:pt x="105" y="103"/>
                    </a:moveTo>
                    <a:cubicBezTo>
                      <a:pt x="105" y="47"/>
                      <a:pt x="92" y="19"/>
                      <a:pt x="65" y="19"/>
                    </a:cubicBezTo>
                    <a:cubicBezTo>
                      <a:pt x="37" y="19"/>
                      <a:pt x="23" y="48"/>
                      <a:pt x="23" y="104"/>
                    </a:cubicBezTo>
                    <a:cubicBezTo>
                      <a:pt x="23" y="157"/>
                      <a:pt x="37" y="184"/>
                      <a:pt x="65" y="184"/>
                    </a:cubicBezTo>
                    <a:cubicBezTo>
                      <a:pt x="92"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5" name="Freeform 152"/>
              <p:cNvSpPr>
                <a:spLocks/>
              </p:cNvSpPr>
              <p:nvPr userDrawn="1"/>
            </p:nvSpPr>
            <p:spPr bwMode="auto">
              <a:xfrm>
                <a:off x="7312" y="4022"/>
                <a:ext cx="82" cy="244"/>
              </a:xfrm>
              <a:custGeom>
                <a:avLst/>
                <a:gdLst>
                  <a:gd name="T0" fmla="*/ 67 w 67"/>
                  <a:gd name="T1" fmla="*/ 200 h 200"/>
                  <a:gd name="T2" fmla="*/ 45 w 67"/>
                  <a:gd name="T3" fmla="*/ 200 h 200"/>
                  <a:gd name="T4" fmla="*/ 45 w 67"/>
                  <a:gd name="T5" fmla="*/ 31 h 200"/>
                  <a:gd name="T6" fmla="*/ 37 w 67"/>
                  <a:gd name="T7" fmla="*/ 37 h 200"/>
                  <a:gd name="T8" fmla="*/ 26 w 67"/>
                  <a:gd name="T9" fmla="*/ 44 h 200"/>
                  <a:gd name="T10" fmla="*/ 13 w 67"/>
                  <a:gd name="T11" fmla="*/ 50 h 200"/>
                  <a:gd name="T12" fmla="*/ 0 w 67"/>
                  <a:gd name="T13" fmla="*/ 54 h 200"/>
                  <a:gd name="T14" fmla="*/ 0 w 67"/>
                  <a:gd name="T15" fmla="*/ 32 h 200"/>
                  <a:gd name="T16" fmla="*/ 15 w 67"/>
                  <a:gd name="T17" fmla="*/ 26 h 200"/>
                  <a:gd name="T18" fmla="*/ 31 w 67"/>
                  <a:gd name="T19" fmla="*/ 18 h 200"/>
                  <a:gd name="T20" fmla="*/ 47 w 67"/>
                  <a:gd name="T21" fmla="*/ 9 h 200"/>
                  <a:gd name="T22" fmla="*/ 59 w 67"/>
                  <a:gd name="T23" fmla="*/ 0 h 200"/>
                  <a:gd name="T24" fmla="*/ 67 w 67"/>
                  <a:gd name="T25" fmla="*/ 0 h 200"/>
                  <a:gd name="T26" fmla="*/ 67 w 67"/>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7" h="200">
                    <a:moveTo>
                      <a:pt x="67" y="200"/>
                    </a:moveTo>
                    <a:cubicBezTo>
                      <a:pt x="45" y="200"/>
                      <a:pt x="45" y="200"/>
                      <a:pt x="45" y="200"/>
                    </a:cubicBezTo>
                    <a:cubicBezTo>
                      <a:pt x="45" y="31"/>
                      <a:pt x="45" y="31"/>
                      <a:pt x="45" y="31"/>
                    </a:cubicBezTo>
                    <a:cubicBezTo>
                      <a:pt x="43" y="33"/>
                      <a:pt x="41" y="35"/>
                      <a:pt x="37" y="37"/>
                    </a:cubicBezTo>
                    <a:cubicBezTo>
                      <a:pt x="34" y="39"/>
                      <a:pt x="30" y="41"/>
                      <a:pt x="26" y="44"/>
                    </a:cubicBezTo>
                    <a:cubicBezTo>
                      <a:pt x="22" y="46"/>
                      <a:pt x="18" y="48"/>
                      <a:pt x="13" y="50"/>
                    </a:cubicBezTo>
                    <a:cubicBezTo>
                      <a:pt x="8" y="52"/>
                      <a:pt x="4" y="53"/>
                      <a:pt x="0" y="54"/>
                    </a:cubicBezTo>
                    <a:cubicBezTo>
                      <a:pt x="0" y="32"/>
                      <a:pt x="0" y="32"/>
                      <a:pt x="0" y="32"/>
                    </a:cubicBezTo>
                    <a:cubicBezTo>
                      <a:pt x="4" y="30"/>
                      <a:pt x="10" y="28"/>
                      <a:pt x="15" y="26"/>
                    </a:cubicBezTo>
                    <a:cubicBezTo>
                      <a:pt x="21" y="24"/>
                      <a:pt x="26" y="21"/>
                      <a:pt x="31" y="18"/>
                    </a:cubicBezTo>
                    <a:cubicBezTo>
                      <a:pt x="37" y="15"/>
                      <a:pt x="42" y="12"/>
                      <a:pt x="47" y="9"/>
                    </a:cubicBezTo>
                    <a:cubicBezTo>
                      <a:pt x="51" y="6"/>
                      <a:pt x="55" y="3"/>
                      <a:pt x="59" y="0"/>
                    </a:cubicBezTo>
                    <a:cubicBezTo>
                      <a:pt x="67" y="0"/>
                      <a:pt x="67" y="0"/>
                      <a:pt x="67" y="0"/>
                    </a:cubicBezTo>
                    <a:lnTo>
                      <a:pt x="67"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6" name="Freeform 153"/>
              <p:cNvSpPr>
                <a:spLocks/>
              </p:cNvSpPr>
              <p:nvPr userDrawn="1"/>
            </p:nvSpPr>
            <p:spPr bwMode="auto">
              <a:xfrm>
                <a:off x="7454" y="4027"/>
                <a:ext cx="76" cy="294"/>
              </a:xfrm>
              <a:custGeom>
                <a:avLst/>
                <a:gdLst>
                  <a:gd name="T0" fmla="*/ 63 w 63"/>
                  <a:gd name="T1" fmla="*/ 241 h 241"/>
                  <a:gd name="T2" fmla="*/ 21 w 63"/>
                  <a:gd name="T3" fmla="*/ 199 h 241"/>
                  <a:gd name="T4" fmla="*/ 21 w 63"/>
                  <a:gd name="T5" fmla="*/ 158 h 241"/>
                  <a:gd name="T6" fmla="*/ 0 w 63"/>
                  <a:gd name="T7" fmla="*/ 129 h 241"/>
                  <a:gd name="T8" fmla="*/ 0 w 63"/>
                  <a:gd name="T9" fmla="*/ 113 h 241"/>
                  <a:gd name="T10" fmla="*/ 21 w 63"/>
                  <a:gd name="T11" fmla="*/ 83 h 241"/>
                  <a:gd name="T12" fmla="*/ 21 w 63"/>
                  <a:gd name="T13" fmla="*/ 43 h 241"/>
                  <a:gd name="T14" fmla="*/ 63 w 63"/>
                  <a:gd name="T15" fmla="*/ 0 h 241"/>
                  <a:gd name="T16" fmla="*/ 63 w 63"/>
                  <a:gd name="T17" fmla="*/ 18 h 241"/>
                  <a:gd name="T18" fmla="*/ 42 w 63"/>
                  <a:gd name="T19" fmla="*/ 45 h 241"/>
                  <a:gd name="T20" fmla="*/ 42 w 63"/>
                  <a:gd name="T21" fmla="*/ 85 h 241"/>
                  <a:gd name="T22" fmla="*/ 21 w 63"/>
                  <a:gd name="T23" fmla="*/ 120 h 241"/>
                  <a:gd name="T24" fmla="*/ 21 w 63"/>
                  <a:gd name="T25" fmla="*/ 121 h 241"/>
                  <a:gd name="T26" fmla="*/ 42 w 63"/>
                  <a:gd name="T27" fmla="*/ 156 h 241"/>
                  <a:gd name="T28" fmla="*/ 42 w 63"/>
                  <a:gd name="T29" fmla="*/ 195 h 241"/>
                  <a:gd name="T30" fmla="*/ 47 w 63"/>
                  <a:gd name="T31" fmla="*/ 217 h 241"/>
                  <a:gd name="T32" fmla="*/ 63 w 63"/>
                  <a:gd name="T33" fmla="*/ 224 h 241"/>
                  <a:gd name="T34" fmla="*/ 63 w 63"/>
                  <a:gd name="T35" fmla="*/ 24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3" h="241">
                    <a:moveTo>
                      <a:pt x="63" y="241"/>
                    </a:moveTo>
                    <a:cubicBezTo>
                      <a:pt x="35" y="241"/>
                      <a:pt x="21" y="227"/>
                      <a:pt x="21" y="199"/>
                    </a:cubicBezTo>
                    <a:cubicBezTo>
                      <a:pt x="21" y="158"/>
                      <a:pt x="21" y="158"/>
                      <a:pt x="21" y="158"/>
                    </a:cubicBezTo>
                    <a:cubicBezTo>
                      <a:pt x="21" y="139"/>
                      <a:pt x="14" y="130"/>
                      <a:pt x="0" y="129"/>
                    </a:cubicBezTo>
                    <a:cubicBezTo>
                      <a:pt x="0" y="113"/>
                      <a:pt x="0" y="113"/>
                      <a:pt x="0" y="113"/>
                    </a:cubicBezTo>
                    <a:cubicBezTo>
                      <a:pt x="14" y="112"/>
                      <a:pt x="21" y="102"/>
                      <a:pt x="21" y="83"/>
                    </a:cubicBezTo>
                    <a:cubicBezTo>
                      <a:pt x="21" y="43"/>
                      <a:pt x="21" y="43"/>
                      <a:pt x="21" y="43"/>
                    </a:cubicBezTo>
                    <a:cubicBezTo>
                      <a:pt x="21" y="15"/>
                      <a:pt x="35" y="1"/>
                      <a:pt x="63" y="0"/>
                    </a:cubicBezTo>
                    <a:cubicBezTo>
                      <a:pt x="63" y="18"/>
                      <a:pt x="63" y="18"/>
                      <a:pt x="63" y="18"/>
                    </a:cubicBezTo>
                    <a:cubicBezTo>
                      <a:pt x="49" y="18"/>
                      <a:pt x="42" y="27"/>
                      <a:pt x="42" y="45"/>
                    </a:cubicBezTo>
                    <a:cubicBezTo>
                      <a:pt x="42" y="85"/>
                      <a:pt x="42" y="85"/>
                      <a:pt x="42" y="85"/>
                    </a:cubicBezTo>
                    <a:cubicBezTo>
                      <a:pt x="42" y="104"/>
                      <a:pt x="35" y="116"/>
                      <a:pt x="21" y="120"/>
                    </a:cubicBezTo>
                    <a:cubicBezTo>
                      <a:pt x="21" y="121"/>
                      <a:pt x="21" y="121"/>
                      <a:pt x="21" y="121"/>
                    </a:cubicBezTo>
                    <a:cubicBezTo>
                      <a:pt x="35" y="125"/>
                      <a:pt x="42" y="137"/>
                      <a:pt x="42" y="156"/>
                    </a:cubicBezTo>
                    <a:cubicBezTo>
                      <a:pt x="42" y="195"/>
                      <a:pt x="42" y="195"/>
                      <a:pt x="42" y="195"/>
                    </a:cubicBezTo>
                    <a:cubicBezTo>
                      <a:pt x="42" y="205"/>
                      <a:pt x="43" y="213"/>
                      <a:pt x="47" y="217"/>
                    </a:cubicBezTo>
                    <a:cubicBezTo>
                      <a:pt x="50" y="221"/>
                      <a:pt x="55" y="224"/>
                      <a:pt x="63" y="224"/>
                    </a:cubicBezTo>
                    <a:lnTo>
                      <a:pt x="63" y="2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7" name="Freeform 154"/>
              <p:cNvSpPr>
                <a:spLocks/>
              </p:cNvSpPr>
              <p:nvPr userDrawn="1"/>
            </p:nvSpPr>
            <p:spPr bwMode="auto">
              <a:xfrm>
                <a:off x="7562" y="4027"/>
                <a:ext cx="77" cy="294"/>
              </a:xfrm>
              <a:custGeom>
                <a:avLst/>
                <a:gdLst>
                  <a:gd name="T0" fmla="*/ 63 w 63"/>
                  <a:gd name="T1" fmla="*/ 129 h 241"/>
                  <a:gd name="T2" fmla="*/ 41 w 63"/>
                  <a:gd name="T3" fmla="*/ 158 h 241"/>
                  <a:gd name="T4" fmla="*/ 41 w 63"/>
                  <a:gd name="T5" fmla="*/ 199 h 241"/>
                  <a:gd name="T6" fmla="*/ 0 w 63"/>
                  <a:gd name="T7" fmla="*/ 241 h 241"/>
                  <a:gd name="T8" fmla="*/ 0 w 63"/>
                  <a:gd name="T9" fmla="*/ 224 h 241"/>
                  <a:gd name="T10" fmla="*/ 16 w 63"/>
                  <a:gd name="T11" fmla="*/ 217 h 241"/>
                  <a:gd name="T12" fmla="*/ 21 w 63"/>
                  <a:gd name="T13" fmla="*/ 195 h 241"/>
                  <a:gd name="T14" fmla="*/ 21 w 63"/>
                  <a:gd name="T15" fmla="*/ 156 h 241"/>
                  <a:gd name="T16" fmla="*/ 42 w 63"/>
                  <a:gd name="T17" fmla="*/ 121 h 241"/>
                  <a:gd name="T18" fmla="*/ 42 w 63"/>
                  <a:gd name="T19" fmla="*/ 120 h 241"/>
                  <a:gd name="T20" fmla="*/ 21 w 63"/>
                  <a:gd name="T21" fmla="*/ 85 h 241"/>
                  <a:gd name="T22" fmla="*/ 21 w 63"/>
                  <a:gd name="T23" fmla="*/ 45 h 241"/>
                  <a:gd name="T24" fmla="*/ 0 w 63"/>
                  <a:gd name="T25" fmla="*/ 18 h 241"/>
                  <a:gd name="T26" fmla="*/ 0 w 63"/>
                  <a:gd name="T27" fmla="*/ 0 h 241"/>
                  <a:gd name="T28" fmla="*/ 41 w 63"/>
                  <a:gd name="T29" fmla="*/ 43 h 241"/>
                  <a:gd name="T30" fmla="*/ 41 w 63"/>
                  <a:gd name="T31" fmla="*/ 83 h 241"/>
                  <a:gd name="T32" fmla="*/ 63 w 63"/>
                  <a:gd name="T33" fmla="*/ 113 h 241"/>
                  <a:gd name="T34" fmla="*/ 63 w 63"/>
                  <a:gd name="T35" fmla="*/ 129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3" h="241">
                    <a:moveTo>
                      <a:pt x="63" y="129"/>
                    </a:moveTo>
                    <a:cubicBezTo>
                      <a:pt x="48" y="130"/>
                      <a:pt x="41" y="139"/>
                      <a:pt x="41" y="158"/>
                    </a:cubicBezTo>
                    <a:cubicBezTo>
                      <a:pt x="41" y="199"/>
                      <a:pt x="41" y="199"/>
                      <a:pt x="41" y="199"/>
                    </a:cubicBezTo>
                    <a:cubicBezTo>
                      <a:pt x="41" y="227"/>
                      <a:pt x="27" y="241"/>
                      <a:pt x="0" y="241"/>
                    </a:cubicBezTo>
                    <a:cubicBezTo>
                      <a:pt x="0" y="224"/>
                      <a:pt x="0" y="224"/>
                      <a:pt x="0" y="224"/>
                    </a:cubicBezTo>
                    <a:cubicBezTo>
                      <a:pt x="7" y="224"/>
                      <a:pt x="13" y="221"/>
                      <a:pt x="16" y="217"/>
                    </a:cubicBezTo>
                    <a:cubicBezTo>
                      <a:pt x="20" y="213"/>
                      <a:pt x="21" y="205"/>
                      <a:pt x="21" y="195"/>
                    </a:cubicBezTo>
                    <a:cubicBezTo>
                      <a:pt x="21" y="156"/>
                      <a:pt x="21" y="156"/>
                      <a:pt x="21" y="156"/>
                    </a:cubicBezTo>
                    <a:cubicBezTo>
                      <a:pt x="21" y="137"/>
                      <a:pt x="28" y="125"/>
                      <a:pt x="42" y="121"/>
                    </a:cubicBezTo>
                    <a:cubicBezTo>
                      <a:pt x="42" y="120"/>
                      <a:pt x="42" y="120"/>
                      <a:pt x="42" y="120"/>
                    </a:cubicBezTo>
                    <a:cubicBezTo>
                      <a:pt x="28" y="116"/>
                      <a:pt x="21" y="104"/>
                      <a:pt x="21" y="85"/>
                    </a:cubicBezTo>
                    <a:cubicBezTo>
                      <a:pt x="21" y="45"/>
                      <a:pt x="21" y="45"/>
                      <a:pt x="21" y="45"/>
                    </a:cubicBezTo>
                    <a:cubicBezTo>
                      <a:pt x="21" y="27"/>
                      <a:pt x="14" y="18"/>
                      <a:pt x="0" y="18"/>
                    </a:cubicBezTo>
                    <a:cubicBezTo>
                      <a:pt x="0" y="0"/>
                      <a:pt x="0" y="0"/>
                      <a:pt x="0" y="0"/>
                    </a:cubicBezTo>
                    <a:cubicBezTo>
                      <a:pt x="27" y="1"/>
                      <a:pt x="41" y="15"/>
                      <a:pt x="41" y="43"/>
                    </a:cubicBezTo>
                    <a:cubicBezTo>
                      <a:pt x="41" y="83"/>
                      <a:pt x="41" y="83"/>
                      <a:pt x="41" y="83"/>
                    </a:cubicBezTo>
                    <a:cubicBezTo>
                      <a:pt x="41" y="102"/>
                      <a:pt x="48" y="112"/>
                      <a:pt x="63" y="113"/>
                    </a:cubicBezTo>
                    <a:lnTo>
                      <a:pt x="63" y="1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8" name="Freeform 155"/>
              <p:cNvSpPr>
                <a:spLocks/>
              </p:cNvSpPr>
              <p:nvPr userDrawn="1"/>
            </p:nvSpPr>
            <p:spPr bwMode="auto">
              <a:xfrm>
                <a:off x="7669" y="4022"/>
                <a:ext cx="83" cy="244"/>
              </a:xfrm>
              <a:custGeom>
                <a:avLst/>
                <a:gdLst>
                  <a:gd name="T0" fmla="*/ 68 w 68"/>
                  <a:gd name="T1" fmla="*/ 200 h 200"/>
                  <a:gd name="T2" fmla="*/ 45 w 68"/>
                  <a:gd name="T3" fmla="*/ 200 h 200"/>
                  <a:gd name="T4" fmla="*/ 45 w 68"/>
                  <a:gd name="T5" fmla="*/ 31 h 200"/>
                  <a:gd name="T6" fmla="*/ 38 w 68"/>
                  <a:gd name="T7" fmla="*/ 37 h 200"/>
                  <a:gd name="T8" fmla="*/ 26 w 68"/>
                  <a:gd name="T9" fmla="*/ 44 h 200"/>
                  <a:gd name="T10" fmla="*/ 13 w 68"/>
                  <a:gd name="T11" fmla="*/ 50 h 200"/>
                  <a:gd name="T12" fmla="*/ 0 w 68"/>
                  <a:gd name="T13" fmla="*/ 54 h 200"/>
                  <a:gd name="T14" fmla="*/ 0 w 68"/>
                  <a:gd name="T15" fmla="*/ 32 h 200"/>
                  <a:gd name="T16" fmla="*/ 15 w 68"/>
                  <a:gd name="T17" fmla="*/ 26 h 200"/>
                  <a:gd name="T18" fmla="*/ 32 w 68"/>
                  <a:gd name="T19" fmla="*/ 18 h 200"/>
                  <a:gd name="T20" fmla="*/ 47 w 68"/>
                  <a:gd name="T21" fmla="*/ 9 h 200"/>
                  <a:gd name="T22" fmla="*/ 59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5" y="200"/>
                      <a:pt x="45" y="200"/>
                      <a:pt x="45" y="200"/>
                    </a:cubicBezTo>
                    <a:cubicBezTo>
                      <a:pt x="45" y="31"/>
                      <a:pt x="45" y="31"/>
                      <a:pt x="45" y="31"/>
                    </a:cubicBezTo>
                    <a:cubicBezTo>
                      <a:pt x="43" y="33"/>
                      <a:pt x="41" y="35"/>
                      <a:pt x="38" y="37"/>
                    </a:cubicBezTo>
                    <a:cubicBezTo>
                      <a:pt x="34" y="39"/>
                      <a:pt x="31" y="41"/>
                      <a:pt x="26" y="44"/>
                    </a:cubicBezTo>
                    <a:cubicBezTo>
                      <a:pt x="22" y="46"/>
                      <a:pt x="18" y="48"/>
                      <a:pt x="13" y="50"/>
                    </a:cubicBezTo>
                    <a:cubicBezTo>
                      <a:pt x="9" y="52"/>
                      <a:pt x="4" y="53"/>
                      <a:pt x="0" y="54"/>
                    </a:cubicBezTo>
                    <a:cubicBezTo>
                      <a:pt x="0" y="32"/>
                      <a:pt x="0" y="32"/>
                      <a:pt x="0" y="32"/>
                    </a:cubicBezTo>
                    <a:cubicBezTo>
                      <a:pt x="5" y="30"/>
                      <a:pt x="10" y="28"/>
                      <a:pt x="15" y="26"/>
                    </a:cubicBezTo>
                    <a:cubicBezTo>
                      <a:pt x="21" y="24"/>
                      <a:pt x="26" y="21"/>
                      <a:pt x="32" y="18"/>
                    </a:cubicBezTo>
                    <a:cubicBezTo>
                      <a:pt x="37" y="15"/>
                      <a:pt x="42" y="12"/>
                      <a:pt x="47" y="9"/>
                    </a:cubicBezTo>
                    <a:cubicBezTo>
                      <a:pt x="52" y="6"/>
                      <a:pt x="56" y="3"/>
                      <a:pt x="59"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9" name="Freeform 156"/>
              <p:cNvSpPr>
                <a:spLocks noEditPoints="1"/>
              </p:cNvSpPr>
              <p:nvPr userDrawn="1"/>
            </p:nvSpPr>
            <p:spPr bwMode="auto">
              <a:xfrm>
                <a:off x="2581" y="4015"/>
                <a:ext cx="218" cy="255"/>
              </a:xfrm>
              <a:custGeom>
                <a:avLst/>
                <a:gdLst>
                  <a:gd name="T0" fmla="*/ 175 w 179"/>
                  <a:gd name="T1" fmla="*/ 174 h 209"/>
                  <a:gd name="T2" fmla="*/ 134 w 179"/>
                  <a:gd name="T3" fmla="*/ 208 h 209"/>
                  <a:gd name="T4" fmla="*/ 81 w 179"/>
                  <a:gd name="T5" fmla="*/ 198 h 209"/>
                  <a:gd name="T6" fmla="*/ 32 w 179"/>
                  <a:gd name="T7" fmla="*/ 202 h 209"/>
                  <a:gd name="T8" fmla="*/ 2 w 179"/>
                  <a:gd name="T9" fmla="*/ 184 h 209"/>
                  <a:gd name="T10" fmla="*/ 14 w 179"/>
                  <a:gd name="T11" fmla="*/ 159 h 209"/>
                  <a:gd name="T12" fmla="*/ 9 w 179"/>
                  <a:gd name="T13" fmla="*/ 162 h 209"/>
                  <a:gd name="T14" fmla="*/ 6 w 179"/>
                  <a:gd name="T15" fmla="*/ 183 h 209"/>
                  <a:gd name="T16" fmla="*/ 46 w 179"/>
                  <a:gd name="T17" fmla="*/ 202 h 209"/>
                  <a:gd name="T18" fmla="*/ 42 w 179"/>
                  <a:gd name="T19" fmla="*/ 152 h 209"/>
                  <a:gd name="T20" fmla="*/ 25 w 179"/>
                  <a:gd name="T21" fmla="*/ 134 h 209"/>
                  <a:gd name="T22" fmla="*/ 52 w 179"/>
                  <a:gd name="T23" fmla="*/ 83 h 209"/>
                  <a:gd name="T24" fmla="*/ 58 w 179"/>
                  <a:gd name="T25" fmla="*/ 27 h 209"/>
                  <a:gd name="T26" fmla="*/ 117 w 179"/>
                  <a:gd name="T27" fmla="*/ 18 h 209"/>
                  <a:gd name="T28" fmla="*/ 160 w 179"/>
                  <a:gd name="T29" fmla="*/ 128 h 209"/>
                  <a:gd name="T30" fmla="*/ 153 w 179"/>
                  <a:gd name="T31" fmla="*/ 152 h 209"/>
                  <a:gd name="T32" fmla="*/ 128 w 179"/>
                  <a:gd name="T33" fmla="*/ 150 h 209"/>
                  <a:gd name="T34" fmla="*/ 122 w 179"/>
                  <a:gd name="T35" fmla="*/ 186 h 209"/>
                  <a:gd name="T36" fmla="*/ 165 w 179"/>
                  <a:gd name="T37" fmla="*/ 186 h 209"/>
                  <a:gd name="T38" fmla="*/ 171 w 179"/>
                  <a:gd name="T39" fmla="*/ 174 h 209"/>
                  <a:gd name="T40" fmla="*/ 161 w 179"/>
                  <a:gd name="T41" fmla="*/ 153 h 209"/>
                  <a:gd name="T42" fmla="*/ 88 w 179"/>
                  <a:gd name="T43" fmla="*/ 71 h 209"/>
                  <a:gd name="T44" fmla="*/ 102 w 179"/>
                  <a:gd name="T45" fmla="*/ 68 h 209"/>
                  <a:gd name="T46" fmla="*/ 73 w 179"/>
                  <a:gd name="T47" fmla="*/ 79 h 209"/>
                  <a:gd name="T48" fmla="*/ 64 w 179"/>
                  <a:gd name="T49" fmla="*/ 77 h 209"/>
                  <a:gd name="T50" fmla="*/ 56 w 179"/>
                  <a:gd name="T51" fmla="*/ 100 h 209"/>
                  <a:gd name="T52" fmla="*/ 45 w 179"/>
                  <a:gd name="T53" fmla="*/ 140 h 209"/>
                  <a:gd name="T54" fmla="*/ 38 w 179"/>
                  <a:gd name="T55" fmla="*/ 121 h 209"/>
                  <a:gd name="T56" fmla="*/ 40 w 179"/>
                  <a:gd name="T57" fmla="*/ 143 h 209"/>
                  <a:gd name="T58" fmla="*/ 64 w 179"/>
                  <a:gd name="T59" fmla="*/ 177 h 209"/>
                  <a:gd name="T60" fmla="*/ 70 w 179"/>
                  <a:gd name="T61" fmla="*/ 197 h 209"/>
                  <a:gd name="T62" fmla="*/ 68 w 179"/>
                  <a:gd name="T63" fmla="*/ 182 h 209"/>
                  <a:gd name="T64" fmla="*/ 109 w 179"/>
                  <a:gd name="T65" fmla="*/ 179 h 209"/>
                  <a:gd name="T66" fmla="*/ 115 w 179"/>
                  <a:gd name="T67" fmla="*/ 186 h 209"/>
                  <a:gd name="T68" fmla="*/ 119 w 179"/>
                  <a:gd name="T69" fmla="*/ 171 h 209"/>
                  <a:gd name="T70" fmla="*/ 127 w 179"/>
                  <a:gd name="T71" fmla="*/ 146 h 209"/>
                  <a:gd name="T72" fmla="*/ 126 w 179"/>
                  <a:gd name="T73" fmla="*/ 92 h 209"/>
                  <a:gd name="T74" fmla="*/ 128 w 179"/>
                  <a:gd name="T75" fmla="*/ 135 h 209"/>
                  <a:gd name="T76" fmla="*/ 117 w 179"/>
                  <a:gd name="T77" fmla="*/ 94 h 209"/>
                  <a:gd name="T78" fmla="*/ 104 w 179"/>
                  <a:gd name="T79" fmla="*/ 53 h 209"/>
                  <a:gd name="T80" fmla="*/ 98 w 179"/>
                  <a:gd name="T81" fmla="*/ 37 h 209"/>
                  <a:gd name="T82" fmla="*/ 107 w 179"/>
                  <a:gd name="T83" fmla="*/ 48 h 209"/>
                  <a:gd name="T84" fmla="*/ 87 w 179"/>
                  <a:gd name="T85" fmla="*/ 42 h 209"/>
                  <a:gd name="T86" fmla="*/ 78 w 179"/>
                  <a:gd name="T87" fmla="*/ 44 h 209"/>
                  <a:gd name="T88" fmla="*/ 66 w 179"/>
                  <a:gd name="T89" fmla="*/ 34 h 209"/>
                  <a:gd name="T90" fmla="*/ 67 w 179"/>
                  <a:gd name="T91" fmla="*/ 47 h 209"/>
                  <a:gd name="T92" fmla="*/ 73 w 179"/>
                  <a:gd name="T93" fmla="*/ 48 h 209"/>
                  <a:gd name="T94" fmla="*/ 65 w 179"/>
                  <a:gd name="T95" fmla="*/ 60 h 209"/>
                  <a:gd name="T96" fmla="*/ 101 w 179"/>
                  <a:gd name="T97" fmla="*/ 58 h 209"/>
                  <a:gd name="T98" fmla="*/ 86 w 179"/>
                  <a:gd name="T99" fmla="*/ 67 h 209"/>
                  <a:gd name="T100" fmla="*/ 72 w 179"/>
                  <a:gd name="T101" fmla="*/ 40 h 209"/>
                  <a:gd name="T102" fmla="*/ 73 w 179"/>
                  <a:gd name="T103" fmla="*/ 45 h 209"/>
                  <a:gd name="T104" fmla="*/ 99 w 179"/>
                  <a:gd name="T105" fmla="*/ 39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79" h="209">
                    <a:moveTo>
                      <a:pt x="161" y="153"/>
                    </a:moveTo>
                    <a:cubicBezTo>
                      <a:pt x="161" y="156"/>
                      <a:pt x="162" y="158"/>
                      <a:pt x="163" y="161"/>
                    </a:cubicBezTo>
                    <a:cubicBezTo>
                      <a:pt x="164" y="165"/>
                      <a:pt x="167" y="168"/>
                      <a:pt x="170" y="170"/>
                    </a:cubicBezTo>
                    <a:cubicBezTo>
                      <a:pt x="172" y="171"/>
                      <a:pt x="174" y="172"/>
                      <a:pt x="175" y="174"/>
                    </a:cubicBezTo>
                    <a:cubicBezTo>
                      <a:pt x="179" y="176"/>
                      <a:pt x="179" y="180"/>
                      <a:pt x="176" y="183"/>
                    </a:cubicBezTo>
                    <a:cubicBezTo>
                      <a:pt x="173" y="186"/>
                      <a:pt x="170" y="187"/>
                      <a:pt x="166" y="189"/>
                    </a:cubicBezTo>
                    <a:cubicBezTo>
                      <a:pt x="157" y="193"/>
                      <a:pt x="148" y="199"/>
                      <a:pt x="141" y="206"/>
                    </a:cubicBezTo>
                    <a:cubicBezTo>
                      <a:pt x="139" y="208"/>
                      <a:pt x="137" y="208"/>
                      <a:pt x="134" y="208"/>
                    </a:cubicBezTo>
                    <a:cubicBezTo>
                      <a:pt x="131" y="209"/>
                      <a:pt x="128" y="209"/>
                      <a:pt x="125" y="208"/>
                    </a:cubicBezTo>
                    <a:cubicBezTo>
                      <a:pt x="122" y="207"/>
                      <a:pt x="119" y="206"/>
                      <a:pt x="118" y="203"/>
                    </a:cubicBezTo>
                    <a:cubicBezTo>
                      <a:pt x="116" y="199"/>
                      <a:pt x="113" y="198"/>
                      <a:pt x="110" y="198"/>
                    </a:cubicBezTo>
                    <a:cubicBezTo>
                      <a:pt x="100" y="198"/>
                      <a:pt x="90" y="198"/>
                      <a:pt x="81" y="198"/>
                    </a:cubicBezTo>
                    <a:cubicBezTo>
                      <a:pt x="76" y="198"/>
                      <a:pt x="72" y="199"/>
                      <a:pt x="68" y="201"/>
                    </a:cubicBezTo>
                    <a:cubicBezTo>
                      <a:pt x="66" y="203"/>
                      <a:pt x="64" y="204"/>
                      <a:pt x="63" y="205"/>
                    </a:cubicBezTo>
                    <a:cubicBezTo>
                      <a:pt x="58" y="208"/>
                      <a:pt x="54" y="209"/>
                      <a:pt x="48" y="207"/>
                    </a:cubicBezTo>
                    <a:cubicBezTo>
                      <a:pt x="43" y="205"/>
                      <a:pt x="38" y="203"/>
                      <a:pt x="32" y="202"/>
                    </a:cubicBezTo>
                    <a:cubicBezTo>
                      <a:pt x="25" y="200"/>
                      <a:pt x="18" y="199"/>
                      <a:pt x="11" y="197"/>
                    </a:cubicBezTo>
                    <a:cubicBezTo>
                      <a:pt x="9" y="197"/>
                      <a:pt x="7" y="196"/>
                      <a:pt x="5" y="195"/>
                    </a:cubicBezTo>
                    <a:cubicBezTo>
                      <a:pt x="1" y="194"/>
                      <a:pt x="0" y="191"/>
                      <a:pt x="1" y="188"/>
                    </a:cubicBezTo>
                    <a:cubicBezTo>
                      <a:pt x="1" y="186"/>
                      <a:pt x="2" y="185"/>
                      <a:pt x="2" y="184"/>
                    </a:cubicBezTo>
                    <a:cubicBezTo>
                      <a:pt x="4" y="180"/>
                      <a:pt x="5" y="176"/>
                      <a:pt x="3" y="172"/>
                    </a:cubicBezTo>
                    <a:cubicBezTo>
                      <a:pt x="3" y="170"/>
                      <a:pt x="2" y="168"/>
                      <a:pt x="2" y="166"/>
                    </a:cubicBezTo>
                    <a:cubicBezTo>
                      <a:pt x="1" y="162"/>
                      <a:pt x="3" y="160"/>
                      <a:pt x="7" y="160"/>
                    </a:cubicBezTo>
                    <a:cubicBezTo>
                      <a:pt x="10" y="160"/>
                      <a:pt x="12" y="159"/>
                      <a:pt x="14" y="159"/>
                    </a:cubicBezTo>
                    <a:cubicBezTo>
                      <a:pt x="19" y="158"/>
                      <a:pt x="22" y="155"/>
                      <a:pt x="23" y="150"/>
                    </a:cubicBezTo>
                    <a:cubicBezTo>
                      <a:pt x="23" y="150"/>
                      <a:pt x="23" y="149"/>
                      <a:pt x="23" y="149"/>
                    </a:cubicBezTo>
                    <a:cubicBezTo>
                      <a:pt x="25" y="153"/>
                      <a:pt x="23" y="160"/>
                      <a:pt x="17" y="161"/>
                    </a:cubicBezTo>
                    <a:cubicBezTo>
                      <a:pt x="15" y="162"/>
                      <a:pt x="12" y="162"/>
                      <a:pt x="9" y="162"/>
                    </a:cubicBezTo>
                    <a:cubicBezTo>
                      <a:pt x="9" y="162"/>
                      <a:pt x="9" y="162"/>
                      <a:pt x="9" y="162"/>
                    </a:cubicBezTo>
                    <a:cubicBezTo>
                      <a:pt x="5" y="162"/>
                      <a:pt x="3" y="164"/>
                      <a:pt x="4" y="167"/>
                    </a:cubicBezTo>
                    <a:cubicBezTo>
                      <a:pt x="5" y="169"/>
                      <a:pt x="6" y="171"/>
                      <a:pt x="6" y="172"/>
                    </a:cubicBezTo>
                    <a:cubicBezTo>
                      <a:pt x="8" y="176"/>
                      <a:pt x="8" y="180"/>
                      <a:pt x="6" y="183"/>
                    </a:cubicBezTo>
                    <a:cubicBezTo>
                      <a:pt x="6" y="185"/>
                      <a:pt x="5" y="186"/>
                      <a:pt x="5" y="188"/>
                    </a:cubicBezTo>
                    <a:cubicBezTo>
                      <a:pt x="4" y="190"/>
                      <a:pt x="4" y="191"/>
                      <a:pt x="7" y="192"/>
                    </a:cubicBezTo>
                    <a:cubicBezTo>
                      <a:pt x="9" y="193"/>
                      <a:pt x="11" y="194"/>
                      <a:pt x="13" y="194"/>
                    </a:cubicBezTo>
                    <a:cubicBezTo>
                      <a:pt x="24" y="196"/>
                      <a:pt x="35" y="199"/>
                      <a:pt x="46" y="202"/>
                    </a:cubicBezTo>
                    <a:cubicBezTo>
                      <a:pt x="49" y="203"/>
                      <a:pt x="52" y="204"/>
                      <a:pt x="55" y="203"/>
                    </a:cubicBezTo>
                    <a:cubicBezTo>
                      <a:pt x="63" y="202"/>
                      <a:pt x="66" y="197"/>
                      <a:pt x="65" y="190"/>
                    </a:cubicBezTo>
                    <a:cubicBezTo>
                      <a:pt x="64" y="186"/>
                      <a:pt x="62" y="182"/>
                      <a:pt x="60" y="179"/>
                    </a:cubicBezTo>
                    <a:cubicBezTo>
                      <a:pt x="55" y="170"/>
                      <a:pt x="49" y="160"/>
                      <a:pt x="42" y="152"/>
                    </a:cubicBezTo>
                    <a:cubicBezTo>
                      <a:pt x="40" y="149"/>
                      <a:pt x="37" y="147"/>
                      <a:pt x="35" y="145"/>
                    </a:cubicBezTo>
                    <a:cubicBezTo>
                      <a:pt x="32" y="143"/>
                      <a:pt x="30" y="143"/>
                      <a:pt x="27" y="144"/>
                    </a:cubicBezTo>
                    <a:cubicBezTo>
                      <a:pt x="26" y="145"/>
                      <a:pt x="25" y="145"/>
                      <a:pt x="25" y="143"/>
                    </a:cubicBezTo>
                    <a:cubicBezTo>
                      <a:pt x="24" y="140"/>
                      <a:pt x="24" y="137"/>
                      <a:pt x="25" y="134"/>
                    </a:cubicBezTo>
                    <a:cubicBezTo>
                      <a:pt x="26" y="132"/>
                      <a:pt x="26" y="131"/>
                      <a:pt x="27" y="130"/>
                    </a:cubicBezTo>
                    <a:cubicBezTo>
                      <a:pt x="30" y="125"/>
                      <a:pt x="33" y="118"/>
                      <a:pt x="35" y="112"/>
                    </a:cubicBezTo>
                    <a:cubicBezTo>
                      <a:pt x="37" y="106"/>
                      <a:pt x="39" y="100"/>
                      <a:pt x="43" y="94"/>
                    </a:cubicBezTo>
                    <a:cubicBezTo>
                      <a:pt x="46" y="90"/>
                      <a:pt x="49" y="87"/>
                      <a:pt x="52" y="83"/>
                    </a:cubicBezTo>
                    <a:cubicBezTo>
                      <a:pt x="54" y="80"/>
                      <a:pt x="56" y="76"/>
                      <a:pt x="58" y="73"/>
                    </a:cubicBezTo>
                    <a:cubicBezTo>
                      <a:pt x="60" y="70"/>
                      <a:pt x="60" y="68"/>
                      <a:pt x="60" y="65"/>
                    </a:cubicBezTo>
                    <a:cubicBezTo>
                      <a:pt x="59" y="58"/>
                      <a:pt x="59" y="51"/>
                      <a:pt x="59" y="44"/>
                    </a:cubicBezTo>
                    <a:cubicBezTo>
                      <a:pt x="58" y="38"/>
                      <a:pt x="58" y="33"/>
                      <a:pt x="58" y="27"/>
                    </a:cubicBezTo>
                    <a:cubicBezTo>
                      <a:pt x="59" y="16"/>
                      <a:pt x="63" y="8"/>
                      <a:pt x="73" y="3"/>
                    </a:cubicBezTo>
                    <a:cubicBezTo>
                      <a:pt x="77" y="1"/>
                      <a:pt x="81" y="0"/>
                      <a:pt x="85" y="0"/>
                    </a:cubicBezTo>
                    <a:cubicBezTo>
                      <a:pt x="91" y="0"/>
                      <a:pt x="97" y="1"/>
                      <a:pt x="102" y="3"/>
                    </a:cubicBezTo>
                    <a:cubicBezTo>
                      <a:pt x="109" y="6"/>
                      <a:pt x="114" y="11"/>
                      <a:pt x="117" y="18"/>
                    </a:cubicBezTo>
                    <a:cubicBezTo>
                      <a:pt x="121" y="23"/>
                      <a:pt x="122" y="30"/>
                      <a:pt x="122" y="36"/>
                    </a:cubicBezTo>
                    <a:cubicBezTo>
                      <a:pt x="123" y="40"/>
                      <a:pt x="122" y="43"/>
                      <a:pt x="123" y="47"/>
                    </a:cubicBezTo>
                    <a:cubicBezTo>
                      <a:pt x="124" y="61"/>
                      <a:pt x="128" y="74"/>
                      <a:pt x="139" y="85"/>
                    </a:cubicBezTo>
                    <a:cubicBezTo>
                      <a:pt x="150" y="97"/>
                      <a:pt x="156" y="112"/>
                      <a:pt x="160" y="128"/>
                    </a:cubicBezTo>
                    <a:cubicBezTo>
                      <a:pt x="161" y="133"/>
                      <a:pt x="161" y="138"/>
                      <a:pt x="160" y="143"/>
                    </a:cubicBezTo>
                    <a:cubicBezTo>
                      <a:pt x="160" y="144"/>
                      <a:pt x="159" y="145"/>
                      <a:pt x="159" y="146"/>
                    </a:cubicBezTo>
                    <a:cubicBezTo>
                      <a:pt x="158" y="147"/>
                      <a:pt x="158" y="148"/>
                      <a:pt x="157" y="148"/>
                    </a:cubicBezTo>
                    <a:cubicBezTo>
                      <a:pt x="155" y="148"/>
                      <a:pt x="154" y="150"/>
                      <a:pt x="153" y="152"/>
                    </a:cubicBezTo>
                    <a:cubicBezTo>
                      <a:pt x="151" y="154"/>
                      <a:pt x="149" y="156"/>
                      <a:pt x="147" y="158"/>
                    </a:cubicBezTo>
                    <a:cubicBezTo>
                      <a:pt x="144" y="160"/>
                      <a:pt x="139" y="161"/>
                      <a:pt x="135" y="159"/>
                    </a:cubicBezTo>
                    <a:cubicBezTo>
                      <a:pt x="133" y="159"/>
                      <a:pt x="132" y="157"/>
                      <a:pt x="131" y="155"/>
                    </a:cubicBezTo>
                    <a:cubicBezTo>
                      <a:pt x="130" y="154"/>
                      <a:pt x="129" y="152"/>
                      <a:pt x="128" y="150"/>
                    </a:cubicBezTo>
                    <a:cubicBezTo>
                      <a:pt x="127" y="149"/>
                      <a:pt x="126" y="148"/>
                      <a:pt x="125" y="148"/>
                    </a:cubicBezTo>
                    <a:cubicBezTo>
                      <a:pt x="123" y="148"/>
                      <a:pt x="122" y="150"/>
                      <a:pt x="121" y="151"/>
                    </a:cubicBezTo>
                    <a:cubicBezTo>
                      <a:pt x="120" y="155"/>
                      <a:pt x="120" y="159"/>
                      <a:pt x="121" y="163"/>
                    </a:cubicBezTo>
                    <a:cubicBezTo>
                      <a:pt x="123" y="171"/>
                      <a:pt x="123" y="178"/>
                      <a:pt x="122" y="186"/>
                    </a:cubicBezTo>
                    <a:cubicBezTo>
                      <a:pt x="122" y="189"/>
                      <a:pt x="121" y="191"/>
                      <a:pt x="122" y="194"/>
                    </a:cubicBezTo>
                    <a:cubicBezTo>
                      <a:pt x="123" y="201"/>
                      <a:pt x="129" y="205"/>
                      <a:pt x="136" y="202"/>
                    </a:cubicBezTo>
                    <a:cubicBezTo>
                      <a:pt x="139" y="201"/>
                      <a:pt x="142" y="199"/>
                      <a:pt x="145" y="197"/>
                    </a:cubicBezTo>
                    <a:cubicBezTo>
                      <a:pt x="151" y="192"/>
                      <a:pt x="158" y="189"/>
                      <a:pt x="165" y="186"/>
                    </a:cubicBezTo>
                    <a:cubicBezTo>
                      <a:pt x="168" y="185"/>
                      <a:pt x="171" y="184"/>
                      <a:pt x="173" y="182"/>
                    </a:cubicBezTo>
                    <a:cubicBezTo>
                      <a:pt x="174" y="182"/>
                      <a:pt x="174" y="181"/>
                      <a:pt x="175" y="181"/>
                    </a:cubicBezTo>
                    <a:cubicBezTo>
                      <a:pt x="176" y="180"/>
                      <a:pt x="176" y="178"/>
                      <a:pt x="175" y="177"/>
                    </a:cubicBezTo>
                    <a:cubicBezTo>
                      <a:pt x="174" y="176"/>
                      <a:pt x="172" y="175"/>
                      <a:pt x="171" y="174"/>
                    </a:cubicBezTo>
                    <a:cubicBezTo>
                      <a:pt x="170" y="173"/>
                      <a:pt x="169" y="173"/>
                      <a:pt x="168" y="172"/>
                    </a:cubicBezTo>
                    <a:cubicBezTo>
                      <a:pt x="163" y="171"/>
                      <a:pt x="161" y="168"/>
                      <a:pt x="160" y="163"/>
                    </a:cubicBezTo>
                    <a:cubicBezTo>
                      <a:pt x="160" y="160"/>
                      <a:pt x="160" y="158"/>
                      <a:pt x="160" y="155"/>
                    </a:cubicBezTo>
                    <a:cubicBezTo>
                      <a:pt x="160" y="154"/>
                      <a:pt x="160" y="154"/>
                      <a:pt x="161" y="153"/>
                    </a:cubicBezTo>
                    <a:close/>
                    <a:moveTo>
                      <a:pt x="71" y="69"/>
                    </a:moveTo>
                    <a:cubicBezTo>
                      <a:pt x="71" y="69"/>
                      <a:pt x="71" y="69"/>
                      <a:pt x="71" y="69"/>
                    </a:cubicBezTo>
                    <a:cubicBezTo>
                      <a:pt x="73" y="71"/>
                      <a:pt x="74" y="73"/>
                      <a:pt x="77" y="73"/>
                    </a:cubicBezTo>
                    <a:cubicBezTo>
                      <a:pt x="81" y="74"/>
                      <a:pt x="85" y="73"/>
                      <a:pt x="88" y="71"/>
                    </a:cubicBezTo>
                    <a:cubicBezTo>
                      <a:pt x="91" y="70"/>
                      <a:pt x="94" y="68"/>
                      <a:pt x="98" y="67"/>
                    </a:cubicBezTo>
                    <a:cubicBezTo>
                      <a:pt x="99" y="66"/>
                      <a:pt x="100" y="66"/>
                      <a:pt x="101" y="65"/>
                    </a:cubicBezTo>
                    <a:cubicBezTo>
                      <a:pt x="101" y="65"/>
                      <a:pt x="102" y="66"/>
                      <a:pt x="102" y="66"/>
                    </a:cubicBezTo>
                    <a:cubicBezTo>
                      <a:pt x="102" y="67"/>
                      <a:pt x="102" y="67"/>
                      <a:pt x="102" y="68"/>
                    </a:cubicBezTo>
                    <a:cubicBezTo>
                      <a:pt x="101" y="68"/>
                      <a:pt x="100" y="69"/>
                      <a:pt x="99" y="69"/>
                    </a:cubicBezTo>
                    <a:cubicBezTo>
                      <a:pt x="95" y="71"/>
                      <a:pt x="91" y="74"/>
                      <a:pt x="87" y="77"/>
                    </a:cubicBezTo>
                    <a:cubicBezTo>
                      <a:pt x="85" y="78"/>
                      <a:pt x="83" y="80"/>
                      <a:pt x="81" y="81"/>
                    </a:cubicBezTo>
                    <a:cubicBezTo>
                      <a:pt x="78" y="82"/>
                      <a:pt x="76" y="82"/>
                      <a:pt x="73" y="79"/>
                    </a:cubicBezTo>
                    <a:cubicBezTo>
                      <a:pt x="71" y="77"/>
                      <a:pt x="69" y="74"/>
                      <a:pt x="67" y="71"/>
                    </a:cubicBezTo>
                    <a:cubicBezTo>
                      <a:pt x="67" y="71"/>
                      <a:pt x="66" y="70"/>
                      <a:pt x="65" y="69"/>
                    </a:cubicBezTo>
                    <a:cubicBezTo>
                      <a:pt x="65" y="70"/>
                      <a:pt x="65" y="70"/>
                      <a:pt x="65" y="71"/>
                    </a:cubicBezTo>
                    <a:cubicBezTo>
                      <a:pt x="65" y="73"/>
                      <a:pt x="64" y="75"/>
                      <a:pt x="64" y="77"/>
                    </a:cubicBezTo>
                    <a:cubicBezTo>
                      <a:pt x="63" y="79"/>
                      <a:pt x="61" y="81"/>
                      <a:pt x="60" y="83"/>
                    </a:cubicBezTo>
                    <a:cubicBezTo>
                      <a:pt x="59" y="86"/>
                      <a:pt x="57" y="89"/>
                      <a:pt x="57" y="92"/>
                    </a:cubicBezTo>
                    <a:cubicBezTo>
                      <a:pt x="57" y="94"/>
                      <a:pt x="58" y="96"/>
                      <a:pt x="58" y="98"/>
                    </a:cubicBezTo>
                    <a:cubicBezTo>
                      <a:pt x="58" y="99"/>
                      <a:pt x="57" y="99"/>
                      <a:pt x="56" y="100"/>
                    </a:cubicBezTo>
                    <a:cubicBezTo>
                      <a:pt x="54" y="104"/>
                      <a:pt x="52" y="108"/>
                      <a:pt x="50" y="112"/>
                    </a:cubicBezTo>
                    <a:cubicBezTo>
                      <a:pt x="48" y="117"/>
                      <a:pt x="46" y="122"/>
                      <a:pt x="46" y="127"/>
                    </a:cubicBezTo>
                    <a:cubicBezTo>
                      <a:pt x="46" y="130"/>
                      <a:pt x="46" y="133"/>
                      <a:pt x="46" y="136"/>
                    </a:cubicBezTo>
                    <a:cubicBezTo>
                      <a:pt x="46" y="137"/>
                      <a:pt x="45" y="139"/>
                      <a:pt x="45" y="140"/>
                    </a:cubicBezTo>
                    <a:cubicBezTo>
                      <a:pt x="45" y="141"/>
                      <a:pt x="44" y="142"/>
                      <a:pt x="43" y="141"/>
                    </a:cubicBezTo>
                    <a:cubicBezTo>
                      <a:pt x="42" y="140"/>
                      <a:pt x="41" y="139"/>
                      <a:pt x="40" y="138"/>
                    </a:cubicBezTo>
                    <a:cubicBezTo>
                      <a:pt x="38" y="134"/>
                      <a:pt x="37" y="129"/>
                      <a:pt x="38" y="125"/>
                    </a:cubicBezTo>
                    <a:cubicBezTo>
                      <a:pt x="38" y="123"/>
                      <a:pt x="38" y="122"/>
                      <a:pt x="38" y="121"/>
                    </a:cubicBezTo>
                    <a:cubicBezTo>
                      <a:pt x="38" y="121"/>
                      <a:pt x="38" y="121"/>
                      <a:pt x="38" y="121"/>
                    </a:cubicBezTo>
                    <a:cubicBezTo>
                      <a:pt x="37" y="122"/>
                      <a:pt x="37" y="122"/>
                      <a:pt x="37" y="123"/>
                    </a:cubicBezTo>
                    <a:cubicBezTo>
                      <a:pt x="35" y="127"/>
                      <a:pt x="35" y="131"/>
                      <a:pt x="37" y="135"/>
                    </a:cubicBezTo>
                    <a:cubicBezTo>
                      <a:pt x="37" y="138"/>
                      <a:pt x="38" y="140"/>
                      <a:pt x="40" y="143"/>
                    </a:cubicBezTo>
                    <a:cubicBezTo>
                      <a:pt x="44" y="146"/>
                      <a:pt x="48" y="150"/>
                      <a:pt x="52" y="153"/>
                    </a:cubicBezTo>
                    <a:cubicBezTo>
                      <a:pt x="57" y="157"/>
                      <a:pt x="62" y="161"/>
                      <a:pt x="67" y="165"/>
                    </a:cubicBezTo>
                    <a:cubicBezTo>
                      <a:pt x="69" y="167"/>
                      <a:pt x="70" y="169"/>
                      <a:pt x="69" y="172"/>
                    </a:cubicBezTo>
                    <a:cubicBezTo>
                      <a:pt x="68" y="175"/>
                      <a:pt x="67" y="176"/>
                      <a:pt x="64" y="177"/>
                    </a:cubicBezTo>
                    <a:cubicBezTo>
                      <a:pt x="64" y="177"/>
                      <a:pt x="63" y="178"/>
                      <a:pt x="62" y="178"/>
                    </a:cubicBezTo>
                    <a:cubicBezTo>
                      <a:pt x="63" y="180"/>
                      <a:pt x="65" y="181"/>
                      <a:pt x="66" y="183"/>
                    </a:cubicBezTo>
                    <a:cubicBezTo>
                      <a:pt x="68" y="186"/>
                      <a:pt x="69" y="189"/>
                      <a:pt x="69" y="192"/>
                    </a:cubicBezTo>
                    <a:cubicBezTo>
                      <a:pt x="70" y="194"/>
                      <a:pt x="70" y="195"/>
                      <a:pt x="70" y="197"/>
                    </a:cubicBezTo>
                    <a:cubicBezTo>
                      <a:pt x="70" y="197"/>
                      <a:pt x="70" y="197"/>
                      <a:pt x="71" y="197"/>
                    </a:cubicBezTo>
                    <a:cubicBezTo>
                      <a:pt x="73" y="195"/>
                      <a:pt x="73" y="193"/>
                      <a:pt x="72" y="191"/>
                    </a:cubicBezTo>
                    <a:cubicBezTo>
                      <a:pt x="72" y="188"/>
                      <a:pt x="70" y="186"/>
                      <a:pt x="69" y="184"/>
                    </a:cubicBezTo>
                    <a:cubicBezTo>
                      <a:pt x="68" y="184"/>
                      <a:pt x="68" y="183"/>
                      <a:pt x="68" y="182"/>
                    </a:cubicBezTo>
                    <a:cubicBezTo>
                      <a:pt x="69" y="181"/>
                      <a:pt x="71" y="181"/>
                      <a:pt x="72" y="182"/>
                    </a:cubicBezTo>
                    <a:cubicBezTo>
                      <a:pt x="74" y="184"/>
                      <a:pt x="76" y="185"/>
                      <a:pt x="79" y="186"/>
                    </a:cubicBezTo>
                    <a:cubicBezTo>
                      <a:pt x="85" y="187"/>
                      <a:pt x="91" y="186"/>
                      <a:pt x="97" y="185"/>
                    </a:cubicBezTo>
                    <a:cubicBezTo>
                      <a:pt x="101" y="184"/>
                      <a:pt x="106" y="182"/>
                      <a:pt x="109" y="179"/>
                    </a:cubicBezTo>
                    <a:cubicBezTo>
                      <a:pt x="111" y="177"/>
                      <a:pt x="112" y="175"/>
                      <a:pt x="114" y="174"/>
                    </a:cubicBezTo>
                    <a:cubicBezTo>
                      <a:pt x="114" y="173"/>
                      <a:pt x="115" y="172"/>
                      <a:pt x="116" y="173"/>
                    </a:cubicBezTo>
                    <a:cubicBezTo>
                      <a:pt x="116" y="173"/>
                      <a:pt x="117" y="174"/>
                      <a:pt x="117" y="174"/>
                    </a:cubicBezTo>
                    <a:cubicBezTo>
                      <a:pt x="117" y="178"/>
                      <a:pt x="117" y="182"/>
                      <a:pt x="115" y="186"/>
                    </a:cubicBezTo>
                    <a:cubicBezTo>
                      <a:pt x="115" y="188"/>
                      <a:pt x="114" y="190"/>
                      <a:pt x="114" y="193"/>
                    </a:cubicBezTo>
                    <a:cubicBezTo>
                      <a:pt x="113" y="195"/>
                      <a:pt x="114" y="195"/>
                      <a:pt x="116" y="195"/>
                    </a:cubicBezTo>
                    <a:cubicBezTo>
                      <a:pt x="117" y="191"/>
                      <a:pt x="118" y="187"/>
                      <a:pt x="119" y="182"/>
                    </a:cubicBezTo>
                    <a:cubicBezTo>
                      <a:pt x="119" y="178"/>
                      <a:pt x="120" y="175"/>
                      <a:pt x="119" y="171"/>
                    </a:cubicBezTo>
                    <a:cubicBezTo>
                      <a:pt x="119" y="167"/>
                      <a:pt x="118" y="163"/>
                      <a:pt x="118" y="160"/>
                    </a:cubicBezTo>
                    <a:cubicBezTo>
                      <a:pt x="118" y="156"/>
                      <a:pt x="118" y="153"/>
                      <a:pt x="119" y="150"/>
                    </a:cubicBezTo>
                    <a:cubicBezTo>
                      <a:pt x="120" y="147"/>
                      <a:pt x="122" y="146"/>
                      <a:pt x="126" y="146"/>
                    </a:cubicBezTo>
                    <a:cubicBezTo>
                      <a:pt x="126" y="146"/>
                      <a:pt x="126" y="146"/>
                      <a:pt x="127" y="146"/>
                    </a:cubicBezTo>
                    <a:cubicBezTo>
                      <a:pt x="127" y="142"/>
                      <a:pt x="129" y="140"/>
                      <a:pt x="132" y="139"/>
                    </a:cubicBezTo>
                    <a:cubicBezTo>
                      <a:pt x="137" y="138"/>
                      <a:pt x="142" y="138"/>
                      <a:pt x="146" y="141"/>
                    </a:cubicBezTo>
                    <a:cubicBezTo>
                      <a:pt x="145" y="138"/>
                      <a:pt x="142" y="137"/>
                      <a:pt x="140" y="136"/>
                    </a:cubicBezTo>
                    <a:cubicBezTo>
                      <a:pt x="145" y="119"/>
                      <a:pt x="136" y="97"/>
                      <a:pt x="126" y="92"/>
                    </a:cubicBezTo>
                    <a:cubicBezTo>
                      <a:pt x="131" y="97"/>
                      <a:pt x="134" y="103"/>
                      <a:pt x="136" y="110"/>
                    </a:cubicBezTo>
                    <a:cubicBezTo>
                      <a:pt x="139" y="117"/>
                      <a:pt x="140" y="124"/>
                      <a:pt x="139" y="131"/>
                    </a:cubicBezTo>
                    <a:cubicBezTo>
                      <a:pt x="138" y="135"/>
                      <a:pt x="136" y="138"/>
                      <a:pt x="132" y="138"/>
                    </a:cubicBezTo>
                    <a:cubicBezTo>
                      <a:pt x="130" y="138"/>
                      <a:pt x="128" y="137"/>
                      <a:pt x="128" y="135"/>
                    </a:cubicBezTo>
                    <a:cubicBezTo>
                      <a:pt x="127" y="133"/>
                      <a:pt x="127" y="131"/>
                      <a:pt x="127" y="129"/>
                    </a:cubicBezTo>
                    <a:cubicBezTo>
                      <a:pt x="127" y="121"/>
                      <a:pt x="126" y="114"/>
                      <a:pt x="124" y="107"/>
                    </a:cubicBezTo>
                    <a:cubicBezTo>
                      <a:pt x="123" y="103"/>
                      <a:pt x="121" y="98"/>
                      <a:pt x="117" y="95"/>
                    </a:cubicBezTo>
                    <a:cubicBezTo>
                      <a:pt x="117" y="95"/>
                      <a:pt x="117" y="94"/>
                      <a:pt x="117" y="94"/>
                    </a:cubicBezTo>
                    <a:cubicBezTo>
                      <a:pt x="115" y="86"/>
                      <a:pt x="112" y="79"/>
                      <a:pt x="108" y="73"/>
                    </a:cubicBezTo>
                    <a:cubicBezTo>
                      <a:pt x="106" y="70"/>
                      <a:pt x="105" y="67"/>
                      <a:pt x="106" y="64"/>
                    </a:cubicBezTo>
                    <a:cubicBezTo>
                      <a:pt x="106" y="62"/>
                      <a:pt x="106" y="60"/>
                      <a:pt x="107" y="59"/>
                    </a:cubicBezTo>
                    <a:cubicBezTo>
                      <a:pt x="107" y="56"/>
                      <a:pt x="106" y="54"/>
                      <a:pt x="104" y="53"/>
                    </a:cubicBezTo>
                    <a:cubicBezTo>
                      <a:pt x="100" y="52"/>
                      <a:pt x="97" y="51"/>
                      <a:pt x="94" y="49"/>
                    </a:cubicBezTo>
                    <a:cubicBezTo>
                      <a:pt x="91" y="49"/>
                      <a:pt x="91" y="47"/>
                      <a:pt x="91" y="44"/>
                    </a:cubicBezTo>
                    <a:cubicBezTo>
                      <a:pt x="91" y="43"/>
                      <a:pt x="91" y="42"/>
                      <a:pt x="92" y="40"/>
                    </a:cubicBezTo>
                    <a:cubicBezTo>
                      <a:pt x="93" y="37"/>
                      <a:pt x="95" y="36"/>
                      <a:pt x="98" y="37"/>
                    </a:cubicBezTo>
                    <a:cubicBezTo>
                      <a:pt x="100" y="37"/>
                      <a:pt x="101" y="38"/>
                      <a:pt x="102" y="40"/>
                    </a:cubicBezTo>
                    <a:cubicBezTo>
                      <a:pt x="103" y="42"/>
                      <a:pt x="103" y="45"/>
                      <a:pt x="102" y="48"/>
                    </a:cubicBezTo>
                    <a:cubicBezTo>
                      <a:pt x="102" y="49"/>
                      <a:pt x="101" y="49"/>
                      <a:pt x="102" y="50"/>
                    </a:cubicBezTo>
                    <a:cubicBezTo>
                      <a:pt x="104" y="51"/>
                      <a:pt x="107" y="50"/>
                      <a:pt x="107" y="48"/>
                    </a:cubicBezTo>
                    <a:cubicBezTo>
                      <a:pt x="108" y="44"/>
                      <a:pt x="107" y="39"/>
                      <a:pt x="105" y="35"/>
                    </a:cubicBezTo>
                    <a:cubicBezTo>
                      <a:pt x="104" y="32"/>
                      <a:pt x="100" y="29"/>
                      <a:pt x="96" y="30"/>
                    </a:cubicBezTo>
                    <a:cubicBezTo>
                      <a:pt x="91" y="30"/>
                      <a:pt x="88" y="33"/>
                      <a:pt x="87" y="38"/>
                    </a:cubicBezTo>
                    <a:cubicBezTo>
                      <a:pt x="87" y="39"/>
                      <a:pt x="87" y="40"/>
                      <a:pt x="87" y="42"/>
                    </a:cubicBezTo>
                    <a:cubicBezTo>
                      <a:pt x="87" y="43"/>
                      <a:pt x="87" y="45"/>
                      <a:pt x="87" y="47"/>
                    </a:cubicBezTo>
                    <a:cubicBezTo>
                      <a:pt x="85" y="45"/>
                      <a:pt x="83" y="46"/>
                      <a:pt x="81" y="46"/>
                    </a:cubicBezTo>
                    <a:cubicBezTo>
                      <a:pt x="80" y="46"/>
                      <a:pt x="80" y="46"/>
                      <a:pt x="80" y="46"/>
                    </a:cubicBezTo>
                    <a:cubicBezTo>
                      <a:pt x="78" y="46"/>
                      <a:pt x="78" y="45"/>
                      <a:pt x="78" y="44"/>
                    </a:cubicBezTo>
                    <a:cubicBezTo>
                      <a:pt x="77" y="41"/>
                      <a:pt x="77" y="39"/>
                      <a:pt x="76" y="36"/>
                    </a:cubicBezTo>
                    <a:cubicBezTo>
                      <a:pt x="76" y="35"/>
                      <a:pt x="76" y="35"/>
                      <a:pt x="76" y="34"/>
                    </a:cubicBezTo>
                    <a:cubicBezTo>
                      <a:pt x="75" y="32"/>
                      <a:pt x="73" y="31"/>
                      <a:pt x="70" y="31"/>
                    </a:cubicBezTo>
                    <a:cubicBezTo>
                      <a:pt x="68" y="31"/>
                      <a:pt x="67" y="32"/>
                      <a:pt x="66" y="34"/>
                    </a:cubicBezTo>
                    <a:cubicBezTo>
                      <a:pt x="63" y="40"/>
                      <a:pt x="63" y="45"/>
                      <a:pt x="66" y="50"/>
                    </a:cubicBezTo>
                    <a:cubicBezTo>
                      <a:pt x="66" y="50"/>
                      <a:pt x="67" y="51"/>
                      <a:pt x="68" y="51"/>
                    </a:cubicBezTo>
                    <a:cubicBezTo>
                      <a:pt x="69" y="51"/>
                      <a:pt x="69" y="50"/>
                      <a:pt x="70" y="49"/>
                    </a:cubicBezTo>
                    <a:cubicBezTo>
                      <a:pt x="69" y="48"/>
                      <a:pt x="68" y="48"/>
                      <a:pt x="67" y="47"/>
                    </a:cubicBezTo>
                    <a:cubicBezTo>
                      <a:pt x="66" y="45"/>
                      <a:pt x="65" y="42"/>
                      <a:pt x="66" y="40"/>
                    </a:cubicBezTo>
                    <a:cubicBezTo>
                      <a:pt x="67" y="37"/>
                      <a:pt x="71" y="36"/>
                      <a:pt x="73" y="38"/>
                    </a:cubicBezTo>
                    <a:cubicBezTo>
                      <a:pt x="75" y="40"/>
                      <a:pt x="75" y="42"/>
                      <a:pt x="75" y="44"/>
                    </a:cubicBezTo>
                    <a:cubicBezTo>
                      <a:pt x="75" y="46"/>
                      <a:pt x="74" y="47"/>
                      <a:pt x="73" y="48"/>
                    </a:cubicBezTo>
                    <a:cubicBezTo>
                      <a:pt x="73" y="48"/>
                      <a:pt x="72" y="49"/>
                      <a:pt x="72" y="49"/>
                    </a:cubicBezTo>
                    <a:cubicBezTo>
                      <a:pt x="71" y="51"/>
                      <a:pt x="69" y="52"/>
                      <a:pt x="66" y="54"/>
                    </a:cubicBezTo>
                    <a:cubicBezTo>
                      <a:pt x="65" y="54"/>
                      <a:pt x="65" y="56"/>
                      <a:pt x="64" y="57"/>
                    </a:cubicBezTo>
                    <a:cubicBezTo>
                      <a:pt x="63" y="58"/>
                      <a:pt x="64" y="59"/>
                      <a:pt x="65" y="60"/>
                    </a:cubicBezTo>
                    <a:cubicBezTo>
                      <a:pt x="66" y="60"/>
                      <a:pt x="67" y="61"/>
                      <a:pt x="68" y="62"/>
                    </a:cubicBezTo>
                    <a:cubicBezTo>
                      <a:pt x="71" y="66"/>
                      <a:pt x="74" y="66"/>
                      <a:pt x="78" y="66"/>
                    </a:cubicBezTo>
                    <a:cubicBezTo>
                      <a:pt x="82" y="66"/>
                      <a:pt x="87" y="65"/>
                      <a:pt x="91" y="63"/>
                    </a:cubicBezTo>
                    <a:cubicBezTo>
                      <a:pt x="95" y="62"/>
                      <a:pt x="98" y="62"/>
                      <a:pt x="101" y="58"/>
                    </a:cubicBezTo>
                    <a:cubicBezTo>
                      <a:pt x="101" y="58"/>
                      <a:pt x="102" y="58"/>
                      <a:pt x="103" y="58"/>
                    </a:cubicBezTo>
                    <a:cubicBezTo>
                      <a:pt x="103" y="58"/>
                      <a:pt x="103" y="60"/>
                      <a:pt x="103" y="60"/>
                    </a:cubicBezTo>
                    <a:cubicBezTo>
                      <a:pt x="103" y="61"/>
                      <a:pt x="102" y="61"/>
                      <a:pt x="102" y="61"/>
                    </a:cubicBezTo>
                    <a:cubicBezTo>
                      <a:pt x="97" y="63"/>
                      <a:pt x="92" y="65"/>
                      <a:pt x="86" y="67"/>
                    </a:cubicBezTo>
                    <a:cubicBezTo>
                      <a:pt x="83" y="69"/>
                      <a:pt x="79" y="70"/>
                      <a:pt x="74" y="69"/>
                    </a:cubicBezTo>
                    <a:cubicBezTo>
                      <a:pt x="73" y="69"/>
                      <a:pt x="72" y="69"/>
                      <a:pt x="71" y="69"/>
                    </a:cubicBezTo>
                    <a:close/>
                    <a:moveTo>
                      <a:pt x="73" y="45"/>
                    </a:moveTo>
                    <a:cubicBezTo>
                      <a:pt x="73" y="43"/>
                      <a:pt x="73" y="41"/>
                      <a:pt x="72" y="40"/>
                    </a:cubicBezTo>
                    <a:cubicBezTo>
                      <a:pt x="72" y="40"/>
                      <a:pt x="71" y="40"/>
                      <a:pt x="71" y="40"/>
                    </a:cubicBezTo>
                    <a:cubicBezTo>
                      <a:pt x="71" y="40"/>
                      <a:pt x="70" y="41"/>
                      <a:pt x="70" y="41"/>
                    </a:cubicBezTo>
                    <a:cubicBezTo>
                      <a:pt x="72" y="41"/>
                      <a:pt x="72" y="43"/>
                      <a:pt x="72" y="44"/>
                    </a:cubicBezTo>
                    <a:cubicBezTo>
                      <a:pt x="72" y="44"/>
                      <a:pt x="72" y="45"/>
                      <a:pt x="73" y="45"/>
                    </a:cubicBezTo>
                    <a:close/>
                    <a:moveTo>
                      <a:pt x="97" y="39"/>
                    </a:moveTo>
                    <a:cubicBezTo>
                      <a:pt x="99" y="40"/>
                      <a:pt x="99" y="42"/>
                      <a:pt x="100" y="44"/>
                    </a:cubicBezTo>
                    <a:cubicBezTo>
                      <a:pt x="100" y="43"/>
                      <a:pt x="101" y="43"/>
                      <a:pt x="101" y="43"/>
                    </a:cubicBezTo>
                    <a:cubicBezTo>
                      <a:pt x="101" y="41"/>
                      <a:pt x="100" y="40"/>
                      <a:pt x="99" y="39"/>
                    </a:cubicBezTo>
                    <a:cubicBezTo>
                      <a:pt x="99" y="39"/>
                      <a:pt x="98" y="38"/>
                      <a:pt x="97" y="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0" name="Freeform 157"/>
              <p:cNvSpPr>
                <a:spLocks/>
              </p:cNvSpPr>
              <p:nvPr userDrawn="1"/>
            </p:nvSpPr>
            <p:spPr bwMode="auto">
              <a:xfrm>
                <a:off x="2672" y="4073"/>
                <a:ext cx="2" cy="3"/>
              </a:xfrm>
              <a:custGeom>
                <a:avLst/>
                <a:gdLst>
                  <a:gd name="T0" fmla="*/ 2 w 2"/>
                  <a:gd name="T1" fmla="*/ 0 h 2"/>
                  <a:gd name="T2" fmla="*/ 1 w 2"/>
                  <a:gd name="T3" fmla="*/ 2 h 2"/>
                  <a:gd name="T4" fmla="*/ 0 w 2"/>
                  <a:gd name="T5" fmla="*/ 2 h 2"/>
                  <a:gd name="T6" fmla="*/ 0 w 2"/>
                  <a:gd name="T7" fmla="*/ 1 h 2"/>
                  <a:gd name="T8" fmla="*/ 2 w 2"/>
                  <a:gd name="T9" fmla="*/ 0 h 2"/>
                  <a:gd name="T10" fmla="*/ 2 w 2"/>
                  <a:gd name="T11" fmla="*/ 0 h 2"/>
                </a:gdLst>
                <a:ahLst/>
                <a:cxnLst>
                  <a:cxn ang="0">
                    <a:pos x="T0" y="T1"/>
                  </a:cxn>
                  <a:cxn ang="0">
                    <a:pos x="T2" y="T3"/>
                  </a:cxn>
                  <a:cxn ang="0">
                    <a:pos x="T4" y="T5"/>
                  </a:cxn>
                  <a:cxn ang="0">
                    <a:pos x="T6" y="T7"/>
                  </a:cxn>
                  <a:cxn ang="0">
                    <a:pos x="T8" y="T9"/>
                  </a:cxn>
                  <a:cxn ang="0">
                    <a:pos x="T10" y="T11"/>
                  </a:cxn>
                </a:cxnLst>
                <a:rect l="0" t="0" r="r" b="b"/>
                <a:pathLst>
                  <a:path w="2" h="2">
                    <a:moveTo>
                      <a:pt x="2" y="0"/>
                    </a:moveTo>
                    <a:cubicBezTo>
                      <a:pt x="2" y="0"/>
                      <a:pt x="2" y="1"/>
                      <a:pt x="1" y="2"/>
                    </a:cubicBezTo>
                    <a:cubicBezTo>
                      <a:pt x="1" y="2"/>
                      <a:pt x="0" y="2"/>
                      <a:pt x="0" y="2"/>
                    </a:cubicBezTo>
                    <a:cubicBezTo>
                      <a:pt x="0" y="2"/>
                      <a:pt x="0" y="1"/>
                      <a:pt x="0" y="1"/>
                    </a:cubicBezTo>
                    <a:cubicBezTo>
                      <a:pt x="1" y="0"/>
                      <a:pt x="1" y="0"/>
                      <a:pt x="2" y="0"/>
                    </a:cubicBezTo>
                    <a:cubicBezTo>
                      <a:pt x="2" y="0"/>
                      <a:pt x="2" y="0"/>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1" name="Freeform 158"/>
              <p:cNvSpPr>
                <a:spLocks/>
              </p:cNvSpPr>
              <p:nvPr userDrawn="1"/>
            </p:nvSpPr>
            <p:spPr bwMode="auto">
              <a:xfrm>
                <a:off x="2684" y="4073"/>
                <a:ext cx="5" cy="2"/>
              </a:xfrm>
              <a:custGeom>
                <a:avLst/>
                <a:gdLst>
                  <a:gd name="T0" fmla="*/ 0 w 4"/>
                  <a:gd name="T1" fmla="*/ 0 h 1"/>
                  <a:gd name="T2" fmla="*/ 3 w 4"/>
                  <a:gd name="T3" fmla="*/ 0 h 1"/>
                  <a:gd name="T4" fmla="*/ 4 w 4"/>
                  <a:gd name="T5" fmla="*/ 1 h 1"/>
                  <a:gd name="T6" fmla="*/ 2 w 4"/>
                  <a:gd name="T7" fmla="*/ 1 h 1"/>
                  <a:gd name="T8" fmla="*/ 0 w 4"/>
                  <a:gd name="T9" fmla="*/ 0 h 1"/>
                </a:gdLst>
                <a:ahLst/>
                <a:cxnLst>
                  <a:cxn ang="0">
                    <a:pos x="T0" y="T1"/>
                  </a:cxn>
                  <a:cxn ang="0">
                    <a:pos x="T2" y="T3"/>
                  </a:cxn>
                  <a:cxn ang="0">
                    <a:pos x="T4" y="T5"/>
                  </a:cxn>
                  <a:cxn ang="0">
                    <a:pos x="T6" y="T7"/>
                  </a:cxn>
                  <a:cxn ang="0">
                    <a:pos x="T8" y="T9"/>
                  </a:cxn>
                </a:cxnLst>
                <a:rect l="0" t="0" r="r" b="b"/>
                <a:pathLst>
                  <a:path w="4" h="1">
                    <a:moveTo>
                      <a:pt x="0" y="0"/>
                    </a:moveTo>
                    <a:cubicBezTo>
                      <a:pt x="2" y="0"/>
                      <a:pt x="2" y="0"/>
                      <a:pt x="3" y="0"/>
                    </a:cubicBezTo>
                    <a:cubicBezTo>
                      <a:pt x="3" y="0"/>
                      <a:pt x="3" y="1"/>
                      <a:pt x="4" y="1"/>
                    </a:cubicBezTo>
                    <a:cubicBezTo>
                      <a:pt x="3" y="1"/>
                      <a:pt x="3" y="1"/>
                      <a:pt x="2" y="1"/>
                    </a:cubicBezTo>
                    <a:cubicBezTo>
                      <a:pt x="2" y="1"/>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2" name="Freeform 159"/>
              <p:cNvSpPr>
                <a:spLocks/>
              </p:cNvSpPr>
              <p:nvPr userDrawn="1"/>
            </p:nvSpPr>
            <p:spPr bwMode="auto">
              <a:xfrm>
                <a:off x="2043" y="2562"/>
                <a:ext cx="83" cy="245"/>
              </a:xfrm>
              <a:custGeom>
                <a:avLst/>
                <a:gdLst>
                  <a:gd name="T0" fmla="*/ 68 w 68"/>
                  <a:gd name="T1" fmla="*/ 200 h 200"/>
                  <a:gd name="T2" fmla="*/ 46 w 68"/>
                  <a:gd name="T3" fmla="*/ 200 h 200"/>
                  <a:gd name="T4" fmla="*/ 46 w 68"/>
                  <a:gd name="T5" fmla="*/ 31 h 200"/>
                  <a:gd name="T6" fmla="*/ 38 w 68"/>
                  <a:gd name="T7" fmla="*/ 37 h 200"/>
                  <a:gd name="T8" fmla="*/ 27 w 68"/>
                  <a:gd name="T9" fmla="*/ 43 h 200"/>
                  <a:gd name="T10" fmla="*/ 14 w 68"/>
                  <a:gd name="T11" fmla="*/ 50 h 200"/>
                  <a:gd name="T12" fmla="*/ 0 w 68"/>
                  <a:gd name="T13" fmla="*/ 54 h 200"/>
                  <a:gd name="T14" fmla="*/ 0 w 68"/>
                  <a:gd name="T15" fmla="*/ 31 h 200"/>
                  <a:gd name="T16" fmla="*/ 16 w 68"/>
                  <a:gd name="T17" fmla="*/ 26 h 200"/>
                  <a:gd name="T18" fmla="*/ 32 w 68"/>
                  <a:gd name="T19" fmla="*/ 18 h 200"/>
                  <a:gd name="T20" fmla="*/ 47 w 68"/>
                  <a:gd name="T21" fmla="*/ 9 h 200"/>
                  <a:gd name="T22" fmla="*/ 60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6" y="200"/>
                      <a:pt x="46" y="200"/>
                      <a:pt x="46" y="200"/>
                    </a:cubicBezTo>
                    <a:cubicBezTo>
                      <a:pt x="46" y="31"/>
                      <a:pt x="46" y="31"/>
                      <a:pt x="46" y="31"/>
                    </a:cubicBezTo>
                    <a:cubicBezTo>
                      <a:pt x="44" y="33"/>
                      <a:pt x="42" y="35"/>
                      <a:pt x="38" y="37"/>
                    </a:cubicBezTo>
                    <a:cubicBezTo>
                      <a:pt x="35" y="39"/>
                      <a:pt x="31" y="41"/>
                      <a:pt x="27" y="43"/>
                    </a:cubicBezTo>
                    <a:cubicBezTo>
                      <a:pt x="23" y="46"/>
                      <a:pt x="19" y="48"/>
                      <a:pt x="14" y="50"/>
                    </a:cubicBezTo>
                    <a:cubicBezTo>
                      <a:pt x="9" y="52"/>
                      <a:pt x="5" y="53"/>
                      <a:pt x="0" y="54"/>
                    </a:cubicBezTo>
                    <a:cubicBezTo>
                      <a:pt x="0" y="31"/>
                      <a:pt x="0" y="31"/>
                      <a:pt x="0" y="31"/>
                    </a:cubicBezTo>
                    <a:cubicBezTo>
                      <a:pt x="5" y="30"/>
                      <a:pt x="11" y="28"/>
                      <a:pt x="16" y="26"/>
                    </a:cubicBezTo>
                    <a:cubicBezTo>
                      <a:pt x="22" y="24"/>
                      <a:pt x="27" y="21"/>
                      <a:pt x="32" y="18"/>
                    </a:cubicBezTo>
                    <a:cubicBezTo>
                      <a:pt x="38" y="15"/>
                      <a:pt x="43" y="12"/>
                      <a:pt x="47" y="9"/>
                    </a:cubicBezTo>
                    <a:cubicBezTo>
                      <a:pt x="52" y="6"/>
                      <a:pt x="56" y="3"/>
                      <a:pt x="60"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3" name="Freeform 160"/>
              <p:cNvSpPr>
                <a:spLocks/>
              </p:cNvSpPr>
              <p:nvPr userDrawn="1"/>
            </p:nvSpPr>
            <p:spPr bwMode="auto">
              <a:xfrm>
                <a:off x="2193" y="2562"/>
                <a:ext cx="82" cy="245"/>
              </a:xfrm>
              <a:custGeom>
                <a:avLst/>
                <a:gdLst>
                  <a:gd name="T0" fmla="*/ 68 w 68"/>
                  <a:gd name="T1" fmla="*/ 200 h 200"/>
                  <a:gd name="T2" fmla="*/ 45 w 68"/>
                  <a:gd name="T3" fmla="*/ 200 h 200"/>
                  <a:gd name="T4" fmla="*/ 45 w 68"/>
                  <a:gd name="T5" fmla="*/ 31 h 200"/>
                  <a:gd name="T6" fmla="*/ 38 w 68"/>
                  <a:gd name="T7" fmla="*/ 37 h 200"/>
                  <a:gd name="T8" fmla="*/ 27 w 68"/>
                  <a:gd name="T9" fmla="*/ 43 h 200"/>
                  <a:gd name="T10" fmla="*/ 13 w 68"/>
                  <a:gd name="T11" fmla="*/ 50 h 200"/>
                  <a:gd name="T12" fmla="*/ 0 w 68"/>
                  <a:gd name="T13" fmla="*/ 54 h 200"/>
                  <a:gd name="T14" fmla="*/ 0 w 68"/>
                  <a:gd name="T15" fmla="*/ 31 h 200"/>
                  <a:gd name="T16" fmla="*/ 16 w 68"/>
                  <a:gd name="T17" fmla="*/ 26 h 200"/>
                  <a:gd name="T18" fmla="*/ 32 w 68"/>
                  <a:gd name="T19" fmla="*/ 18 h 200"/>
                  <a:gd name="T20" fmla="*/ 47 w 68"/>
                  <a:gd name="T21" fmla="*/ 9 h 200"/>
                  <a:gd name="T22" fmla="*/ 59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5" y="200"/>
                      <a:pt x="45" y="200"/>
                      <a:pt x="45" y="200"/>
                    </a:cubicBezTo>
                    <a:cubicBezTo>
                      <a:pt x="45" y="31"/>
                      <a:pt x="45" y="31"/>
                      <a:pt x="45" y="31"/>
                    </a:cubicBezTo>
                    <a:cubicBezTo>
                      <a:pt x="44" y="33"/>
                      <a:pt x="41" y="35"/>
                      <a:pt x="38" y="37"/>
                    </a:cubicBezTo>
                    <a:cubicBezTo>
                      <a:pt x="34" y="39"/>
                      <a:pt x="31" y="41"/>
                      <a:pt x="27" y="43"/>
                    </a:cubicBezTo>
                    <a:cubicBezTo>
                      <a:pt x="22" y="46"/>
                      <a:pt x="18" y="48"/>
                      <a:pt x="13" y="50"/>
                    </a:cubicBezTo>
                    <a:cubicBezTo>
                      <a:pt x="9" y="52"/>
                      <a:pt x="4" y="53"/>
                      <a:pt x="0" y="54"/>
                    </a:cubicBezTo>
                    <a:cubicBezTo>
                      <a:pt x="0" y="31"/>
                      <a:pt x="0" y="31"/>
                      <a:pt x="0" y="31"/>
                    </a:cubicBezTo>
                    <a:cubicBezTo>
                      <a:pt x="5" y="30"/>
                      <a:pt x="10" y="28"/>
                      <a:pt x="16" y="26"/>
                    </a:cubicBezTo>
                    <a:cubicBezTo>
                      <a:pt x="21" y="24"/>
                      <a:pt x="27" y="21"/>
                      <a:pt x="32" y="18"/>
                    </a:cubicBezTo>
                    <a:cubicBezTo>
                      <a:pt x="37" y="15"/>
                      <a:pt x="42" y="12"/>
                      <a:pt x="47" y="9"/>
                    </a:cubicBezTo>
                    <a:cubicBezTo>
                      <a:pt x="52" y="6"/>
                      <a:pt x="56" y="3"/>
                      <a:pt x="59"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4" name="Freeform 161"/>
              <p:cNvSpPr>
                <a:spLocks/>
              </p:cNvSpPr>
              <p:nvPr userDrawn="1"/>
            </p:nvSpPr>
            <p:spPr bwMode="auto">
              <a:xfrm>
                <a:off x="2342" y="2562"/>
                <a:ext cx="82" cy="245"/>
              </a:xfrm>
              <a:custGeom>
                <a:avLst/>
                <a:gdLst>
                  <a:gd name="T0" fmla="*/ 67 w 67"/>
                  <a:gd name="T1" fmla="*/ 200 h 200"/>
                  <a:gd name="T2" fmla="*/ 45 w 67"/>
                  <a:gd name="T3" fmla="*/ 200 h 200"/>
                  <a:gd name="T4" fmla="*/ 45 w 67"/>
                  <a:gd name="T5" fmla="*/ 31 h 200"/>
                  <a:gd name="T6" fmla="*/ 37 w 67"/>
                  <a:gd name="T7" fmla="*/ 37 h 200"/>
                  <a:gd name="T8" fmla="*/ 26 w 67"/>
                  <a:gd name="T9" fmla="*/ 43 h 200"/>
                  <a:gd name="T10" fmla="*/ 13 w 67"/>
                  <a:gd name="T11" fmla="*/ 50 h 200"/>
                  <a:gd name="T12" fmla="*/ 0 w 67"/>
                  <a:gd name="T13" fmla="*/ 54 h 200"/>
                  <a:gd name="T14" fmla="*/ 0 w 67"/>
                  <a:gd name="T15" fmla="*/ 31 h 200"/>
                  <a:gd name="T16" fmla="*/ 15 w 67"/>
                  <a:gd name="T17" fmla="*/ 26 h 200"/>
                  <a:gd name="T18" fmla="*/ 31 w 67"/>
                  <a:gd name="T19" fmla="*/ 18 h 200"/>
                  <a:gd name="T20" fmla="*/ 47 w 67"/>
                  <a:gd name="T21" fmla="*/ 9 h 200"/>
                  <a:gd name="T22" fmla="*/ 59 w 67"/>
                  <a:gd name="T23" fmla="*/ 0 h 200"/>
                  <a:gd name="T24" fmla="*/ 67 w 67"/>
                  <a:gd name="T25" fmla="*/ 0 h 200"/>
                  <a:gd name="T26" fmla="*/ 67 w 67"/>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7" h="200">
                    <a:moveTo>
                      <a:pt x="67" y="200"/>
                    </a:moveTo>
                    <a:cubicBezTo>
                      <a:pt x="45" y="200"/>
                      <a:pt x="45" y="200"/>
                      <a:pt x="45" y="200"/>
                    </a:cubicBezTo>
                    <a:cubicBezTo>
                      <a:pt x="45" y="31"/>
                      <a:pt x="45" y="31"/>
                      <a:pt x="45" y="31"/>
                    </a:cubicBezTo>
                    <a:cubicBezTo>
                      <a:pt x="43" y="33"/>
                      <a:pt x="41" y="35"/>
                      <a:pt x="37" y="37"/>
                    </a:cubicBezTo>
                    <a:cubicBezTo>
                      <a:pt x="34" y="39"/>
                      <a:pt x="30" y="41"/>
                      <a:pt x="26" y="43"/>
                    </a:cubicBezTo>
                    <a:cubicBezTo>
                      <a:pt x="22" y="46"/>
                      <a:pt x="18" y="48"/>
                      <a:pt x="13" y="50"/>
                    </a:cubicBezTo>
                    <a:cubicBezTo>
                      <a:pt x="8" y="52"/>
                      <a:pt x="4" y="53"/>
                      <a:pt x="0" y="54"/>
                    </a:cubicBezTo>
                    <a:cubicBezTo>
                      <a:pt x="0" y="31"/>
                      <a:pt x="0" y="31"/>
                      <a:pt x="0" y="31"/>
                    </a:cubicBezTo>
                    <a:cubicBezTo>
                      <a:pt x="4" y="30"/>
                      <a:pt x="10" y="28"/>
                      <a:pt x="15" y="26"/>
                    </a:cubicBezTo>
                    <a:cubicBezTo>
                      <a:pt x="21" y="24"/>
                      <a:pt x="26" y="21"/>
                      <a:pt x="31" y="18"/>
                    </a:cubicBezTo>
                    <a:cubicBezTo>
                      <a:pt x="37" y="15"/>
                      <a:pt x="42" y="12"/>
                      <a:pt x="47" y="9"/>
                    </a:cubicBezTo>
                    <a:cubicBezTo>
                      <a:pt x="51" y="6"/>
                      <a:pt x="55" y="3"/>
                      <a:pt x="59" y="0"/>
                    </a:cubicBezTo>
                    <a:cubicBezTo>
                      <a:pt x="67" y="0"/>
                      <a:pt x="67" y="0"/>
                      <a:pt x="67" y="0"/>
                    </a:cubicBezTo>
                    <a:lnTo>
                      <a:pt x="67"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5" name="Freeform 162"/>
              <p:cNvSpPr>
                <a:spLocks noEditPoints="1"/>
              </p:cNvSpPr>
              <p:nvPr userDrawn="1"/>
            </p:nvSpPr>
            <p:spPr bwMode="auto">
              <a:xfrm>
                <a:off x="2490" y="2564"/>
                <a:ext cx="156" cy="248"/>
              </a:xfrm>
              <a:custGeom>
                <a:avLst/>
                <a:gdLst>
                  <a:gd name="T0" fmla="*/ 128 w 128"/>
                  <a:gd name="T1" fmla="*/ 100 h 203"/>
                  <a:gd name="T2" fmla="*/ 123 w 128"/>
                  <a:gd name="T3" fmla="*/ 144 h 203"/>
                  <a:gd name="T4" fmla="*/ 111 w 128"/>
                  <a:gd name="T5" fmla="*/ 176 h 203"/>
                  <a:gd name="T6" fmla="*/ 90 w 128"/>
                  <a:gd name="T7" fmla="*/ 196 h 203"/>
                  <a:gd name="T8" fmla="*/ 62 w 128"/>
                  <a:gd name="T9" fmla="*/ 203 h 203"/>
                  <a:gd name="T10" fmla="*/ 36 w 128"/>
                  <a:gd name="T11" fmla="*/ 196 h 203"/>
                  <a:gd name="T12" fmla="*/ 16 w 128"/>
                  <a:gd name="T13" fmla="*/ 177 h 203"/>
                  <a:gd name="T14" fmla="*/ 4 w 128"/>
                  <a:gd name="T15" fmla="*/ 147 h 203"/>
                  <a:gd name="T16" fmla="*/ 0 w 128"/>
                  <a:gd name="T17" fmla="*/ 105 h 203"/>
                  <a:gd name="T18" fmla="*/ 4 w 128"/>
                  <a:gd name="T19" fmla="*/ 60 h 203"/>
                  <a:gd name="T20" fmla="*/ 17 w 128"/>
                  <a:gd name="T21" fmla="*/ 27 h 203"/>
                  <a:gd name="T22" fmla="*/ 38 w 128"/>
                  <a:gd name="T23" fmla="*/ 7 h 203"/>
                  <a:gd name="T24" fmla="*/ 66 w 128"/>
                  <a:gd name="T25" fmla="*/ 0 h 203"/>
                  <a:gd name="T26" fmla="*/ 128 w 128"/>
                  <a:gd name="T27" fmla="*/ 100 h 203"/>
                  <a:gd name="T28" fmla="*/ 105 w 128"/>
                  <a:gd name="T29" fmla="*/ 103 h 203"/>
                  <a:gd name="T30" fmla="*/ 65 w 128"/>
                  <a:gd name="T31" fmla="*/ 19 h 203"/>
                  <a:gd name="T32" fmla="*/ 23 w 128"/>
                  <a:gd name="T33" fmla="*/ 104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0"/>
                    </a:moveTo>
                    <a:cubicBezTo>
                      <a:pt x="128" y="117"/>
                      <a:pt x="126" y="131"/>
                      <a:pt x="123" y="144"/>
                    </a:cubicBezTo>
                    <a:cubicBezTo>
                      <a:pt x="120" y="157"/>
                      <a:pt x="116" y="167"/>
                      <a:pt x="111" y="176"/>
                    </a:cubicBezTo>
                    <a:cubicBezTo>
                      <a:pt x="105" y="185"/>
                      <a:pt x="98" y="191"/>
                      <a:pt x="90" y="196"/>
                    </a:cubicBezTo>
                    <a:cubicBezTo>
                      <a:pt x="82" y="200"/>
                      <a:pt x="72" y="203"/>
                      <a:pt x="62" y="203"/>
                    </a:cubicBezTo>
                    <a:cubicBezTo>
                      <a:pt x="52" y="203"/>
                      <a:pt x="43" y="201"/>
                      <a:pt x="36" y="196"/>
                    </a:cubicBezTo>
                    <a:cubicBezTo>
                      <a:pt x="28" y="192"/>
                      <a:pt x="22" y="186"/>
                      <a:pt x="16" y="177"/>
                    </a:cubicBezTo>
                    <a:cubicBezTo>
                      <a:pt x="11" y="169"/>
                      <a:pt x="7" y="159"/>
                      <a:pt x="4" y="147"/>
                    </a:cubicBezTo>
                    <a:cubicBezTo>
                      <a:pt x="2" y="135"/>
                      <a:pt x="0" y="121"/>
                      <a:pt x="0" y="105"/>
                    </a:cubicBezTo>
                    <a:cubicBezTo>
                      <a:pt x="0" y="88"/>
                      <a:pt x="2" y="73"/>
                      <a:pt x="4" y="60"/>
                    </a:cubicBezTo>
                    <a:cubicBezTo>
                      <a:pt x="7" y="47"/>
                      <a:pt x="12" y="36"/>
                      <a:pt x="17" y="27"/>
                    </a:cubicBezTo>
                    <a:cubicBezTo>
                      <a:pt x="23" y="18"/>
                      <a:pt x="30" y="11"/>
                      <a:pt x="38" y="7"/>
                    </a:cubicBezTo>
                    <a:cubicBezTo>
                      <a:pt x="46" y="2"/>
                      <a:pt x="56" y="0"/>
                      <a:pt x="66" y="0"/>
                    </a:cubicBezTo>
                    <a:cubicBezTo>
                      <a:pt x="107" y="0"/>
                      <a:pt x="128" y="33"/>
                      <a:pt x="128" y="100"/>
                    </a:cubicBezTo>
                    <a:close/>
                    <a:moveTo>
                      <a:pt x="105" y="103"/>
                    </a:moveTo>
                    <a:cubicBezTo>
                      <a:pt x="105" y="47"/>
                      <a:pt x="92" y="19"/>
                      <a:pt x="65" y="19"/>
                    </a:cubicBezTo>
                    <a:cubicBezTo>
                      <a:pt x="37" y="19"/>
                      <a:pt x="23" y="47"/>
                      <a:pt x="23" y="104"/>
                    </a:cubicBezTo>
                    <a:cubicBezTo>
                      <a:pt x="23" y="157"/>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6" name="Freeform 163"/>
              <p:cNvSpPr>
                <a:spLocks/>
              </p:cNvSpPr>
              <p:nvPr userDrawn="1"/>
            </p:nvSpPr>
            <p:spPr bwMode="auto">
              <a:xfrm>
                <a:off x="2687" y="2562"/>
                <a:ext cx="83" cy="245"/>
              </a:xfrm>
              <a:custGeom>
                <a:avLst/>
                <a:gdLst>
                  <a:gd name="T0" fmla="*/ 68 w 68"/>
                  <a:gd name="T1" fmla="*/ 200 h 200"/>
                  <a:gd name="T2" fmla="*/ 46 w 68"/>
                  <a:gd name="T3" fmla="*/ 200 h 200"/>
                  <a:gd name="T4" fmla="*/ 46 w 68"/>
                  <a:gd name="T5" fmla="*/ 31 h 200"/>
                  <a:gd name="T6" fmla="*/ 38 w 68"/>
                  <a:gd name="T7" fmla="*/ 37 h 200"/>
                  <a:gd name="T8" fmla="*/ 27 w 68"/>
                  <a:gd name="T9" fmla="*/ 43 h 200"/>
                  <a:gd name="T10" fmla="*/ 14 w 68"/>
                  <a:gd name="T11" fmla="*/ 50 h 200"/>
                  <a:gd name="T12" fmla="*/ 0 w 68"/>
                  <a:gd name="T13" fmla="*/ 54 h 200"/>
                  <a:gd name="T14" fmla="*/ 0 w 68"/>
                  <a:gd name="T15" fmla="*/ 31 h 200"/>
                  <a:gd name="T16" fmla="*/ 16 w 68"/>
                  <a:gd name="T17" fmla="*/ 26 h 200"/>
                  <a:gd name="T18" fmla="*/ 32 w 68"/>
                  <a:gd name="T19" fmla="*/ 18 h 200"/>
                  <a:gd name="T20" fmla="*/ 47 w 68"/>
                  <a:gd name="T21" fmla="*/ 9 h 200"/>
                  <a:gd name="T22" fmla="*/ 60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6" y="200"/>
                      <a:pt x="46" y="200"/>
                      <a:pt x="46" y="200"/>
                    </a:cubicBezTo>
                    <a:cubicBezTo>
                      <a:pt x="46" y="31"/>
                      <a:pt x="46" y="31"/>
                      <a:pt x="46" y="31"/>
                    </a:cubicBezTo>
                    <a:cubicBezTo>
                      <a:pt x="44" y="33"/>
                      <a:pt x="41" y="35"/>
                      <a:pt x="38" y="37"/>
                    </a:cubicBezTo>
                    <a:cubicBezTo>
                      <a:pt x="35" y="39"/>
                      <a:pt x="31" y="41"/>
                      <a:pt x="27" y="43"/>
                    </a:cubicBezTo>
                    <a:cubicBezTo>
                      <a:pt x="23" y="46"/>
                      <a:pt x="18" y="48"/>
                      <a:pt x="14" y="50"/>
                    </a:cubicBezTo>
                    <a:cubicBezTo>
                      <a:pt x="9" y="52"/>
                      <a:pt x="5" y="53"/>
                      <a:pt x="0" y="54"/>
                    </a:cubicBezTo>
                    <a:cubicBezTo>
                      <a:pt x="0" y="31"/>
                      <a:pt x="0" y="31"/>
                      <a:pt x="0" y="31"/>
                    </a:cubicBezTo>
                    <a:cubicBezTo>
                      <a:pt x="5" y="30"/>
                      <a:pt x="10" y="28"/>
                      <a:pt x="16" y="26"/>
                    </a:cubicBezTo>
                    <a:cubicBezTo>
                      <a:pt x="21" y="24"/>
                      <a:pt x="27" y="21"/>
                      <a:pt x="32" y="18"/>
                    </a:cubicBezTo>
                    <a:cubicBezTo>
                      <a:pt x="38" y="15"/>
                      <a:pt x="43" y="12"/>
                      <a:pt x="47" y="9"/>
                    </a:cubicBezTo>
                    <a:cubicBezTo>
                      <a:pt x="52" y="6"/>
                      <a:pt x="56" y="3"/>
                      <a:pt x="60"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7" name="Freeform 164"/>
              <p:cNvSpPr>
                <a:spLocks/>
              </p:cNvSpPr>
              <p:nvPr userDrawn="1"/>
            </p:nvSpPr>
            <p:spPr bwMode="auto">
              <a:xfrm>
                <a:off x="2837" y="2562"/>
                <a:ext cx="83" cy="245"/>
              </a:xfrm>
              <a:custGeom>
                <a:avLst/>
                <a:gdLst>
                  <a:gd name="T0" fmla="*/ 68 w 68"/>
                  <a:gd name="T1" fmla="*/ 200 h 200"/>
                  <a:gd name="T2" fmla="*/ 45 w 68"/>
                  <a:gd name="T3" fmla="*/ 200 h 200"/>
                  <a:gd name="T4" fmla="*/ 45 w 68"/>
                  <a:gd name="T5" fmla="*/ 31 h 200"/>
                  <a:gd name="T6" fmla="*/ 38 w 68"/>
                  <a:gd name="T7" fmla="*/ 37 h 200"/>
                  <a:gd name="T8" fmla="*/ 26 w 68"/>
                  <a:gd name="T9" fmla="*/ 43 h 200"/>
                  <a:gd name="T10" fmla="*/ 13 w 68"/>
                  <a:gd name="T11" fmla="*/ 50 h 200"/>
                  <a:gd name="T12" fmla="*/ 0 w 68"/>
                  <a:gd name="T13" fmla="*/ 54 h 200"/>
                  <a:gd name="T14" fmla="*/ 0 w 68"/>
                  <a:gd name="T15" fmla="*/ 31 h 200"/>
                  <a:gd name="T16" fmla="*/ 15 w 68"/>
                  <a:gd name="T17" fmla="*/ 26 h 200"/>
                  <a:gd name="T18" fmla="*/ 32 w 68"/>
                  <a:gd name="T19" fmla="*/ 18 h 200"/>
                  <a:gd name="T20" fmla="*/ 47 w 68"/>
                  <a:gd name="T21" fmla="*/ 9 h 200"/>
                  <a:gd name="T22" fmla="*/ 59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5" y="200"/>
                      <a:pt x="45" y="200"/>
                      <a:pt x="45" y="200"/>
                    </a:cubicBezTo>
                    <a:cubicBezTo>
                      <a:pt x="45" y="31"/>
                      <a:pt x="45" y="31"/>
                      <a:pt x="45" y="31"/>
                    </a:cubicBezTo>
                    <a:cubicBezTo>
                      <a:pt x="43" y="33"/>
                      <a:pt x="41" y="35"/>
                      <a:pt x="38" y="37"/>
                    </a:cubicBezTo>
                    <a:cubicBezTo>
                      <a:pt x="34" y="39"/>
                      <a:pt x="31" y="41"/>
                      <a:pt x="26" y="43"/>
                    </a:cubicBezTo>
                    <a:cubicBezTo>
                      <a:pt x="22" y="46"/>
                      <a:pt x="18" y="48"/>
                      <a:pt x="13" y="50"/>
                    </a:cubicBezTo>
                    <a:cubicBezTo>
                      <a:pt x="9" y="52"/>
                      <a:pt x="4" y="53"/>
                      <a:pt x="0" y="54"/>
                    </a:cubicBezTo>
                    <a:cubicBezTo>
                      <a:pt x="0" y="31"/>
                      <a:pt x="0" y="31"/>
                      <a:pt x="0" y="31"/>
                    </a:cubicBezTo>
                    <a:cubicBezTo>
                      <a:pt x="5" y="30"/>
                      <a:pt x="10" y="28"/>
                      <a:pt x="15" y="26"/>
                    </a:cubicBezTo>
                    <a:cubicBezTo>
                      <a:pt x="21" y="24"/>
                      <a:pt x="26" y="21"/>
                      <a:pt x="32" y="18"/>
                    </a:cubicBezTo>
                    <a:cubicBezTo>
                      <a:pt x="37" y="15"/>
                      <a:pt x="42" y="12"/>
                      <a:pt x="47" y="9"/>
                    </a:cubicBezTo>
                    <a:cubicBezTo>
                      <a:pt x="52" y="6"/>
                      <a:pt x="56" y="3"/>
                      <a:pt x="59"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8" name="Freeform 165"/>
              <p:cNvSpPr>
                <a:spLocks noEditPoints="1"/>
              </p:cNvSpPr>
              <p:nvPr userDrawn="1"/>
            </p:nvSpPr>
            <p:spPr bwMode="auto">
              <a:xfrm>
                <a:off x="2985" y="2564"/>
                <a:ext cx="156" cy="248"/>
              </a:xfrm>
              <a:custGeom>
                <a:avLst/>
                <a:gdLst>
                  <a:gd name="T0" fmla="*/ 128 w 128"/>
                  <a:gd name="T1" fmla="*/ 100 h 203"/>
                  <a:gd name="T2" fmla="*/ 124 w 128"/>
                  <a:gd name="T3" fmla="*/ 144 h 203"/>
                  <a:gd name="T4" fmla="*/ 111 w 128"/>
                  <a:gd name="T5" fmla="*/ 176 h 203"/>
                  <a:gd name="T6" fmla="*/ 90 w 128"/>
                  <a:gd name="T7" fmla="*/ 196 h 203"/>
                  <a:gd name="T8" fmla="*/ 62 w 128"/>
                  <a:gd name="T9" fmla="*/ 203 h 203"/>
                  <a:gd name="T10" fmla="*/ 36 w 128"/>
                  <a:gd name="T11" fmla="*/ 196 h 203"/>
                  <a:gd name="T12" fmla="*/ 17 w 128"/>
                  <a:gd name="T13" fmla="*/ 177 h 203"/>
                  <a:gd name="T14" fmla="*/ 5 w 128"/>
                  <a:gd name="T15" fmla="*/ 147 h 203"/>
                  <a:gd name="T16" fmla="*/ 0 w 128"/>
                  <a:gd name="T17" fmla="*/ 105 h 203"/>
                  <a:gd name="T18" fmla="*/ 5 w 128"/>
                  <a:gd name="T19" fmla="*/ 60 h 203"/>
                  <a:gd name="T20" fmla="*/ 17 w 128"/>
                  <a:gd name="T21" fmla="*/ 27 h 203"/>
                  <a:gd name="T22" fmla="*/ 38 w 128"/>
                  <a:gd name="T23" fmla="*/ 7 h 203"/>
                  <a:gd name="T24" fmla="*/ 66 w 128"/>
                  <a:gd name="T25" fmla="*/ 0 h 203"/>
                  <a:gd name="T26" fmla="*/ 128 w 128"/>
                  <a:gd name="T27" fmla="*/ 100 h 203"/>
                  <a:gd name="T28" fmla="*/ 105 w 128"/>
                  <a:gd name="T29" fmla="*/ 103 h 203"/>
                  <a:gd name="T30" fmla="*/ 65 w 128"/>
                  <a:gd name="T31" fmla="*/ 19 h 203"/>
                  <a:gd name="T32" fmla="*/ 23 w 128"/>
                  <a:gd name="T33" fmla="*/ 104 h 203"/>
                  <a:gd name="T34" fmla="*/ 65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0"/>
                    </a:moveTo>
                    <a:cubicBezTo>
                      <a:pt x="128" y="117"/>
                      <a:pt x="127" y="131"/>
                      <a:pt x="124" y="144"/>
                    </a:cubicBezTo>
                    <a:cubicBezTo>
                      <a:pt x="121" y="157"/>
                      <a:pt x="116" y="167"/>
                      <a:pt x="111" y="176"/>
                    </a:cubicBezTo>
                    <a:cubicBezTo>
                      <a:pt x="105" y="185"/>
                      <a:pt x="98" y="191"/>
                      <a:pt x="90" y="196"/>
                    </a:cubicBezTo>
                    <a:cubicBezTo>
                      <a:pt x="82" y="200"/>
                      <a:pt x="73" y="203"/>
                      <a:pt x="62" y="203"/>
                    </a:cubicBezTo>
                    <a:cubicBezTo>
                      <a:pt x="52" y="203"/>
                      <a:pt x="44" y="201"/>
                      <a:pt x="36" y="196"/>
                    </a:cubicBezTo>
                    <a:cubicBezTo>
                      <a:pt x="28" y="192"/>
                      <a:pt x="22" y="186"/>
                      <a:pt x="17" y="177"/>
                    </a:cubicBezTo>
                    <a:cubicBezTo>
                      <a:pt x="11" y="169"/>
                      <a:pt x="7" y="159"/>
                      <a:pt x="5" y="147"/>
                    </a:cubicBezTo>
                    <a:cubicBezTo>
                      <a:pt x="2" y="135"/>
                      <a:pt x="0" y="121"/>
                      <a:pt x="0" y="105"/>
                    </a:cubicBezTo>
                    <a:cubicBezTo>
                      <a:pt x="0" y="88"/>
                      <a:pt x="2" y="73"/>
                      <a:pt x="5" y="60"/>
                    </a:cubicBezTo>
                    <a:cubicBezTo>
                      <a:pt x="8" y="47"/>
                      <a:pt x="12" y="36"/>
                      <a:pt x="17" y="27"/>
                    </a:cubicBezTo>
                    <a:cubicBezTo>
                      <a:pt x="23" y="18"/>
                      <a:pt x="30" y="11"/>
                      <a:pt x="38" y="7"/>
                    </a:cubicBezTo>
                    <a:cubicBezTo>
                      <a:pt x="46" y="2"/>
                      <a:pt x="56" y="0"/>
                      <a:pt x="66" y="0"/>
                    </a:cubicBezTo>
                    <a:cubicBezTo>
                      <a:pt x="108" y="0"/>
                      <a:pt x="128" y="33"/>
                      <a:pt x="128" y="100"/>
                    </a:cubicBezTo>
                    <a:close/>
                    <a:moveTo>
                      <a:pt x="105" y="103"/>
                    </a:moveTo>
                    <a:cubicBezTo>
                      <a:pt x="105" y="47"/>
                      <a:pt x="92" y="19"/>
                      <a:pt x="65" y="19"/>
                    </a:cubicBezTo>
                    <a:cubicBezTo>
                      <a:pt x="37" y="19"/>
                      <a:pt x="23" y="47"/>
                      <a:pt x="23" y="104"/>
                    </a:cubicBezTo>
                    <a:cubicBezTo>
                      <a:pt x="23" y="157"/>
                      <a:pt x="37" y="184"/>
                      <a:pt x="65" y="184"/>
                    </a:cubicBezTo>
                    <a:cubicBezTo>
                      <a:pt x="92"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9" name="Freeform 166"/>
              <p:cNvSpPr>
                <a:spLocks/>
              </p:cNvSpPr>
              <p:nvPr userDrawn="1"/>
            </p:nvSpPr>
            <p:spPr bwMode="auto">
              <a:xfrm>
                <a:off x="3182" y="2562"/>
                <a:ext cx="83" cy="245"/>
              </a:xfrm>
              <a:custGeom>
                <a:avLst/>
                <a:gdLst>
                  <a:gd name="T0" fmla="*/ 68 w 68"/>
                  <a:gd name="T1" fmla="*/ 200 h 200"/>
                  <a:gd name="T2" fmla="*/ 46 w 68"/>
                  <a:gd name="T3" fmla="*/ 200 h 200"/>
                  <a:gd name="T4" fmla="*/ 46 w 68"/>
                  <a:gd name="T5" fmla="*/ 31 h 200"/>
                  <a:gd name="T6" fmla="*/ 38 w 68"/>
                  <a:gd name="T7" fmla="*/ 37 h 200"/>
                  <a:gd name="T8" fmla="*/ 27 w 68"/>
                  <a:gd name="T9" fmla="*/ 43 h 200"/>
                  <a:gd name="T10" fmla="*/ 14 w 68"/>
                  <a:gd name="T11" fmla="*/ 50 h 200"/>
                  <a:gd name="T12" fmla="*/ 0 w 68"/>
                  <a:gd name="T13" fmla="*/ 54 h 200"/>
                  <a:gd name="T14" fmla="*/ 0 w 68"/>
                  <a:gd name="T15" fmla="*/ 31 h 200"/>
                  <a:gd name="T16" fmla="*/ 16 w 68"/>
                  <a:gd name="T17" fmla="*/ 26 h 200"/>
                  <a:gd name="T18" fmla="*/ 32 w 68"/>
                  <a:gd name="T19" fmla="*/ 18 h 200"/>
                  <a:gd name="T20" fmla="*/ 48 w 68"/>
                  <a:gd name="T21" fmla="*/ 9 h 200"/>
                  <a:gd name="T22" fmla="*/ 60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6" y="200"/>
                      <a:pt x="46" y="200"/>
                      <a:pt x="46" y="200"/>
                    </a:cubicBezTo>
                    <a:cubicBezTo>
                      <a:pt x="46" y="31"/>
                      <a:pt x="46" y="31"/>
                      <a:pt x="46" y="31"/>
                    </a:cubicBezTo>
                    <a:cubicBezTo>
                      <a:pt x="44" y="33"/>
                      <a:pt x="42" y="35"/>
                      <a:pt x="38" y="37"/>
                    </a:cubicBezTo>
                    <a:cubicBezTo>
                      <a:pt x="35" y="39"/>
                      <a:pt x="31" y="41"/>
                      <a:pt x="27" y="43"/>
                    </a:cubicBezTo>
                    <a:cubicBezTo>
                      <a:pt x="23" y="46"/>
                      <a:pt x="19" y="48"/>
                      <a:pt x="14" y="50"/>
                    </a:cubicBezTo>
                    <a:cubicBezTo>
                      <a:pt x="9" y="52"/>
                      <a:pt x="5" y="53"/>
                      <a:pt x="0" y="54"/>
                    </a:cubicBezTo>
                    <a:cubicBezTo>
                      <a:pt x="0" y="31"/>
                      <a:pt x="0" y="31"/>
                      <a:pt x="0" y="31"/>
                    </a:cubicBezTo>
                    <a:cubicBezTo>
                      <a:pt x="5" y="30"/>
                      <a:pt x="11" y="28"/>
                      <a:pt x="16" y="26"/>
                    </a:cubicBezTo>
                    <a:cubicBezTo>
                      <a:pt x="22" y="24"/>
                      <a:pt x="27" y="21"/>
                      <a:pt x="32" y="18"/>
                    </a:cubicBezTo>
                    <a:cubicBezTo>
                      <a:pt x="38" y="15"/>
                      <a:pt x="43" y="12"/>
                      <a:pt x="48" y="9"/>
                    </a:cubicBezTo>
                    <a:cubicBezTo>
                      <a:pt x="52" y="6"/>
                      <a:pt x="56" y="3"/>
                      <a:pt x="60"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0" name="Freeform 167"/>
              <p:cNvSpPr>
                <a:spLocks/>
              </p:cNvSpPr>
              <p:nvPr userDrawn="1"/>
            </p:nvSpPr>
            <p:spPr bwMode="auto">
              <a:xfrm>
                <a:off x="3332" y="2562"/>
                <a:ext cx="83" cy="245"/>
              </a:xfrm>
              <a:custGeom>
                <a:avLst/>
                <a:gdLst>
                  <a:gd name="T0" fmla="*/ 68 w 68"/>
                  <a:gd name="T1" fmla="*/ 200 h 200"/>
                  <a:gd name="T2" fmla="*/ 45 w 68"/>
                  <a:gd name="T3" fmla="*/ 200 h 200"/>
                  <a:gd name="T4" fmla="*/ 45 w 68"/>
                  <a:gd name="T5" fmla="*/ 31 h 200"/>
                  <a:gd name="T6" fmla="*/ 38 w 68"/>
                  <a:gd name="T7" fmla="*/ 37 h 200"/>
                  <a:gd name="T8" fmla="*/ 27 w 68"/>
                  <a:gd name="T9" fmla="*/ 43 h 200"/>
                  <a:gd name="T10" fmla="*/ 14 w 68"/>
                  <a:gd name="T11" fmla="*/ 50 h 200"/>
                  <a:gd name="T12" fmla="*/ 0 w 68"/>
                  <a:gd name="T13" fmla="*/ 54 h 200"/>
                  <a:gd name="T14" fmla="*/ 0 w 68"/>
                  <a:gd name="T15" fmla="*/ 31 h 200"/>
                  <a:gd name="T16" fmla="*/ 16 w 68"/>
                  <a:gd name="T17" fmla="*/ 26 h 200"/>
                  <a:gd name="T18" fmla="*/ 32 w 68"/>
                  <a:gd name="T19" fmla="*/ 18 h 200"/>
                  <a:gd name="T20" fmla="*/ 47 w 68"/>
                  <a:gd name="T21" fmla="*/ 9 h 200"/>
                  <a:gd name="T22" fmla="*/ 59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5" y="200"/>
                      <a:pt x="45" y="200"/>
                      <a:pt x="45" y="200"/>
                    </a:cubicBezTo>
                    <a:cubicBezTo>
                      <a:pt x="45" y="31"/>
                      <a:pt x="45" y="31"/>
                      <a:pt x="45" y="31"/>
                    </a:cubicBezTo>
                    <a:cubicBezTo>
                      <a:pt x="44" y="33"/>
                      <a:pt x="41" y="35"/>
                      <a:pt x="38" y="37"/>
                    </a:cubicBezTo>
                    <a:cubicBezTo>
                      <a:pt x="35" y="39"/>
                      <a:pt x="31" y="41"/>
                      <a:pt x="27" y="43"/>
                    </a:cubicBezTo>
                    <a:cubicBezTo>
                      <a:pt x="22" y="46"/>
                      <a:pt x="18" y="48"/>
                      <a:pt x="14" y="50"/>
                    </a:cubicBezTo>
                    <a:cubicBezTo>
                      <a:pt x="9" y="52"/>
                      <a:pt x="4" y="53"/>
                      <a:pt x="0" y="54"/>
                    </a:cubicBezTo>
                    <a:cubicBezTo>
                      <a:pt x="0" y="31"/>
                      <a:pt x="0" y="31"/>
                      <a:pt x="0" y="31"/>
                    </a:cubicBezTo>
                    <a:cubicBezTo>
                      <a:pt x="5" y="30"/>
                      <a:pt x="10" y="28"/>
                      <a:pt x="16" y="26"/>
                    </a:cubicBezTo>
                    <a:cubicBezTo>
                      <a:pt x="21" y="24"/>
                      <a:pt x="27" y="21"/>
                      <a:pt x="32" y="18"/>
                    </a:cubicBezTo>
                    <a:cubicBezTo>
                      <a:pt x="37" y="15"/>
                      <a:pt x="42" y="12"/>
                      <a:pt x="47" y="9"/>
                    </a:cubicBezTo>
                    <a:cubicBezTo>
                      <a:pt x="52" y="6"/>
                      <a:pt x="56" y="3"/>
                      <a:pt x="59"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1" name="Freeform 168"/>
              <p:cNvSpPr>
                <a:spLocks noEditPoints="1"/>
              </p:cNvSpPr>
              <p:nvPr userDrawn="1"/>
            </p:nvSpPr>
            <p:spPr bwMode="auto">
              <a:xfrm>
                <a:off x="3710" y="2564"/>
                <a:ext cx="156" cy="248"/>
              </a:xfrm>
              <a:custGeom>
                <a:avLst/>
                <a:gdLst>
                  <a:gd name="T0" fmla="*/ 128 w 128"/>
                  <a:gd name="T1" fmla="*/ 100 h 203"/>
                  <a:gd name="T2" fmla="*/ 123 w 128"/>
                  <a:gd name="T3" fmla="*/ 144 h 203"/>
                  <a:gd name="T4" fmla="*/ 111 w 128"/>
                  <a:gd name="T5" fmla="*/ 176 h 203"/>
                  <a:gd name="T6" fmla="*/ 90 w 128"/>
                  <a:gd name="T7" fmla="*/ 196 h 203"/>
                  <a:gd name="T8" fmla="*/ 62 w 128"/>
                  <a:gd name="T9" fmla="*/ 203 h 203"/>
                  <a:gd name="T10" fmla="*/ 36 w 128"/>
                  <a:gd name="T11" fmla="*/ 196 h 203"/>
                  <a:gd name="T12" fmla="*/ 16 w 128"/>
                  <a:gd name="T13" fmla="*/ 177 h 203"/>
                  <a:gd name="T14" fmla="*/ 4 w 128"/>
                  <a:gd name="T15" fmla="*/ 147 h 203"/>
                  <a:gd name="T16" fmla="*/ 0 w 128"/>
                  <a:gd name="T17" fmla="*/ 105 h 203"/>
                  <a:gd name="T18" fmla="*/ 4 w 128"/>
                  <a:gd name="T19" fmla="*/ 60 h 203"/>
                  <a:gd name="T20" fmla="*/ 17 w 128"/>
                  <a:gd name="T21" fmla="*/ 27 h 203"/>
                  <a:gd name="T22" fmla="*/ 38 w 128"/>
                  <a:gd name="T23" fmla="*/ 7 h 203"/>
                  <a:gd name="T24" fmla="*/ 66 w 128"/>
                  <a:gd name="T25" fmla="*/ 0 h 203"/>
                  <a:gd name="T26" fmla="*/ 128 w 128"/>
                  <a:gd name="T27" fmla="*/ 100 h 203"/>
                  <a:gd name="T28" fmla="*/ 105 w 128"/>
                  <a:gd name="T29" fmla="*/ 103 h 203"/>
                  <a:gd name="T30" fmla="*/ 65 w 128"/>
                  <a:gd name="T31" fmla="*/ 19 h 203"/>
                  <a:gd name="T32" fmla="*/ 23 w 128"/>
                  <a:gd name="T33" fmla="*/ 104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0"/>
                    </a:moveTo>
                    <a:cubicBezTo>
                      <a:pt x="128" y="117"/>
                      <a:pt x="126" y="131"/>
                      <a:pt x="123" y="144"/>
                    </a:cubicBezTo>
                    <a:cubicBezTo>
                      <a:pt x="120" y="157"/>
                      <a:pt x="116" y="167"/>
                      <a:pt x="111" y="176"/>
                    </a:cubicBezTo>
                    <a:cubicBezTo>
                      <a:pt x="105" y="185"/>
                      <a:pt x="98" y="191"/>
                      <a:pt x="90" y="196"/>
                    </a:cubicBezTo>
                    <a:cubicBezTo>
                      <a:pt x="82" y="200"/>
                      <a:pt x="72" y="203"/>
                      <a:pt x="62" y="203"/>
                    </a:cubicBezTo>
                    <a:cubicBezTo>
                      <a:pt x="52" y="203"/>
                      <a:pt x="43" y="201"/>
                      <a:pt x="36" y="196"/>
                    </a:cubicBezTo>
                    <a:cubicBezTo>
                      <a:pt x="28" y="192"/>
                      <a:pt x="22" y="186"/>
                      <a:pt x="16" y="177"/>
                    </a:cubicBezTo>
                    <a:cubicBezTo>
                      <a:pt x="11" y="169"/>
                      <a:pt x="7" y="159"/>
                      <a:pt x="4" y="147"/>
                    </a:cubicBezTo>
                    <a:cubicBezTo>
                      <a:pt x="2" y="135"/>
                      <a:pt x="0" y="121"/>
                      <a:pt x="0" y="105"/>
                    </a:cubicBezTo>
                    <a:cubicBezTo>
                      <a:pt x="0" y="88"/>
                      <a:pt x="2" y="73"/>
                      <a:pt x="4" y="60"/>
                    </a:cubicBezTo>
                    <a:cubicBezTo>
                      <a:pt x="7" y="47"/>
                      <a:pt x="12" y="36"/>
                      <a:pt x="17" y="27"/>
                    </a:cubicBezTo>
                    <a:cubicBezTo>
                      <a:pt x="23" y="18"/>
                      <a:pt x="30" y="11"/>
                      <a:pt x="38" y="7"/>
                    </a:cubicBezTo>
                    <a:cubicBezTo>
                      <a:pt x="46" y="2"/>
                      <a:pt x="56" y="0"/>
                      <a:pt x="66" y="0"/>
                    </a:cubicBezTo>
                    <a:cubicBezTo>
                      <a:pt x="107" y="0"/>
                      <a:pt x="128" y="33"/>
                      <a:pt x="128" y="100"/>
                    </a:cubicBezTo>
                    <a:close/>
                    <a:moveTo>
                      <a:pt x="105" y="103"/>
                    </a:moveTo>
                    <a:cubicBezTo>
                      <a:pt x="105" y="47"/>
                      <a:pt x="92" y="19"/>
                      <a:pt x="65" y="19"/>
                    </a:cubicBezTo>
                    <a:cubicBezTo>
                      <a:pt x="37" y="19"/>
                      <a:pt x="23" y="47"/>
                      <a:pt x="23" y="104"/>
                    </a:cubicBezTo>
                    <a:cubicBezTo>
                      <a:pt x="23" y="157"/>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2" name="Freeform 169"/>
              <p:cNvSpPr>
                <a:spLocks noEditPoints="1"/>
              </p:cNvSpPr>
              <p:nvPr userDrawn="1"/>
            </p:nvSpPr>
            <p:spPr bwMode="auto">
              <a:xfrm>
                <a:off x="3905" y="2564"/>
                <a:ext cx="156" cy="248"/>
              </a:xfrm>
              <a:custGeom>
                <a:avLst/>
                <a:gdLst>
                  <a:gd name="T0" fmla="*/ 128 w 128"/>
                  <a:gd name="T1" fmla="*/ 100 h 203"/>
                  <a:gd name="T2" fmla="*/ 123 w 128"/>
                  <a:gd name="T3" fmla="*/ 144 h 203"/>
                  <a:gd name="T4" fmla="*/ 111 w 128"/>
                  <a:gd name="T5" fmla="*/ 176 h 203"/>
                  <a:gd name="T6" fmla="*/ 90 w 128"/>
                  <a:gd name="T7" fmla="*/ 196 h 203"/>
                  <a:gd name="T8" fmla="*/ 62 w 128"/>
                  <a:gd name="T9" fmla="*/ 203 h 203"/>
                  <a:gd name="T10" fmla="*/ 36 w 128"/>
                  <a:gd name="T11" fmla="*/ 196 h 203"/>
                  <a:gd name="T12" fmla="*/ 16 w 128"/>
                  <a:gd name="T13" fmla="*/ 177 h 203"/>
                  <a:gd name="T14" fmla="*/ 4 w 128"/>
                  <a:gd name="T15" fmla="*/ 147 h 203"/>
                  <a:gd name="T16" fmla="*/ 0 w 128"/>
                  <a:gd name="T17" fmla="*/ 105 h 203"/>
                  <a:gd name="T18" fmla="*/ 4 w 128"/>
                  <a:gd name="T19" fmla="*/ 60 h 203"/>
                  <a:gd name="T20" fmla="*/ 17 w 128"/>
                  <a:gd name="T21" fmla="*/ 27 h 203"/>
                  <a:gd name="T22" fmla="*/ 38 w 128"/>
                  <a:gd name="T23" fmla="*/ 7 h 203"/>
                  <a:gd name="T24" fmla="*/ 66 w 128"/>
                  <a:gd name="T25" fmla="*/ 0 h 203"/>
                  <a:gd name="T26" fmla="*/ 128 w 128"/>
                  <a:gd name="T27" fmla="*/ 100 h 203"/>
                  <a:gd name="T28" fmla="*/ 105 w 128"/>
                  <a:gd name="T29" fmla="*/ 103 h 203"/>
                  <a:gd name="T30" fmla="*/ 65 w 128"/>
                  <a:gd name="T31" fmla="*/ 19 h 203"/>
                  <a:gd name="T32" fmla="*/ 23 w 128"/>
                  <a:gd name="T33" fmla="*/ 104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0"/>
                    </a:moveTo>
                    <a:cubicBezTo>
                      <a:pt x="128" y="117"/>
                      <a:pt x="126" y="131"/>
                      <a:pt x="123" y="144"/>
                    </a:cubicBezTo>
                    <a:cubicBezTo>
                      <a:pt x="120" y="157"/>
                      <a:pt x="116" y="167"/>
                      <a:pt x="111" y="176"/>
                    </a:cubicBezTo>
                    <a:cubicBezTo>
                      <a:pt x="105" y="185"/>
                      <a:pt x="98" y="191"/>
                      <a:pt x="90" y="196"/>
                    </a:cubicBezTo>
                    <a:cubicBezTo>
                      <a:pt x="82" y="200"/>
                      <a:pt x="72" y="203"/>
                      <a:pt x="62" y="203"/>
                    </a:cubicBezTo>
                    <a:cubicBezTo>
                      <a:pt x="52" y="203"/>
                      <a:pt x="43" y="201"/>
                      <a:pt x="36" y="196"/>
                    </a:cubicBezTo>
                    <a:cubicBezTo>
                      <a:pt x="28" y="192"/>
                      <a:pt x="22" y="186"/>
                      <a:pt x="16" y="177"/>
                    </a:cubicBezTo>
                    <a:cubicBezTo>
                      <a:pt x="11" y="169"/>
                      <a:pt x="7" y="159"/>
                      <a:pt x="4" y="147"/>
                    </a:cubicBezTo>
                    <a:cubicBezTo>
                      <a:pt x="2" y="135"/>
                      <a:pt x="0" y="121"/>
                      <a:pt x="0" y="105"/>
                    </a:cubicBezTo>
                    <a:cubicBezTo>
                      <a:pt x="0" y="88"/>
                      <a:pt x="2" y="73"/>
                      <a:pt x="4" y="60"/>
                    </a:cubicBezTo>
                    <a:cubicBezTo>
                      <a:pt x="7" y="47"/>
                      <a:pt x="12" y="36"/>
                      <a:pt x="17" y="27"/>
                    </a:cubicBezTo>
                    <a:cubicBezTo>
                      <a:pt x="23" y="18"/>
                      <a:pt x="30" y="11"/>
                      <a:pt x="38" y="7"/>
                    </a:cubicBezTo>
                    <a:cubicBezTo>
                      <a:pt x="46" y="2"/>
                      <a:pt x="56" y="0"/>
                      <a:pt x="66" y="0"/>
                    </a:cubicBezTo>
                    <a:cubicBezTo>
                      <a:pt x="107" y="0"/>
                      <a:pt x="128" y="33"/>
                      <a:pt x="128" y="100"/>
                    </a:cubicBezTo>
                    <a:close/>
                    <a:moveTo>
                      <a:pt x="105" y="103"/>
                    </a:moveTo>
                    <a:cubicBezTo>
                      <a:pt x="105" y="47"/>
                      <a:pt x="92" y="19"/>
                      <a:pt x="65" y="19"/>
                    </a:cubicBezTo>
                    <a:cubicBezTo>
                      <a:pt x="37" y="19"/>
                      <a:pt x="23" y="47"/>
                      <a:pt x="23" y="104"/>
                    </a:cubicBezTo>
                    <a:cubicBezTo>
                      <a:pt x="23" y="157"/>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3" name="Freeform 170"/>
              <p:cNvSpPr>
                <a:spLocks noEditPoints="1"/>
              </p:cNvSpPr>
              <p:nvPr userDrawn="1"/>
            </p:nvSpPr>
            <p:spPr bwMode="auto">
              <a:xfrm>
                <a:off x="4100" y="2564"/>
                <a:ext cx="156" cy="248"/>
              </a:xfrm>
              <a:custGeom>
                <a:avLst/>
                <a:gdLst>
                  <a:gd name="T0" fmla="*/ 128 w 128"/>
                  <a:gd name="T1" fmla="*/ 100 h 203"/>
                  <a:gd name="T2" fmla="*/ 123 w 128"/>
                  <a:gd name="T3" fmla="*/ 144 h 203"/>
                  <a:gd name="T4" fmla="*/ 111 w 128"/>
                  <a:gd name="T5" fmla="*/ 176 h 203"/>
                  <a:gd name="T6" fmla="*/ 90 w 128"/>
                  <a:gd name="T7" fmla="*/ 196 h 203"/>
                  <a:gd name="T8" fmla="*/ 62 w 128"/>
                  <a:gd name="T9" fmla="*/ 203 h 203"/>
                  <a:gd name="T10" fmla="*/ 36 w 128"/>
                  <a:gd name="T11" fmla="*/ 196 h 203"/>
                  <a:gd name="T12" fmla="*/ 16 w 128"/>
                  <a:gd name="T13" fmla="*/ 177 h 203"/>
                  <a:gd name="T14" fmla="*/ 4 w 128"/>
                  <a:gd name="T15" fmla="*/ 147 h 203"/>
                  <a:gd name="T16" fmla="*/ 0 w 128"/>
                  <a:gd name="T17" fmla="*/ 105 h 203"/>
                  <a:gd name="T18" fmla="*/ 4 w 128"/>
                  <a:gd name="T19" fmla="*/ 60 h 203"/>
                  <a:gd name="T20" fmla="*/ 17 w 128"/>
                  <a:gd name="T21" fmla="*/ 27 h 203"/>
                  <a:gd name="T22" fmla="*/ 38 w 128"/>
                  <a:gd name="T23" fmla="*/ 7 h 203"/>
                  <a:gd name="T24" fmla="*/ 66 w 128"/>
                  <a:gd name="T25" fmla="*/ 0 h 203"/>
                  <a:gd name="T26" fmla="*/ 128 w 128"/>
                  <a:gd name="T27" fmla="*/ 100 h 203"/>
                  <a:gd name="T28" fmla="*/ 105 w 128"/>
                  <a:gd name="T29" fmla="*/ 103 h 203"/>
                  <a:gd name="T30" fmla="*/ 65 w 128"/>
                  <a:gd name="T31" fmla="*/ 19 h 203"/>
                  <a:gd name="T32" fmla="*/ 23 w 128"/>
                  <a:gd name="T33" fmla="*/ 104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0"/>
                    </a:moveTo>
                    <a:cubicBezTo>
                      <a:pt x="128" y="117"/>
                      <a:pt x="126" y="131"/>
                      <a:pt x="123" y="144"/>
                    </a:cubicBezTo>
                    <a:cubicBezTo>
                      <a:pt x="120" y="157"/>
                      <a:pt x="116" y="167"/>
                      <a:pt x="111" y="176"/>
                    </a:cubicBezTo>
                    <a:cubicBezTo>
                      <a:pt x="105" y="185"/>
                      <a:pt x="98" y="191"/>
                      <a:pt x="90" y="196"/>
                    </a:cubicBezTo>
                    <a:cubicBezTo>
                      <a:pt x="82" y="200"/>
                      <a:pt x="72" y="203"/>
                      <a:pt x="62" y="203"/>
                    </a:cubicBezTo>
                    <a:cubicBezTo>
                      <a:pt x="52" y="203"/>
                      <a:pt x="43" y="201"/>
                      <a:pt x="36" y="196"/>
                    </a:cubicBezTo>
                    <a:cubicBezTo>
                      <a:pt x="28" y="192"/>
                      <a:pt x="22" y="186"/>
                      <a:pt x="16" y="177"/>
                    </a:cubicBezTo>
                    <a:cubicBezTo>
                      <a:pt x="11" y="169"/>
                      <a:pt x="7" y="159"/>
                      <a:pt x="4" y="147"/>
                    </a:cubicBezTo>
                    <a:cubicBezTo>
                      <a:pt x="1" y="135"/>
                      <a:pt x="0" y="121"/>
                      <a:pt x="0" y="105"/>
                    </a:cubicBezTo>
                    <a:cubicBezTo>
                      <a:pt x="0" y="88"/>
                      <a:pt x="2" y="73"/>
                      <a:pt x="4" y="60"/>
                    </a:cubicBezTo>
                    <a:cubicBezTo>
                      <a:pt x="7" y="47"/>
                      <a:pt x="12" y="36"/>
                      <a:pt x="17" y="27"/>
                    </a:cubicBezTo>
                    <a:cubicBezTo>
                      <a:pt x="23" y="18"/>
                      <a:pt x="30" y="11"/>
                      <a:pt x="38" y="7"/>
                    </a:cubicBezTo>
                    <a:cubicBezTo>
                      <a:pt x="46" y="2"/>
                      <a:pt x="55" y="0"/>
                      <a:pt x="66" y="0"/>
                    </a:cubicBezTo>
                    <a:cubicBezTo>
                      <a:pt x="107" y="0"/>
                      <a:pt x="128" y="33"/>
                      <a:pt x="128" y="100"/>
                    </a:cubicBezTo>
                    <a:close/>
                    <a:moveTo>
                      <a:pt x="105" y="103"/>
                    </a:moveTo>
                    <a:cubicBezTo>
                      <a:pt x="105" y="47"/>
                      <a:pt x="92" y="19"/>
                      <a:pt x="65" y="19"/>
                    </a:cubicBezTo>
                    <a:cubicBezTo>
                      <a:pt x="37" y="19"/>
                      <a:pt x="23" y="47"/>
                      <a:pt x="23" y="104"/>
                    </a:cubicBezTo>
                    <a:cubicBezTo>
                      <a:pt x="23" y="157"/>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4" name="Freeform 171"/>
              <p:cNvSpPr>
                <a:spLocks noEditPoints="1"/>
              </p:cNvSpPr>
              <p:nvPr userDrawn="1"/>
            </p:nvSpPr>
            <p:spPr bwMode="auto">
              <a:xfrm>
                <a:off x="4285" y="2567"/>
                <a:ext cx="189" cy="219"/>
              </a:xfrm>
              <a:custGeom>
                <a:avLst/>
                <a:gdLst>
                  <a:gd name="T0" fmla="*/ 189 w 189"/>
                  <a:gd name="T1" fmla="*/ 68 h 219"/>
                  <a:gd name="T2" fmla="*/ 184 w 189"/>
                  <a:gd name="T3" fmla="*/ 86 h 219"/>
                  <a:gd name="T4" fmla="*/ 141 w 189"/>
                  <a:gd name="T5" fmla="*/ 86 h 219"/>
                  <a:gd name="T6" fmla="*/ 130 w 189"/>
                  <a:gd name="T7" fmla="*/ 136 h 219"/>
                  <a:gd name="T8" fmla="*/ 178 w 189"/>
                  <a:gd name="T9" fmla="*/ 136 h 219"/>
                  <a:gd name="T10" fmla="*/ 173 w 189"/>
                  <a:gd name="T11" fmla="*/ 153 h 219"/>
                  <a:gd name="T12" fmla="*/ 127 w 189"/>
                  <a:gd name="T13" fmla="*/ 153 h 219"/>
                  <a:gd name="T14" fmla="*/ 112 w 189"/>
                  <a:gd name="T15" fmla="*/ 219 h 219"/>
                  <a:gd name="T16" fmla="*/ 91 w 189"/>
                  <a:gd name="T17" fmla="*/ 219 h 219"/>
                  <a:gd name="T18" fmla="*/ 106 w 189"/>
                  <a:gd name="T19" fmla="*/ 153 h 219"/>
                  <a:gd name="T20" fmla="*/ 65 w 189"/>
                  <a:gd name="T21" fmla="*/ 153 h 219"/>
                  <a:gd name="T22" fmla="*/ 50 w 189"/>
                  <a:gd name="T23" fmla="*/ 219 h 219"/>
                  <a:gd name="T24" fmla="*/ 29 w 189"/>
                  <a:gd name="T25" fmla="*/ 219 h 219"/>
                  <a:gd name="T26" fmla="*/ 43 w 189"/>
                  <a:gd name="T27" fmla="*/ 153 h 219"/>
                  <a:gd name="T28" fmla="*/ 0 w 189"/>
                  <a:gd name="T29" fmla="*/ 153 h 219"/>
                  <a:gd name="T30" fmla="*/ 3 w 189"/>
                  <a:gd name="T31" fmla="*/ 136 h 219"/>
                  <a:gd name="T32" fmla="*/ 48 w 189"/>
                  <a:gd name="T33" fmla="*/ 136 h 219"/>
                  <a:gd name="T34" fmla="*/ 57 w 189"/>
                  <a:gd name="T35" fmla="*/ 86 h 219"/>
                  <a:gd name="T36" fmla="*/ 11 w 189"/>
                  <a:gd name="T37" fmla="*/ 86 h 219"/>
                  <a:gd name="T38" fmla="*/ 15 w 189"/>
                  <a:gd name="T39" fmla="*/ 68 h 219"/>
                  <a:gd name="T40" fmla="*/ 61 w 189"/>
                  <a:gd name="T41" fmla="*/ 68 h 219"/>
                  <a:gd name="T42" fmla="*/ 74 w 189"/>
                  <a:gd name="T43" fmla="*/ 0 h 219"/>
                  <a:gd name="T44" fmla="*/ 96 w 189"/>
                  <a:gd name="T45" fmla="*/ 0 h 219"/>
                  <a:gd name="T46" fmla="*/ 82 w 189"/>
                  <a:gd name="T47" fmla="*/ 68 h 219"/>
                  <a:gd name="T48" fmla="*/ 124 w 189"/>
                  <a:gd name="T49" fmla="*/ 68 h 219"/>
                  <a:gd name="T50" fmla="*/ 138 w 189"/>
                  <a:gd name="T51" fmla="*/ 0 h 219"/>
                  <a:gd name="T52" fmla="*/ 159 w 189"/>
                  <a:gd name="T53" fmla="*/ 0 h 219"/>
                  <a:gd name="T54" fmla="*/ 145 w 189"/>
                  <a:gd name="T55" fmla="*/ 68 h 219"/>
                  <a:gd name="T56" fmla="*/ 189 w 189"/>
                  <a:gd name="T57" fmla="*/ 68 h 219"/>
                  <a:gd name="T58" fmla="*/ 121 w 189"/>
                  <a:gd name="T59" fmla="*/ 86 h 219"/>
                  <a:gd name="T60" fmla="*/ 78 w 189"/>
                  <a:gd name="T61" fmla="*/ 86 h 219"/>
                  <a:gd name="T62" fmla="*/ 67 w 189"/>
                  <a:gd name="T63" fmla="*/ 136 h 219"/>
                  <a:gd name="T64" fmla="*/ 110 w 189"/>
                  <a:gd name="T65" fmla="*/ 136 h 219"/>
                  <a:gd name="T66" fmla="*/ 121 w 189"/>
                  <a:gd name="T67" fmla="*/ 86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9" h="219">
                    <a:moveTo>
                      <a:pt x="189" y="68"/>
                    </a:moveTo>
                    <a:lnTo>
                      <a:pt x="184" y="86"/>
                    </a:lnTo>
                    <a:lnTo>
                      <a:pt x="141" y="86"/>
                    </a:lnTo>
                    <a:lnTo>
                      <a:pt x="130" y="136"/>
                    </a:lnTo>
                    <a:lnTo>
                      <a:pt x="178" y="136"/>
                    </a:lnTo>
                    <a:lnTo>
                      <a:pt x="173" y="153"/>
                    </a:lnTo>
                    <a:lnTo>
                      <a:pt x="127" y="153"/>
                    </a:lnTo>
                    <a:lnTo>
                      <a:pt x="112" y="219"/>
                    </a:lnTo>
                    <a:lnTo>
                      <a:pt x="91" y="219"/>
                    </a:lnTo>
                    <a:lnTo>
                      <a:pt x="106" y="153"/>
                    </a:lnTo>
                    <a:lnTo>
                      <a:pt x="65" y="153"/>
                    </a:lnTo>
                    <a:lnTo>
                      <a:pt x="50" y="219"/>
                    </a:lnTo>
                    <a:lnTo>
                      <a:pt x="29" y="219"/>
                    </a:lnTo>
                    <a:lnTo>
                      <a:pt x="43" y="153"/>
                    </a:lnTo>
                    <a:lnTo>
                      <a:pt x="0" y="153"/>
                    </a:lnTo>
                    <a:lnTo>
                      <a:pt x="3" y="136"/>
                    </a:lnTo>
                    <a:lnTo>
                      <a:pt x="48" y="136"/>
                    </a:lnTo>
                    <a:lnTo>
                      <a:pt x="57" y="86"/>
                    </a:lnTo>
                    <a:lnTo>
                      <a:pt x="11" y="86"/>
                    </a:lnTo>
                    <a:lnTo>
                      <a:pt x="15" y="68"/>
                    </a:lnTo>
                    <a:lnTo>
                      <a:pt x="61" y="68"/>
                    </a:lnTo>
                    <a:lnTo>
                      <a:pt x="74" y="0"/>
                    </a:lnTo>
                    <a:lnTo>
                      <a:pt x="96" y="0"/>
                    </a:lnTo>
                    <a:lnTo>
                      <a:pt x="82" y="68"/>
                    </a:lnTo>
                    <a:lnTo>
                      <a:pt x="124" y="68"/>
                    </a:lnTo>
                    <a:lnTo>
                      <a:pt x="138" y="0"/>
                    </a:lnTo>
                    <a:lnTo>
                      <a:pt x="159" y="0"/>
                    </a:lnTo>
                    <a:lnTo>
                      <a:pt x="145" y="68"/>
                    </a:lnTo>
                    <a:lnTo>
                      <a:pt x="189" y="68"/>
                    </a:lnTo>
                    <a:close/>
                    <a:moveTo>
                      <a:pt x="121" y="86"/>
                    </a:moveTo>
                    <a:lnTo>
                      <a:pt x="78" y="86"/>
                    </a:lnTo>
                    <a:lnTo>
                      <a:pt x="67" y="136"/>
                    </a:lnTo>
                    <a:lnTo>
                      <a:pt x="110" y="136"/>
                    </a:lnTo>
                    <a:lnTo>
                      <a:pt x="121" y="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5" name="Freeform 172"/>
              <p:cNvSpPr>
                <a:spLocks noEditPoints="1"/>
              </p:cNvSpPr>
              <p:nvPr userDrawn="1"/>
            </p:nvSpPr>
            <p:spPr bwMode="auto">
              <a:xfrm>
                <a:off x="4502" y="2564"/>
                <a:ext cx="156" cy="248"/>
              </a:xfrm>
              <a:custGeom>
                <a:avLst/>
                <a:gdLst>
                  <a:gd name="T0" fmla="*/ 128 w 128"/>
                  <a:gd name="T1" fmla="*/ 100 h 203"/>
                  <a:gd name="T2" fmla="*/ 123 w 128"/>
                  <a:gd name="T3" fmla="*/ 144 h 203"/>
                  <a:gd name="T4" fmla="*/ 110 w 128"/>
                  <a:gd name="T5" fmla="*/ 176 h 203"/>
                  <a:gd name="T6" fmla="*/ 90 w 128"/>
                  <a:gd name="T7" fmla="*/ 196 h 203"/>
                  <a:gd name="T8" fmla="*/ 62 w 128"/>
                  <a:gd name="T9" fmla="*/ 203 h 203"/>
                  <a:gd name="T10" fmla="*/ 36 w 128"/>
                  <a:gd name="T11" fmla="*/ 196 h 203"/>
                  <a:gd name="T12" fmla="*/ 16 w 128"/>
                  <a:gd name="T13" fmla="*/ 177 h 203"/>
                  <a:gd name="T14" fmla="*/ 4 w 128"/>
                  <a:gd name="T15" fmla="*/ 147 h 203"/>
                  <a:gd name="T16" fmla="*/ 0 w 128"/>
                  <a:gd name="T17" fmla="*/ 105 h 203"/>
                  <a:gd name="T18" fmla="*/ 4 w 128"/>
                  <a:gd name="T19" fmla="*/ 60 h 203"/>
                  <a:gd name="T20" fmla="*/ 17 w 128"/>
                  <a:gd name="T21" fmla="*/ 27 h 203"/>
                  <a:gd name="T22" fmla="*/ 38 w 128"/>
                  <a:gd name="T23" fmla="*/ 7 h 203"/>
                  <a:gd name="T24" fmla="*/ 66 w 128"/>
                  <a:gd name="T25" fmla="*/ 0 h 203"/>
                  <a:gd name="T26" fmla="*/ 128 w 128"/>
                  <a:gd name="T27" fmla="*/ 100 h 203"/>
                  <a:gd name="T28" fmla="*/ 105 w 128"/>
                  <a:gd name="T29" fmla="*/ 103 h 203"/>
                  <a:gd name="T30" fmla="*/ 65 w 128"/>
                  <a:gd name="T31" fmla="*/ 19 h 203"/>
                  <a:gd name="T32" fmla="*/ 23 w 128"/>
                  <a:gd name="T33" fmla="*/ 104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0"/>
                    </a:moveTo>
                    <a:cubicBezTo>
                      <a:pt x="128" y="117"/>
                      <a:pt x="126" y="131"/>
                      <a:pt x="123" y="144"/>
                    </a:cubicBezTo>
                    <a:cubicBezTo>
                      <a:pt x="120" y="157"/>
                      <a:pt x="116" y="167"/>
                      <a:pt x="110" y="176"/>
                    </a:cubicBezTo>
                    <a:cubicBezTo>
                      <a:pt x="105" y="185"/>
                      <a:pt x="98" y="191"/>
                      <a:pt x="90" y="196"/>
                    </a:cubicBezTo>
                    <a:cubicBezTo>
                      <a:pt x="82" y="200"/>
                      <a:pt x="72" y="203"/>
                      <a:pt x="62" y="203"/>
                    </a:cubicBezTo>
                    <a:cubicBezTo>
                      <a:pt x="52" y="203"/>
                      <a:pt x="43" y="201"/>
                      <a:pt x="36" y="196"/>
                    </a:cubicBezTo>
                    <a:cubicBezTo>
                      <a:pt x="28" y="192"/>
                      <a:pt x="21" y="186"/>
                      <a:pt x="16" y="177"/>
                    </a:cubicBezTo>
                    <a:cubicBezTo>
                      <a:pt x="11" y="169"/>
                      <a:pt x="7" y="159"/>
                      <a:pt x="4" y="147"/>
                    </a:cubicBezTo>
                    <a:cubicBezTo>
                      <a:pt x="1" y="135"/>
                      <a:pt x="0" y="121"/>
                      <a:pt x="0" y="105"/>
                    </a:cubicBezTo>
                    <a:cubicBezTo>
                      <a:pt x="0" y="88"/>
                      <a:pt x="1" y="73"/>
                      <a:pt x="4" y="60"/>
                    </a:cubicBezTo>
                    <a:cubicBezTo>
                      <a:pt x="7" y="47"/>
                      <a:pt x="11" y="36"/>
                      <a:pt x="17" y="27"/>
                    </a:cubicBezTo>
                    <a:cubicBezTo>
                      <a:pt x="22" y="18"/>
                      <a:pt x="29" y="11"/>
                      <a:pt x="38" y="7"/>
                    </a:cubicBezTo>
                    <a:cubicBezTo>
                      <a:pt x="46" y="2"/>
                      <a:pt x="55" y="0"/>
                      <a:pt x="66" y="0"/>
                    </a:cubicBezTo>
                    <a:cubicBezTo>
                      <a:pt x="107" y="0"/>
                      <a:pt x="128" y="33"/>
                      <a:pt x="128" y="100"/>
                    </a:cubicBezTo>
                    <a:close/>
                    <a:moveTo>
                      <a:pt x="105" y="103"/>
                    </a:moveTo>
                    <a:cubicBezTo>
                      <a:pt x="105" y="47"/>
                      <a:pt x="91" y="19"/>
                      <a:pt x="65" y="19"/>
                    </a:cubicBezTo>
                    <a:cubicBezTo>
                      <a:pt x="37" y="19"/>
                      <a:pt x="23" y="47"/>
                      <a:pt x="23" y="104"/>
                    </a:cubicBezTo>
                    <a:cubicBezTo>
                      <a:pt x="23" y="157"/>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6" name="Freeform 173"/>
              <p:cNvSpPr>
                <a:spLocks noEditPoints="1"/>
              </p:cNvSpPr>
              <p:nvPr userDrawn="1"/>
            </p:nvSpPr>
            <p:spPr bwMode="auto">
              <a:xfrm>
                <a:off x="4697" y="2564"/>
                <a:ext cx="156" cy="248"/>
              </a:xfrm>
              <a:custGeom>
                <a:avLst/>
                <a:gdLst>
                  <a:gd name="T0" fmla="*/ 128 w 128"/>
                  <a:gd name="T1" fmla="*/ 100 h 203"/>
                  <a:gd name="T2" fmla="*/ 123 w 128"/>
                  <a:gd name="T3" fmla="*/ 144 h 203"/>
                  <a:gd name="T4" fmla="*/ 110 w 128"/>
                  <a:gd name="T5" fmla="*/ 176 h 203"/>
                  <a:gd name="T6" fmla="*/ 90 w 128"/>
                  <a:gd name="T7" fmla="*/ 196 h 203"/>
                  <a:gd name="T8" fmla="*/ 62 w 128"/>
                  <a:gd name="T9" fmla="*/ 203 h 203"/>
                  <a:gd name="T10" fmla="*/ 36 w 128"/>
                  <a:gd name="T11" fmla="*/ 196 h 203"/>
                  <a:gd name="T12" fmla="*/ 16 w 128"/>
                  <a:gd name="T13" fmla="*/ 177 h 203"/>
                  <a:gd name="T14" fmla="*/ 4 w 128"/>
                  <a:gd name="T15" fmla="*/ 147 h 203"/>
                  <a:gd name="T16" fmla="*/ 0 w 128"/>
                  <a:gd name="T17" fmla="*/ 105 h 203"/>
                  <a:gd name="T18" fmla="*/ 4 w 128"/>
                  <a:gd name="T19" fmla="*/ 60 h 203"/>
                  <a:gd name="T20" fmla="*/ 17 w 128"/>
                  <a:gd name="T21" fmla="*/ 27 h 203"/>
                  <a:gd name="T22" fmla="*/ 38 w 128"/>
                  <a:gd name="T23" fmla="*/ 7 h 203"/>
                  <a:gd name="T24" fmla="*/ 66 w 128"/>
                  <a:gd name="T25" fmla="*/ 0 h 203"/>
                  <a:gd name="T26" fmla="*/ 128 w 128"/>
                  <a:gd name="T27" fmla="*/ 100 h 203"/>
                  <a:gd name="T28" fmla="*/ 105 w 128"/>
                  <a:gd name="T29" fmla="*/ 103 h 203"/>
                  <a:gd name="T30" fmla="*/ 65 w 128"/>
                  <a:gd name="T31" fmla="*/ 19 h 203"/>
                  <a:gd name="T32" fmla="*/ 23 w 128"/>
                  <a:gd name="T33" fmla="*/ 104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0"/>
                    </a:moveTo>
                    <a:cubicBezTo>
                      <a:pt x="128" y="117"/>
                      <a:pt x="126" y="131"/>
                      <a:pt x="123" y="144"/>
                    </a:cubicBezTo>
                    <a:cubicBezTo>
                      <a:pt x="120" y="157"/>
                      <a:pt x="116" y="167"/>
                      <a:pt x="110" y="176"/>
                    </a:cubicBezTo>
                    <a:cubicBezTo>
                      <a:pt x="105" y="185"/>
                      <a:pt x="98" y="191"/>
                      <a:pt x="90" y="196"/>
                    </a:cubicBezTo>
                    <a:cubicBezTo>
                      <a:pt x="82" y="200"/>
                      <a:pt x="72" y="203"/>
                      <a:pt x="62" y="203"/>
                    </a:cubicBezTo>
                    <a:cubicBezTo>
                      <a:pt x="52" y="203"/>
                      <a:pt x="43" y="201"/>
                      <a:pt x="36" y="196"/>
                    </a:cubicBezTo>
                    <a:cubicBezTo>
                      <a:pt x="28" y="192"/>
                      <a:pt x="21" y="186"/>
                      <a:pt x="16" y="177"/>
                    </a:cubicBezTo>
                    <a:cubicBezTo>
                      <a:pt x="11" y="169"/>
                      <a:pt x="7" y="159"/>
                      <a:pt x="4" y="147"/>
                    </a:cubicBezTo>
                    <a:cubicBezTo>
                      <a:pt x="1" y="135"/>
                      <a:pt x="0" y="121"/>
                      <a:pt x="0" y="105"/>
                    </a:cubicBezTo>
                    <a:cubicBezTo>
                      <a:pt x="0" y="88"/>
                      <a:pt x="1" y="73"/>
                      <a:pt x="4" y="60"/>
                    </a:cubicBezTo>
                    <a:cubicBezTo>
                      <a:pt x="7" y="47"/>
                      <a:pt x="11" y="36"/>
                      <a:pt x="17" y="27"/>
                    </a:cubicBezTo>
                    <a:cubicBezTo>
                      <a:pt x="22" y="18"/>
                      <a:pt x="29" y="11"/>
                      <a:pt x="38" y="7"/>
                    </a:cubicBezTo>
                    <a:cubicBezTo>
                      <a:pt x="46" y="2"/>
                      <a:pt x="55" y="0"/>
                      <a:pt x="66" y="0"/>
                    </a:cubicBezTo>
                    <a:cubicBezTo>
                      <a:pt x="107" y="0"/>
                      <a:pt x="128" y="33"/>
                      <a:pt x="128" y="100"/>
                    </a:cubicBezTo>
                    <a:close/>
                    <a:moveTo>
                      <a:pt x="105" y="103"/>
                    </a:moveTo>
                    <a:cubicBezTo>
                      <a:pt x="105" y="47"/>
                      <a:pt x="91" y="19"/>
                      <a:pt x="65" y="19"/>
                    </a:cubicBezTo>
                    <a:cubicBezTo>
                      <a:pt x="37" y="19"/>
                      <a:pt x="23" y="47"/>
                      <a:pt x="23" y="104"/>
                    </a:cubicBezTo>
                    <a:cubicBezTo>
                      <a:pt x="23" y="157"/>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7" name="Freeform 174"/>
              <p:cNvSpPr>
                <a:spLocks/>
              </p:cNvSpPr>
              <p:nvPr userDrawn="1"/>
            </p:nvSpPr>
            <p:spPr bwMode="auto">
              <a:xfrm>
                <a:off x="4894" y="2562"/>
                <a:ext cx="83" cy="245"/>
              </a:xfrm>
              <a:custGeom>
                <a:avLst/>
                <a:gdLst>
                  <a:gd name="T0" fmla="*/ 68 w 68"/>
                  <a:gd name="T1" fmla="*/ 200 h 200"/>
                  <a:gd name="T2" fmla="*/ 45 w 68"/>
                  <a:gd name="T3" fmla="*/ 200 h 200"/>
                  <a:gd name="T4" fmla="*/ 45 w 68"/>
                  <a:gd name="T5" fmla="*/ 31 h 200"/>
                  <a:gd name="T6" fmla="*/ 38 w 68"/>
                  <a:gd name="T7" fmla="*/ 37 h 200"/>
                  <a:gd name="T8" fmla="*/ 27 w 68"/>
                  <a:gd name="T9" fmla="*/ 43 h 200"/>
                  <a:gd name="T10" fmla="*/ 13 w 68"/>
                  <a:gd name="T11" fmla="*/ 50 h 200"/>
                  <a:gd name="T12" fmla="*/ 0 w 68"/>
                  <a:gd name="T13" fmla="*/ 54 h 200"/>
                  <a:gd name="T14" fmla="*/ 0 w 68"/>
                  <a:gd name="T15" fmla="*/ 31 h 200"/>
                  <a:gd name="T16" fmla="*/ 16 w 68"/>
                  <a:gd name="T17" fmla="*/ 26 h 200"/>
                  <a:gd name="T18" fmla="*/ 32 w 68"/>
                  <a:gd name="T19" fmla="*/ 18 h 200"/>
                  <a:gd name="T20" fmla="*/ 47 w 68"/>
                  <a:gd name="T21" fmla="*/ 9 h 200"/>
                  <a:gd name="T22" fmla="*/ 59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5" y="200"/>
                      <a:pt x="45" y="200"/>
                      <a:pt x="45" y="200"/>
                    </a:cubicBezTo>
                    <a:cubicBezTo>
                      <a:pt x="45" y="31"/>
                      <a:pt x="45" y="31"/>
                      <a:pt x="45" y="31"/>
                    </a:cubicBezTo>
                    <a:cubicBezTo>
                      <a:pt x="44" y="33"/>
                      <a:pt x="41" y="35"/>
                      <a:pt x="38" y="37"/>
                    </a:cubicBezTo>
                    <a:cubicBezTo>
                      <a:pt x="34" y="39"/>
                      <a:pt x="31" y="41"/>
                      <a:pt x="27" y="43"/>
                    </a:cubicBezTo>
                    <a:cubicBezTo>
                      <a:pt x="22" y="46"/>
                      <a:pt x="18" y="48"/>
                      <a:pt x="13" y="50"/>
                    </a:cubicBezTo>
                    <a:cubicBezTo>
                      <a:pt x="9" y="52"/>
                      <a:pt x="4" y="53"/>
                      <a:pt x="0" y="54"/>
                    </a:cubicBezTo>
                    <a:cubicBezTo>
                      <a:pt x="0" y="31"/>
                      <a:pt x="0" y="31"/>
                      <a:pt x="0" y="31"/>
                    </a:cubicBezTo>
                    <a:cubicBezTo>
                      <a:pt x="5" y="30"/>
                      <a:pt x="10" y="28"/>
                      <a:pt x="16" y="26"/>
                    </a:cubicBezTo>
                    <a:cubicBezTo>
                      <a:pt x="21" y="24"/>
                      <a:pt x="27" y="21"/>
                      <a:pt x="32" y="18"/>
                    </a:cubicBezTo>
                    <a:cubicBezTo>
                      <a:pt x="37" y="15"/>
                      <a:pt x="42" y="12"/>
                      <a:pt x="47" y="9"/>
                    </a:cubicBezTo>
                    <a:cubicBezTo>
                      <a:pt x="52" y="6"/>
                      <a:pt x="56" y="3"/>
                      <a:pt x="59"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8" name="Freeform 175"/>
              <p:cNvSpPr>
                <a:spLocks noEditPoints="1"/>
              </p:cNvSpPr>
              <p:nvPr userDrawn="1"/>
            </p:nvSpPr>
            <p:spPr bwMode="auto">
              <a:xfrm>
                <a:off x="5043" y="2564"/>
                <a:ext cx="155" cy="248"/>
              </a:xfrm>
              <a:custGeom>
                <a:avLst/>
                <a:gdLst>
                  <a:gd name="T0" fmla="*/ 127 w 127"/>
                  <a:gd name="T1" fmla="*/ 100 h 203"/>
                  <a:gd name="T2" fmla="*/ 123 w 127"/>
                  <a:gd name="T3" fmla="*/ 144 h 203"/>
                  <a:gd name="T4" fmla="*/ 110 w 127"/>
                  <a:gd name="T5" fmla="*/ 176 h 203"/>
                  <a:gd name="T6" fmla="*/ 89 w 127"/>
                  <a:gd name="T7" fmla="*/ 196 h 203"/>
                  <a:gd name="T8" fmla="*/ 62 w 127"/>
                  <a:gd name="T9" fmla="*/ 203 h 203"/>
                  <a:gd name="T10" fmla="*/ 35 w 127"/>
                  <a:gd name="T11" fmla="*/ 196 h 203"/>
                  <a:gd name="T12" fmla="*/ 16 w 127"/>
                  <a:gd name="T13" fmla="*/ 177 h 203"/>
                  <a:gd name="T14" fmla="*/ 4 w 127"/>
                  <a:gd name="T15" fmla="*/ 147 h 203"/>
                  <a:gd name="T16" fmla="*/ 0 w 127"/>
                  <a:gd name="T17" fmla="*/ 105 h 203"/>
                  <a:gd name="T18" fmla="*/ 4 w 127"/>
                  <a:gd name="T19" fmla="*/ 60 h 203"/>
                  <a:gd name="T20" fmla="*/ 17 w 127"/>
                  <a:gd name="T21" fmla="*/ 27 h 203"/>
                  <a:gd name="T22" fmla="*/ 37 w 127"/>
                  <a:gd name="T23" fmla="*/ 7 h 203"/>
                  <a:gd name="T24" fmla="*/ 66 w 127"/>
                  <a:gd name="T25" fmla="*/ 0 h 203"/>
                  <a:gd name="T26" fmla="*/ 127 w 127"/>
                  <a:gd name="T27" fmla="*/ 100 h 203"/>
                  <a:gd name="T28" fmla="*/ 104 w 127"/>
                  <a:gd name="T29" fmla="*/ 103 h 203"/>
                  <a:gd name="T30" fmla="*/ 65 w 127"/>
                  <a:gd name="T31" fmla="*/ 19 h 203"/>
                  <a:gd name="T32" fmla="*/ 23 w 127"/>
                  <a:gd name="T33" fmla="*/ 104 h 203"/>
                  <a:gd name="T34" fmla="*/ 64 w 127"/>
                  <a:gd name="T35" fmla="*/ 184 h 203"/>
                  <a:gd name="T36" fmla="*/ 104 w 127"/>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7" h="203">
                    <a:moveTo>
                      <a:pt x="127" y="100"/>
                    </a:moveTo>
                    <a:cubicBezTo>
                      <a:pt x="127" y="117"/>
                      <a:pt x="126" y="131"/>
                      <a:pt x="123" y="144"/>
                    </a:cubicBezTo>
                    <a:cubicBezTo>
                      <a:pt x="120" y="157"/>
                      <a:pt x="116" y="167"/>
                      <a:pt x="110" y="176"/>
                    </a:cubicBezTo>
                    <a:cubicBezTo>
                      <a:pt x="104" y="185"/>
                      <a:pt x="98" y="191"/>
                      <a:pt x="89" y="196"/>
                    </a:cubicBezTo>
                    <a:cubicBezTo>
                      <a:pt x="81" y="200"/>
                      <a:pt x="72" y="203"/>
                      <a:pt x="62" y="203"/>
                    </a:cubicBezTo>
                    <a:cubicBezTo>
                      <a:pt x="52" y="203"/>
                      <a:pt x="43" y="201"/>
                      <a:pt x="35" y="196"/>
                    </a:cubicBezTo>
                    <a:cubicBezTo>
                      <a:pt x="28" y="192"/>
                      <a:pt x="21" y="186"/>
                      <a:pt x="16" y="177"/>
                    </a:cubicBezTo>
                    <a:cubicBezTo>
                      <a:pt x="10" y="169"/>
                      <a:pt x="6" y="159"/>
                      <a:pt x="4" y="147"/>
                    </a:cubicBezTo>
                    <a:cubicBezTo>
                      <a:pt x="1" y="135"/>
                      <a:pt x="0" y="121"/>
                      <a:pt x="0" y="105"/>
                    </a:cubicBezTo>
                    <a:cubicBezTo>
                      <a:pt x="0" y="88"/>
                      <a:pt x="1" y="73"/>
                      <a:pt x="4" y="60"/>
                    </a:cubicBezTo>
                    <a:cubicBezTo>
                      <a:pt x="7" y="47"/>
                      <a:pt x="11" y="36"/>
                      <a:pt x="17" y="27"/>
                    </a:cubicBezTo>
                    <a:cubicBezTo>
                      <a:pt x="22" y="18"/>
                      <a:pt x="29" y="11"/>
                      <a:pt x="37" y="7"/>
                    </a:cubicBezTo>
                    <a:cubicBezTo>
                      <a:pt x="46" y="2"/>
                      <a:pt x="55" y="0"/>
                      <a:pt x="66" y="0"/>
                    </a:cubicBezTo>
                    <a:cubicBezTo>
                      <a:pt x="107" y="0"/>
                      <a:pt x="127" y="33"/>
                      <a:pt x="127" y="100"/>
                    </a:cubicBezTo>
                    <a:close/>
                    <a:moveTo>
                      <a:pt x="104" y="103"/>
                    </a:moveTo>
                    <a:cubicBezTo>
                      <a:pt x="104" y="47"/>
                      <a:pt x="91" y="19"/>
                      <a:pt x="65" y="19"/>
                    </a:cubicBezTo>
                    <a:cubicBezTo>
                      <a:pt x="37" y="19"/>
                      <a:pt x="23" y="47"/>
                      <a:pt x="23" y="104"/>
                    </a:cubicBezTo>
                    <a:cubicBezTo>
                      <a:pt x="23" y="157"/>
                      <a:pt x="36" y="184"/>
                      <a:pt x="64" y="184"/>
                    </a:cubicBezTo>
                    <a:cubicBezTo>
                      <a:pt x="91" y="184"/>
                      <a:pt x="104" y="157"/>
                      <a:pt x="104"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9" name="Freeform 176"/>
              <p:cNvSpPr>
                <a:spLocks/>
              </p:cNvSpPr>
              <p:nvPr userDrawn="1"/>
            </p:nvSpPr>
            <p:spPr bwMode="auto">
              <a:xfrm>
                <a:off x="5241" y="2562"/>
                <a:ext cx="82" cy="245"/>
              </a:xfrm>
              <a:custGeom>
                <a:avLst/>
                <a:gdLst>
                  <a:gd name="T0" fmla="*/ 68 w 68"/>
                  <a:gd name="T1" fmla="*/ 200 h 200"/>
                  <a:gd name="T2" fmla="*/ 45 w 68"/>
                  <a:gd name="T3" fmla="*/ 200 h 200"/>
                  <a:gd name="T4" fmla="*/ 45 w 68"/>
                  <a:gd name="T5" fmla="*/ 31 h 200"/>
                  <a:gd name="T6" fmla="*/ 38 w 68"/>
                  <a:gd name="T7" fmla="*/ 37 h 200"/>
                  <a:gd name="T8" fmla="*/ 26 w 68"/>
                  <a:gd name="T9" fmla="*/ 43 h 200"/>
                  <a:gd name="T10" fmla="*/ 13 w 68"/>
                  <a:gd name="T11" fmla="*/ 50 h 200"/>
                  <a:gd name="T12" fmla="*/ 0 w 68"/>
                  <a:gd name="T13" fmla="*/ 54 h 200"/>
                  <a:gd name="T14" fmla="*/ 0 w 68"/>
                  <a:gd name="T15" fmla="*/ 31 h 200"/>
                  <a:gd name="T16" fmla="*/ 15 w 68"/>
                  <a:gd name="T17" fmla="*/ 26 h 200"/>
                  <a:gd name="T18" fmla="*/ 32 w 68"/>
                  <a:gd name="T19" fmla="*/ 18 h 200"/>
                  <a:gd name="T20" fmla="*/ 47 w 68"/>
                  <a:gd name="T21" fmla="*/ 9 h 200"/>
                  <a:gd name="T22" fmla="*/ 59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5" y="200"/>
                      <a:pt x="45" y="200"/>
                      <a:pt x="45" y="200"/>
                    </a:cubicBezTo>
                    <a:cubicBezTo>
                      <a:pt x="45" y="31"/>
                      <a:pt x="45" y="31"/>
                      <a:pt x="45" y="31"/>
                    </a:cubicBezTo>
                    <a:cubicBezTo>
                      <a:pt x="43" y="33"/>
                      <a:pt x="41" y="35"/>
                      <a:pt x="38" y="37"/>
                    </a:cubicBezTo>
                    <a:cubicBezTo>
                      <a:pt x="34" y="39"/>
                      <a:pt x="30" y="41"/>
                      <a:pt x="26" y="43"/>
                    </a:cubicBezTo>
                    <a:cubicBezTo>
                      <a:pt x="22" y="46"/>
                      <a:pt x="18" y="48"/>
                      <a:pt x="13" y="50"/>
                    </a:cubicBezTo>
                    <a:cubicBezTo>
                      <a:pt x="9" y="52"/>
                      <a:pt x="4" y="53"/>
                      <a:pt x="0" y="54"/>
                    </a:cubicBezTo>
                    <a:cubicBezTo>
                      <a:pt x="0" y="31"/>
                      <a:pt x="0" y="31"/>
                      <a:pt x="0" y="31"/>
                    </a:cubicBezTo>
                    <a:cubicBezTo>
                      <a:pt x="5" y="30"/>
                      <a:pt x="10" y="28"/>
                      <a:pt x="15" y="26"/>
                    </a:cubicBezTo>
                    <a:cubicBezTo>
                      <a:pt x="21" y="24"/>
                      <a:pt x="26" y="21"/>
                      <a:pt x="32" y="18"/>
                    </a:cubicBezTo>
                    <a:cubicBezTo>
                      <a:pt x="37" y="15"/>
                      <a:pt x="42" y="12"/>
                      <a:pt x="47" y="9"/>
                    </a:cubicBezTo>
                    <a:cubicBezTo>
                      <a:pt x="51" y="6"/>
                      <a:pt x="56" y="3"/>
                      <a:pt x="59"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0" name="Freeform 177"/>
              <p:cNvSpPr>
                <a:spLocks/>
              </p:cNvSpPr>
              <p:nvPr userDrawn="1"/>
            </p:nvSpPr>
            <p:spPr bwMode="auto">
              <a:xfrm>
                <a:off x="5389" y="2562"/>
                <a:ext cx="83" cy="245"/>
              </a:xfrm>
              <a:custGeom>
                <a:avLst/>
                <a:gdLst>
                  <a:gd name="T0" fmla="*/ 68 w 68"/>
                  <a:gd name="T1" fmla="*/ 200 h 200"/>
                  <a:gd name="T2" fmla="*/ 46 w 68"/>
                  <a:gd name="T3" fmla="*/ 200 h 200"/>
                  <a:gd name="T4" fmla="*/ 46 w 68"/>
                  <a:gd name="T5" fmla="*/ 31 h 200"/>
                  <a:gd name="T6" fmla="*/ 38 w 68"/>
                  <a:gd name="T7" fmla="*/ 37 h 200"/>
                  <a:gd name="T8" fmla="*/ 27 w 68"/>
                  <a:gd name="T9" fmla="*/ 43 h 200"/>
                  <a:gd name="T10" fmla="*/ 14 w 68"/>
                  <a:gd name="T11" fmla="*/ 50 h 200"/>
                  <a:gd name="T12" fmla="*/ 0 w 68"/>
                  <a:gd name="T13" fmla="*/ 54 h 200"/>
                  <a:gd name="T14" fmla="*/ 0 w 68"/>
                  <a:gd name="T15" fmla="*/ 31 h 200"/>
                  <a:gd name="T16" fmla="*/ 16 w 68"/>
                  <a:gd name="T17" fmla="*/ 26 h 200"/>
                  <a:gd name="T18" fmla="*/ 32 w 68"/>
                  <a:gd name="T19" fmla="*/ 18 h 200"/>
                  <a:gd name="T20" fmla="*/ 47 w 68"/>
                  <a:gd name="T21" fmla="*/ 9 h 200"/>
                  <a:gd name="T22" fmla="*/ 60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6" y="200"/>
                      <a:pt x="46" y="200"/>
                      <a:pt x="46" y="200"/>
                    </a:cubicBezTo>
                    <a:cubicBezTo>
                      <a:pt x="46" y="31"/>
                      <a:pt x="46" y="31"/>
                      <a:pt x="46" y="31"/>
                    </a:cubicBezTo>
                    <a:cubicBezTo>
                      <a:pt x="44" y="33"/>
                      <a:pt x="41" y="35"/>
                      <a:pt x="38" y="37"/>
                    </a:cubicBezTo>
                    <a:cubicBezTo>
                      <a:pt x="35" y="39"/>
                      <a:pt x="31" y="41"/>
                      <a:pt x="27" y="43"/>
                    </a:cubicBezTo>
                    <a:cubicBezTo>
                      <a:pt x="23" y="46"/>
                      <a:pt x="18" y="48"/>
                      <a:pt x="14" y="50"/>
                    </a:cubicBezTo>
                    <a:cubicBezTo>
                      <a:pt x="9" y="52"/>
                      <a:pt x="5" y="53"/>
                      <a:pt x="0" y="54"/>
                    </a:cubicBezTo>
                    <a:cubicBezTo>
                      <a:pt x="0" y="31"/>
                      <a:pt x="0" y="31"/>
                      <a:pt x="0" y="31"/>
                    </a:cubicBezTo>
                    <a:cubicBezTo>
                      <a:pt x="5" y="30"/>
                      <a:pt x="10" y="28"/>
                      <a:pt x="16" y="26"/>
                    </a:cubicBezTo>
                    <a:cubicBezTo>
                      <a:pt x="21" y="24"/>
                      <a:pt x="27" y="21"/>
                      <a:pt x="32" y="18"/>
                    </a:cubicBezTo>
                    <a:cubicBezTo>
                      <a:pt x="38" y="15"/>
                      <a:pt x="43" y="12"/>
                      <a:pt x="47" y="9"/>
                    </a:cubicBezTo>
                    <a:cubicBezTo>
                      <a:pt x="52" y="6"/>
                      <a:pt x="56" y="3"/>
                      <a:pt x="60"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1" name="Freeform 178"/>
              <p:cNvSpPr>
                <a:spLocks/>
              </p:cNvSpPr>
              <p:nvPr userDrawn="1"/>
            </p:nvSpPr>
            <p:spPr bwMode="auto">
              <a:xfrm>
                <a:off x="5539" y="2562"/>
                <a:ext cx="83" cy="245"/>
              </a:xfrm>
              <a:custGeom>
                <a:avLst/>
                <a:gdLst>
                  <a:gd name="T0" fmla="*/ 68 w 68"/>
                  <a:gd name="T1" fmla="*/ 200 h 200"/>
                  <a:gd name="T2" fmla="*/ 45 w 68"/>
                  <a:gd name="T3" fmla="*/ 200 h 200"/>
                  <a:gd name="T4" fmla="*/ 45 w 68"/>
                  <a:gd name="T5" fmla="*/ 31 h 200"/>
                  <a:gd name="T6" fmla="*/ 38 w 68"/>
                  <a:gd name="T7" fmla="*/ 37 h 200"/>
                  <a:gd name="T8" fmla="*/ 26 w 68"/>
                  <a:gd name="T9" fmla="*/ 43 h 200"/>
                  <a:gd name="T10" fmla="*/ 13 w 68"/>
                  <a:gd name="T11" fmla="*/ 50 h 200"/>
                  <a:gd name="T12" fmla="*/ 0 w 68"/>
                  <a:gd name="T13" fmla="*/ 54 h 200"/>
                  <a:gd name="T14" fmla="*/ 0 w 68"/>
                  <a:gd name="T15" fmla="*/ 31 h 200"/>
                  <a:gd name="T16" fmla="*/ 15 w 68"/>
                  <a:gd name="T17" fmla="*/ 26 h 200"/>
                  <a:gd name="T18" fmla="*/ 32 w 68"/>
                  <a:gd name="T19" fmla="*/ 18 h 200"/>
                  <a:gd name="T20" fmla="*/ 47 w 68"/>
                  <a:gd name="T21" fmla="*/ 9 h 200"/>
                  <a:gd name="T22" fmla="*/ 59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5" y="200"/>
                      <a:pt x="45" y="200"/>
                      <a:pt x="45" y="200"/>
                    </a:cubicBezTo>
                    <a:cubicBezTo>
                      <a:pt x="45" y="31"/>
                      <a:pt x="45" y="31"/>
                      <a:pt x="45" y="31"/>
                    </a:cubicBezTo>
                    <a:cubicBezTo>
                      <a:pt x="43" y="33"/>
                      <a:pt x="41" y="35"/>
                      <a:pt x="38" y="37"/>
                    </a:cubicBezTo>
                    <a:cubicBezTo>
                      <a:pt x="34" y="39"/>
                      <a:pt x="31" y="41"/>
                      <a:pt x="26" y="43"/>
                    </a:cubicBezTo>
                    <a:cubicBezTo>
                      <a:pt x="22" y="46"/>
                      <a:pt x="18" y="48"/>
                      <a:pt x="13" y="50"/>
                    </a:cubicBezTo>
                    <a:cubicBezTo>
                      <a:pt x="9" y="52"/>
                      <a:pt x="4" y="53"/>
                      <a:pt x="0" y="54"/>
                    </a:cubicBezTo>
                    <a:cubicBezTo>
                      <a:pt x="0" y="31"/>
                      <a:pt x="0" y="31"/>
                      <a:pt x="0" y="31"/>
                    </a:cubicBezTo>
                    <a:cubicBezTo>
                      <a:pt x="5" y="30"/>
                      <a:pt x="10" y="28"/>
                      <a:pt x="15" y="26"/>
                    </a:cubicBezTo>
                    <a:cubicBezTo>
                      <a:pt x="21" y="24"/>
                      <a:pt x="26" y="21"/>
                      <a:pt x="32" y="18"/>
                    </a:cubicBezTo>
                    <a:cubicBezTo>
                      <a:pt x="37" y="15"/>
                      <a:pt x="42" y="12"/>
                      <a:pt x="47" y="9"/>
                    </a:cubicBezTo>
                    <a:cubicBezTo>
                      <a:pt x="52" y="6"/>
                      <a:pt x="56" y="3"/>
                      <a:pt x="59"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2" name="Freeform 179"/>
              <p:cNvSpPr>
                <a:spLocks noEditPoints="1"/>
              </p:cNvSpPr>
              <p:nvPr userDrawn="1"/>
            </p:nvSpPr>
            <p:spPr bwMode="auto">
              <a:xfrm>
                <a:off x="5687" y="2564"/>
                <a:ext cx="156" cy="248"/>
              </a:xfrm>
              <a:custGeom>
                <a:avLst/>
                <a:gdLst>
                  <a:gd name="T0" fmla="*/ 128 w 128"/>
                  <a:gd name="T1" fmla="*/ 100 h 203"/>
                  <a:gd name="T2" fmla="*/ 124 w 128"/>
                  <a:gd name="T3" fmla="*/ 144 h 203"/>
                  <a:gd name="T4" fmla="*/ 111 w 128"/>
                  <a:gd name="T5" fmla="*/ 176 h 203"/>
                  <a:gd name="T6" fmla="*/ 90 w 128"/>
                  <a:gd name="T7" fmla="*/ 196 h 203"/>
                  <a:gd name="T8" fmla="*/ 62 w 128"/>
                  <a:gd name="T9" fmla="*/ 203 h 203"/>
                  <a:gd name="T10" fmla="*/ 36 w 128"/>
                  <a:gd name="T11" fmla="*/ 196 h 203"/>
                  <a:gd name="T12" fmla="*/ 17 w 128"/>
                  <a:gd name="T13" fmla="*/ 177 h 203"/>
                  <a:gd name="T14" fmla="*/ 5 w 128"/>
                  <a:gd name="T15" fmla="*/ 147 h 203"/>
                  <a:gd name="T16" fmla="*/ 0 w 128"/>
                  <a:gd name="T17" fmla="*/ 105 h 203"/>
                  <a:gd name="T18" fmla="*/ 5 w 128"/>
                  <a:gd name="T19" fmla="*/ 60 h 203"/>
                  <a:gd name="T20" fmla="*/ 17 w 128"/>
                  <a:gd name="T21" fmla="*/ 27 h 203"/>
                  <a:gd name="T22" fmla="*/ 38 w 128"/>
                  <a:gd name="T23" fmla="*/ 7 h 203"/>
                  <a:gd name="T24" fmla="*/ 66 w 128"/>
                  <a:gd name="T25" fmla="*/ 0 h 203"/>
                  <a:gd name="T26" fmla="*/ 128 w 128"/>
                  <a:gd name="T27" fmla="*/ 100 h 203"/>
                  <a:gd name="T28" fmla="*/ 105 w 128"/>
                  <a:gd name="T29" fmla="*/ 103 h 203"/>
                  <a:gd name="T30" fmla="*/ 65 w 128"/>
                  <a:gd name="T31" fmla="*/ 19 h 203"/>
                  <a:gd name="T32" fmla="*/ 23 w 128"/>
                  <a:gd name="T33" fmla="*/ 104 h 203"/>
                  <a:gd name="T34" fmla="*/ 65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0"/>
                    </a:moveTo>
                    <a:cubicBezTo>
                      <a:pt x="128" y="117"/>
                      <a:pt x="127" y="131"/>
                      <a:pt x="124" y="144"/>
                    </a:cubicBezTo>
                    <a:cubicBezTo>
                      <a:pt x="121" y="157"/>
                      <a:pt x="116" y="167"/>
                      <a:pt x="111" y="176"/>
                    </a:cubicBezTo>
                    <a:cubicBezTo>
                      <a:pt x="105" y="185"/>
                      <a:pt x="98" y="191"/>
                      <a:pt x="90" y="196"/>
                    </a:cubicBezTo>
                    <a:cubicBezTo>
                      <a:pt x="82" y="200"/>
                      <a:pt x="73" y="203"/>
                      <a:pt x="62" y="203"/>
                    </a:cubicBezTo>
                    <a:cubicBezTo>
                      <a:pt x="53" y="203"/>
                      <a:pt x="44" y="201"/>
                      <a:pt x="36" y="196"/>
                    </a:cubicBezTo>
                    <a:cubicBezTo>
                      <a:pt x="28" y="192"/>
                      <a:pt x="22" y="186"/>
                      <a:pt x="17" y="177"/>
                    </a:cubicBezTo>
                    <a:cubicBezTo>
                      <a:pt x="11" y="169"/>
                      <a:pt x="7" y="159"/>
                      <a:pt x="5" y="147"/>
                    </a:cubicBezTo>
                    <a:cubicBezTo>
                      <a:pt x="2" y="135"/>
                      <a:pt x="0" y="121"/>
                      <a:pt x="0" y="105"/>
                    </a:cubicBezTo>
                    <a:cubicBezTo>
                      <a:pt x="0" y="88"/>
                      <a:pt x="2" y="73"/>
                      <a:pt x="5" y="60"/>
                    </a:cubicBezTo>
                    <a:cubicBezTo>
                      <a:pt x="8" y="47"/>
                      <a:pt x="12" y="36"/>
                      <a:pt x="17" y="27"/>
                    </a:cubicBezTo>
                    <a:cubicBezTo>
                      <a:pt x="23" y="18"/>
                      <a:pt x="30" y="11"/>
                      <a:pt x="38" y="7"/>
                    </a:cubicBezTo>
                    <a:cubicBezTo>
                      <a:pt x="46" y="2"/>
                      <a:pt x="56" y="0"/>
                      <a:pt x="66" y="0"/>
                    </a:cubicBezTo>
                    <a:cubicBezTo>
                      <a:pt x="108" y="0"/>
                      <a:pt x="128" y="33"/>
                      <a:pt x="128" y="100"/>
                    </a:cubicBezTo>
                    <a:close/>
                    <a:moveTo>
                      <a:pt x="105" y="103"/>
                    </a:moveTo>
                    <a:cubicBezTo>
                      <a:pt x="105" y="47"/>
                      <a:pt x="92" y="19"/>
                      <a:pt x="65" y="19"/>
                    </a:cubicBezTo>
                    <a:cubicBezTo>
                      <a:pt x="37" y="19"/>
                      <a:pt x="23" y="47"/>
                      <a:pt x="23" y="104"/>
                    </a:cubicBezTo>
                    <a:cubicBezTo>
                      <a:pt x="23" y="157"/>
                      <a:pt x="37" y="184"/>
                      <a:pt x="65" y="184"/>
                    </a:cubicBezTo>
                    <a:cubicBezTo>
                      <a:pt x="92"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3" name="Freeform 180"/>
              <p:cNvSpPr>
                <a:spLocks/>
              </p:cNvSpPr>
              <p:nvPr userDrawn="1"/>
            </p:nvSpPr>
            <p:spPr bwMode="auto">
              <a:xfrm>
                <a:off x="5877" y="2567"/>
                <a:ext cx="78" cy="295"/>
              </a:xfrm>
              <a:custGeom>
                <a:avLst/>
                <a:gdLst>
                  <a:gd name="T0" fmla="*/ 64 w 64"/>
                  <a:gd name="T1" fmla="*/ 241 h 241"/>
                  <a:gd name="T2" fmla="*/ 22 w 64"/>
                  <a:gd name="T3" fmla="*/ 198 h 241"/>
                  <a:gd name="T4" fmla="*/ 22 w 64"/>
                  <a:gd name="T5" fmla="*/ 157 h 241"/>
                  <a:gd name="T6" fmla="*/ 0 w 64"/>
                  <a:gd name="T7" fmla="*/ 128 h 241"/>
                  <a:gd name="T8" fmla="*/ 0 w 64"/>
                  <a:gd name="T9" fmla="*/ 113 h 241"/>
                  <a:gd name="T10" fmla="*/ 22 w 64"/>
                  <a:gd name="T11" fmla="*/ 83 h 241"/>
                  <a:gd name="T12" fmla="*/ 22 w 64"/>
                  <a:gd name="T13" fmla="*/ 43 h 241"/>
                  <a:gd name="T14" fmla="*/ 64 w 64"/>
                  <a:gd name="T15" fmla="*/ 0 h 241"/>
                  <a:gd name="T16" fmla="*/ 64 w 64"/>
                  <a:gd name="T17" fmla="*/ 18 h 241"/>
                  <a:gd name="T18" fmla="*/ 42 w 64"/>
                  <a:gd name="T19" fmla="*/ 45 h 241"/>
                  <a:gd name="T20" fmla="*/ 42 w 64"/>
                  <a:gd name="T21" fmla="*/ 85 h 241"/>
                  <a:gd name="T22" fmla="*/ 21 w 64"/>
                  <a:gd name="T23" fmla="*/ 120 h 241"/>
                  <a:gd name="T24" fmla="*/ 21 w 64"/>
                  <a:gd name="T25" fmla="*/ 121 h 241"/>
                  <a:gd name="T26" fmla="*/ 42 w 64"/>
                  <a:gd name="T27" fmla="*/ 156 h 241"/>
                  <a:gd name="T28" fmla="*/ 42 w 64"/>
                  <a:gd name="T29" fmla="*/ 195 h 241"/>
                  <a:gd name="T30" fmla="*/ 47 w 64"/>
                  <a:gd name="T31" fmla="*/ 217 h 241"/>
                  <a:gd name="T32" fmla="*/ 64 w 64"/>
                  <a:gd name="T33" fmla="*/ 224 h 241"/>
                  <a:gd name="T34" fmla="*/ 64 w 64"/>
                  <a:gd name="T35" fmla="*/ 24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4" h="241">
                    <a:moveTo>
                      <a:pt x="64" y="241"/>
                    </a:moveTo>
                    <a:cubicBezTo>
                      <a:pt x="36" y="241"/>
                      <a:pt x="22" y="226"/>
                      <a:pt x="22" y="198"/>
                    </a:cubicBezTo>
                    <a:cubicBezTo>
                      <a:pt x="22" y="157"/>
                      <a:pt x="22" y="157"/>
                      <a:pt x="22" y="157"/>
                    </a:cubicBezTo>
                    <a:cubicBezTo>
                      <a:pt x="22" y="139"/>
                      <a:pt x="14" y="129"/>
                      <a:pt x="0" y="128"/>
                    </a:cubicBezTo>
                    <a:cubicBezTo>
                      <a:pt x="0" y="113"/>
                      <a:pt x="0" y="113"/>
                      <a:pt x="0" y="113"/>
                    </a:cubicBezTo>
                    <a:cubicBezTo>
                      <a:pt x="14" y="112"/>
                      <a:pt x="22" y="102"/>
                      <a:pt x="22" y="83"/>
                    </a:cubicBezTo>
                    <a:cubicBezTo>
                      <a:pt x="22" y="43"/>
                      <a:pt x="22" y="43"/>
                      <a:pt x="22" y="43"/>
                    </a:cubicBezTo>
                    <a:cubicBezTo>
                      <a:pt x="22" y="15"/>
                      <a:pt x="36" y="1"/>
                      <a:pt x="64" y="0"/>
                    </a:cubicBezTo>
                    <a:cubicBezTo>
                      <a:pt x="64" y="18"/>
                      <a:pt x="64" y="18"/>
                      <a:pt x="64" y="18"/>
                    </a:cubicBezTo>
                    <a:cubicBezTo>
                      <a:pt x="49" y="18"/>
                      <a:pt x="42" y="27"/>
                      <a:pt x="42" y="45"/>
                    </a:cubicBezTo>
                    <a:cubicBezTo>
                      <a:pt x="42" y="85"/>
                      <a:pt x="42" y="85"/>
                      <a:pt x="42" y="85"/>
                    </a:cubicBezTo>
                    <a:cubicBezTo>
                      <a:pt x="42" y="104"/>
                      <a:pt x="35" y="116"/>
                      <a:pt x="21" y="120"/>
                    </a:cubicBezTo>
                    <a:cubicBezTo>
                      <a:pt x="21" y="121"/>
                      <a:pt x="21" y="121"/>
                      <a:pt x="21" y="121"/>
                    </a:cubicBezTo>
                    <a:cubicBezTo>
                      <a:pt x="35" y="125"/>
                      <a:pt x="42" y="136"/>
                      <a:pt x="42" y="156"/>
                    </a:cubicBezTo>
                    <a:cubicBezTo>
                      <a:pt x="42" y="195"/>
                      <a:pt x="42" y="195"/>
                      <a:pt x="42" y="195"/>
                    </a:cubicBezTo>
                    <a:cubicBezTo>
                      <a:pt x="42" y="205"/>
                      <a:pt x="43" y="213"/>
                      <a:pt x="47" y="217"/>
                    </a:cubicBezTo>
                    <a:cubicBezTo>
                      <a:pt x="50" y="221"/>
                      <a:pt x="55" y="223"/>
                      <a:pt x="64" y="224"/>
                    </a:cubicBezTo>
                    <a:lnTo>
                      <a:pt x="64" y="2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4" name="Freeform 181"/>
              <p:cNvSpPr>
                <a:spLocks/>
              </p:cNvSpPr>
              <p:nvPr userDrawn="1"/>
            </p:nvSpPr>
            <p:spPr bwMode="auto">
              <a:xfrm>
                <a:off x="5985" y="2567"/>
                <a:ext cx="77" cy="295"/>
              </a:xfrm>
              <a:custGeom>
                <a:avLst/>
                <a:gdLst>
                  <a:gd name="T0" fmla="*/ 63 w 63"/>
                  <a:gd name="T1" fmla="*/ 128 h 241"/>
                  <a:gd name="T2" fmla="*/ 41 w 63"/>
                  <a:gd name="T3" fmla="*/ 157 h 241"/>
                  <a:gd name="T4" fmla="*/ 41 w 63"/>
                  <a:gd name="T5" fmla="*/ 198 h 241"/>
                  <a:gd name="T6" fmla="*/ 0 w 63"/>
                  <a:gd name="T7" fmla="*/ 241 h 241"/>
                  <a:gd name="T8" fmla="*/ 0 w 63"/>
                  <a:gd name="T9" fmla="*/ 224 h 241"/>
                  <a:gd name="T10" fmla="*/ 16 w 63"/>
                  <a:gd name="T11" fmla="*/ 217 h 241"/>
                  <a:gd name="T12" fmla="*/ 21 w 63"/>
                  <a:gd name="T13" fmla="*/ 195 h 241"/>
                  <a:gd name="T14" fmla="*/ 21 w 63"/>
                  <a:gd name="T15" fmla="*/ 156 h 241"/>
                  <a:gd name="T16" fmla="*/ 42 w 63"/>
                  <a:gd name="T17" fmla="*/ 121 h 241"/>
                  <a:gd name="T18" fmla="*/ 42 w 63"/>
                  <a:gd name="T19" fmla="*/ 120 h 241"/>
                  <a:gd name="T20" fmla="*/ 21 w 63"/>
                  <a:gd name="T21" fmla="*/ 85 h 241"/>
                  <a:gd name="T22" fmla="*/ 21 w 63"/>
                  <a:gd name="T23" fmla="*/ 45 h 241"/>
                  <a:gd name="T24" fmla="*/ 0 w 63"/>
                  <a:gd name="T25" fmla="*/ 18 h 241"/>
                  <a:gd name="T26" fmla="*/ 0 w 63"/>
                  <a:gd name="T27" fmla="*/ 0 h 241"/>
                  <a:gd name="T28" fmla="*/ 41 w 63"/>
                  <a:gd name="T29" fmla="*/ 43 h 241"/>
                  <a:gd name="T30" fmla="*/ 41 w 63"/>
                  <a:gd name="T31" fmla="*/ 83 h 241"/>
                  <a:gd name="T32" fmla="*/ 63 w 63"/>
                  <a:gd name="T33" fmla="*/ 113 h 241"/>
                  <a:gd name="T34" fmla="*/ 63 w 63"/>
                  <a:gd name="T35" fmla="*/ 128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3" h="241">
                    <a:moveTo>
                      <a:pt x="63" y="128"/>
                    </a:moveTo>
                    <a:cubicBezTo>
                      <a:pt x="49" y="129"/>
                      <a:pt x="41" y="139"/>
                      <a:pt x="41" y="157"/>
                    </a:cubicBezTo>
                    <a:cubicBezTo>
                      <a:pt x="41" y="198"/>
                      <a:pt x="41" y="198"/>
                      <a:pt x="41" y="198"/>
                    </a:cubicBezTo>
                    <a:cubicBezTo>
                      <a:pt x="41" y="226"/>
                      <a:pt x="27" y="241"/>
                      <a:pt x="0" y="241"/>
                    </a:cubicBezTo>
                    <a:cubicBezTo>
                      <a:pt x="0" y="224"/>
                      <a:pt x="0" y="224"/>
                      <a:pt x="0" y="224"/>
                    </a:cubicBezTo>
                    <a:cubicBezTo>
                      <a:pt x="8" y="223"/>
                      <a:pt x="13" y="221"/>
                      <a:pt x="16" y="217"/>
                    </a:cubicBezTo>
                    <a:cubicBezTo>
                      <a:pt x="20" y="212"/>
                      <a:pt x="21" y="205"/>
                      <a:pt x="21" y="195"/>
                    </a:cubicBezTo>
                    <a:cubicBezTo>
                      <a:pt x="21" y="156"/>
                      <a:pt x="21" y="156"/>
                      <a:pt x="21" y="156"/>
                    </a:cubicBezTo>
                    <a:cubicBezTo>
                      <a:pt x="21" y="136"/>
                      <a:pt x="28" y="125"/>
                      <a:pt x="42" y="121"/>
                    </a:cubicBezTo>
                    <a:cubicBezTo>
                      <a:pt x="42" y="120"/>
                      <a:pt x="42" y="120"/>
                      <a:pt x="42" y="120"/>
                    </a:cubicBezTo>
                    <a:cubicBezTo>
                      <a:pt x="28" y="116"/>
                      <a:pt x="21" y="104"/>
                      <a:pt x="21" y="85"/>
                    </a:cubicBezTo>
                    <a:cubicBezTo>
                      <a:pt x="21" y="45"/>
                      <a:pt x="21" y="45"/>
                      <a:pt x="21" y="45"/>
                    </a:cubicBezTo>
                    <a:cubicBezTo>
                      <a:pt x="21" y="27"/>
                      <a:pt x="14" y="18"/>
                      <a:pt x="0" y="18"/>
                    </a:cubicBezTo>
                    <a:cubicBezTo>
                      <a:pt x="0" y="0"/>
                      <a:pt x="0" y="0"/>
                      <a:pt x="0" y="0"/>
                    </a:cubicBezTo>
                    <a:cubicBezTo>
                      <a:pt x="27" y="1"/>
                      <a:pt x="41" y="15"/>
                      <a:pt x="41" y="43"/>
                    </a:cubicBezTo>
                    <a:cubicBezTo>
                      <a:pt x="41" y="83"/>
                      <a:pt x="41" y="83"/>
                      <a:pt x="41" y="83"/>
                    </a:cubicBezTo>
                    <a:cubicBezTo>
                      <a:pt x="41" y="102"/>
                      <a:pt x="49" y="112"/>
                      <a:pt x="63" y="113"/>
                    </a:cubicBezTo>
                    <a:lnTo>
                      <a:pt x="63" y="1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5" name="Freeform 182"/>
              <p:cNvSpPr>
                <a:spLocks/>
              </p:cNvSpPr>
              <p:nvPr userDrawn="1"/>
            </p:nvSpPr>
            <p:spPr bwMode="auto">
              <a:xfrm>
                <a:off x="6092" y="2562"/>
                <a:ext cx="83" cy="245"/>
              </a:xfrm>
              <a:custGeom>
                <a:avLst/>
                <a:gdLst>
                  <a:gd name="T0" fmla="*/ 68 w 68"/>
                  <a:gd name="T1" fmla="*/ 200 h 200"/>
                  <a:gd name="T2" fmla="*/ 45 w 68"/>
                  <a:gd name="T3" fmla="*/ 200 h 200"/>
                  <a:gd name="T4" fmla="*/ 45 w 68"/>
                  <a:gd name="T5" fmla="*/ 31 h 200"/>
                  <a:gd name="T6" fmla="*/ 38 w 68"/>
                  <a:gd name="T7" fmla="*/ 37 h 200"/>
                  <a:gd name="T8" fmla="*/ 26 w 68"/>
                  <a:gd name="T9" fmla="*/ 43 h 200"/>
                  <a:gd name="T10" fmla="*/ 13 w 68"/>
                  <a:gd name="T11" fmla="*/ 50 h 200"/>
                  <a:gd name="T12" fmla="*/ 0 w 68"/>
                  <a:gd name="T13" fmla="*/ 54 h 200"/>
                  <a:gd name="T14" fmla="*/ 0 w 68"/>
                  <a:gd name="T15" fmla="*/ 31 h 200"/>
                  <a:gd name="T16" fmla="*/ 16 w 68"/>
                  <a:gd name="T17" fmla="*/ 26 h 200"/>
                  <a:gd name="T18" fmla="*/ 32 w 68"/>
                  <a:gd name="T19" fmla="*/ 18 h 200"/>
                  <a:gd name="T20" fmla="*/ 47 w 68"/>
                  <a:gd name="T21" fmla="*/ 9 h 200"/>
                  <a:gd name="T22" fmla="*/ 59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5" y="200"/>
                      <a:pt x="45" y="200"/>
                      <a:pt x="45" y="200"/>
                    </a:cubicBezTo>
                    <a:cubicBezTo>
                      <a:pt x="45" y="31"/>
                      <a:pt x="45" y="31"/>
                      <a:pt x="45" y="31"/>
                    </a:cubicBezTo>
                    <a:cubicBezTo>
                      <a:pt x="44" y="33"/>
                      <a:pt x="41" y="35"/>
                      <a:pt x="38" y="37"/>
                    </a:cubicBezTo>
                    <a:cubicBezTo>
                      <a:pt x="34" y="39"/>
                      <a:pt x="31" y="41"/>
                      <a:pt x="26" y="43"/>
                    </a:cubicBezTo>
                    <a:cubicBezTo>
                      <a:pt x="22" y="46"/>
                      <a:pt x="18" y="48"/>
                      <a:pt x="13" y="50"/>
                    </a:cubicBezTo>
                    <a:cubicBezTo>
                      <a:pt x="9" y="52"/>
                      <a:pt x="4" y="53"/>
                      <a:pt x="0" y="54"/>
                    </a:cubicBezTo>
                    <a:cubicBezTo>
                      <a:pt x="0" y="31"/>
                      <a:pt x="0" y="31"/>
                      <a:pt x="0" y="31"/>
                    </a:cubicBezTo>
                    <a:cubicBezTo>
                      <a:pt x="5" y="30"/>
                      <a:pt x="10" y="28"/>
                      <a:pt x="16" y="26"/>
                    </a:cubicBezTo>
                    <a:cubicBezTo>
                      <a:pt x="21" y="24"/>
                      <a:pt x="26" y="21"/>
                      <a:pt x="32" y="18"/>
                    </a:cubicBezTo>
                    <a:cubicBezTo>
                      <a:pt x="37" y="15"/>
                      <a:pt x="42" y="12"/>
                      <a:pt x="47" y="9"/>
                    </a:cubicBezTo>
                    <a:cubicBezTo>
                      <a:pt x="52" y="6"/>
                      <a:pt x="56" y="3"/>
                      <a:pt x="59"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6" name="Freeform 183"/>
              <p:cNvSpPr>
                <a:spLocks noEditPoints="1"/>
              </p:cNvSpPr>
              <p:nvPr userDrawn="1"/>
            </p:nvSpPr>
            <p:spPr bwMode="auto">
              <a:xfrm>
                <a:off x="6240" y="2564"/>
                <a:ext cx="156" cy="248"/>
              </a:xfrm>
              <a:custGeom>
                <a:avLst/>
                <a:gdLst>
                  <a:gd name="T0" fmla="*/ 128 w 128"/>
                  <a:gd name="T1" fmla="*/ 100 h 203"/>
                  <a:gd name="T2" fmla="*/ 124 w 128"/>
                  <a:gd name="T3" fmla="*/ 144 h 203"/>
                  <a:gd name="T4" fmla="*/ 111 w 128"/>
                  <a:gd name="T5" fmla="*/ 176 h 203"/>
                  <a:gd name="T6" fmla="*/ 90 w 128"/>
                  <a:gd name="T7" fmla="*/ 196 h 203"/>
                  <a:gd name="T8" fmla="*/ 62 w 128"/>
                  <a:gd name="T9" fmla="*/ 203 h 203"/>
                  <a:gd name="T10" fmla="*/ 36 w 128"/>
                  <a:gd name="T11" fmla="*/ 196 h 203"/>
                  <a:gd name="T12" fmla="*/ 17 w 128"/>
                  <a:gd name="T13" fmla="*/ 177 h 203"/>
                  <a:gd name="T14" fmla="*/ 5 w 128"/>
                  <a:gd name="T15" fmla="*/ 147 h 203"/>
                  <a:gd name="T16" fmla="*/ 0 w 128"/>
                  <a:gd name="T17" fmla="*/ 105 h 203"/>
                  <a:gd name="T18" fmla="*/ 5 w 128"/>
                  <a:gd name="T19" fmla="*/ 60 h 203"/>
                  <a:gd name="T20" fmla="*/ 17 w 128"/>
                  <a:gd name="T21" fmla="*/ 27 h 203"/>
                  <a:gd name="T22" fmla="*/ 38 w 128"/>
                  <a:gd name="T23" fmla="*/ 7 h 203"/>
                  <a:gd name="T24" fmla="*/ 67 w 128"/>
                  <a:gd name="T25" fmla="*/ 0 h 203"/>
                  <a:gd name="T26" fmla="*/ 128 w 128"/>
                  <a:gd name="T27" fmla="*/ 100 h 203"/>
                  <a:gd name="T28" fmla="*/ 105 w 128"/>
                  <a:gd name="T29" fmla="*/ 103 h 203"/>
                  <a:gd name="T30" fmla="*/ 65 w 128"/>
                  <a:gd name="T31" fmla="*/ 19 h 203"/>
                  <a:gd name="T32" fmla="*/ 23 w 128"/>
                  <a:gd name="T33" fmla="*/ 104 h 203"/>
                  <a:gd name="T34" fmla="*/ 65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0"/>
                    </a:moveTo>
                    <a:cubicBezTo>
                      <a:pt x="128" y="117"/>
                      <a:pt x="127" y="131"/>
                      <a:pt x="124" y="144"/>
                    </a:cubicBezTo>
                    <a:cubicBezTo>
                      <a:pt x="121" y="157"/>
                      <a:pt x="116" y="167"/>
                      <a:pt x="111" y="176"/>
                    </a:cubicBezTo>
                    <a:cubicBezTo>
                      <a:pt x="105" y="185"/>
                      <a:pt x="98" y="191"/>
                      <a:pt x="90" y="196"/>
                    </a:cubicBezTo>
                    <a:cubicBezTo>
                      <a:pt x="82" y="200"/>
                      <a:pt x="73" y="203"/>
                      <a:pt x="62" y="203"/>
                    </a:cubicBezTo>
                    <a:cubicBezTo>
                      <a:pt x="53" y="203"/>
                      <a:pt x="44" y="201"/>
                      <a:pt x="36" y="196"/>
                    </a:cubicBezTo>
                    <a:cubicBezTo>
                      <a:pt x="28" y="192"/>
                      <a:pt x="22" y="186"/>
                      <a:pt x="17" y="177"/>
                    </a:cubicBezTo>
                    <a:cubicBezTo>
                      <a:pt x="11" y="169"/>
                      <a:pt x="7" y="159"/>
                      <a:pt x="5" y="147"/>
                    </a:cubicBezTo>
                    <a:cubicBezTo>
                      <a:pt x="2" y="135"/>
                      <a:pt x="0" y="121"/>
                      <a:pt x="0" y="105"/>
                    </a:cubicBezTo>
                    <a:cubicBezTo>
                      <a:pt x="0" y="88"/>
                      <a:pt x="2" y="73"/>
                      <a:pt x="5" y="60"/>
                    </a:cubicBezTo>
                    <a:cubicBezTo>
                      <a:pt x="8" y="47"/>
                      <a:pt x="12" y="36"/>
                      <a:pt x="17" y="27"/>
                    </a:cubicBezTo>
                    <a:cubicBezTo>
                      <a:pt x="23" y="18"/>
                      <a:pt x="30" y="11"/>
                      <a:pt x="38" y="7"/>
                    </a:cubicBezTo>
                    <a:cubicBezTo>
                      <a:pt x="46" y="2"/>
                      <a:pt x="56" y="0"/>
                      <a:pt x="67" y="0"/>
                    </a:cubicBezTo>
                    <a:cubicBezTo>
                      <a:pt x="108" y="0"/>
                      <a:pt x="128" y="33"/>
                      <a:pt x="128" y="100"/>
                    </a:cubicBezTo>
                    <a:close/>
                    <a:moveTo>
                      <a:pt x="105" y="103"/>
                    </a:moveTo>
                    <a:cubicBezTo>
                      <a:pt x="105" y="47"/>
                      <a:pt x="92" y="19"/>
                      <a:pt x="65" y="19"/>
                    </a:cubicBezTo>
                    <a:cubicBezTo>
                      <a:pt x="37" y="19"/>
                      <a:pt x="23" y="47"/>
                      <a:pt x="23" y="104"/>
                    </a:cubicBezTo>
                    <a:cubicBezTo>
                      <a:pt x="23" y="157"/>
                      <a:pt x="37" y="184"/>
                      <a:pt x="65" y="184"/>
                    </a:cubicBezTo>
                    <a:cubicBezTo>
                      <a:pt x="92"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7" name="Freeform 184"/>
              <p:cNvSpPr>
                <a:spLocks noEditPoints="1"/>
              </p:cNvSpPr>
              <p:nvPr userDrawn="1"/>
            </p:nvSpPr>
            <p:spPr bwMode="auto">
              <a:xfrm>
                <a:off x="6435" y="2564"/>
                <a:ext cx="156" cy="248"/>
              </a:xfrm>
              <a:custGeom>
                <a:avLst/>
                <a:gdLst>
                  <a:gd name="T0" fmla="*/ 128 w 128"/>
                  <a:gd name="T1" fmla="*/ 100 h 203"/>
                  <a:gd name="T2" fmla="*/ 124 w 128"/>
                  <a:gd name="T3" fmla="*/ 144 h 203"/>
                  <a:gd name="T4" fmla="*/ 111 w 128"/>
                  <a:gd name="T5" fmla="*/ 176 h 203"/>
                  <a:gd name="T6" fmla="*/ 90 w 128"/>
                  <a:gd name="T7" fmla="*/ 196 h 203"/>
                  <a:gd name="T8" fmla="*/ 62 w 128"/>
                  <a:gd name="T9" fmla="*/ 203 h 203"/>
                  <a:gd name="T10" fmla="*/ 36 w 128"/>
                  <a:gd name="T11" fmla="*/ 196 h 203"/>
                  <a:gd name="T12" fmla="*/ 17 w 128"/>
                  <a:gd name="T13" fmla="*/ 177 h 203"/>
                  <a:gd name="T14" fmla="*/ 5 w 128"/>
                  <a:gd name="T15" fmla="*/ 147 h 203"/>
                  <a:gd name="T16" fmla="*/ 0 w 128"/>
                  <a:gd name="T17" fmla="*/ 105 h 203"/>
                  <a:gd name="T18" fmla="*/ 5 w 128"/>
                  <a:gd name="T19" fmla="*/ 60 h 203"/>
                  <a:gd name="T20" fmla="*/ 17 w 128"/>
                  <a:gd name="T21" fmla="*/ 27 h 203"/>
                  <a:gd name="T22" fmla="*/ 38 w 128"/>
                  <a:gd name="T23" fmla="*/ 7 h 203"/>
                  <a:gd name="T24" fmla="*/ 66 w 128"/>
                  <a:gd name="T25" fmla="*/ 0 h 203"/>
                  <a:gd name="T26" fmla="*/ 128 w 128"/>
                  <a:gd name="T27" fmla="*/ 100 h 203"/>
                  <a:gd name="T28" fmla="*/ 105 w 128"/>
                  <a:gd name="T29" fmla="*/ 103 h 203"/>
                  <a:gd name="T30" fmla="*/ 65 w 128"/>
                  <a:gd name="T31" fmla="*/ 19 h 203"/>
                  <a:gd name="T32" fmla="*/ 23 w 128"/>
                  <a:gd name="T33" fmla="*/ 104 h 203"/>
                  <a:gd name="T34" fmla="*/ 65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0"/>
                    </a:moveTo>
                    <a:cubicBezTo>
                      <a:pt x="128" y="117"/>
                      <a:pt x="127" y="131"/>
                      <a:pt x="124" y="144"/>
                    </a:cubicBezTo>
                    <a:cubicBezTo>
                      <a:pt x="121" y="157"/>
                      <a:pt x="116" y="167"/>
                      <a:pt x="111" y="176"/>
                    </a:cubicBezTo>
                    <a:cubicBezTo>
                      <a:pt x="105" y="185"/>
                      <a:pt x="98" y="191"/>
                      <a:pt x="90" y="196"/>
                    </a:cubicBezTo>
                    <a:cubicBezTo>
                      <a:pt x="82" y="200"/>
                      <a:pt x="73" y="203"/>
                      <a:pt x="62" y="203"/>
                    </a:cubicBezTo>
                    <a:cubicBezTo>
                      <a:pt x="53" y="203"/>
                      <a:pt x="44" y="201"/>
                      <a:pt x="36" y="196"/>
                    </a:cubicBezTo>
                    <a:cubicBezTo>
                      <a:pt x="28" y="192"/>
                      <a:pt x="22" y="186"/>
                      <a:pt x="17" y="177"/>
                    </a:cubicBezTo>
                    <a:cubicBezTo>
                      <a:pt x="11" y="169"/>
                      <a:pt x="7" y="159"/>
                      <a:pt x="5" y="147"/>
                    </a:cubicBezTo>
                    <a:cubicBezTo>
                      <a:pt x="2" y="135"/>
                      <a:pt x="0" y="121"/>
                      <a:pt x="0" y="105"/>
                    </a:cubicBezTo>
                    <a:cubicBezTo>
                      <a:pt x="0" y="88"/>
                      <a:pt x="2" y="73"/>
                      <a:pt x="5" y="60"/>
                    </a:cubicBezTo>
                    <a:cubicBezTo>
                      <a:pt x="8" y="47"/>
                      <a:pt x="12" y="36"/>
                      <a:pt x="17" y="27"/>
                    </a:cubicBezTo>
                    <a:cubicBezTo>
                      <a:pt x="23" y="18"/>
                      <a:pt x="30" y="11"/>
                      <a:pt x="38" y="7"/>
                    </a:cubicBezTo>
                    <a:cubicBezTo>
                      <a:pt x="46" y="2"/>
                      <a:pt x="56" y="0"/>
                      <a:pt x="66" y="0"/>
                    </a:cubicBezTo>
                    <a:cubicBezTo>
                      <a:pt x="108" y="0"/>
                      <a:pt x="128" y="33"/>
                      <a:pt x="128" y="100"/>
                    </a:cubicBezTo>
                    <a:close/>
                    <a:moveTo>
                      <a:pt x="105" y="103"/>
                    </a:moveTo>
                    <a:cubicBezTo>
                      <a:pt x="105" y="47"/>
                      <a:pt x="92" y="19"/>
                      <a:pt x="65" y="19"/>
                    </a:cubicBezTo>
                    <a:cubicBezTo>
                      <a:pt x="37" y="19"/>
                      <a:pt x="23" y="47"/>
                      <a:pt x="23" y="104"/>
                    </a:cubicBezTo>
                    <a:cubicBezTo>
                      <a:pt x="23" y="157"/>
                      <a:pt x="37" y="184"/>
                      <a:pt x="65" y="184"/>
                    </a:cubicBezTo>
                    <a:cubicBezTo>
                      <a:pt x="92"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8" name="Freeform 185"/>
              <p:cNvSpPr>
                <a:spLocks/>
              </p:cNvSpPr>
              <p:nvPr userDrawn="1"/>
            </p:nvSpPr>
            <p:spPr bwMode="auto">
              <a:xfrm>
                <a:off x="6634" y="2562"/>
                <a:ext cx="81" cy="245"/>
              </a:xfrm>
              <a:custGeom>
                <a:avLst/>
                <a:gdLst>
                  <a:gd name="T0" fmla="*/ 67 w 67"/>
                  <a:gd name="T1" fmla="*/ 200 h 200"/>
                  <a:gd name="T2" fmla="*/ 45 w 67"/>
                  <a:gd name="T3" fmla="*/ 200 h 200"/>
                  <a:gd name="T4" fmla="*/ 45 w 67"/>
                  <a:gd name="T5" fmla="*/ 31 h 200"/>
                  <a:gd name="T6" fmla="*/ 37 w 67"/>
                  <a:gd name="T7" fmla="*/ 37 h 200"/>
                  <a:gd name="T8" fmla="*/ 26 w 67"/>
                  <a:gd name="T9" fmla="*/ 43 h 200"/>
                  <a:gd name="T10" fmla="*/ 13 w 67"/>
                  <a:gd name="T11" fmla="*/ 50 h 200"/>
                  <a:gd name="T12" fmla="*/ 0 w 67"/>
                  <a:gd name="T13" fmla="*/ 54 h 200"/>
                  <a:gd name="T14" fmla="*/ 0 w 67"/>
                  <a:gd name="T15" fmla="*/ 31 h 200"/>
                  <a:gd name="T16" fmla="*/ 15 w 67"/>
                  <a:gd name="T17" fmla="*/ 26 h 200"/>
                  <a:gd name="T18" fmla="*/ 31 w 67"/>
                  <a:gd name="T19" fmla="*/ 18 h 200"/>
                  <a:gd name="T20" fmla="*/ 47 w 67"/>
                  <a:gd name="T21" fmla="*/ 9 h 200"/>
                  <a:gd name="T22" fmla="*/ 59 w 67"/>
                  <a:gd name="T23" fmla="*/ 0 h 200"/>
                  <a:gd name="T24" fmla="*/ 67 w 67"/>
                  <a:gd name="T25" fmla="*/ 0 h 200"/>
                  <a:gd name="T26" fmla="*/ 67 w 67"/>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7" h="200">
                    <a:moveTo>
                      <a:pt x="67" y="200"/>
                    </a:moveTo>
                    <a:cubicBezTo>
                      <a:pt x="45" y="200"/>
                      <a:pt x="45" y="200"/>
                      <a:pt x="45" y="200"/>
                    </a:cubicBezTo>
                    <a:cubicBezTo>
                      <a:pt x="45" y="31"/>
                      <a:pt x="45" y="31"/>
                      <a:pt x="45" y="31"/>
                    </a:cubicBezTo>
                    <a:cubicBezTo>
                      <a:pt x="43" y="33"/>
                      <a:pt x="41" y="35"/>
                      <a:pt x="37" y="37"/>
                    </a:cubicBezTo>
                    <a:cubicBezTo>
                      <a:pt x="34" y="39"/>
                      <a:pt x="30" y="41"/>
                      <a:pt x="26" y="43"/>
                    </a:cubicBezTo>
                    <a:cubicBezTo>
                      <a:pt x="22" y="46"/>
                      <a:pt x="18" y="48"/>
                      <a:pt x="13" y="50"/>
                    </a:cubicBezTo>
                    <a:cubicBezTo>
                      <a:pt x="8" y="52"/>
                      <a:pt x="4" y="53"/>
                      <a:pt x="0" y="54"/>
                    </a:cubicBezTo>
                    <a:cubicBezTo>
                      <a:pt x="0" y="31"/>
                      <a:pt x="0" y="31"/>
                      <a:pt x="0" y="31"/>
                    </a:cubicBezTo>
                    <a:cubicBezTo>
                      <a:pt x="4" y="30"/>
                      <a:pt x="10" y="28"/>
                      <a:pt x="15" y="26"/>
                    </a:cubicBezTo>
                    <a:cubicBezTo>
                      <a:pt x="21" y="24"/>
                      <a:pt x="26" y="21"/>
                      <a:pt x="31" y="18"/>
                    </a:cubicBezTo>
                    <a:cubicBezTo>
                      <a:pt x="37" y="15"/>
                      <a:pt x="42" y="12"/>
                      <a:pt x="47" y="9"/>
                    </a:cubicBezTo>
                    <a:cubicBezTo>
                      <a:pt x="51" y="6"/>
                      <a:pt x="55" y="3"/>
                      <a:pt x="59" y="0"/>
                    </a:cubicBezTo>
                    <a:cubicBezTo>
                      <a:pt x="67" y="0"/>
                      <a:pt x="67" y="0"/>
                      <a:pt x="67" y="0"/>
                    </a:cubicBezTo>
                    <a:lnTo>
                      <a:pt x="67"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9" name="Freeform 186"/>
              <p:cNvSpPr>
                <a:spLocks noEditPoints="1"/>
              </p:cNvSpPr>
              <p:nvPr userDrawn="1"/>
            </p:nvSpPr>
            <p:spPr bwMode="auto">
              <a:xfrm>
                <a:off x="6781" y="2564"/>
                <a:ext cx="156" cy="248"/>
              </a:xfrm>
              <a:custGeom>
                <a:avLst/>
                <a:gdLst>
                  <a:gd name="T0" fmla="*/ 128 w 128"/>
                  <a:gd name="T1" fmla="*/ 100 h 203"/>
                  <a:gd name="T2" fmla="*/ 123 w 128"/>
                  <a:gd name="T3" fmla="*/ 144 h 203"/>
                  <a:gd name="T4" fmla="*/ 111 w 128"/>
                  <a:gd name="T5" fmla="*/ 176 h 203"/>
                  <a:gd name="T6" fmla="*/ 90 w 128"/>
                  <a:gd name="T7" fmla="*/ 196 h 203"/>
                  <a:gd name="T8" fmla="*/ 62 w 128"/>
                  <a:gd name="T9" fmla="*/ 203 h 203"/>
                  <a:gd name="T10" fmla="*/ 36 w 128"/>
                  <a:gd name="T11" fmla="*/ 196 h 203"/>
                  <a:gd name="T12" fmla="*/ 16 w 128"/>
                  <a:gd name="T13" fmla="*/ 177 h 203"/>
                  <a:gd name="T14" fmla="*/ 4 w 128"/>
                  <a:gd name="T15" fmla="*/ 147 h 203"/>
                  <a:gd name="T16" fmla="*/ 0 w 128"/>
                  <a:gd name="T17" fmla="*/ 105 h 203"/>
                  <a:gd name="T18" fmla="*/ 4 w 128"/>
                  <a:gd name="T19" fmla="*/ 60 h 203"/>
                  <a:gd name="T20" fmla="*/ 17 w 128"/>
                  <a:gd name="T21" fmla="*/ 27 h 203"/>
                  <a:gd name="T22" fmla="*/ 38 w 128"/>
                  <a:gd name="T23" fmla="*/ 7 h 203"/>
                  <a:gd name="T24" fmla="*/ 66 w 128"/>
                  <a:gd name="T25" fmla="*/ 0 h 203"/>
                  <a:gd name="T26" fmla="*/ 128 w 128"/>
                  <a:gd name="T27" fmla="*/ 100 h 203"/>
                  <a:gd name="T28" fmla="*/ 105 w 128"/>
                  <a:gd name="T29" fmla="*/ 103 h 203"/>
                  <a:gd name="T30" fmla="*/ 65 w 128"/>
                  <a:gd name="T31" fmla="*/ 19 h 203"/>
                  <a:gd name="T32" fmla="*/ 23 w 128"/>
                  <a:gd name="T33" fmla="*/ 104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0"/>
                    </a:moveTo>
                    <a:cubicBezTo>
                      <a:pt x="128" y="117"/>
                      <a:pt x="126" y="131"/>
                      <a:pt x="123" y="144"/>
                    </a:cubicBezTo>
                    <a:cubicBezTo>
                      <a:pt x="120" y="157"/>
                      <a:pt x="116" y="167"/>
                      <a:pt x="111" y="176"/>
                    </a:cubicBezTo>
                    <a:cubicBezTo>
                      <a:pt x="105" y="185"/>
                      <a:pt x="98" y="191"/>
                      <a:pt x="90" y="196"/>
                    </a:cubicBezTo>
                    <a:cubicBezTo>
                      <a:pt x="82" y="200"/>
                      <a:pt x="72" y="203"/>
                      <a:pt x="62" y="203"/>
                    </a:cubicBezTo>
                    <a:cubicBezTo>
                      <a:pt x="52" y="203"/>
                      <a:pt x="43" y="201"/>
                      <a:pt x="36" y="196"/>
                    </a:cubicBezTo>
                    <a:cubicBezTo>
                      <a:pt x="28" y="192"/>
                      <a:pt x="22" y="186"/>
                      <a:pt x="16" y="177"/>
                    </a:cubicBezTo>
                    <a:cubicBezTo>
                      <a:pt x="11" y="169"/>
                      <a:pt x="7" y="159"/>
                      <a:pt x="4" y="147"/>
                    </a:cubicBezTo>
                    <a:cubicBezTo>
                      <a:pt x="2" y="135"/>
                      <a:pt x="0" y="121"/>
                      <a:pt x="0" y="105"/>
                    </a:cubicBezTo>
                    <a:cubicBezTo>
                      <a:pt x="0" y="88"/>
                      <a:pt x="2" y="73"/>
                      <a:pt x="4" y="60"/>
                    </a:cubicBezTo>
                    <a:cubicBezTo>
                      <a:pt x="7" y="47"/>
                      <a:pt x="12" y="36"/>
                      <a:pt x="17" y="27"/>
                    </a:cubicBezTo>
                    <a:cubicBezTo>
                      <a:pt x="23" y="18"/>
                      <a:pt x="30" y="11"/>
                      <a:pt x="38" y="7"/>
                    </a:cubicBezTo>
                    <a:cubicBezTo>
                      <a:pt x="46" y="2"/>
                      <a:pt x="56" y="0"/>
                      <a:pt x="66" y="0"/>
                    </a:cubicBezTo>
                    <a:cubicBezTo>
                      <a:pt x="107" y="0"/>
                      <a:pt x="128" y="33"/>
                      <a:pt x="128" y="100"/>
                    </a:cubicBezTo>
                    <a:close/>
                    <a:moveTo>
                      <a:pt x="105" y="103"/>
                    </a:moveTo>
                    <a:cubicBezTo>
                      <a:pt x="105" y="47"/>
                      <a:pt x="92" y="19"/>
                      <a:pt x="65" y="19"/>
                    </a:cubicBezTo>
                    <a:cubicBezTo>
                      <a:pt x="37" y="19"/>
                      <a:pt x="23" y="47"/>
                      <a:pt x="23" y="104"/>
                    </a:cubicBezTo>
                    <a:cubicBezTo>
                      <a:pt x="23" y="157"/>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0" name="Freeform 187"/>
              <p:cNvSpPr>
                <a:spLocks/>
              </p:cNvSpPr>
              <p:nvPr userDrawn="1"/>
            </p:nvSpPr>
            <p:spPr bwMode="auto">
              <a:xfrm>
                <a:off x="6978" y="2562"/>
                <a:ext cx="83" cy="245"/>
              </a:xfrm>
              <a:custGeom>
                <a:avLst/>
                <a:gdLst>
                  <a:gd name="T0" fmla="*/ 68 w 68"/>
                  <a:gd name="T1" fmla="*/ 200 h 200"/>
                  <a:gd name="T2" fmla="*/ 46 w 68"/>
                  <a:gd name="T3" fmla="*/ 200 h 200"/>
                  <a:gd name="T4" fmla="*/ 46 w 68"/>
                  <a:gd name="T5" fmla="*/ 31 h 200"/>
                  <a:gd name="T6" fmla="*/ 38 w 68"/>
                  <a:gd name="T7" fmla="*/ 37 h 200"/>
                  <a:gd name="T8" fmla="*/ 27 w 68"/>
                  <a:gd name="T9" fmla="*/ 43 h 200"/>
                  <a:gd name="T10" fmla="*/ 14 w 68"/>
                  <a:gd name="T11" fmla="*/ 50 h 200"/>
                  <a:gd name="T12" fmla="*/ 0 w 68"/>
                  <a:gd name="T13" fmla="*/ 54 h 200"/>
                  <a:gd name="T14" fmla="*/ 0 w 68"/>
                  <a:gd name="T15" fmla="*/ 31 h 200"/>
                  <a:gd name="T16" fmla="*/ 16 w 68"/>
                  <a:gd name="T17" fmla="*/ 26 h 200"/>
                  <a:gd name="T18" fmla="*/ 32 w 68"/>
                  <a:gd name="T19" fmla="*/ 18 h 200"/>
                  <a:gd name="T20" fmla="*/ 47 w 68"/>
                  <a:gd name="T21" fmla="*/ 9 h 200"/>
                  <a:gd name="T22" fmla="*/ 60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6" y="200"/>
                      <a:pt x="46" y="200"/>
                      <a:pt x="46" y="200"/>
                    </a:cubicBezTo>
                    <a:cubicBezTo>
                      <a:pt x="46" y="31"/>
                      <a:pt x="46" y="31"/>
                      <a:pt x="46" y="31"/>
                    </a:cubicBezTo>
                    <a:cubicBezTo>
                      <a:pt x="44" y="33"/>
                      <a:pt x="41" y="35"/>
                      <a:pt x="38" y="37"/>
                    </a:cubicBezTo>
                    <a:cubicBezTo>
                      <a:pt x="35" y="39"/>
                      <a:pt x="31" y="41"/>
                      <a:pt x="27" y="43"/>
                    </a:cubicBezTo>
                    <a:cubicBezTo>
                      <a:pt x="23" y="46"/>
                      <a:pt x="18" y="48"/>
                      <a:pt x="14" y="50"/>
                    </a:cubicBezTo>
                    <a:cubicBezTo>
                      <a:pt x="9" y="52"/>
                      <a:pt x="5" y="53"/>
                      <a:pt x="0" y="54"/>
                    </a:cubicBezTo>
                    <a:cubicBezTo>
                      <a:pt x="0" y="31"/>
                      <a:pt x="0" y="31"/>
                      <a:pt x="0" y="31"/>
                    </a:cubicBezTo>
                    <a:cubicBezTo>
                      <a:pt x="5" y="30"/>
                      <a:pt x="10" y="28"/>
                      <a:pt x="16" y="26"/>
                    </a:cubicBezTo>
                    <a:cubicBezTo>
                      <a:pt x="21" y="24"/>
                      <a:pt x="27" y="21"/>
                      <a:pt x="32" y="18"/>
                    </a:cubicBezTo>
                    <a:cubicBezTo>
                      <a:pt x="38" y="15"/>
                      <a:pt x="43" y="12"/>
                      <a:pt x="47" y="9"/>
                    </a:cubicBezTo>
                    <a:cubicBezTo>
                      <a:pt x="52" y="6"/>
                      <a:pt x="56" y="3"/>
                      <a:pt x="60"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1" name="Freeform 188"/>
              <p:cNvSpPr>
                <a:spLocks noEditPoints="1"/>
              </p:cNvSpPr>
              <p:nvPr userDrawn="1"/>
            </p:nvSpPr>
            <p:spPr bwMode="auto">
              <a:xfrm>
                <a:off x="7127" y="2564"/>
                <a:ext cx="156" cy="248"/>
              </a:xfrm>
              <a:custGeom>
                <a:avLst/>
                <a:gdLst>
                  <a:gd name="T0" fmla="*/ 128 w 128"/>
                  <a:gd name="T1" fmla="*/ 100 h 203"/>
                  <a:gd name="T2" fmla="*/ 123 w 128"/>
                  <a:gd name="T3" fmla="*/ 144 h 203"/>
                  <a:gd name="T4" fmla="*/ 110 w 128"/>
                  <a:gd name="T5" fmla="*/ 176 h 203"/>
                  <a:gd name="T6" fmla="*/ 90 w 128"/>
                  <a:gd name="T7" fmla="*/ 196 h 203"/>
                  <a:gd name="T8" fmla="*/ 62 w 128"/>
                  <a:gd name="T9" fmla="*/ 203 h 203"/>
                  <a:gd name="T10" fmla="*/ 35 w 128"/>
                  <a:gd name="T11" fmla="*/ 196 h 203"/>
                  <a:gd name="T12" fmla="*/ 16 w 128"/>
                  <a:gd name="T13" fmla="*/ 177 h 203"/>
                  <a:gd name="T14" fmla="*/ 4 w 128"/>
                  <a:gd name="T15" fmla="*/ 147 h 203"/>
                  <a:gd name="T16" fmla="*/ 0 w 128"/>
                  <a:gd name="T17" fmla="*/ 105 h 203"/>
                  <a:gd name="T18" fmla="*/ 4 w 128"/>
                  <a:gd name="T19" fmla="*/ 60 h 203"/>
                  <a:gd name="T20" fmla="*/ 17 w 128"/>
                  <a:gd name="T21" fmla="*/ 27 h 203"/>
                  <a:gd name="T22" fmla="*/ 38 w 128"/>
                  <a:gd name="T23" fmla="*/ 7 h 203"/>
                  <a:gd name="T24" fmla="*/ 66 w 128"/>
                  <a:gd name="T25" fmla="*/ 0 h 203"/>
                  <a:gd name="T26" fmla="*/ 128 w 128"/>
                  <a:gd name="T27" fmla="*/ 100 h 203"/>
                  <a:gd name="T28" fmla="*/ 105 w 128"/>
                  <a:gd name="T29" fmla="*/ 103 h 203"/>
                  <a:gd name="T30" fmla="*/ 65 w 128"/>
                  <a:gd name="T31" fmla="*/ 19 h 203"/>
                  <a:gd name="T32" fmla="*/ 23 w 128"/>
                  <a:gd name="T33" fmla="*/ 104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0"/>
                    </a:moveTo>
                    <a:cubicBezTo>
                      <a:pt x="128" y="117"/>
                      <a:pt x="126" y="131"/>
                      <a:pt x="123" y="144"/>
                    </a:cubicBezTo>
                    <a:cubicBezTo>
                      <a:pt x="120" y="157"/>
                      <a:pt x="116" y="167"/>
                      <a:pt x="110" y="176"/>
                    </a:cubicBezTo>
                    <a:cubicBezTo>
                      <a:pt x="105" y="185"/>
                      <a:pt x="98" y="191"/>
                      <a:pt x="90" y="196"/>
                    </a:cubicBezTo>
                    <a:cubicBezTo>
                      <a:pt x="81" y="200"/>
                      <a:pt x="72" y="203"/>
                      <a:pt x="62" y="203"/>
                    </a:cubicBezTo>
                    <a:cubicBezTo>
                      <a:pt x="52" y="203"/>
                      <a:pt x="43" y="201"/>
                      <a:pt x="35" y="196"/>
                    </a:cubicBezTo>
                    <a:cubicBezTo>
                      <a:pt x="28" y="192"/>
                      <a:pt x="21" y="186"/>
                      <a:pt x="16" y="177"/>
                    </a:cubicBezTo>
                    <a:cubicBezTo>
                      <a:pt x="11" y="169"/>
                      <a:pt x="7" y="159"/>
                      <a:pt x="4" y="147"/>
                    </a:cubicBezTo>
                    <a:cubicBezTo>
                      <a:pt x="1" y="135"/>
                      <a:pt x="0" y="121"/>
                      <a:pt x="0" y="105"/>
                    </a:cubicBezTo>
                    <a:cubicBezTo>
                      <a:pt x="0" y="88"/>
                      <a:pt x="1" y="73"/>
                      <a:pt x="4" y="60"/>
                    </a:cubicBezTo>
                    <a:cubicBezTo>
                      <a:pt x="7" y="47"/>
                      <a:pt x="11" y="36"/>
                      <a:pt x="17" y="27"/>
                    </a:cubicBezTo>
                    <a:cubicBezTo>
                      <a:pt x="22" y="18"/>
                      <a:pt x="29" y="11"/>
                      <a:pt x="38" y="7"/>
                    </a:cubicBezTo>
                    <a:cubicBezTo>
                      <a:pt x="46" y="2"/>
                      <a:pt x="55" y="0"/>
                      <a:pt x="66" y="0"/>
                    </a:cubicBezTo>
                    <a:cubicBezTo>
                      <a:pt x="107" y="0"/>
                      <a:pt x="128" y="33"/>
                      <a:pt x="128" y="100"/>
                    </a:cubicBezTo>
                    <a:close/>
                    <a:moveTo>
                      <a:pt x="105" y="103"/>
                    </a:moveTo>
                    <a:cubicBezTo>
                      <a:pt x="105" y="47"/>
                      <a:pt x="91" y="19"/>
                      <a:pt x="65" y="19"/>
                    </a:cubicBezTo>
                    <a:cubicBezTo>
                      <a:pt x="37" y="19"/>
                      <a:pt x="23" y="47"/>
                      <a:pt x="23" y="104"/>
                    </a:cubicBezTo>
                    <a:cubicBezTo>
                      <a:pt x="23" y="157"/>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2" name="Freeform 189"/>
              <p:cNvSpPr>
                <a:spLocks/>
              </p:cNvSpPr>
              <p:nvPr userDrawn="1"/>
            </p:nvSpPr>
            <p:spPr bwMode="auto">
              <a:xfrm>
                <a:off x="7325" y="2562"/>
                <a:ext cx="82" cy="245"/>
              </a:xfrm>
              <a:custGeom>
                <a:avLst/>
                <a:gdLst>
                  <a:gd name="T0" fmla="*/ 68 w 68"/>
                  <a:gd name="T1" fmla="*/ 200 h 200"/>
                  <a:gd name="T2" fmla="*/ 45 w 68"/>
                  <a:gd name="T3" fmla="*/ 200 h 200"/>
                  <a:gd name="T4" fmla="*/ 45 w 68"/>
                  <a:gd name="T5" fmla="*/ 31 h 200"/>
                  <a:gd name="T6" fmla="*/ 38 w 68"/>
                  <a:gd name="T7" fmla="*/ 37 h 200"/>
                  <a:gd name="T8" fmla="*/ 27 w 68"/>
                  <a:gd name="T9" fmla="*/ 43 h 200"/>
                  <a:gd name="T10" fmla="*/ 13 w 68"/>
                  <a:gd name="T11" fmla="*/ 50 h 200"/>
                  <a:gd name="T12" fmla="*/ 0 w 68"/>
                  <a:gd name="T13" fmla="*/ 54 h 200"/>
                  <a:gd name="T14" fmla="*/ 0 w 68"/>
                  <a:gd name="T15" fmla="*/ 31 h 200"/>
                  <a:gd name="T16" fmla="*/ 16 w 68"/>
                  <a:gd name="T17" fmla="*/ 26 h 200"/>
                  <a:gd name="T18" fmla="*/ 32 w 68"/>
                  <a:gd name="T19" fmla="*/ 18 h 200"/>
                  <a:gd name="T20" fmla="*/ 47 w 68"/>
                  <a:gd name="T21" fmla="*/ 9 h 200"/>
                  <a:gd name="T22" fmla="*/ 59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5" y="200"/>
                      <a:pt x="45" y="200"/>
                      <a:pt x="45" y="200"/>
                    </a:cubicBezTo>
                    <a:cubicBezTo>
                      <a:pt x="45" y="31"/>
                      <a:pt x="45" y="31"/>
                      <a:pt x="45" y="31"/>
                    </a:cubicBezTo>
                    <a:cubicBezTo>
                      <a:pt x="44" y="33"/>
                      <a:pt x="41" y="35"/>
                      <a:pt x="38" y="37"/>
                    </a:cubicBezTo>
                    <a:cubicBezTo>
                      <a:pt x="34" y="39"/>
                      <a:pt x="31" y="41"/>
                      <a:pt x="27" y="43"/>
                    </a:cubicBezTo>
                    <a:cubicBezTo>
                      <a:pt x="22" y="46"/>
                      <a:pt x="18" y="48"/>
                      <a:pt x="13" y="50"/>
                    </a:cubicBezTo>
                    <a:cubicBezTo>
                      <a:pt x="9" y="52"/>
                      <a:pt x="4" y="53"/>
                      <a:pt x="0" y="54"/>
                    </a:cubicBezTo>
                    <a:cubicBezTo>
                      <a:pt x="0" y="31"/>
                      <a:pt x="0" y="31"/>
                      <a:pt x="0" y="31"/>
                    </a:cubicBezTo>
                    <a:cubicBezTo>
                      <a:pt x="5" y="30"/>
                      <a:pt x="10" y="28"/>
                      <a:pt x="16" y="26"/>
                    </a:cubicBezTo>
                    <a:cubicBezTo>
                      <a:pt x="21" y="24"/>
                      <a:pt x="27" y="21"/>
                      <a:pt x="32" y="18"/>
                    </a:cubicBezTo>
                    <a:cubicBezTo>
                      <a:pt x="37" y="15"/>
                      <a:pt x="42" y="12"/>
                      <a:pt x="47" y="9"/>
                    </a:cubicBezTo>
                    <a:cubicBezTo>
                      <a:pt x="52" y="6"/>
                      <a:pt x="56" y="3"/>
                      <a:pt x="59"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3" name="Freeform 190"/>
              <p:cNvSpPr>
                <a:spLocks noEditPoints="1"/>
              </p:cNvSpPr>
              <p:nvPr userDrawn="1"/>
            </p:nvSpPr>
            <p:spPr bwMode="auto">
              <a:xfrm>
                <a:off x="7473" y="2564"/>
                <a:ext cx="155" cy="248"/>
              </a:xfrm>
              <a:custGeom>
                <a:avLst/>
                <a:gdLst>
                  <a:gd name="T0" fmla="*/ 127 w 127"/>
                  <a:gd name="T1" fmla="*/ 100 h 203"/>
                  <a:gd name="T2" fmla="*/ 123 w 127"/>
                  <a:gd name="T3" fmla="*/ 144 h 203"/>
                  <a:gd name="T4" fmla="*/ 110 w 127"/>
                  <a:gd name="T5" fmla="*/ 176 h 203"/>
                  <a:gd name="T6" fmla="*/ 89 w 127"/>
                  <a:gd name="T7" fmla="*/ 196 h 203"/>
                  <a:gd name="T8" fmla="*/ 61 w 127"/>
                  <a:gd name="T9" fmla="*/ 203 h 203"/>
                  <a:gd name="T10" fmla="*/ 35 w 127"/>
                  <a:gd name="T11" fmla="*/ 196 h 203"/>
                  <a:gd name="T12" fmla="*/ 16 w 127"/>
                  <a:gd name="T13" fmla="*/ 177 h 203"/>
                  <a:gd name="T14" fmla="*/ 4 w 127"/>
                  <a:gd name="T15" fmla="*/ 147 h 203"/>
                  <a:gd name="T16" fmla="*/ 0 w 127"/>
                  <a:gd name="T17" fmla="*/ 105 h 203"/>
                  <a:gd name="T18" fmla="*/ 4 w 127"/>
                  <a:gd name="T19" fmla="*/ 60 h 203"/>
                  <a:gd name="T20" fmla="*/ 17 w 127"/>
                  <a:gd name="T21" fmla="*/ 27 h 203"/>
                  <a:gd name="T22" fmla="*/ 37 w 127"/>
                  <a:gd name="T23" fmla="*/ 7 h 203"/>
                  <a:gd name="T24" fmla="*/ 66 w 127"/>
                  <a:gd name="T25" fmla="*/ 0 h 203"/>
                  <a:gd name="T26" fmla="*/ 127 w 127"/>
                  <a:gd name="T27" fmla="*/ 100 h 203"/>
                  <a:gd name="T28" fmla="*/ 104 w 127"/>
                  <a:gd name="T29" fmla="*/ 103 h 203"/>
                  <a:gd name="T30" fmla="*/ 65 w 127"/>
                  <a:gd name="T31" fmla="*/ 19 h 203"/>
                  <a:gd name="T32" fmla="*/ 23 w 127"/>
                  <a:gd name="T33" fmla="*/ 104 h 203"/>
                  <a:gd name="T34" fmla="*/ 64 w 127"/>
                  <a:gd name="T35" fmla="*/ 184 h 203"/>
                  <a:gd name="T36" fmla="*/ 104 w 127"/>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7" h="203">
                    <a:moveTo>
                      <a:pt x="127" y="100"/>
                    </a:moveTo>
                    <a:cubicBezTo>
                      <a:pt x="127" y="117"/>
                      <a:pt x="126" y="131"/>
                      <a:pt x="123" y="144"/>
                    </a:cubicBezTo>
                    <a:cubicBezTo>
                      <a:pt x="120" y="157"/>
                      <a:pt x="116" y="167"/>
                      <a:pt x="110" y="176"/>
                    </a:cubicBezTo>
                    <a:cubicBezTo>
                      <a:pt x="104" y="185"/>
                      <a:pt x="97" y="191"/>
                      <a:pt x="89" y="196"/>
                    </a:cubicBezTo>
                    <a:cubicBezTo>
                      <a:pt x="81" y="200"/>
                      <a:pt x="72" y="203"/>
                      <a:pt x="61" y="203"/>
                    </a:cubicBezTo>
                    <a:cubicBezTo>
                      <a:pt x="52" y="203"/>
                      <a:pt x="43" y="201"/>
                      <a:pt x="35" y="196"/>
                    </a:cubicBezTo>
                    <a:cubicBezTo>
                      <a:pt x="27" y="192"/>
                      <a:pt x="21" y="186"/>
                      <a:pt x="16" y="177"/>
                    </a:cubicBezTo>
                    <a:cubicBezTo>
                      <a:pt x="10" y="169"/>
                      <a:pt x="6" y="159"/>
                      <a:pt x="4" y="147"/>
                    </a:cubicBezTo>
                    <a:cubicBezTo>
                      <a:pt x="1" y="135"/>
                      <a:pt x="0" y="121"/>
                      <a:pt x="0" y="105"/>
                    </a:cubicBezTo>
                    <a:cubicBezTo>
                      <a:pt x="0" y="88"/>
                      <a:pt x="1" y="73"/>
                      <a:pt x="4" y="60"/>
                    </a:cubicBezTo>
                    <a:cubicBezTo>
                      <a:pt x="7" y="47"/>
                      <a:pt x="11" y="36"/>
                      <a:pt x="17" y="27"/>
                    </a:cubicBezTo>
                    <a:cubicBezTo>
                      <a:pt x="22" y="18"/>
                      <a:pt x="29" y="11"/>
                      <a:pt x="37" y="7"/>
                    </a:cubicBezTo>
                    <a:cubicBezTo>
                      <a:pt x="45" y="2"/>
                      <a:pt x="55" y="0"/>
                      <a:pt x="66" y="0"/>
                    </a:cubicBezTo>
                    <a:cubicBezTo>
                      <a:pt x="107" y="0"/>
                      <a:pt x="127" y="33"/>
                      <a:pt x="127" y="100"/>
                    </a:cubicBezTo>
                    <a:close/>
                    <a:moveTo>
                      <a:pt x="104" y="103"/>
                    </a:moveTo>
                    <a:cubicBezTo>
                      <a:pt x="104" y="47"/>
                      <a:pt x="91" y="19"/>
                      <a:pt x="65" y="19"/>
                    </a:cubicBezTo>
                    <a:cubicBezTo>
                      <a:pt x="37" y="19"/>
                      <a:pt x="23" y="47"/>
                      <a:pt x="23" y="104"/>
                    </a:cubicBezTo>
                    <a:cubicBezTo>
                      <a:pt x="23" y="157"/>
                      <a:pt x="36" y="184"/>
                      <a:pt x="64" y="184"/>
                    </a:cubicBezTo>
                    <a:cubicBezTo>
                      <a:pt x="91" y="184"/>
                      <a:pt x="104" y="157"/>
                      <a:pt x="104"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4" name="Freeform 191"/>
              <p:cNvSpPr>
                <a:spLocks/>
              </p:cNvSpPr>
              <p:nvPr userDrawn="1"/>
            </p:nvSpPr>
            <p:spPr bwMode="auto">
              <a:xfrm>
                <a:off x="7671" y="2562"/>
                <a:ext cx="81" cy="245"/>
              </a:xfrm>
              <a:custGeom>
                <a:avLst/>
                <a:gdLst>
                  <a:gd name="T0" fmla="*/ 67 w 67"/>
                  <a:gd name="T1" fmla="*/ 200 h 200"/>
                  <a:gd name="T2" fmla="*/ 45 w 67"/>
                  <a:gd name="T3" fmla="*/ 200 h 200"/>
                  <a:gd name="T4" fmla="*/ 45 w 67"/>
                  <a:gd name="T5" fmla="*/ 31 h 200"/>
                  <a:gd name="T6" fmla="*/ 37 w 67"/>
                  <a:gd name="T7" fmla="*/ 37 h 200"/>
                  <a:gd name="T8" fmla="*/ 26 w 67"/>
                  <a:gd name="T9" fmla="*/ 43 h 200"/>
                  <a:gd name="T10" fmla="*/ 13 w 67"/>
                  <a:gd name="T11" fmla="*/ 50 h 200"/>
                  <a:gd name="T12" fmla="*/ 0 w 67"/>
                  <a:gd name="T13" fmla="*/ 54 h 200"/>
                  <a:gd name="T14" fmla="*/ 0 w 67"/>
                  <a:gd name="T15" fmla="*/ 31 h 200"/>
                  <a:gd name="T16" fmla="*/ 15 w 67"/>
                  <a:gd name="T17" fmla="*/ 26 h 200"/>
                  <a:gd name="T18" fmla="*/ 32 w 67"/>
                  <a:gd name="T19" fmla="*/ 18 h 200"/>
                  <a:gd name="T20" fmla="*/ 47 w 67"/>
                  <a:gd name="T21" fmla="*/ 9 h 200"/>
                  <a:gd name="T22" fmla="*/ 59 w 67"/>
                  <a:gd name="T23" fmla="*/ 0 h 200"/>
                  <a:gd name="T24" fmla="*/ 67 w 67"/>
                  <a:gd name="T25" fmla="*/ 0 h 200"/>
                  <a:gd name="T26" fmla="*/ 67 w 67"/>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7" h="200">
                    <a:moveTo>
                      <a:pt x="67" y="200"/>
                    </a:moveTo>
                    <a:cubicBezTo>
                      <a:pt x="45" y="200"/>
                      <a:pt x="45" y="200"/>
                      <a:pt x="45" y="200"/>
                    </a:cubicBezTo>
                    <a:cubicBezTo>
                      <a:pt x="45" y="31"/>
                      <a:pt x="45" y="31"/>
                      <a:pt x="45" y="31"/>
                    </a:cubicBezTo>
                    <a:cubicBezTo>
                      <a:pt x="43" y="33"/>
                      <a:pt x="41" y="35"/>
                      <a:pt x="37" y="37"/>
                    </a:cubicBezTo>
                    <a:cubicBezTo>
                      <a:pt x="34" y="39"/>
                      <a:pt x="30" y="41"/>
                      <a:pt x="26" y="43"/>
                    </a:cubicBezTo>
                    <a:cubicBezTo>
                      <a:pt x="22" y="46"/>
                      <a:pt x="18" y="48"/>
                      <a:pt x="13" y="50"/>
                    </a:cubicBezTo>
                    <a:cubicBezTo>
                      <a:pt x="9" y="52"/>
                      <a:pt x="4" y="53"/>
                      <a:pt x="0" y="54"/>
                    </a:cubicBezTo>
                    <a:cubicBezTo>
                      <a:pt x="0" y="31"/>
                      <a:pt x="0" y="31"/>
                      <a:pt x="0" y="31"/>
                    </a:cubicBezTo>
                    <a:cubicBezTo>
                      <a:pt x="5" y="30"/>
                      <a:pt x="10" y="28"/>
                      <a:pt x="15" y="26"/>
                    </a:cubicBezTo>
                    <a:cubicBezTo>
                      <a:pt x="21" y="24"/>
                      <a:pt x="26" y="21"/>
                      <a:pt x="32" y="18"/>
                    </a:cubicBezTo>
                    <a:cubicBezTo>
                      <a:pt x="37" y="15"/>
                      <a:pt x="42" y="12"/>
                      <a:pt x="47" y="9"/>
                    </a:cubicBezTo>
                    <a:cubicBezTo>
                      <a:pt x="51" y="6"/>
                      <a:pt x="56" y="3"/>
                      <a:pt x="59" y="0"/>
                    </a:cubicBezTo>
                    <a:cubicBezTo>
                      <a:pt x="67" y="0"/>
                      <a:pt x="67" y="0"/>
                      <a:pt x="67" y="0"/>
                    </a:cubicBezTo>
                    <a:lnTo>
                      <a:pt x="67"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5" name="Freeform 192"/>
              <p:cNvSpPr>
                <a:spLocks noEditPoints="1"/>
              </p:cNvSpPr>
              <p:nvPr userDrawn="1"/>
            </p:nvSpPr>
            <p:spPr bwMode="auto">
              <a:xfrm>
                <a:off x="3461" y="2555"/>
                <a:ext cx="218" cy="255"/>
              </a:xfrm>
              <a:custGeom>
                <a:avLst/>
                <a:gdLst>
                  <a:gd name="T0" fmla="*/ 175 w 179"/>
                  <a:gd name="T1" fmla="*/ 174 h 209"/>
                  <a:gd name="T2" fmla="*/ 134 w 179"/>
                  <a:gd name="T3" fmla="*/ 208 h 209"/>
                  <a:gd name="T4" fmla="*/ 81 w 179"/>
                  <a:gd name="T5" fmla="*/ 198 h 209"/>
                  <a:gd name="T6" fmla="*/ 32 w 179"/>
                  <a:gd name="T7" fmla="*/ 202 h 209"/>
                  <a:gd name="T8" fmla="*/ 2 w 179"/>
                  <a:gd name="T9" fmla="*/ 184 h 209"/>
                  <a:gd name="T10" fmla="*/ 14 w 179"/>
                  <a:gd name="T11" fmla="*/ 159 h 209"/>
                  <a:gd name="T12" fmla="*/ 9 w 179"/>
                  <a:gd name="T13" fmla="*/ 162 h 209"/>
                  <a:gd name="T14" fmla="*/ 6 w 179"/>
                  <a:gd name="T15" fmla="*/ 183 h 209"/>
                  <a:gd name="T16" fmla="*/ 45 w 179"/>
                  <a:gd name="T17" fmla="*/ 202 h 209"/>
                  <a:gd name="T18" fmla="*/ 42 w 179"/>
                  <a:gd name="T19" fmla="*/ 152 h 209"/>
                  <a:gd name="T20" fmla="*/ 25 w 179"/>
                  <a:gd name="T21" fmla="*/ 133 h 209"/>
                  <a:gd name="T22" fmla="*/ 52 w 179"/>
                  <a:gd name="T23" fmla="*/ 83 h 209"/>
                  <a:gd name="T24" fmla="*/ 58 w 179"/>
                  <a:gd name="T25" fmla="*/ 27 h 209"/>
                  <a:gd name="T26" fmla="*/ 117 w 179"/>
                  <a:gd name="T27" fmla="*/ 17 h 209"/>
                  <a:gd name="T28" fmla="*/ 160 w 179"/>
                  <a:gd name="T29" fmla="*/ 128 h 209"/>
                  <a:gd name="T30" fmla="*/ 153 w 179"/>
                  <a:gd name="T31" fmla="*/ 152 h 209"/>
                  <a:gd name="T32" fmla="*/ 128 w 179"/>
                  <a:gd name="T33" fmla="*/ 150 h 209"/>
                  <a:gd name="T34" fmla="*/ 122 w 179"/>
                  <a:gd name="T35" fmla="*/ 186 h 209"/>
                  <a:gd name="T36" fmla="*/ 165 w 179"/>
                  <a:gd name="T37" fmla="*/ 186 h 209"/>
                  <a:gd name="T38" fmla="*/ 171 w 179"/>
                  <a:gd name="T39" fmla="*/ 174 h 209"/>
                  <a:gd name="T40" fmla="*/ 161 w 179"/>
                  <a:gd name="T41" fmla="*/ 152 h 209"/>
                  <a:gd name="T42" fmla="*/ 88 w 179"/>
                  <a:gd name="T43" fmla="*/ 71 h 209"/>
                  <a:gd name="T44" fmla="*/ 102 w 179"/>
                  <a:gd name="T45" fmla="*/ 68 h 209"/>
                  <a:gd name="T46" fmla="*/ 73 w 179"/>
                  <a:gd name="T47" fmla="*/ 79 h 209"/>
                  <a:gd name="T48" fmla="*/ 64 w 179"/>
                  <a:gd name="T49" fmla="*/ 77 h 209"/>
                  <a:gd name="T50" fmla="*/ 56 w 179"/>
                  <a:gd name="T51" fmla="*/ 100 h 209"/>
                  <a:gd name="T52" fmla="*/ 45 w 179"/>
                  <a:gd name="T53" fmla="*/ 140 h 209"/>
                  <a:gd name="T54" fmla="*/ 38 w 179"/>
                  <a:gd name="T55" fmla="*/ 121 h 209"/>
                  <a:gd name="T56" fmla="*/ 40 w 179"/>
                  <a:gd name="T57" fmla="*/ 142 h 209"/>
                  <a:gd name="T58" fmla="*/ 64 w 179"/>
                  <a:gd name="T59" fmla="*/ 177 h 209"/>
                  <a:gd name="T60" fmla="*/ 70 w 179"/>
                  <a:gd name="T61" fmla="*/ 197 h 209"/>
                  <a:gd name="T62" fmla="*/ 68 w 179"/>
                  <a:gd name="T63" fmla="*/ 182 h 209"/>
                  <a:gd name="T64" fmla="*/ 109 w 179"/>
                  <a:gd name="T65" fmla="*/ 179 h 209"/>
                  <a:gd name="T66" fmla="*/ 115 w 179"/>
                  <a:gd name="T67" fmla="*/ 186 h 209"/>
                  <a:gd name="T68" fmla="*/ 119 w 179"/>
                  <a:gd name="T69" fmla="*/ 171 h 209"/>
                  <a:gd name="T70" fmla="*/ 126 w 179"/>
                  <a:gd name="T71" fmla="*/ 146 h 209"/>
                  <a:gd name="T72" fmla="*/ 126 w 179"/>
                  <a:gd name="T73" fmla="*/ 92 h 209"/>
                  <a:gd name="T74" fmla="*/ 128 w 179"/>
                  <a:gd name="T75" fmla="*/ 134 h 209"/>
                  <a:gd name="T76" fmla="*/ 117 w 179"/>
                  <a:gd name="T77" fmla="*/ 94 h 209"/>
                  <a:gd name="T78" fmla="*/ 104 w 179"/>
                  <a:gd name="T79" fmla="*/ 53 h 209"/>
                  <a:gd name="T80" fmla="*/ 98 w 179"/>
                  <a:gd name="T81" fmla="*/ 37 h 209"/>
                  <a:gd name="T82" fmla="*/ 107 w 179"/>
                  <a:gd name="T83" fmla="*/ 48 h 209"/>
                  <a:gd name="T84" fmla="*/ 87 w 179"/>
                  <a:gd name="T85" fmla="*/ 42 h 209"/>
                  <a:gd name="T86" fmla="*/ 78 w 179"/>
                  <a:gd name="T87" fmla="*/ 44 h 209"/>
                  <a:gd name="T88" fmla="*/ 66 w 179"/>
                  <a:gd name="T89" fmla="*/ 34 h 209"/>
                  <a:gd name="T90" fmla="*/ 67 w 179"/>
                  <a:gd name="T91" fmla="*/ 47 h 209"/>
                  <a:gd name="T92" fmla="*/ 73 w 179"/>
                  <a:gd name="T93" fmla="*/ 48 h 209"/>
                  <a:gd name="T94" fmla="*/ 65 w 179"/>
                  <a:gd name="T95" fmla="*/ 59 h 209"/>
                  <a:gd name="T96" fmla="*/ 101 w 179"/>
                  <a:gd name="T97" fmla="*/ 58 h 209"/>
                  <a:gd name="T98" fmla="*/ 86 w 179"/>
                  <a:gd name="T99" fmla="*/ 67 h 209"/>
                  <a:gd name="T100" fmla="*/ 72 w 179"/>
                  <a:gd name="T101" fmla="*/ 40 h 209"/>
                  <a:gd name="T102" fmla="*/ 73 w 179"/>
                  <a:gd name="T103" fmla="*/ 45 h 209"/>
                  <a:gd name="T104" fmla="*/ 99 w 179"/>
                  <a:gd name="T105" fmla="*/ 39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79" h="209">
                    <a:moveTo>
                      <a:pt x="161" y="152"/>
                    </a:moveTo>
                    <a:cubicBezTo>
                      <a:pt x="161" y="155"/>
                      <a:pt x="162" y="158"/>
                      <a:pt x="163" y="161"/>
                    </a:cubicBezTo>
                    <a:cubicBezTo>
                      <a:pt x="164" y="165"/>
                      <a:pt x="167" y="168"/>
                      <a:pt x="170" y="170"/>
                    </a:cubicBezTo>
                    <a:cubicBezTo>
                      <a:pt x="172" y="171"/>
                      <a:pt x="174" y="172"/>
                      <a:pt x="175" y="174"/>
                    </a:cubicBezTo>
                    <a:cubicBezTo>
                      <a:pt x="179" y="176"/>
                      <a:pt x="179" y="179"/>
                      <a:pt x="176" y="183"/>
                    </a:cubicBezTo>
                    <a:cubicBezTo>
                      <a:pt x="173" y="185"/>
                      <a:pt x="170" y="187"/>
                      <a:pt x="166" y="189"/>
                    </a:cubicBezTo>
                    <a:cubicBezTo>
                      <a:pt x="157" y="193"/>
                      <a:pt x="148" y="199"/>
                      <a:pt x="141" y="206"/>
                    </a:cubicBezTo>
                    <a:cubicBezTo>
                      <a:pt x="139" y="207"/>
                      <a:pt x="137" y="208"/>
                      <a:pt x="134" y="208"/>
                    </a:cubicBezTo>
                    <a:cubicBezTo>
                      <a:pt x="131" y="209"/>
                      <a:pt x="128" y="209"/>
                      <a:pt x="125" y="208"/>
                    </a:cubicBezTo>
                    <a:cubicBezTo>
                      <a:pt x="122" y="207"/>
                      <a:pt x="119" y="205"/>
                      <a:pt x="118" y="203"/>
                    </a:cubicBezTo>
                    <a:cubicBezTo>
                      <a:pt x="116" y="199"/>
                      <a:pt x="113" y="198"/>
                      <a:pt x="110" y="198"/>
                    </a:cubicBezTo>
                    <a:cubicBezTo>
                      <a:pt x="100" y="198"/>
                      <a:pt x="90" y="198"/>
                      <a:pt x="81" y="198"/>
                    </a:cubicBezTo>
                    <a:cubicBezTo>
                      <a:pt x="76" y="198"/>
                      <a:pt x="72" y="199"/>
                      <a:pt x="68" y="201"/>
                    </a:cubicBezTo>
                    <a:cubicBezTo>
                      <a:pt x="66" y="202"/>
                      <a:pt x="64" y="203"/>
                      <a:pt x="63" y="205"/>
                    </a:cubicBezTo>
                    <a:cubicBezTo>
                      <a:pt x="58" y="208"/>
                      <a:pt x="54" y="209"/>
                      <a:pt x="48" y="207"/>
                    </a:cubicBezTo>
                    <a:cubicBezTo>
                      <a:pt x="43" y="205"/>
                      <a:pt x="38" y="203"/>
                      <a:pt x="32" y="202"/>
                    </a:cubicBezTo>
                    <a:cubicBezTo>
                      <a:pt x="25" y="200"/>
                      <a:pt x="18" y="199"/>
                      <a:pt x="11" y="197"/>
                    </a:cubicBezTo>
                    <a:cubicBezTo>
                      <a:pt x="9" y="196"/>
                      <a:pt x="7" y="196"/>
                      <a:pt x="5" y="195"/>
                    </a:cubicBezTo>
                    <a:cubicBezTo>
                      <a:pt x="1" y="194"/>
                      <a:pt x="0" y="191"/>
                      <a:pt x="1" y="187"/>
                    </a:cubicBezTo>
                    <a:cubicBezTo>
                      <a:pt x="1" y="186"/>
                      <a:pt x="2" y="185"/>
                      <a:pt x="2" y="184"/>
                    </a:cubicBezTo>
                    <a:cubicBezTo>
                      <a:pt x="4" y="180"/>
                      <a:pt x="4" y="176"/>
                      <a:pt x="3" y="172"/>
                    </a:cubicBezTo>
                    <a:cubicBezTo>
                      <a:pt x="3" y="170"/>
                      <a:pt x="2" y="168"/>
                      <a:pt x="2" y="166"/>
                    </a:cubicBezTo>
                    <a:cubicBezTo>
                      <a:pt x="1" y="162"/>
                      <a:pt x="3" y="160"/>
                      <a:pt x="7" y="160"/>
                    </a:cubicBezTo>
                    <a:cubicBezTo>
                      <a:pt x="10" y="159"/>
                      <a:pt x="12" y="159"/>
                      <a:pt x="14" y="159"/>
                    </a:cubicBezTo>
                    <a:cubicBezTo>
                      <a:pt x="19" y="158"/>
                      <a:pt x="22" y="155"/>
                      <a:pt x="23" y="149"/>
                    </a:cubicBezTo>
                    <a:cubicBezTo>
                      <a:pt x="23" y="149"/>
                      <a:pt x="23" y="149"/>
                      <a:pt x="23" y="149"/>
                    </a:cubicBezTo>
                    <a:cubicBezTo>
                      <a:pt x="25" y="153"/>
                      <a:pt x="23" y="159"/>
                      <a:pt x="17" y="161"/>
                    </a:cubicBezTo>
                    <a:cubicBezTo>
                      <a:pt x="15" y="162"/>
                      <a:pt x="12" y="162"/>
                      <a:pt x="9" y="162"/>
                    </a:cubicBezTo>
                    <a:cubicBezTo>
                      <a:pt x="9" y="162"/>
                      <a:pt x="9" y="162"/>
                      <a:pt x="9" y="162"/>
                    </a:cubicBezTo>
                    <a:cubicBezTo>
                      <a:pt x="5" y="162"/>
                      <a:pt x="3" y="164"/>
                      <a:pt x="4" y="167"/>
                    </a:cubicBezTo>
                    <a:cubicBezTo>
                      <a:pt x="5" y="169"/>
                      <a:pt x="6" y="171"/>
                      <a:pt x="6" y="172"/>
                    </a:cubicBezTo>
                    <a:cubicBezTo>
                      <a:pt x="8" y="176"/>
                      <a:pt x="8" y="179"/>
                      <a:pt x="6" y="183"/>
                    </a:cubicBezTo>
                    <a:cubicBezTo>
                      <a:pt x="6" y="185"/>
                      <a:pt x="5" y="186"/>
                      <a:pt x="5" y="188"/>
                    </a:cubicBezTo>
                    <a:cubicBezTo>
                      <a:pt x="4" y="190"/>
                      <a:pt x="4" y="191"/>
                      <a:pt x="7" y="192"/>
                    </a:cubicBezTo>
                    <a:cubicBezTo>
                      <a:pt x="9" y="193"/>
                      <a:pt x="11" y="194"/>
                      <a:pt x="13" y="194"/>
                    </a:cubicBezTo>
                    <a:cubicBezTo>
                      <a:pt x="24" y="196"/>
                      <a:pt x="35" y="199"/>
                      <a:pt x="45" y="202"/>
                    </a:cubicBezTo>
                    <a:cubicBezTo>
                      <a:pt x="49" y="203"/>
                      <a:pt x="52" y="204"/>
                      <a:pt x="55" y="203"/>
                    </a:cubicBezTo>
                    <a:cubicBezTo>
                      <a:pt x="63" y="202"/>
                      <a:pt x="66" y="197"/>
                      <a:pt x="65" y="190"/>
                    </a:cubicBezTo>
                    <a:cubicBezTo>
                      <a:pt x="64" y="186"/>
                      <a:pt x="62" y="182"/>
                      <a:pt x="60" y="178"/>
                    </a:cubicBezTo>
                    <a:cubicBezTo>
                      <a:pt x="55" y="169"/>
                      <a:pt x="49" y="160"/>
                      <a:pt x="42" y="152"/>
                    </a:cubicBezTo>
                    <a:cubicBezTo>
                      <a:pt x="40" y="149"/>
                      <a:pt x="37" y="147"/>
                      <a:pt x="35" y="145"/>
                    </a:cubicBezTo>
                    <a:cubicBezTo>
                      <a:pt x="32" y="143"/>
                      <a:pt x="30" y="142"/>
                      <a:pt x="27" y="144"/>
                    </a:cubicBezTo>
                    <a:cubicBezTo>
                      <a:pt x="26" y="145"/>
                      <a:pt x="25" y="145"/>
                      <a:pt x="25" y="143"/>
                    </a:cubicBezTo>
                    <a:cubicBezTo>
                      <a:pt x="24" y="140"/>
                      <a:pt x="24" y="137"/>
                      <a:pt x="25" y="133"/>
                    </a:cubicBezTo>
                    <a:cubicBezTo>
                      <a:pt x="26" y="132"/>
                      <a:pt x="26" y="131"/>
                      <a:pt x="27" y="130"/>
                    </a:cubicBezTo>
                    <a:cubicBezTo>
                      <a:pt x="30" y="124"/>
                      <a:pt x="33" y="118"/>
                      <a:pt x="35" y="112"/>
                    </a:cubicBezTo>
                    <a:cubicBezTo>
                      <a:pt x="37" y="106"/>
                      <a:pt x="39" y="99"/>
                      <a:pt x="43" y="94"/>
                    </a:cubicBezTo>
                    <a:cubicBezTo>
                      <a:pt x="46" y="90"/>
                      <a:pt x="49" y="87"/>
                      <a:pt x="52" y="83"/>
                    </a:cubicBezTo>
                    <a:cubicBezTo>
                      <a:pt x="54" y="80"/>
                      <a:pt x="56" y="76"/>
                      <a:pt x="58" y="73"/>
                    </a:cubicBezTo>
                    <a:cubicBezTo>
                      <a:pt x="60" y="70"/>
                      <a:pt x="60" y="68"/>
                      <a:pt x="60" y="64"/>
                    </a:cubicBezTo>
                    <a:cubicBezTo>
                      <a:pt x="59" y="58"/>
                      <a:pt x="59" y="51"/>
                      <a:pt x="59" y="44"/>
                    </a:cubicBezTo>
                    <a:cubicBezTo>
                      <a:pt x="58" y="38"/>
                      <a:pt x="58" y="33"/>
                      <a:pt x="58" y="27"/>
                    </a:cubicBezTo>
                    <a:cubicBezTo>
                      <a:pt x="59" y="16"/>
                      <a:pt x="63" y="8"/>
                      <a:pt x="73" y="3"/>
                    </a:cubicBezTo>
                    <a:cubicBezTo>
                      <a:pt x="77" y="1"/>
                      <a:pt x="81" y="0"/>
                      <a:pt x="85" y="0"/>
                    </a:cubicBezTo>
                    <a:cubicBezTo>
                      <a:pt x="91" y="0"/>
                      <a:pt x="97" y="1"/>
                      <a:pt x="102" y="3"/>
                    </a:cubicBezTo>
                    <a:cubicBezTo>
                      <a:pt x="109" y="6"/>
                      <a:pt x="114" y="11"/>
                      <a:pt x="117" y="17"/>
                    </a:cubicBezTo>
                    <a:cubicBezTo>
                      <a:pt x="121" y="23"/>
                      <a:pt x="122" y="29"/>
                      <a:pt x="122" y="36"/>
                    </a:cubicBezTo>
                    <a:cubicBezTo>
                      <a:pt x="123" y="40"/>
                      <a:pt x="122" y="43"/>
                      <a:pt x="123" y="47"/>
                    </a:cubicBezTo>
                    <a:cubicBezTo>
                      <a:pt x="124" y="61"/>
                      <a:pt x="128" y="74"/>
                      <a:pt x="138" y="85"/>
                    </a:cubicBezTo>
                    <a:cubicBezTo>
                      <a:pt x="150" y="97"/>
                      <a:pt x="156" y="112"/>
                      <a:pt x="160" y="128"/>
                    </a:cubicBezTo>
                    <a:cubicBezTo>
                      <a:pt x="161" y="133"/>
                      <a:pt x="161" y="138"/>
                      <a:pt x="160" y="143"/>
                    </a:cubicBezTo>
                    <a:cubicBezTo>
                      <a:pt x="160" y="144"/>
                      <a:pt x="159" y="145"/>
                      <a:pt x="159" y="146"/>
                    </a:cubicBezTo>
                    <a:cubicBezTo>
                      <a:pt x="158" y="147"/>
                      <a:pt x="158" y="148"/>
                      <a:pt x="157" y="148"/>
                    </a:cubicBezTo>
                    <a:cubicBezTo>
                      <a:pt x="155" y="148"/>
                      <a:pt x="154" y="150"/>
                      <a:pt x="153" y="152"/>
                    </a:cubicBezTo>
                    <a:cubicBezTo>
                      <a:pt x="151" y="154"/>
                      <a:pt x="149" y="156"/>
                      <a:pt x="147" y="158"/>
                    </a:cubicBezTo>
                    <a:cubicBezTo>
                      <a:pt x="143" y="160"/>
                      <a:pt x="139" y="160"/>
                      <a:pt x="135" y="159"/>
                    </a:cubicBezTo>
                    <a:cubicBezTo>
                      <a:pt x="133" y="159"/>
                      <a:pt x="132" y="157"/>
                      <a:pt x="131" y="155"/>
                    </a:cubicBezTo>
                    <a:cubicBezTo>
                      <a:pt x="130" y="154"/>
                      <a:pt x="129" y="152"/>
                      <a:pt x="128" y="150"/>
                    </a:cubicBezTo>
                    <a:cubicBezTo>
                      <a:pt x="127" y="149"/>
                      <a:pt x="126" y="148"/>
                      <a:pt x="125" y="148"/>
                    </a:cubicBezTo>
                    <a:cubicBezTo>
                      <a:pt x="123" y="148"/>
                      <a:pt x="122" y="149"/>
                      <a:pt x="121" y="151"/>
                    </a:cubicBezTo>
                    <a:cubicBezTo>
                      <a:pt x="120" y="155"/>
                      <a:pt x="120" y="159"/>
                      <a:pt x="121" y="163"/>
                    </a:cubicBezTo>
                    <a:cubicBezTo>
                      <a:pt x="123" y="171"/>
                      <a:pt x="123" y="178"/>
                      <a:pt x="122" y="186"/>
                    </a:cubicBezTo>
                    <a:cubicBezTo>
                      <a:pt x="121" y="188"/>
                      <a:pt x="121" y="191"/>
                      <a:pt x="122" y="194"/>
                    </a:cubicBezTo>
                    <a:cubicBezTo>
                      <a:pt x="123" y="201"/>
                      <a:pt x="129" y="205"/>
                      <a:pt x="136" y="202"/>
                    </a:cubicBezTo>
                    <a:cubicBezTo>
                      <a:pt x="139" y="201"/>
                      <a:pt x="142" y="199"/>
                      <a:pt x="144" y="197"/>
                    </a:cubicBezTo>
                    <a:cubicBezTo>
                      <a:pt x="150" y="191"/>
                      <a:pt x="158" y="188"/>
                      <a:pt x="165" y="186"/>
                    </a:cubicBezTo>
                    <a:cubicBezTo>
                      <a:pt x="168" y="185"/>
                      <a:pt x="170" y="184"/>
                      <a:pt x="173" y="182"/>
                    </a:cubicBezTo>
                    <a:cubicBezTo>
                      <a:pt x="174" y="182"/>
                      <a:pt x="174" y="181"/>
                      <a:pt x="175" y="181"/>
                    </a:cubicBezTo>
                    <a:cubicBezTo>
                      <a:pt x="176" y="179"/>
                      <a:pt x="176" y="178"/>
                      <a:pt x="175" y="177"/>
                    </a:cubicBezTo>
                    <a:cubicBezTo>
                      <a:pt x="174" y="175"/>
                      <a:pt x="172" y="174"/>
                      <a:pt x="171" y="174"/>
                    </a:cubicBezTo>
                    <a:cubicBezTo>
                      <a:pt x="170" y="173"/>
                      <a:pt x="169" y="173"/>
                      <a:pt x="168" y="172"/>
                    </a:cubicBezTo>
                    <a:cubicBezTo>
                      <a:pt x="163" y="171"/>
                      <a:pt x="161" y="167"/>
                      <a:pt x="160" y="163"/>
                    </a:cubicBezTo>
                    <a:cubicBezTo>
                      <a:pt x="159" y="160"/>
                      <a:pt x="160" y="158"/>
                      <a:pt x="160" y="155"/>
                    </a:cubicBezTo>
                    <a:cubicBezTo>
                      <a:pt x="160" y="154"/>
                      <a:pt x="160" y="153"/>
                      <a:pt x="161" y="152"/>
                    </a:cubicBezTo>
                    <a:close/>
                    <a:moveTo>
                      <a:pt x="71" y="68"/>
                    </a:moveTo>
                    <a:cubicBezTo>
                      <a:pt x="71" y="68"/>
                      <a:pt x="71" y="69"/>
                      <a:pt x="71" y="69"/>
                    </a:cubicBezTo>
                    <a:cubicBezTo>
                      <a:pt x="73" y="71"/>
                      <a:pt x="74" y="73"/>
                      <a:pt x="77" y="73"/>
                    </a:cubicBezTo>
                    <a:cubicBezTo>
                      <a:pt x="81" y="74"/>
                      <a:pt x="85" y="73"/>
                      <a:pt x="88" y="71"/>
                    </a:cubicBezTo>
                    <a:cubicBezTo>
                      <a:pt x="91" y="70"/>
                      <a:pt x="94" y="68"/>
                      <a:pt x="98" y="66"/>
                    </a:cubicBezTo>
                    <a:cubicBezTo>
                      <a:pt x="99" y="66"/>
                      <a:pt x="100" y="66"/>
                      <a:pt x="101" y="65"/>
                    </a:cubicBezTo>
                    <a:cubicBezTo>
                      <a:pt x="101" y="65"/>
                      <a:pt x="102" y="66"/>
                      <a:pt x="102" y="66"/>
                    </a:cubicBezTo>
                    <a:cubicBezTo>
                      <a:pt x="102" y="67"/>
                      <a:pt x="102" y="67"/>
                      <a:pt x="102" y="68"/>
                    </a:cubicBezTo>
                    <a:cubicBezTo>
                      <a:pt x="101" y="68"/>
                      <a:pt x="100" y="69"/>
                      <a:pt x="99" y="69"/>
                    </a:cubicBezTo>
                    <a:cubicBezTo>
                      <a:pt x="95" y="71"/>
                      <a:pt x="91" y="74"/>
                      <a:pt x="87" y="77"/>
                    </a:cubicBezTo>
                    <a:cubicBezTo>
                      <a:pt x="85" y="78"/>
                      <a:pt x="83" y="79"/>
                      <a:pt x="81" y="80"/>
                    </a:cubicBezTo>
                    <a:cubicBezTo>
                      <a:pt x="78" y="82"/>
                      <a:pt x="76" y="82"/>
                      <a:pt x="73" y="79"/>
                    </a:cubicBezTo>
                    <a:cubicBezTo>
                      <a:pt x="71" y="77"/>
                      <a:pt x="69" y="74"/>
                      <a:pt x="67" y="71"/>
                    </a:cubicBezTo>
                    <a:cubicBezTo>
                      <a:pt x="67" y="71"/>
                      <a:pt x="66" y="70"/>
                      <a:pt x="65" y="69"/>
                    </a:cubicBezTo>
                    <a:cubicBezTo>
                      <a:pt x="65" y="70"/>
                      <a:pt x="65" y="70"/>
                      <a:pt x="65" y="70"/>
                    </a:cubicBezTo>
                    <a:cubicBezTo>
                      <a:pt x="64" y="73"/>
                      <a:pt x="64" y="75"/>
                      <a:pt x="64" y="77"/>
                    </a:cubicBezTo>
                    <a:cubicBezTo>
                      <a:pt x="63" y="79"/>
                      <a:pt x="61" y="81"/>
                      <a:pt x="60" y="83"/>
                    </a:cubicBezTo>
                    <a:cubicBezTo>
                      <a:pt x="59" y="86"/>
                      <a:pt x="57" y="89"/>
                      <a:pt x="57" y="92"/>
                    </a:cubicBezTo>
                    <a:cubicBezTo>
                      <a:pt x="57" y="94"/>
                      <a:pt x="58" y="96"/>
                      <a:pt x="58" y="98"/>
                    </a:cubicBezTo>
                    <a:cubicBezTo>
                      <a:pt x="58" y="99"/>
                      <a:pt x="57" y="99"/>
                      <a:pt x="56" y="100"/>
                    </a:cubicBezTo>
                    <a:cubicBezTo>
                      <a:pt x="54" y="104"/>
                      <a:pt x="52" y="108"/>
                      <a:pt x="50" y="112"/>
                    </a:cubicBezTo>
                    <a:cubicBezTo>
                      <a:pt x="48" y="117"/>
                      <a:pt x="46" y="122"/>
                      <a:pt x="46" y="127"/>
                    </a:cubicBezTo>
                    <a:cubicBezTo>
                      <a:pt x="46" y="130"/>
                      <a:pt x="46" y="133"/>
                      <a:pt x="46" y="136"/>
                    </a:cubicBezTo>
                    <a:cubicBezTo>
                      <a:pt x="46" y="137"/>
                      <a:pt x="45" y="139"/>
                      <a:pt x="45" y="140"/>
                    </a:cubicBezTo>
                    <a:cubicBezTo>
                      <a:pt x="45" y="141"/>
                      <a:pt x="44" y="142"/>
                      <a:pt x="43" y="141"/>
                    </a:cubicBezTo>
                    <a:cubicBezTo>
                      <a:pt x="42" y="140"/>
                      <a:pt x="41" y="139"/>
                      <a:pt x="40" y="138"/>
                    </a:cubicBezTo>
                    <a:cubicBezTo>
                      <a:pt x="38" y="134"/>
                      <a:pt x="37" y="129"/>
                      <a:pt x="38" y="125"/>
                    </a:cubicBezTo>
                    <a:cubicBezTo>
                      <a:pt x="38" y="123"/>
                      <a:pt x="38" y="122"/>
                      <a:pt x="38" y="121"/>
                    </a:cubicBezTo>
                    <a:cubicBezTo>
                      <a:pt x="38" y="121"/>
                      <a:pt x="38" y="121"/>
                      <a:pt x="38" y="121"/>
                    </a:cubicBezTo>
                    <a:cubicBezTo>
                      <a:pt x="37" y="121"/>
                      <a:pt x="37" y="122"/>
                      <a:pt x="37" y="123"/>
                    </a:cubicBezTo>
                    <a:cubicBezTo>
                      <a:pt x="35" y="127"/>
                      <a:pt x="35" y="131"/>
                      <a:pt x="37" y="135"/>
                    </a:cubicBezTo>
                    <a:cubicBezTo>
                      <a:pt x="37" y="137"/>
                      <a:pt x="38" y="140"/>
                      <a:pt x="40" y="142"/>
                    </a:cubicBezTo>
                    <a:cubicBezTo>
                      <a:pt x="44" y="146"/>
                      <a:pt x="48" y="149"/>
                      <a:pt x="52" y="153"/>
                    </a:cubicBezTo>
                    <a:cubicBezTo>
                      <a:pt x="57" y="157"/>
                      <a:pt x="62" y="161"/>
                      <a:pt x="67" y="165"/>
                    </a:cubicBezTo>
                    <a:cubicBezTo>
                      <a:pt x="69" y="167"/>
                      <a:pt x="70" y="169"/>
                      <a:pt x="69" y="172"/>
                    </a:cubicBezTo>
                    <a:cubicBezTo>
                      <a:pt x="68" y="175"/>
                      <a:pt x="67" y="176"/>
                      <a:pt x="64" y="177"/>
                    </a:cubicBezTo>
                    <a:cubicBezTo>
                      <a:pt x="64" y="177"/>
                      <a:pt x="63" y="177"/>
                      <a:pt x="62" y="178"/>
                    </a:cubicBezTo>
                    <a:cubicBezTo>
                      <a:pt x="63" y="179"/>
                      <a:pt x="65" y="181"/>
                      <a:pt x="66" y="183"/>
                    </a:cubicBezTo>
                    <a:cubicBezTo>
                      <a:pt x="68" y="186"/>
                      <a:pt x="69" y="188"/>
                      <a:pt x="69" y="192"/>
                    </a:cubicBezTo>
                    <a:cubicBezTo>
                      <a:pt x="70" y="193"/>
                      <a:pt x="70" y="195"/>
                      <a:pt x="70" y="197"/>
                    </a:cubicBezTo>
                    <a:cubicBezTo>
                      <a:pt x="70" y="197"/>
                      <a:pt x="70" y="197"/>
                      <a:pt x="70" y="197"/>
                    </a:cubicBezTo>
                    <a:cubicBezTo>
                      <a:pt x="73" y="195"/>
                      <a:pt x="73" y="193"/>
                      <a:pt x="72" y="191"/>
                    </a:cubicBezTo>
                    <a:cubicBezTo>
                      <a:pt x="72" y="188"/>
                      <a:pt x="70" y="186"/>
                      <a:pt x="69" y="184"/>
                    </a:cubicBezTo>
                    <a:cubicBezTo>
                      <a:pt x="68" y="183"/>
                      <a:pt x="68" y="183"/>
                      <a:pt x="68" y="182"/>
                    </a:cubicBezTo>
                    <a:cubicBezTo>
                      <a:pt x="69" y="181"/>
                      <a:pt x="71" y="181"/>
                      <a:pt x="72" y="182"/>
                    </a:cubicBezTo>
                    <a:cubicBezTo>
                      <a:pt x="74" y="184"/>
                      <a:pt x="76" y="185"/>
                      <a:pt x="79" y="186"/>
                    </a:cubicBezTo>
                    <a:cubicBezTo>
                      <a:pt x="85" y="187"/>
                      <a:pt x="91" y="186"/>
                      <a:pt x="97" y="185"/>
                    </a:cubicBezTo>
                    <a:cubicBezTo>
                      <a:pt x="101" y="184"/>
                      <a:pt x="106" y="182"/>
                      <a:pt x="109" y="179"/>
                    </a:cubicBezTo>
                    <a:cubicBezTo>
                      <a:pt x="111" y="177"/>
                      <a:pt x="112" y="175"/>
                      <a:pt x="114" y="173"/>
                    </a:cubicBezTo>
                    <a:cubicBezTo>
                      <a:pt x="114" y="173"/>
                      <a:pt x="115" y="172"/>
                      <a:pt x="115" y="172"/>
                    </a:cubicBezTo>
                    <a:cubicBezTo>
                      <a:pt x="116" y="172"/>
                      <a:pt x="116" y="174"/>
                      <a:pt x="117" y="174"/>
                    </a:cubicBezTo>
                    <a:cubicBezTo>
                      <a:pt x="117" y="178"/>
                      <a:pt x="117" y="182"/>
                      <a:pt x="115" y="186"/>
                    </a:cubicBezTo>
                    <a:cubicBezTo>
                      <a:pt x="115" y="188"/>
                      <a:pt x="114" y="190"/>
                      <a:pt x="114" y="192"/>
                    </a:cubicBezTo>
                    <a:cubicBezTo>
                      <a:pt x="113" y="194"/>
                      <a:pt x="114" y="195"/>
                      <a:pt x="116" y="195"/>
                    </a:cubicBezTo>
                    <a:cubicBezTo>
                      <a:pt x="117" y="191"/>
                      <a:pt x="118" y="186"/>
                      <a:pt x="119" y="182"/>
                    </a:cubicBezTo>
                    <a:cubicBezTo>
                      <a:pt x="119" y="178"/>
                      <a:pt x="120" y="175"/>
                      <a:pt x="119" y="171"/>
                    </a:cubicBezTo>
                    <a:cubicBezTo>
                      <a:pt x="119" y="167"/>
                      <a:pt x="118" y="163"/>
                      <a:pt x="118" y="159"/>
                    </a:cubicBezTo>
                    <a:cubicBezTo>
                      <a:pt x="118" y="156"/>
                      <a:pt x="118" y="153"/>
                      <a:pt x="119" y="150"/>
                    </a:cubicBezTo>
                    <a:cubicBezTo>
                      <a:pt x="120" y="147"/>
                      <a:pt x="122" y="146"/>
                      <a:pt x="126" y="146"/>
                    </a:cubicBezTo>
                    <a:cubicBezTo>
                      <a:pt x="126" y="146"/>
                      <a:pt x="126" y="146"/>
                      <a:pt x="126" y="146"/>
                    </a:cubicBezTo>
                    <a:cubicBezTo>
                      <a:pt x="127" y="142"/>
                      <a:pt x="129" y="140"/>
                      <a:pt x="132" y="139"/>
                    </a:cubicBezTo>
                    <a:cubicBezTo>
                      <a:pt x="137" y="138"/>
                      <a:pt x="142" y="138"/>
                      <a:pt x="146" y="141"/>
                    </a:cubicBezTo>
                    <a:cubicBezTo>
                      <a:pt x="145" y="138"/>
                      <a:pt x="142" y="137"/>
                      <a:pt x="140" y="136"/>
                    </a:cubicBezTo>
                    <a:cubicBezTo>
                      <a:pt x="145" y="119"/>
                      <a:pt x="136" y="97"/>
                      <a:pt x="126" y="92"/>
                    </a:cubicBezTo>
                    <a:cubicBezTo>
                      <a:pt x="131" y="97"/>
                      <a:pt x="134" y="103"/>
                      <a:pt x="136" y="110"/>
                    </a:cubicBezTo>
                    <a:cubicBezTo>
                      <a:pt x="139" y="117"/>
                      <a:pt x="140" y="123"/>
                      <a:pt x="139" y="131"/>
                    </a:cubicBezTo>
                    <a:cubicBezTo>
                      <a:pt x="138" y="135"/>
                      <a:pt x="136" y="138"/>
                      <a:pt x="132" y="138"/>
                    </a:cubicBezTo>
                    <a:cubicBezTo>
                      <a:pt x="130" y="138"/>
                      <a:pt x="128" y="137"/>
                      <a:pt x="128" y="134"/>
                    </a:cubicBezTo>
                    <a:cubicBezTo>
                      <a:pt x="127" y="132"/>
                      <a:pt x="127" y="131"/>
                      <a:pt x="127" y="129"/>
                    </a:cubicBezTo>
                    <a:cubicBezTo>
                      <a:pt x="127" y="121"/>
                      <a:pt x="126" y="114"/>
                      <a:pt x="124" y="107"/>
                    </a:cubicBezTo>
                    <a:cubicBezTo>
                      <a:pt x="123" y="103"/>
                      <a:pt x="121" y="98"/>
                      <a:pt x="117" y="95"/>
                    </a:cubicBezTo>
                    <a:cubicBezTo>
                      <a:pt x="117" y="95"/>
                      <a:pt x="117" y="94"/>
                      <a:pt x="117" y="94"/>
                    </a:cubicBezTo>
                    <a:cubicBezTo>
                      <a:pt x="115" y="86"/>
                      <a:pt x="112" y="79"/>
                      <a:pt x="108" y="72"/>
                    </a:cubicBezTo>
                    <a:cubicBezTo>
                      <a:pt x="106" y="70"/>
                      <a:pt x="105" y="67"/>
                      <a:pt x="106" y="64"/>
                    </a:cubicBezTo>
                    <a:cubicBezTo>
                      <a:pt x="106" y="62"/>
                      <a:pt x="106" y="60"/>
                      <a:pt x="107" y="58"/>
                    </a:cubicBezTo>
                    <a:cubicBezTo>
                      <a:pt x="107" y="56"/>
                      <a:pt x="106" y="54"/>
                      <a:pt x="104" y="53"/>
                    </a:cubicBezTo>
                    <a:cubicBezTo>
                      <a:pt x="100" y="52"/>
                      <a:pt x="97" y="51"/>
                      <a:pt x="94" y="49"/>
                    </a:cubicBezTo>
                    <a:cubicBezTo>
                      <a:pt x="91" y="48"/>
                      <a:pt x="91" y="47"/>
                      <a:pt x="91" y="44"/>
                    </a:cubicBezTo>
                    <a:cubicBezTo>
                      <a:pt x="91" y="43"/>
                      <a:pt x="91" y="41"/>
                      <a:pt x="92" y="40"/>
                    </a:cubicBezTo>
                    <a:cubicBezTo>
                      <a:pt x="93" y="37"/>
                      <a:pt x="95" y="36"/>
                      <a:pt x="98" y="37"/>
                    </a:cubicBezTo>
                    <a:cubicBezTo>
                      <a:pt x="99" y="37"/>
                      <a:pt x="101" y="38"/>
                      <a:pt x="102" y="39"/>
                    </a:cubicBezTo>
                    <a:cubicBezTo>
                      <a:pt x="103" y="42"/>
                      <a:pt x="103" y="45"/>
                      <a:pt x="102" y="48"/>
                    </a:cubicBezTo>
                    <a:cubicBezTo>
                      <a:pt x="102" y="48"/>
                      <a:pt x="101" y="49"/>
                      <a:pt x="102" y="50"/>
                    </a:cubicBezTo>
                    <a:cubicBezTo>
                      <a:pt x="104" y="51"/>
                      <a:pt x="107" y="50"/>
                      <a:pt x="107" y="48"/>
                    </a:cubicBezTo>
                    <a:cubicBezTo>
                      <a:pt x="108" y="44"/>
                      <a:pt x="107" y="39"/>
                      <a:pt x="105" y="35"/>
                    </a:cubicBezTo>
                    <a:cubicBezTo>
                      <a:pt x="104" y="31"/>
                      <a:pt x="100" y="29"/>
                      <a:pt x="96" y="30"/>
                    </a:cubicBezTo>
                    <a:cubicBezTo>
                      <a:pt x="91" y="30"/>
                      <a:pt x="88" y="33"/>
                      <a:pt x="87" y="37"/>
                    </a:cubicBezTo>
                    <a:cubicBezTo>
                      <a:pt x="87" y="39"/>
                      <a:pt x="87" y="40"/>
                      <a:pt x="87" y="42"/>
                    </a:cubicBezTo>
                    <a:cubicBezTo>
                      <a:pt x="87" y="43"/>
                      <a:pt x="87" y="45"/>
                      <a:pt x="87" y="47"/>
                    </a:cubicBezTo>
                    <a:cubicBezTo>
                      <a:pt x="85" y="45"/>
                      <a:pt x="83" y="45"/>
                      <a:pt x="81" y="46"/>
                    </a:cubicBezTo>
                    <a:cubicBezTo>
                      <a:pt x="80" y="46"/>
                      <a:pt x="80" y="46"/>
                      <a:pt x="80" y="46"/>
                    </a:cubicBezTo>
                    <a:cubicBezTo>
                      <a:pt x="78" y="46"/>
                      <a:pt x="78" y="45"/>
                      <a:pt x="78" y="44"/>
                    </a:cubicBezTo>
                    <a:cubicBezTo>
                      <a:pt x="77" y="41"/>
                      <a:pt x="77" y="38"/>
                      <a:pt x="76" y="36"/>
                    </a:cubicBezTo>
                    <a:cubicBezTo>
                      <a:pt x="76" y="35"/>
                      <a:pt x="76" y="35"/>
                      <a:pt x="76" y="34"/>
                    </a:cubicBezTo>
                    <a:cubicBezTo>
                      <a:pt x="74" y="32"/>
                      <a:pt x="73" y="31"/>
                      <a:pt x="70" y="31"/>
                    </a:cubicBezTo>
                    <a:cubicBezTo>
                      <a:pt x="68" y="31"/>
                      <a:pt x="67" y="32"/>
                      <a:pt x="66" y="34"/>
                    </a:cubicBezTo>
                    <a:cubicBezTo>
                      <a:pt x="63" y="39"/>
                      <a:pt x="63" y="45"/>
                      <a:pt x="66" y="49"/>
                    </a:cubicBezTo>
                    <a:cubicBezTo>
                      <a:pt x="66" y="50"/>
                      <a:pt x="67" y="51"/>
                      <a:pt x="68" y="51"/>
                    </a:cubicBezTo>
                    <a:cubicBezTo>
                      <a:pt x="69" y="51"/>
                      <a:pt x="69" y="50"/>
                      <a:pt x="69" y="49"/>
                    </a:cubicBezTo>
                    <a:cubicBezTo>
                      <a:pt x="69" y="48"/>
                      <a:pt x="68" y="48"/>
                      <a:pt x="67" y="47"/>
                    </a:cubicBezTo>
                    <a:cubicBezTo>
                      <a:pt x="66" y="45"/>
                      <a:pt x="65" y="42"/>
                      <a:pt x="66" y="40"/>
                    </a:cubicBezTo>
                    <a:cubicBezTo>
                      <a:pt x="67" y="37"/>
                      <a:pt x="71" y="36"/>
                      <a:pt x="73" y="38"/>
                    </a:cubicBezTo>
                    <a:cubicBezTo>
                      <a:pt x="75" y="39"/>
                      <a:pt x="75" y="42"/>
                      <a:pt x="75" y="44"/>
                    </a:cubicBezTo>
                    <a:cubicBezTo>
                      <a:pt x="75" y="46"/>
                      <a:pt x="74" y="47"/>
                      <a:pt x="73" y="48"/>
                    </a:cubicBezTo>
                    <a:cubicBezTo>
                      <a:pt x="73" y="48"/>
                      <a:pt x="72" y="48"/>
                      <a:pt x="72" y="49"/>
                    </a:cubicBezTo>
                    <a:cubicBezTo>
                      <a:pt x="71" y="51"/>
                      <a:pt x="69" y="52"/>
                      <a:pt x="66" y="54"/>
                    </a:cubicBezTo>
                    <a:cubicBezTo>
                      <a:pt x="65" y="54"/>
                      <a:pt x="65" y="55"/>
                      <a:pt x="64" y="56"/>
                    </a:cubicBezTo>
                    <a:cubicBezTo>
                      <a:pt x="63" y="58"/>
                      <a:pt x="64" y="59"/>
                      <a:pt x="65" y="59"/>
                    </a:cubicBezTo>
                    <a:cubicBezTo>
                      <a:pt x="66" y="60"/>
                      <a:pt x="67" y="61"/>
                      <a:pt x="68" y="62"/>
                    </a:cubicBezTo>
                    <a:cubicBezTo>
                      <a:pt x="70" y="66"/>
                      <a:pt x="74" y="66"/>
                      <a:pt x="78" y="66"/>
                    </a:cubicBezTo>
                    <a:cubicBezTo>
                      <a:pt x="82" y="66"/>
                      <a:pt x="87" y="65"/>
                      <a:pt x="91" y="63"/>
                    </a:cubicBezTo>
                    <a:cubicBezTo>
                      <a:pt x="94" y="62"/>
                      <a:pt x="98" y="61"/>
                      <a:pt x="101" y="58"/>
                    </a:cubicBezTo>
                    <a:cubicBezTo>
                      <a:pt x="101" y="58"/>
                      <a:pt x="102" y="58"/>
                      <a:pt x="103" y="58"/>
                    </a:cubicBezTo>
                    <a:cubicBezTo>
                      <a:pt x="103" y="58"/>
                      <a:pt x="103" y="59"/>
                      <a:pt x="103" y="60"/>
                    </a:cubicBezTo>
                    <a:cubicBezTo>
                      <a:pt x="103" y="60"/>
                      <a:pt x="102" y="61"/>
                      <a:pt x="102" y="61"/>
                    </a:cubicBezTo>
                    <a:cubicBezTo>
                      <a:pt x="97" y="63"/>
                      <a:pt x="91" y="65"/>
                      <a:pt x="86" y="67"/>
                    </a:cubicBezTo>
                    <a:cubicBezTo>
                      <a:pt x="83" y="69"/>
                      <a:pt x="79" y="69"/>
                      <a:pt x="74" y="69"/>
                    </a:cubicBezTo>
                    <a:cubicBezTo>
                      <a:pt x="73" y="69"/>
                      <a:pt x="72" y="68"/>
                      <a:pt x="71" y="68"/>
                    </a:cubicBezTo>
                    <a:close/>
                    <a:moveTo>
                      <a:pt x="73" y="45"/>
                    </a:moveTo>
                    <a:cubicBezTo>
                      <a:pt x="73" y="43"/>
                      <a:pt x="73" y="41"/>
                      <a:pt x="72" y="40"/>
                    </a:cubicBezTo>
                    <a:cubicBezTo>
                      <a:pt x="71" y="40"/>
                      <a:pt x="71" y="40"/>
                      <a:pt x="70" y="39"/>
                    </a:cubicBezTo>
                    <a:cubicBezTo>
                      <a:pt x="70" y="40"/>
                      <a:pt x="70" y="41"/>
                      <a:pt x="70" y="41"/>
                    </a:cubicBezTo>
                    <a:cubicBezTo>
                      <a:pt x="72" y="41"/>
                      <a:pt x="72" y="42"/>
                      <a:pt x="72" y="44"/>
                    </a:cubicBezTo>
                    <a:cubicBezTo>
                      <a:pt x="71" y="44"/>
                      <a:pt x="72" y="45"/>
                      <a:pt x="73" y="45"/>
                    </a:cubicBezTo>
                    <a:close/>
                    <a:moveTo>
                      <a:pt x="97" y="39"/>
                    </a:moveTo>
                    <a:cubicBezTo>
                      <a:pt x="99" y="40"/>
                      <a:pt x="99" y="42"/>
                      <a:pt x="100" y="44"/>
                    </a:cubicBezTo>
                    <a:cubicBezTo>
                      <a:pt x="100" y="43"/>
                      <a:pt x="101" y="43"/>
                      <a:pt x="101" y="42"/>
                    </a:cubicBezTo>
                    <a:cubicBezTo>
                      <a:pt x="101" y="41"/>
                      <a:pt x="100" y="40"/>
                      <a:pt x="99" y="39"/>
                    </a:cubicBezTo>
                    <a:cubicBezTo>
                      <a:pt x="98" y="39"/>
                      <a:pt x="98" y="38"/>
                      <a:pt x="97" y="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6" name="Freeform 193"/>
              <p:cNvSpPr>
                <a:spLocks/>
              </p:cNvSpPr>
              <p:nvPr userDrawn="1"/>
            </p:nvSpPr>
            <p:spPr bwMode="auto">
              <a:xfrm>
                <a:off x="3551" y="2614"/>
                <a:ext cx="3" cy="2"/>
              </a:xfrm>
              <a:custGeom>
                <a:avLst/>
                <a:gdLst>
                  <a:gd name="T0" fmla="*/ 2 w 2"/>
                  <a:gd name="T1" fmla="*/ 0 h 2"/>
                  <a:gd name="T2" fmla="*/ 1 w 2"/>
                  <a:gd name="T3" fmla="*/ 1 h 2"/>
                  <a:gd name="T4" fmla="*/ 0 w 2"/>
                  <a:gd name="T5" fmla="*/ 2 h 2"/>
                  <a:gd name="T6" fmla="*/ 0 w 2"/>
                  <a:gd name="T7" fmla="*/ 1 h 2"/>
                  <a:gd name="T8" fmla="*/ 2 w 2"/>
                  <a:gd name="T9" fmla="*/ 0 h 2"/>
                  <a:gd name="T10" fmla="*/ 2 w 2"/>
                  <a:gd name="T11" fmla="*/ 0 h 2"/>
                </a:gdLst>
                <a:ahLst/>
                <a:cxnLst>
                  <a:cxn ang="0">
                    <a:pos x="T0" y="T1"/>
                  </a:cxn>
                  <a:cxn ang="0">
                    <a:pos x="T2" y="T3"/>
                  </a:cxn>
                  <a:cxn ang="0">
                    <a:pos x="T4" y="T5"/>
                  </a:cxn>
                  <a:cxn ang="0">
                    <a:pos x="T6" y="T7"/>
                  </a:cxn>
                  <a:cxn ang="0">
                    <a:pos x="T8" y="T9"/>
                  </a:cxn>
                  <a:cxn ang="0">
                    <a:pos x="T10" y="T11"/>
                  </a:cxn>
                </a:cxnLst>
                <a:rect l="0" t="0" r="r" b="b"/>
                <a:pathLst>
                  <a:path w="2" h="2">
                    <a:moveTo>
                      <a:pt x="2" y="0"/>
                    </a:moveTo>
                    <a:cubicBezTo>
                      <a:pt x="2" y="0"/>
                      <a:pt x="2" y="1"/>
                      <a:pt x="1" y="1"/>
                    </a:cubicBezTo>
                    <a:cubicBezTo>
                      <a:pt x="1" y="2"/>
                      <a:pt x="0" y="2"/>
                      <a:pt x="0" y="2"/>
                    </a:cubicBezTo>
                    <a:cubicBezTo>
                      <a:pt x="0" y="1"/>
                      <a:pt x="0" y="1"/>
                      <a:pt x="0" y="1"/>
                    </a:cubicBezTo>
                    <a:cubicBezTo>
                      <a:pt x="1" y="0"/>
                      <a:pt x="1" y="0"/>
                      <a:pt x="2" y="0"/>
                    </a:cubicBezTo>
                    <a:cubicBezTo>
                      <a:pt x="2" y="0"/>
                      <a:pt x="2" y="0"/>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7" name="Freeform 194"/>
              <p:cNvSpPr>
                <a:spLocks/>
              </p:cNvSpPr>
              <p:nvPr userDrawn="1"/>
            </p:nvSpPr>
            <p:spPr bwMode="auto">
              <a:xfrm>
                <a:off x="3564" y="2614"/>
                <a:ext cx="4" cy="1"/>
              </a:xfrm>
              <a:custGeom>
                <a:avLst/>
                <a:gdLst>
                  <a:gd name="T0" fmla="*/ 0 w 4"/>
                  <a:gd name="T1" fmla="*/ 0 h 1"/>
                  <a:gd name="T2" fmla="*/ 3 w 4"/>
                  <a:gd name="T3" fmla="*/ 0 h 1"/>
                  <a:gd name="T4" fmla="*/ 4 w 4"/>
                  <a:gd name="T5" fmla="*/ 1 h 1"/>
                  <a:gd name="T6" fmla="*/ 2 w 4"/>
                  <a:gd name="T7" fmla="*/ 1 h 1"/>
                  <a:gd name="T8" fmla="*/ 0 w 4"/>
                  <a:gd name="T9" fmla="*/ 0 h 1"/>
                </a:gdLst>
                <a:ahLst/>
                <a:cxnLst>
                  <a:cxn ang="0">
                    <a:pos x="T0" y="T1"/>
                  </a:cxn>
                  <a:cxn ang="0">
                    <a:pos x="T2" y="T3"/>
                  </a:cxn>
                  <a:cxn ang="0">
                    <a:pos x="T4" y="T5"/>
                  </a:cxn>
                  <a:cxn ang="0">
                    <a:pos x="T6" y="T7"/>
                  </a:cxn>
                  <a:cxn ang="0">
                    <a:pos x="T8" y="T9"/>
                  </a:cxn>
                </a:cxnLst>
                <a:rect l="0" t="0" r="r" b="b"/>
                <a:pathLst>
                  <a:path w="4" h="1">
                    <a:moveTo>
                      <a:pt x="0" y="0"/>
                    </a:moveTo>
                    <a:cubicBezTo>
                      <a:pt x="2" y="0"/>
                      <a:pt x="2" y="0"/>
                      <a:pt x="3" y="0"/>
                    </a:cubicBezTo>
                    <a:cubicBezTo>
                      <a:pt x="3" y="0"/>
                      <a:pt x="3" y="1"/>
                      <a:pt x="4" y="1"/>
                    </a:cubicBezTo>
                    <a:cubicBezTo>
                      <a:pt x="3" y="1"/>
                      <a:pt x="3" y="1"/>
                      <a:pt x="2" y="1"/>
                    </a:cubicBezTo>
                    <a:cubicBezTo>
                      <a:pt x="2" y="1"/>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8" name="Freeform 195"/>
              <p:cNvSpPr>
                <a:spLocks/>
              </p:cNvSpPr>
              <p:nvPr userDrawn="1"/>
            </p:nvSpPr>
            <p:spPr bwMode="auto">
              <a:xfrm>
                <a:off x="2004" y="3292"/>
                <a:ext cx="83" cy="245"/>
              </a:xfrm>
              <a:custGeom>
                <a:avLst/>
                <a:gdLst>
                  <a:gd name="T0" fmla="*/ 68 w 68"/>
                  <a:gd name="T1" fmla="*/ 201 h 201"/>
                  <a:gd name="T2" fmla="*/ 45 w 68"/>
                  <a:gd name="T3" fmla="*/ 201 h 201"/>
                  <a:gd name="T4" fmla="*/ 45 w 68"/>
                  <a:gd name="T5" fmla="*/ 31 h 201"/>
                  <a:gd name="T6" fmla="*/ 38 w 68"/>
                  <a:gd name="T7" fmla="*/ 37 h 201"/>
                  <a:gd name="T8" fmla="*/ 27 w 68"/>
                  <a:gd name="T9" fmla="*/ 44 h 201"/>
                  <a:gd name="T10" fmla="*/ 13 w 68"/>
                  <a:gd name="T11" fmla="*/ 50 h 201"/>
                  <a:gd name="T12" fmla="*/ 0 w 68"/>
                  <a:gd name="T13" fmla="*/ 55 h 201"/>
                  <a:gd name="T14" fmla="*/ 0 w 68"/>
                  <a:gd name="T15" fmla="*/ 32 h 201"/>
                  <a:gd name="T16" fmla="*/ 16 w 68"/>
                  <a:gd name="T17" fmla="*/ 26 h 201"/>
                  <a:gd name="T18" fmla="*/ 32 w 68"/>
                  <a:gd name="T19" fmla="*/ 19 h 201"/>
                  <a:gd name="T20" fmla="*/ 47 w 68"/>
                  <a:gd name="T21" fmla="*/ 10 h 201"/>
                  <a:gd name="T22" fmla="*/ 59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5" y="201"/>
                      <a:pt x="45" y="201"/>
                      <a:pt x="45" y="201"/>
                    </a:cubicBezTo>
                    <a:cubicBezTo>
                      <a:pt x="45" y="31"/>
                      <a:pt x="45" y="31"/>
                      <a:pt x="45" y="31"/>
                    </a:cubicBezTo>
                    <a:cubicBezTo>
                      <a:pt x="44" y="33"/>
                      <a:pt x="41" y="35"/>
                      <a:pt x="38" y="37"/>
                    </a:cubicBezTo>
                    <a:cubicBezTo>
                      <a:pt x="34" y="40"/>
                      <a:pt x="31" y="42"/>
                      <a:pt x="27" y="44"/>
                    </a:cubicBezTo>
                    <a:cubicBezTo>
                      <a:pt x="22" y="46"/>
                      <a:pt x="18" y="48"/>
                      <a:pt x="13" y="50"/>
                    </a:cubicBezTo>
                    <a:cubicBezTo>
                      <a:pt x="9" y="52"/>
                      <a:pt x="4" y="54"/>
                      <a:pt x="0" y="55"/>
                    </a:cubicBezTo>
                    <a:cubicBezTo>
                      <a:pt x="0" y="32"/>
                      <a:pt x="0" y="32"/>
                      <a:pt x="0" y="32"/>
                    </a:cubicBezTo>
                    <a:cubicBezTo>
                      <a:pt x="5" y="31"/>
                      <a:pt x="10" y="29"/>
                      <a:pt x="16" y="26"/>
                    </a:cubicBezTo>
                    <a:cubicBezTo>
                      <a:pt x="21" y="24"/>
                      <a:pt x="27" y="22"/>
                      <a:pt x="32" y="19"/>
                    </a:cubicBezTo>
                    <a:cubicBezTo>
                      <a:pt x="37" y="16"/>
                      <a:pt x="42" y="13"/>
                      <a:pt x="47" y="10"/>
                    </a:cubicBezTo>
                    <a:cubicBezTo>
                      <a:pt x="52" y="7"/>
                      <a:pt x="56" y="3"/>
                      <a:pt x="59"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9" name="Freeform 196"/>
              <p:cNvSpPr>
                <a:spLocks noEditPoints="1"/>
              </p:cNvSpPr>
              <p:nvPr userDrawn="1"/>
            </p:nvSpPr>
            <p:spPr bwMode="auto">
              <a:xfrm>
                <a:off x="2152" y="3294"/>
                <a:ext cx="155" cy="247"/>
              </a:xfrm>
              <a:custGeom>
                <a:avLst/>
                <a:gdLst>
                  <a:gd name="T0" fmla="*/ 127 w 127"/>
                  <a:gd name="T1" fmla="*/ 100 h 202"/>
                  <a:gd name="T2" fmla="*/ 123 w 127"/>
                  <a:gd name="T3" fmla="*/ 144 h 202"/>
                  <a:gd name="T4" fmla="*/ 110 w 127"/>
                  <a:gd name="T5" fmla="*/ 176 h 202"/>
                  <a:gd name="T6" fmla="*/ 89 w 127"/>
                  <a:gd name="T7" fmla="*/ 196 h 202"/>
                  <a:gd name="T8" fmla="*/ 62 w 127"/>
                  <a:gd name="T9" fmla="*/ 202 h 202"/>
                  <a:gd name="T10" fmla="*/ 35 w 127"/>
                  <a:gd name="T11" fmla="*/ 196 h 202"/>
                  <a:gd name="T12" fmla="*/ 16 w 127"/>
                  <a:gd name="T13" fmla="*/ 177 h 202"/>
                  <a:gd name="T14" fmla="*/ 4 w 127"/>
                  <a:gd name="T15" fmla="*/ 146 h 202"/>
                  <a:gd name="T16" fmla="*/ 0 w 127"/>
                  <a:gd name="T17" fmla="*/ 105 h 202"/>
                  <a:gd name="T18" fmla="*/ 4 w 127"/>
                  <a:gd name="T19" fmla="*/ 59 h 202"/>
                  <a:gd name="T20" fmla="*/ 17 w 127"/>
                  <a:gd name="T21" fmla="*/ 26 h 202"/>
                  <a:gd name="T22" fmla="*/ 37 w 127"/>
                  <a:gd name="T23" fmla="*/ 6 h 202"/>
                  <a:gd name="T24" fmla="*/ 66 w 127"/>
                  <a:gd name="T25" fmla="*/ 0 h 202"/>
                  <a:gd name="T26" fmla="*/ 127 w 127"/>
                  <a:gd name="T27" fmla="*/ 100 h 202"/>
                  <a:gd name="T28" fmla="*/ 104 w 127"/>
                  <a:gd name="T29" fmla="*/ 102 h 202"/>
                  <a:gd name="T30" fmla="*/ 65 w 127"/>
                  <a:gd name="T31" fmla="*/ 19 h 202"/>
                  <a:gd name="T32" fmla="*/ 23 w 127"/>
                  <a:gd name="T33" fmla="*/ 104 h 202"/>
                  <a:gd name="T34" fmla="*/ 64 w 127"/>
                  <a:gd name="T35" fmla="*/ 183 h 202"/>
                  <a:gd name="T36" fmla="*/ 104 w 127"/>
                  <a:gd name="T37" fmla="*/ 102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7" h="202">
                    <a:moveTo>
                      <a:pt x="127" y="100"/>
                    </a:moveTo>
                    <a:cubicBezTo>
                      <a:pt x="127" y="116"/>
                      <a:pt x="126" y="131"/>
                      <a:pt x="123" y="144"/>
                    </a:cubicBezTo>
                    <a:cubicBezTo>
                      <a:pt x="120" y="156"/>
                      <a:pt x="116" y="167"/>
                      <a:pt x="110" y="176"/>
                    </a:cubicBezTo>
                    <a:cubicBezTo>
                      <a:pt x="104" y="184"/>
                      <a:pt x="98" y="191"/>
                      <a:pt x="89" y="196"/>
                    </a:cubicBezTo>
                    <a:cubicBezTo>
                      <a:pt x="81" y="200"/>
                      <a:pt x="72" y="202"/>
                      <a:pt x="62" y="202"/>
                    </a:cubicBezTo>
                    <a:cubicBezTo>
                      <a:pt x="52" y="202"/>
                      <a:pt x="43" y="200"/>
                      <a:pt x="35" y="196"/>
                    </a:cubicBezTo>
                    <a:cubicBezTo>
                      <a:pt x="28" y="191"/>
                      <a:pt x="21" y="185"/>
                      <a:pt x="16" y="177"/>
                    </a:cubicBezTo>
                    <a:cubicBezTo>
                      <a:pt x="10" y="169"/>
                      <a:pt x="6" y="158"/>
                      <a:pt x="4" y="146"/>
                    </a:cubicBezTo>
                    <a:cubicBezTo>
                      <a:pt x="1" y="134"/>
                      <a:pt x="0" y="120"/>
                      <a:pt x="0" y="105"/>
                    </a:cubicBezTo>
                    <a:cubicBezTo>
                      <a:pt x="0" y="88"/>
                      <a:pt x="1" y="73"/>
                      <a:pt x="4" y="59"/>
                    </a:cubicBezTo>
                    <a:cubicBezTo>
                      <a:pt x="7" y="46"/>
                      <a:pt x="11" y="35"/>
                      <a:pt x="17" y="26"/>
                    </a:cubicBezTo>
                    <a:cubicBezTo>
                      <a:pt x="22" y="18"/>
                      <a:pt x="29" y="11"/>
                      <a:pt x="37" y="6"/>
                    </a:cubicBezTo>
                    <a:cubicBezTo>
                      <a:pt x="46" y="2"/>
                      <a:pt x="55" y="0"/>
                      <a:pt x="66" y="0"/>
                    </a:cubicBezTo>
                    <a:cubicBezTo>
                      <a:pt x="107" y="0"/>
                      <a:pt x="127" y="33"/>
                      <a:pt x="127" y="100"/>
                    </a:cubicBezTo>
                    <a:close/>
                    <a:moveTo>
                      <a:pt x="104" y="102"/>
                    </a:moveTo>
                    <a:cubicBezTo>
                      <a:pt x="104" y="46"/>
                      <a:pt x="91" y="19"/>
                      <a:pt x="65" y="19"/>
                    </a:cubicBezTo>
                    <a:cubicBezTo>
                      <a:pt x="37" y="19"/>
                      <a:pt x="23" y="47"/>
                      <a:pt x="23" y="104"/>
                    </a:cubicBezTo>
                    <a:cubicBezTo>
                      <a:pt x="23" y="157"/>
                      <a:pt x="36" y="183"/>
                      <a:pt x="64" y="183"/>
                    </a:cubicBezTo>
                    <a:cubicBezTo>
                      <a:pt x="91" y="183"/>
                      <a:pt x="104" y="156"/>
                      <a:pt x="104"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0" name="Freeform 197"/>
              <p:cNvSpPr>
                <a:spLocks/>
              </p:cNvSpPr>
              <p:nvPr userDrawn="1"/>
            </p:nvSpPr>
            <p:spPr bwMode="auto">
              <a:xfrm>
                <a:off x="2350" y="3292"/>
                <a:ext cx="81" cy="245"/>
              </a:xfrm>
              <a:custGeom>
                <a:avLst/>
                <a:gdLst>
                  <a:gd name="T0" fmla="*/ 67 w 67"/>
                  <a:gd name="T1" fmla="*/ 201 h 201"/>
                  <a:gd name="T2" fmla="*/ 45 w 67"/>
                  <a:gd name="T3" fmla="*/ 201 h 201"/>
                  <a:gd name="T4" fmla="*/ 45 w 67"/>
                  <a:gd name="T5" fmla="*/ 31 h 201"/>
                  <a:gd name="T6" fmla="*/ 37 w 67"/>
                  <a:gd name="T7" fmla="*/ 37 h 201"/>
                  <a:gd name="T8" fmla="*/ 26 w 67"/>
                  <a:gd name="T9" fmla="*/ 44 h 201"/>
                  <a:gd name="T10" fmla="*/ 13 w 67"/>
                  <a:gd name="T11" fmla="*/ 50 h 201"/>
                  <a:gd name="T12" fmla="*/ 0 w 67"/>
                  <a:gd name="T13" fmla="*/ 55 h 201"/>
                  <a:gd name="T14" fmla="*/ 0 w 67"/>
                  <a:gd name="T15" fmla="*/ 32 h 201"/>
                  <a:gd name="T16" fmla="*/ 15 w 67"/>
                  <a:gd name="T17" fmla="*/ 26 h 201"/>
                  <a:gd name="T18" fmla="*/ 32 w 67"/>
                  <a:gd name="T19" fmla="*/ 19 h 201"/>
                  <a:gd name="T20" fmla="*/ 47 w 67"/>
                  <a:gd name="T21" fmla="*/ 10 h 201"/>
                  <a:gd name="T22" fmla="*/ 59 w 67"/>
                  <a:gd name="T23" fmla="*/ 0 h 201"/>
                  <a:gd name="T24" fmla="*/ 67 w 67"/>
                  <a:gd name="T25" fmla="*/ 0 h 201"/>
                  <a:gd name="T26" fmla="*/ 67 w 67"/>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7" h="201">
                    <a:moveTo>
                      <a:pt x="67" y="201"/>
                    </a:moveTo>
                    <a:cubicBezTo>
                      <a:pt x="45" y="201"/>
                      <a:pt x="45" y="201"/>
                      <a:pt x="45" y="201"/>
                    </a:cubicBezTo>
                    <a:cubicBezTo>
                      <a:pt x="45" y="31"/>
                      <a:pt x="45" y="31"/>
                      <a:pt x="45" y="31"/>
                    </a:cubicBezTo>
                    <a:cubicBezTo>
                      <a:pt x="43" y="33"/>
                      <a:pt x="41" y="35"/>
                      <a:pt x="37" y="37"/>
                    </a:cubicBezTo>
                    <a:cubicBezTo>
                      <a:pt x="34" y="40"/>
                      <a:pt x="30" y="42"/>
                      <a:pt x="26" y="44"/>
                    </a:cubicBezTo>
                    <a:cubicBezTo>
                      <a:pt x="22" y="46"/>
                      <a:pt x="18" y="48"/>
                      <a:pt x="13" y="50"/>
                    </a:cubicBezTo>
                    <a:cubicBezTo>
                      <a:pt x="9" y="52"/>
                      <a:pt x="4" y="54"/>
                      <a:pt x="0" y="55"/>
                    </a:cubicBezTo>
                    <a:cubicBezTo>
                      <a:pt x="0" y="32"/>
                      <a:pt x="0" y="32"/>
                      <a:pt x="0" y="32"/>
                    </a:cubicBezTo>
                    <a:cubicBezTo>
                      <a:pt x="5" y="31"/>
                      <a:pt x="10" y="29"/>
                      <a:pt x="15" y="26"/>
                    </a:cubicBezTo>
                    <a:cubicBezTo>
                      <a:pt x="21" y="24"/>
                      <a:pt x="26" y="22"/>
                      <a:pt x="32" y="19"/>
                    </a:cubicBezTo>
                    <a:cubicBezTo>
                      <a:pt x="37" y="16"/>
                      <a:pt x="42" y="13"/>
                      <a:pt x="47" y="10"/>
                    </a:cubicBezTo>
                    <a:cubicBezTo>
                      <a:pt x="51" y="7"/>
                      <a:pt x="56" y="3"/>
                      <a:pt x="59" y="0"/>
                    </a:cubicBezTo>
                    <a:cubicBezTo>
                      <a:pt x="67" y="0"/>
                      <a:pt x="67" y="0"/>
                      <a:pt x="67" y="0"/>
                    </a:cubicBezTo>
                    <a:lnTo>
                      <a:pt x="67"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1" name="Freeform 198"/>
              <p:cNvSpPr>
                <a:spLocks noEditPoints="1"/>
              </p:cNvSpPr>
              <p:nvPr userDrawn="1"/>
            </p:nvSpPr>
            <p:spPr bwMode="auto">
              <a:xfrm>
                <a:off x="2497" y="3294"/>
                <a:ext cx="156" cy="247"/>
              </a:xfrm>
              <a:custGeom>
                <a:avLst/>
                <a:gdLst>
                  <a:gd name="T0" fmla="*/ 128 w 128"/>
                  <a:gd name="T1" fmla="*/ 100 h 202"/>
                  <a:gd name="T2" fmla="*/ 124 w 128"/>
                  <a:gd name="T3" fmla="*/ 144 h 202"/>
                  <a:gd name="T4" fmla="*/ 111 w 128"/>
                  <a:gd name="T5" fmla="*/ 176 h 202"/>
                  <a:gd name="T6" fmla="*/ 90 w 128"/>
                  <a:gd name="T7" fmla="*/ 196 h 202"/>
                  <a:gd name="T8" fmla="*/ 62 w 128"/>
                  <a:gd name="T9" fmla="*/ 202 h 202"/>
                  <a:gd name="T10" fmla="*/ 36 w 128"/>
                  <a:gd name="T11" fmla="*/ 196 h 202"/>
                  <a:gd name="T12" fmla="*/ 16 w 128"/>
                  <a:gd name="T13" fmla="*/ 177 h 202"/>
                  <a:gd name="T14" fmla="*/ 4 w 128"/>
                  <a:gd name="T15" fmla="*/ 146 h 202"/>
                  <a:gd name="T16" fmla="*/ 0 w 128"/>
                  <a:gd name="T17" fmla="*/ 105 h 202"/>
                  <a:gd name="T18" fmla="*/ 5 w 128"/>
                  <a:gd name="T19" fmla="*/ 59 h 202"/>
                  <a:gd name="T20" fmla="*/ 17 w 128"/>
                  <a:gd name="T21" fmla="*/ 26 h 202"/>
                  <a:gd name="T22" fmla="*/ 38 w 128"/>
                  <a:gd name="T23" fmla="*/ 6 h 202"/>
                  <a:gd name="T24" fmla="*/ 66 w 128"/>
                  <a:gd name="T25" fmla="*/ 0 h 202"/>
                  <a:gd name="T26" fmla="*/ 128 w 128"/>
                  <a:gd name="T27" fmla="*/ 100 h 202"/>
                  <a:gd name="T28" fmla="*/ 105 w 128"/>
                  <a:gd name="T29" fmla="*/ 102 h 202"/>
                  <a:gd name="T30" fmla="*/ 65 w 128"/>
                  <a:gd name="T31" fmla="*/ 19 h 202"/>
                  <a:gd name="T32" fmla="*/ 23 w 128"/>
                  <a:gd name="T33" fmla="*/ 104 h 202"/>
                  <a:gd name="T34" fmla="*/ 64 w 128"/>
                  <a:gd name="T35" fmla="*/ 183 h 202"/>
                  <a:gd name="T36" fmla="*/ 105 w 128"/>
                  <a:gd name="T37" fmla="*/ 102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2">
                    <a:moveTo>
                      <a:pt x="128" y="100"/>
                    </a:moveTo>
                    <a:cubicBezTo>
                      <a:pt x="128" y="116"/>
                      <a:pt x="127" y="131"/>
                      <a:pt x="124" y="144"/>
                    </a:cubicBezTo>
                    <a:cubicBezTo>
                      <a:pt x="121" y="156"/>
                      <a:pt x="116" y="167"/>
                      <a:pt x="111" y="176"/>
                    </a:cubicBezTo>
                    <a:cubicBezTo>
                      <a:pt x="105" y="184"/>
                      <a:pt x="98" y="191"/>
                      <a:pt x="90" y="196"/>
                    </a:cubicBezTo>
                    <a:cubicBezTo>
                      <a:pt x="82" y="200"/>
                      <a:pt x="73" y="202"/>
                      <a:pt x="62" y="202"/>
                    </a:cubicBezTo>
                    <a:cubicBezTo>
                      <a:pt x="52" y="202"/>
                      <a:pt x="44" y="200"/>
                      <a:pt x="36" y="196"/>
                    </a:cubicBezTo>
                    <a:cubicBezTo>
                      <a:pt x="28" y="191"/>
                      <a:pt x="22" y="185"/>
                      <a:pt x="16" y="177"/>
                    </a:cubicBezTo>
                    <a:cubicBezTo>
                      <a:pt x="11" y="169"/>
                      <a:pt x="7" y="158"/>
                      <a:pt x="4" y="146"/>
                    </a:cubicBezTo>
                    <a:cubicBezTo>
                      <a:pt x="2" y="134"/>
                      <a:pt x="0" y="120"/>
                      <a:pt x="0" y="105"/>
                    </a:cubicBezTo>
                    <a:cubicBezTo>
                      <a:pt x="0" y="88"/>
                      <a:pt x="2" y="73"/>
                      <a:pt x="5" y="59"/>
                    </a:cubicBezTo>
                    <a:cubicBezTo>
                      <a:pt x="7" y="46"/>
                      <a:pt x="12" y="35"/>
                      <a:pt x="17" y="26"/>
                    </a:cubicBezTo>
                    <a:cubicBezTo>
                      <a:pt x="23" y="18"/>
                      <a:pt x="30" y="11"/>
                      <a:pt x="38" y="6"/>
                    </a:cubicBezTo>
                    <a:cubicBezTo>
                      <a:pt x="46" y="2"/>
                      <a:pt x="56" y="0"/>
                      <a:pt x="66" y="0"/>
                    </a:cubicBezTo>
                    <a:cubicBezTo>
                      <a:pt x="107" y="0"/>
                      <a:pt x="128" y="33"/>
                      <a:pt x="128" y="100"/>
                    </a:cubicBezTo>
                    <a:close/>
                    <a:moveTo>
                      <a:pt x="105" y="102"/>
                    </a:moveTo>
                    <a:cubicBezTo>
                      <a:pt x="105" y="46"/>
                      <a:pt x="92" y="19"/>
                      <a:pt x="65" y="19"/>
                    </a:cubicBezTo>
                    <a:cubicBezTo>
                      <a:pt x="37" y="19"/>
                      <a:pt x="23" y="47"/>
                      <a:pt x="23" y="104"/>
                    </a:cubicBezTo>
                    <a:cubicBezTo>
                      <a:pt x="23" y="157"/>
                      <a:pt x="37" y="183"/>
                      <a:pt x="64" y="183"/>
                    </a:cubicBezTo>
                    <a:cubicBezTo>
                      <a:pt x="91" y="183"/>
                      <a:pt x="105" y="156"/>
                      <a:pt x="105"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2" name="Freeform 199"/>
              <p:cNvSpPr>
                <a:spLocks noEditPoints="1"/>
              </p:cNvSpPr>
              <p:nvPr userDrawn="1"/>
            </p:nvSpPr>
            <p:spPr bwMode="auto">
              <a:xfrm>
                <a:off x="2692" y="3294"/>
                <a:ext cx="156" cy="247"/>
              </a:xfrm>
              <a:custGeom>
                <a:avLst/>
                <a:gdLst>
                  <a:gd name="T0" fmla="*/ 128 w 128"/>
                  <a:gd name="T1" fmla="*/ 100 h 202"/>
                  <a:gd name="T2" fmla="*/ 124 w 128"/>
                  <a:gd name="T3" fmla="*/ 144 h 202"/>
                  <a:gd name="T4" fmla="*/ 111 w 128"/>
                  <a:gd name="T5" fmla="*/ 176 h 202"/>
                  <a:gd name="T6" fmla="*/ 90 w 128"/>
                  <a:gd name="T7" fmla="*/ 196 h 202"/>
                  <a:gd name="T8" fmla="*/ 62 w 128"/>
                  <a:gd name="T9" fmla="*/ 202 h 202"/>
                  <a:gd name="T10" fmla="*/ 36 w 128"/>
                  <a:gd name="T11" fmla="*/ 196 h 202"/>
                  <a:gd name="T12" fmla="*/ 16 w 128"/>
                  <a:gd name="T13" fmla="*/ 177 h 202"/>
                  <a:gd name="T14" fmla="*/ 4 w 128"/>
                  <a:gd name="T15" fmla="*/ 146 h 202"/>
                  <a:gd name="T16" fmla="*/ 0 w 128"/>
                  <a:gd name="T17" fmla="*/ 105 h 202"/>
                  <a:gd name="T18" fmla="*/ 5 w 128"/>
                  <a:gd name="T19" fmla="*/ 59 h 202"/>
                  <a:gd name="T20" fmla="*/ 17 w 128"/>
                  <a:gd name="T21" fmla="*/ 26 h 202"/>
                  <a:gd name="T22" fmla="*/ 38 w 128"/>
                  <a:gd name="T23" fmla="*/ 6 h 202"/>
                  <a:gd name="T24" fmla="*/ 66 w 128"/>
                  <a:gd name="T25" fmla="*/ 0 h 202"/>
                  <a:gd name="T26" fmla="*/ 128 w 128"/>
                  <a:gd name="T27" fmla="*/ 100 h 202"/>
                  <a:gd name="T28" fmla="*/ 105 w 128"/>
                  <a:gd name="T29" fmla="*/ 102 h 202"/>
                  <a:gd name="T30" fmla="*/ 65 w 128"/>
                  <a:gd name="T31" fmla="*/ 19 h 202"/>
                  <a:gd name="T32" fmla="*/ 23 w 128"/>
                  <a:gd name="T33" fmla="*/ 104 h 202"/>
                  <a:gd name="T34" fmla="*/ 64 w 128"/>
                  <a:gd name="T35" fmla="*/ 183 h 202"/>
                  <a:gd name="T36" fmla="*/ 105 w 128"/>
                  <a:gd name="T37" fmla="*/ 102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2">
                    <a:moveTo>
                      <a:pt x="128" y="100"/>
                    </a:moveTo>
                    <a:cubicBezTo>
                      <a:pt x="128" y="116"/>
                      <a:pt x="126" y="131"/>
                      <a:pt x="124" y="144"/>
                    </a:cubicBezTo>
                    <a:cubicBezTo>
                      <a:pt x="121" y="156"/>
                      <a:pt x="116" y="167"/>
                      <a:pt x="111" y="176"/>
                    </a:cubicBezTo>
                    <a:cubicBezTo>
                      <a:pt x="105" y="184"/>
                      <a:pt x="98" y="191"/>
                      <a:pt x="90" y="196"/>
                    </a:cubicBezTo>
                    <a:cubicBezTo>
                      <a:pt x="82" y="200"/>
                      <a:pt x="73" y="202"/>
                      <a:pt x="62" y="202"/>
                    </a:cubicBezTo>
                    <a:cubicBezTo>
                      <a:pt x="52" y="202"/>
                      <a:pt x="44" y="200"/>
                      <a:pt x="36" y="196"/>
                    </a:cubicBezTo>
                    <a:cubicBezTo>
                      <a:pt x="28" y="191"/>
                      <a:pt x="22" y="185"/>
                      <a:pt x="16" y="177"/>
                    </a:cubicBezTo>
                    <a:cubicBezTo>
                      <a:pt x="11" y="169"/>
                      <a:pt x="7" y="158"/>
                      <a:pt x="4" y="146"/>
                    </a:cubicBezTo>
                    <a:cubicBezTo>
                      <a:pt x="2" y="134"/>
                      <a:pt x="0" y="120"/>
                      <a:pt x="0" y="105"/>
                    </a:cubicBezTo>
                    <a:cubicBezTo>
                      <a:pt x="0" y="88"/>
                      <a:pt x="2" y="73"/>
                      <a:pt x="5" y="59"/>
                    </a:cubicBezTo>
                    <a:cubicBezTo>
                      <a:pt x="7" y="46"/>
                      <a:pt x="12" y="35"/>
                      <a:pt x="17" y="26"/>
                    </a:cubicBezTo>
                    <a:cubicBezTo>
                      <a:pt x="23" y="18"/>
                      <a:pt x="30" y="11"/>
                      <a:pt x="38" y="6"/>
                    </a:cubicBezTo>
                    <a:cubicBezTo>
                      <a:pt x="46" y="2"/>
                      <a:pt x="56" y="0"/>
                      <a:pt x="66" y="0"/>
                    </a:cubicBezTo>
                    <a:cubicBezTo>
                      <a:pt x="107" y="0"/>
                      <a:pt x="128" y="33"/>
                      <a:pt x="128" y="100"/>
                    </a:cubicBezTo>
                    <a:close/>
                    <a:moveTo>
                      <a:pt x="105" y="102"/>
                    </a:moveTo>
                    <a:cubicBezTo>
                      <a:pt x="105" y="46"/>
                      <a:pt x="92" y="19"/>
                      <a:pt x="65" y="19"/>
                    </a:cubicBezTo>
                    <a:cubicBezTo>
                      <a:pt x="37" y="19"/>
                      <a:pt x="23" y="47"/>
                      <a:pt x="23" y="104"/>
                    </a:cubicBezTo>
                    <a:cubicBezTo>
                      <a:pt x="23" y="157"/>
                      <a:pt x="37" y="183"/>
                      <a:pt x="64" y="183"/>
                    </a:cubicBezTo>
                    <a:cubicBezTo>
                      <a:pt x="91" y="183"/>
                      <a:pt x="105" y="156"/>
                      <a:pt x="105"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3" name="Freeform 200"/>
              <p:cNvSpPr>
                <a:spLocks/>
              </p:cNvSpPr>
              <p:nvPr userDrawn="1"/>
            </p:nvSpPr>
            <p:spPr bwMode="auto">
              <a:xfrm>
                <a:off x="2890" y="3292"/>
                <a:ext cx="83" cy="245"/>
              </a:xfrm>
              <a:custGeom>
                <a:avLst/>
                <a:gdLst>
                  <a:gd name="T0" fmla="*/ 68 w 68"/>
                  <a:gd name="T1" fmla="*/ 201 h 201"/>
                  <a:gd name="T2" fmla="*/ 46 w 68"/>
                  <a:gd name="T3" fmla="*/ 201 h 201"/>
                  <a:gd name="T4" fmla="*/ 46 w 68"/>
                  <a:gd name="T5" fmla="*/ 31 h 201"/>
                  <a:gd name="T6" fmla="*/ 38 w 68"/>
                  <a:gd name="T7" fmla="*/ 37 h 201"/>
                  <a:gd name="T8" fmla="*/ 27 w 68"/>
                  <a:gd name="T9" fmla="*/ 44 h 201"/>
                  <a:gd name="T10" fmla="*/ 14 w 68"/>
                  <a:gd name="T11" fmla="*/ 50 h 201"/>
                  <a:gd name="T12" fmla="*/ 0 w 68"/>
                  <a:gd name="T13" fmla="*/ 55 h 201"/>
                  <a:gd name="T14" fmla="*/ 0 w 68"/>
                  <a:gd name="T15" fmla="*/ 32 h 201"/>
                  <a:gd name="T16" fmla="*/ 16 w 68"/>
                  <a:gd name="T17" fmla="*/ 26 h 201"/>
                  <a:gd name="T18" fmla="*/ 32 w 68"/>
                  <a:gd name="T19" fmla="*/ 19 h 201"/>
                  <a:gd name="T20" fmla="*/ 47 w 68"/>
                  <a:gd name="T21" fmla="*/ 10 h 201"/>
                  <a:gd name="T22" fmla="*/ 60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6" y="201"/>
                      <a:pt x="46" y="201"/>
                      <a:pt x="46" y="201"/>
                    </a:cubicBezTo>
                    <a:cubicBezTo>
                      <a:pt x="46" y="31"/>
                      <a:pt x="46" y="31"/>
                      <a:pt x="46" y="31"/>
                    </a:cubicBezTo>
                    <a:cubicBezTo>
                      <a:pt x="44" y="33"/>
                      <a:pt x="41" y="35"/>
                      <a:pt x="38" y="37"/>
                    </a:cubicBezTo>
                    <a:cubicBezTo>
                      <a:pt x="35" y="40"/>
                      <a:pt x="31" y="42"/>
                      <a:pt x="27" y="44"/>
                    </a:cubicBezTo>
                    <a:cubicBezTo>
                      <a:pt x="23" y="46"/>
                      <a:pt x="18" y="48"/>
                      <a:pt x="14" y="50"/>
                    </a:cubicBezTo>
                    <a:cubicBezTo>
                      <a:pt x="9" y="52"/>
                      <a:pt x="5" y="54"/>
                      <a:pt x="0" y="55"/>
                    </a:cubicBezTo>
                    <a:cubicBezTo>
                      <a:pt x="0" y="32"/>
                      <a:pt x="0" y="32"/>
                      <a:pt x="0" y="32"/>
                    </a:cubicBezTo>
                    <a:cubicBezTo>
                      <a:pt x="5" y="31"/>
                      <a:pt x="11" y="29"/>
                      <a:pt x="16" y="26"/>
                    </a:cubicBezTo>
                    <a:cubicBezTo>
                      <a:pt x="22" y="24"/>
                      <a:pt x="27" y="22"/>
                      <a:pt x="32" y="19"/>
                    </a:cubicBezTo>
                    <a:cubicBezTo>
                      <a:pt x="38" y="16"/>
                      <a:pt x="43" y="13"/>
                      <a:pt x="47" y="10"/>
                    </a:cubicBezTo>
                    <a:cubicBezTo>
                      <a:pt x="52" y="7"/>
                      <a:pt x="56" y="3"/>
                      <a:pt x="60"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4" name="Freeform 201"/>
              <p:cNvSpPr>
                <a:spLocks/>
              </p:cNvSpPr>
              <p:nvPr userDrawn="1"/>
            </p:nvSpPr>
            <p:spPr bwMode="auto">
              <a:xfrm>
                <a:off x="3032" y="3298"/>
                <a:ext cx="77" cy="293"/>
              </a:xfrm>
              <a:custGeom>
                <a:avLst/>
                <a:gdLst>
                  <a:gd name="T0" fmla="*/ 63 w 63"/>
                  <a:gd name="T1" fmla="*/ 240 h 240"/>
                  <a:gd name="T2" fmla="*/ 21 w 63"/>
                  <a:gd name="T3" fmla="*/ 198 h 240"/>
                  <a:gd name="T4" fmla="*/ 21 w 63"/>
                  <a:gd name="T5" fmla="*/ 157 h 240"/>
                  <a:gd name="T6" fmla="*/ 0 w 63"/>
                  <a:gd name="T7" fmla="*/ 128 h 240"/>
                  <a:gd name="T8" fmla="*/ 0 w 63"/>
                  <a:gd name="T9" fmla="*/ 112 h 240"/>
                  <a:gd name="T10" fmla="*/ 21 w 63"/>
                  <a:gd name="T11" fmla="*/ 83 h 240"/>
                  <a:gd name="T12" fmla="*/ 21 w 63"/>
                  <a:gd name="T13" fmla="*/ 43 h 240"/>
                  <a:gd name="T14" fmla="*/ 63 w 63"/>
                  <a:gd name="T15" fmla="*/ 0 h 240"/>
                  <a:gd name="T16" fmla="*/ 63 w 63"/>
                  <a:gd name="T17" fmla="*/ 17 h 240"/>
                  <a:gd name="T18" fmla="*/ 42 w 63"/>
                  <a:gd name="T19" fmla="*/ 44 h 240"/>
                  <a:gd name="T20" fmla="*/ 42 w 63"/>
                  <a:gd name="T21" fmla="*/ 84 h 240"/>
                  <a:gd name="T22" fmla="*/ 21 w 63"/>
                  <a:gd name="T23" fmla="*/ 120 h 240"/>
                  <a:gd name="T24" fmla="*/ 21 w 63"/>
                  <a:gd name="T25" fmla="*/ 120 h 240"/>
                  <a:gd name="T26" fmla="*/ 42 w 63"/>
                  <a:gd name="T27" fmla="*/ 155 h 240"/>
                  <a:gd name="T28" fmla="*/ 42 w 63"/>
                  <a:gd name="T29" fmla="*/ 195 h 240"/>
                  <a:gd name="T30" fmla="*/ 46 w 63"/>
                  <a:gd name="T31" fmla="*/ 216 h 240"/>
                  <a:gd name="T32" fmla="*/ 63 w 63"/>
                  <a:gd name="T33" fmla="*/ 223 h 240"/>
                  <a:gd name="T34" fmla="*/ 63 w 63"/>
                  <a:gd name="T35" fmla="*/ 240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3" h="240">
                    <a:moveTo>
                      <a:pt x="63" y="240"/>
                    </a:moveTo>
                    <a:cubicBezTo>
                      <a:pt x="35" y="240"/>
                      <a:pt x="21" y="226"/>
                      <a:pt x="21" y="198"/>
                    </a:cubicBezTo>
                    <a:cubicBezTo>
                      <a:pt x="21" y="157"/>
                      <a:pt x="21" y="157"/>
                      <a:pt x="21" y="157"/>
                    </a:cubicBezTo>
                    <a:cubicBezTo>
                      <a:pt x="21" y="139"/>
                      <a:pt x="14" y="129"/>
                      <a:pt x="0" y="128"/>
                    </a:cubicBezTo>
                    <a:cubicBezTo>
                      <a:pt x="0" y="112"/>
                      <a:pt x="0" y="112"/>
                      <a:pt x="0" y="112"/>
                    </a:cubicBezTo>
                    <a:cubicBezTo>
                      <a:pt x="14" y="111"/>
                      <a:pt x="21" y="101"/>
                      <a:pt x="21" y="83"/>
                    </a:cubicBezTo>
                    <a:cubicBezTo>
                      <a:pt x="21" y="43"/>
                      <a:pt x="21" y="43"/>
                      <a:pt x="21" y="43"/>
                    </a:cubicBezTo>
                    <a:cubicBezTo>
                      <a:pt x="21" y="14"/>
                      <a:pt x="35" y="0"/>
                      <a:pt x="63" y="0"/>
                    </a:cubicBezTo>
                    <a:cubicBezTo>
                      <a:pt x="63" y="17"/>
                      <a:pt x="63" y="17"/>
                      <a:pt x="63" y="17"/>
                    </a:cubicBezTo>
                    <a:cubicBezTo>
                      <a:pt x="49" y="18"/>
                      <a:pt x="42" y="27"/>
                      <a:pt x="42" y="44"/>
                    </a:cubicBezTo>
                    <a:cubicBezTo>
                      <a:pt x="42" y="84"/>
                      <a:pt x="42" y="84"/>
                      <a:pt x="42" y="84"/>
                    </a:cubicBezTo>
                    <a:cubicBezTo>
                      <a:pt x="42" y="104"/>
                      <a:pt x="35" y="115"/>
                      <a:pt x="21" y="120"/>
                    </a:cubicBezTo>
                    <a:cubicBezTo>
                      <a:pt x="21" y="120"/>
                      <a:pt x="21" y="120"/>
                      <a:pt x="21" y="120"/>
                    </a:cubicBezTo>
                    <a:cubicBezTo>
                      <a:pt x="35" y="124"/>
                      <a:pt x="42" y="136"/>
                      <a:pt x="42" y="155"/>
                    </a:cubicBezTo>
                    <a:cubicBezTo>
                      <a:pt x="42" y="195"/>
                      <a:pt x="42" y="195"/>
                      <a:pt x="42" y="195"/>
                    </a:cubicBezTo>
                    <a:cubicBezTo>
                      <a:pt x="42" y="205"/>
                      <a:pt x="43" y="212"/>
                      <a:pt x="46" y="216"/>
                    </a:cubicBezTo>
                    <a:cubicBezTo>
                      <a:pt x="50" y="221"/>
                      <a:pt x="55" y="223"/>
                      <a:pt x="63" y="223"/>
                    </a:cubicBezTo>
                    <a:lnTo>
                      <a:pt x="63" y="2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5" name="Freeform 202"/>
              <p:cNvSpPr>
                <a:spLocks/>
              </p:cNvSpPr>
              <p:nvPr userDrawn="1"/>
            </p:nvSpPr>
            <p:spPr bwMode="auto">
              <a:xfrm>
                <a:off x="3140" y="3298"/>
                <a:ext cx="77" cy="293"/>
              </a:xfrm>
              <a:custGeom>
                <a:avLst/>
                <a:gdLst>
                  <a:gd name="T0" fmla="*/ 64 w 64"/>
                  <a:gd name="T1" fmla="*/ 128 h 240"/>
                  <a:gd name="T2" fmla="*/ 42 w 64"/>
                  <a:gd name="T3" fmla="*/ 157 h 240"/>
                  <a:gd name="T4" fmla="*/ 42 w 64"/>
                  <a:gd name="T5" fmla="*/ 198 h 240"/>
                  <a:gd name="T6" fmla="*/ 0 w 64"/>
                  <a:gd name="T7" fmla="*/ 240 h 240"/>
                  <a:gd name="T8" fmla="*/ 0 w 64"/>
                  <a:gd name="T9" fmla="*/ 223 h 240"/>
                  <a:gd name="T10" fmla="*/ 17 w 64"/>
                  <a:gd name="T11" fmla="*/ 216 h 240"/>
                  <a:gd name="T12" fmla="*/ 22 w 64"/>
                  <a:gd name="T13" fmla="*/ 195 h 240"/>
                  <a:gd name="T14" fmla="*/ 22 w 64"/>
                  <a:gd name="T15" fmla="*/ 155 h 240"/>
                  <a:gd name="T16" fmla="*/ 43 w 64"/>
                  <a:gd name="T17" fmla="*/ 120 h 240"/>
                  <a:gd name="T18" fmla="*/ 43 w 64"/>
                  <a:gd name="T19" fmla="*/ 120 h 240"/>
                  <a:gd name="T20" fmla="*/ 22 w 64"/>
                  <a:gd name="T21" fmla="*/ 84 h 240"/>
                  <a:gd name="T22" fmla="*/ 22 w 64"/>
                  <a:gd name="T23" fmla="*/ 44 h 240"/>
                  <a:gd name="T24" fmla="*/ 0 w 64"/>
                  <a:gd name="T25" fmla="*/ 17 h 240"/>
                  <a:gd name="T26" fmla="*/ 0 w 64"/>
                  <a:gd name="T27" fmla="*/ 0 h 240"/>
                  <a:gd name="T28" fmla="*/ 42 w 64"/>
                  <a:gd name="T29" fmla="*/ 43 h 240"/>
                  <a:gd name="T30" fmla="*/ 42 w 64"/>
                  <a:gd name="T31" fmla="*/ 83 h 240"/>
                  <a:gd name="T32" fmla="*/ 64 w 64"/>
                  <a:gd name="T33" fmla="*/ 112 h 240"/>
                  <a:gd name="T34" fmla="*/ 64 w 64"/>
                  <a:gd name="T35" fmla="*/ 128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4" h="240">
                    <a:moveTo>
                      <a:pt x="64" y="128"/>
                    </a:moveTo>
                    <a:cubicBezTo>
                      <a:pt x="49" y="129"/>
                      <a:pt x="42" y="139"/>
                      <a:pt x="42" y="157"/>
                    </a:cubicBezTo>
                    <a:cubicBezTo>
                      <a:pt x="42" y="198"/>
                      <a:pt x="42" y="198"/>
                      <a:pt x="42" y="198"/>
                    </a:cubicBezTo>
                    <a:cubicBezTo>
                      <a:pt x="42" y="226"/>
                      <a:pt x="28" y="240"/>
                      <a:pt x="0" y="240"/>
                    </a:cubicBezTo>
                    <a:cubicBezTo>
                      <a:pt x="0" y="223"/>
                      <a:pt x="0" y="223"/>
                      <a:pt x="0" y="223"/>
                    </a:cubicBezTo>
                    <a:cubicBezTo>
                      <a:pt x="8" y="223"/>
                      <a:pt x="14" y="221"/>
                      <a:pt x="17" y="216"/>
                    </a:cubicBezTo>
                    <a:cubicBezTo>
                      <a:pt x="21" y="212"/>
                      <a:pt x="22" y="205"/>
                      <a:pt x="22" y="195"/>
                    </a:cubicBezTo>
                    <a:cubicBezTo>
                      <a:pt x="22" y="155"/>
                      <a:pt x="22" y="155"/>
                      <a:pt x="22" y="155"/>
                    </a:cubicBezTo>
                    <a:cubicBezTo>
                      <a:pt x="22" y="136"/>
                      <a:pt x="29" y="124"/>
                      <a:pt x="43" y="120"/>
                    </a:cubicBezTo>
                    <a:cubicBezTo>
                      <a:pt x="43" y="120"/>
                      <a:pt x="43" y="120"/>
                      <a:pt x="43" y="120"/>
                    </a:cubicBezTo>
                    <a:cubicBezTo>
                      <a:pt x="29" y="115"/>
                      <a:pt x="22" y="104"/>
                      <a:pt x="22" y="84"/>
                    </a:cubicBezTo>
                    <a:cubicBezTo>
                      <a:pt x="22" y="44"/>
                      <a:pt x="22" y="44"/>
                      <a:pt x="22" y="44"/>
                    </a:cubicBezTo>
                    <a:cubicBezTo>
                      <a:pt x="22" y="27"/>
                      <a:pt x="15" y="18"/>
                      <a:pt x="0" y="17"/>
                    </a:cubicBezTo>
                    <a:cubicBezTo>
                      <a:pt x="0" y="0"/>
                      <a:pt x="0" y="0"/>
                      <a:pt x="0" y="0"/>
                    </a:cubicBezTo>
                    <a:cubicBezTo>
                      <a:pt x="28" y="0"/>
                      <a:pt x="42" y="14"/>
                      <a:pt x="42" y="43"/>
                    </a:cubicBezTo>
                    <a:cubicBezTo>
                      <a:pt x="42" y="83"/>
                      <a:pt x="42" y="83"/>
                      <a:pt x="42" y="83"/>
                    </a:cubicBezTo>
                    <a:cubicBezTo>
                      <a:pt x="42" y="101"/>
                      <a:pt x="49" y="111"/>
                      <a:pt x="64" y="112"/>
                    </a:cubicBezTo>
                    <a:lnTo>
                      <a:pt x="64" y="1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6" name="Freeform 203"/>
              <p:cNvSpPr>
                <a:spLocks/>
              </p:cNvSpPr>
              <p:nvPr userDrawn="1"/>
            </p:nvSpPr>
            <p:spPr bwMode="auto">
              <a:xfrm>
                <a:off x="3248" y="3292"/>
                <a:ext cx="82" cy="245"/>
              </a:xfrm>
              <a:custGeom>
                <a:avLst/>
                <a:gdLst>
                  <a:gd name="T0" fmla="*/ 67 w 67"/>
                  <a:gd name="T1" fmla="*/ 201 h 201"/>
                  <a:gd name="T2" fmla="*/ 45 w 67"/>
                  <a:gd name="T3" fmla="*/ 201 h 201"/>
                  <a:gd name="T4" fmla="*/ 45 w 67"/>
                  <a:gd name="T5" fmla="*/ 31 h 201"/>
                  <a:gd name="T6" fmla="*/ 37 w 67"/>
                  <a:gd name="T7" fmla="*/ 37 h 201"/>
                  <a:gd name="T8" fmla="*/ 26 w 67"/>
                  <a:gd name="T9" fmla="*/ 44 h 201"/>
                  <a:gd name="T10" fmla="*/ 13 w 67"/>
                  <a:gd name="T11" fmla="*/ 50 h 201"/>
                  <a:gd name="T12" fmla="*/ 0 w 67"/>
                  <a:gd name="T13" fmla="*/ 55 h 201"/>
                  <a:gd name="T14" fmla="*/ 0 w 67"/>
                  <a:gd name="T15" fmla="*/ 32 h 201"/>
                  <a:gd name="T16" fmla="*/ 15 w 67"/>
                  <a:gd name="T17" fmla="*/ 26 h 201"/>
                  <a:gd name="T18" fmla="*/ 32 w 67"/>
                  <a:gd name="T19" fmla="*/ 19 h 201"/>
                  <a:gd name="T20" fmla="*/ 47 w 67"/>
                  <a:gd name="T21" fmla="*/ 10 h 201"/>
                  <a:gd name="T22" fmla="*/ 59 w 67"/>
                  <a:gd name="T23" fmla="*/ 0 h 201"/>
                  <a:gd name="T24" fmla="*/ 67 w 67"/>
                  <a:gd name="T25" fmla="*/ 0 h 201"/>
                  <a:gd name="T26" fmla="*/ 67 w 67"/>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7" h="201">
                    <a:moveTo>
                      <a:pt x="67" y="201"/>
                    </a:moveTo>
                    <a:cubicBezTo>
                      <a:pt x="45" y="201"/>
                      <a:pt x="45" y="201"/>
                      <a:pt x="45" y="201"/>
                    </a:cubicBezTo>
                    <a:cubicBezTo>
                      <a:pt x="45" y="31"/>
                      <a:pt x="45" y="31"/>
                      <a:pt x="45" y="31"/>
                    </a:cubicBezTo>
                    <a:cubicBezTo>
                      <a:pt x="43" y="33"/>
                      <a:pt x="41" y="35"/>
                      <a:pt x="37" y="37"/>
                    </a:cubicBezTo>
                    <a:cubicBezTo>
                      <a:pt x="34" y="40"/>
                      <a:pt x="30" y="42"/>
                      <a:pt x="26" y="44"/>
                    </a:cubicBezTo>
                    <a:cubicBezTo>
                      <a:pt x="22" y="46"/>
                      <a:pt x="18" y="48"/>
                      <a:pt x="13" y="50"/>
                    </a:cubicBezTo>
                    <a:cubicBezTo>
                      <a:pt x="8" y="52"/>
                      <a:pt x="4" y="54"/>
                      <a:pt x="0" y="55"/>
                    </a:cubicBezTo>
                    <a:cubicBezTo>
                      <a:pt x="0" y="32"/>
                      <a:pt x="0" y="32"/>
                      <a:pt x="0" y="32"/>
                    </a:cubicBezTo>
                    <a:cubicBezTo>
                      <a:pt x="5" y="31"/>
                      <a:pt x="10" y="29"/>
                      <a:pt x="15" y="26"/>
                    </a:cubicBezTo>
                    <a:cubicBezTo>
                      <a:pt x="21" y="24"/>
                      <a:pt x="26" y="22"/>
                      <a:pt x="32" y="19"/>
                    </a:cubicBezTo>
                    <a:cubicBezTo>
                      <a:pt x="37" y="16"/>
                      <a:pt x="42" y="13"/>
                      <a:pt x="47" y="10"/>
                    </a:cubicBezTo>
                    <a:cubicBezTo>
                      <a:pt x="51" y="7"/>
                      <a:pt x="56" y="3"/>
                      <a:pt x="59" y="0"/>
                    </a:cubicBezTo>
                    <a:cubicBezTo>
                      <a:pt x="67" y="0"/>
                      <a:pt x="67" y="0"/>
                      <a:pt x="67" y="0"/>
                    </a:cubicBezTo>
                    <a:lnTo>
                      <a:pt x="67"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7" name="Freeform 204"/>
              <p:cNvSpPr>
                <a:spLocks noEditPoints="1"/>
              </p:cNvSpPr>
              <p:nvPr userDrawn="1"/>
            </p:nvSpPr>
            <p:spPr bwMode="auto">
              <a:xfrm>
                <a:off x="3395" y="3294"/>
                <a:ext cx="156" cy="247"/>
              </a:xfrm>
              <a:custGeom>
                <a:avLst/>
                <a:gdLst>
                  <a:gd name="T0" fmla="*/ 128 w 128"/>
                  <a:gd name="T1" fmla="*/ 100 h 202"/>
                  <a:gd name="T2" fmla="*/ 123 w 128"/>
                  <a:gd name="T3" fmla="*/ 144 h 202"/>
                  <a:gd name="T4" fmla="*/ 111 w 128"/>
                  <a:gd name="T5" fmla="*/ 176 h 202"/>
                  <a:gd name="T6" fmla="*/ 90 w 128"/>
                  <a:gd name="T7" fmla="*/ 196 h 202"/>
                  <a:gd name="T8" fmla="*/ 62 w 128"/>
                  <a:gd name="T9" fmla="*/ 202 h 202"/>
                  <a:gd name="T10" fmla="*/ 36 w 128"/>
                  <a:gd name="T11" fmla="*/ 196 h 202"/>
                  <a:gd name="T12" fmla="*/ 16 w 128"/>
                  <a:gd name="T13" fmla="*/ 177 h 202"/>
                  <a:gd name="T14" fmla="*/ 4 w 128"/>
                  <a:gd name="T15" fmla="*/ 146 h 202"/>
                  <a:gd name="T16" fmla="*/ 0 w 128"/>
                  <a:gd name="T17" fmla="*/ 105 h 202"/>
                  <a:gd name="T18" fmla="*/ 5 w 128"/>
                  <a:gd name="T19" fmla="*/ 59 h 202"/>
                  <a:gd name="T20" fmla="*/ 17 w 128"/>
                  <a:gd name="T21" fmla="*/ 26 h 202"/>
                  <a:gd name="T22" fmla="*/ 38 w 128"/>
                  <a:gd name="T23" fmla="*/ 6 h 202"/>
                  <a:gd name="T24" fmla="*/ 66 w 128"/>
                  <a:gd name="T25" fmla="*/ 0 h 202"/>
                  <a:gd name="T26" fmla="*/ 128 w 128"/>
                  <a:gd name="T27" fmla="*/ 100 h 202"/>
                  <a:gd name="T28" fmla="*/ 105 w 128"/>
                  <a:gd name="T29" fmla="*/ 102 h 202"/>
                  <a:gd name="T30" fmla="*/ 65 w 128"/>
                  <a:gd name="T31" fmla="*/ 19 h 202"/>
                  <a:gd name="T32" fmla="*/ 23 w 128"/>
                  <a:gd name="T33" fmla="*/ 104 h 202"/>
                  <a:gd name="T34" fmla="*/ 64 w 128"/>
                  <a:gd name="T35" fmla="*/ 183 h 202"/>
                  <a:gd name="T36" fmla="*/ 105 w 128"/>
                  <a:gd name="T37" fmla="*/ 102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2">
                    <a:moveTo>
                      <a:pt x="128" y="100"/>
                    </a:moveTo>
                    <a:cubicBezTo>
                      <a:pt x="128" y="116"/>
                      <a:pt x="126" y="131"/>
                      <a:pt x="123" y="144"/>
                    </a:cubicBezTo>
                    <a:cubicBezTo>
                      <a:pt x="121" y="156"/>
                      <a:pt x="116" y="167"/>
                      <a:pt x="111" y="176"/>
                    </a:cubicBezTo>
                    <a:cubicBezTo>
                      <a:pt x="105" y="184"/>
                      <a:pt x="98" y="191"/>
                      <a:pt x="90" y="196"/>
                    </a:cubicBezTo>
                    <a:cubicBezTo>
                      <a:pt x="82" y="200"/>
                      <a:pt x="73" y="202"/>
                      <a:pt x="62" y="202"/>
                    </a:cubicBezTo>
                    <a:cubicBezTo>
                      <a:pt x="52" y="202"/>
                      <a:pt x="44" y="200"/>
                      <a:pt x="36" y="196"/>
                    </a:cubicBezTo>
                    <a:cubicBezTo>
                      <a:pt x="28" y="191"/>
                      <a:pt x="22" y="185"/>
                      <a:pt x="16" y="177"/>
                    </a:cubicBezTo>
                    <a:cubicBezTo>
                      <a:pt x="11" y="169"/>
                      <a:pt x="7" y="158"/>
                      <a:pt x="4" y="146"/>
                    </a:cubicBezTo>
                    <a:cubicBezTo>
                      <a:pt x="2" y="134"/>
                      <a:pt x="0" y="120"/>
                      <a:pt x="0" y="105"/>
                    </a:cubicBezTo>
                    <a:cubicBezTo>
                      <a:pt x="0" y="88"/>
                      <a:pt x="2" y="73"/>
                      <a:pt x="5" y="59"/>
                    </a:cubicBezTo>
                    <a:cubicBezTo>
                      <a:pt x="7" y="46"/>
                      <a:pt x="12" y="35"/>
                      <a:pt x="17" y="26"/>
                    </a:cubicBezTo>
                    <a:cubicBezTo>
                      <a:pt x="23" y="18"/>
                      <a:pt x="30" y="11"/>
                      <a:pt x="38" y="6"/>
                    </a:cubicBezTo>
                    <a:cubicBezTo>
                      <a:pt x="46" y="2"/>
                      <a:pt x="56" y="0"/>
                      <a:pt x="66" y="0"/>
                    </a:cubicBezTo>
                    <a:cubicBezTo>
                      <a:pt x="107" y="0"/>
                      <a:pt x="128" y="33"/>
                      <a:pt x="128" y="100"/>
                    </a:cubicBezTo>
                    <a:close/>
                    <a:moveTo>
                      <a:pt x="105" y="102"/>
                    </a:moveTo>
                    <a:cubicBezTo>
                      <a:pt x="105" y="46"/>
                      <a:pt x="92" y="19"/>
                      <a:pt x="65" y="19"/>
                    </a:cubicBezTo>
                    <a:cubicBezTo>
                      <a:pt x="37" y="19"/>
                      <a:pt x="23" y="47"/>
                      <a:pt x="23" y="104"/>
                    </a:cubicBezTo>
                    <a:cubicBezTo>
                      <a:pt x="23" y="157"/>
                      <a:pt x="37" y="183"/>
                      <a:pt x="64" y="183"/>
                    </a:cubicBezTo>
                    <a:cubicBezTo>
                      <a:pt x="91" y="183"/>
                      <a:pt x="105" y="156"/>
                      <a:pt x="105"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8" name="Freeform 205"/>
              <p:cNvSpPr>
                <a:spLocks noEditPoints="1"/>
              </p:cNvSpPr>
              <p:nvPr userDrawn="1"/>
            </p:nvSpPr>
            <p:spPr bwMode="auto">
              <a:xfrm>
                <a:off x="3590" y="3294"/>
                <a:ext cx="156" cy="247"/>
              </a:xfrm>
              <a:custGeom>
                <a:avLst/>
                <a:gdLst>
                  <a:gd name="T0" fmla="*/ 128 w 128"/>
                  <a:gd name="T1" fmla="*/ 100 h 202"/>
                  <a:gd name="T2" fmla="*/ 123 w 128"/>
                  <a:gd name="T3" fmla="*/ 144 h 202"/>
                  <a:gd name="T4" fmla="*/ 111 w 128"/>
                  <a:gd name="T5" fmla="*/ 176 h 202"/>
                  <a:gd name="T6" fmla="*/ 90 w 128"/>
                  <a:gd name="T7" fmla="*/ 196 h 202"/>
                  <a:gd name="T8" fmla="*/ 62 w 128"/>
                  <a:gd name="T9" fmla="*/ 202 h 202"/>
                  <a:gd name="T10" fmla="*/ 36 w 128"/>
                  <a:gd name="T11" fmla="*/ 196 h 202"/>
                  <a:gd name="T12" fmla="*/ 16 w 128"/>
                  <a:gd name="T13" fmla="*/ 177 h 202"/>
                  <a:gd name="T14" fmla="*/ 4 w 128"/>
                  <a:gd name="T15" fmla="*/ 146 h 202"/>
                  <a:gd name="T16" fmla="*/ 0 w 128"/>
                  <a:gd name="T17" fmla="*/ 105 h 202"/>
                  <a:gd name="T18" fmla="*/ 5 w 128"/>
                  <a:gd name="T19" fmla="*/ 59 h 202"/>
                  <a:gd name="T20" fmla="*/ 17 w 128"/>
                  <a:gd name="T21" fmla="*/ 26 h 202"/>
                  <a:gd name="T22" fmla="*/ 38 w 128"/>
                  <a:gd name="T23" fmla="*/ 6 h 202"/>
                  <a:gd name="T24" fmla="*/ 66 w 128"/>
                  <a:gd name="T25" fmla="*/ 0 h 202"/>
                  <a:gd name="T26" fmla="*/ 128 w 128"/>
                  <a:gd name="T27" fmla="*/ 100 h 202"/>
                  <a:gd name="T28" fmla="*/ 105 w 128"/>
                  <a:gd name="T29" fmla="*/ 102 h 202"/>
                  <a:gd name="T30" fmla="*/ 65 w 128"/>
                  <a:gd name="T31" fmla="*/ 19 h 202"/>
                  <a:gd name="T32" fmla="*/ 23 w 128"/>
                  <a:gd name="T33" fmla="*/ 104 h 202"/>
                  <a:gd name="T34" fmla="*/ 64 w 128"/>
                  <a:gd name="T35" fmla="*/ 183 h 202"/>
                  <a:gd name="T36" fmla="*/ 105 w 128"/>
                  <a:gd name="T37" fmla="*/ 102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2">
                    <a:moveTo>
                      <a:pt x="128" y="100"/>
                    </a:moveTo>
                    <a:cubicBezTo>
                      <a:pt x="128" y="116"/>
                      <a:pt x="126" y="131"/>
                      <a:pt x="123" y="144"/>
                    </a:cubicBezTo>
                    <a:cubicBezTo>
                      <a:pt x="121" y="156"/>
                      <a:pt x="116" y="167"/>
                      <a:pt x="111" y="176"/>
                    </a:cubicBezTo>
                    <a:cubicBezTo>
                      <a:pt x="105" y="184"/>
                      <a:pt x="98" y="191"/>
                      <a:pt x="90" y="196"/>
                    </a:cubicBezTo>
                    <a:cubicBezTo>
                      <a:pt x="82" y="200"/>
                      <a:pt x="73" y="202"/>
                      <a:pt x="62" y="202"/>
                    </a:cubicBezTo>
                    <a:cubicBezTo>
                      <a:pt x="52" y="202"/>
                      <a:pt x="44" y="200"/>
                      <a:pt x="36" y="196"/>
                    </a:cubicBezTo>
                    <a:cubicBezTo>
                      <a:pt x="28" y="191"/>
                      <a:pt x="22" y="185"/>
                      <a:pt x="16" y="177"/>
                    </a:cubicBezTo>
                    <a:cubicBezTo>
                      <a:pt x="11" y="169"/>
                      <a:pt x="7" y="158"/>
                      <a:pt x="4" y="146"/>
                    </a:cubicBezTo>
                    <a:cubicBezTo>
                      <a:pt x="2" y="134"/>
                      <a:pt x="0" y="120"/>
                      <a:pt x="0" y="105"/>
                    </a:cubicBezTo>
                    <a:cubicBezTo>
                      <a:pt x="0" y="88"/>
                      <a:pt x="2" y="73"/>
                      <a:pt x="5" y="59"/>
                    </a:cubicBezTo>
                    <a:cubicBezTo>
                      <a:pt x="7" y="46"/>
                      <a:pt x="12" y="35"/>
                      <a:pt x="17" y="26"/>
                    </a:cubicBezTo>
                    <a:cubicBezTo>
                      <a:pt x="23" y="18"/>
                      <a:pt x="30" y="11"/>
                      <a:pt x="38" y="6"/>
                    </a:cubicBezTo>
                    <a:cubicBezTo>
                      <a:pt x="46" y="2"/>
                      <a:pt x="56" y="0"/>
                      <a:pt x="66" y="0"/>
                    </a:cubicBezTo>
                    <a:cubicBezTo>
                      <a:pt x="107" y="0"/>
                      <a:pt x="128" y="33"/>
                      <a:pt x="128" y="100"/>
                    </a:cubicBezTo>
                    <a:close/>
                    <a:moveTo>
                      <a:pt x="105" y="102"/>
                    </a:moveTo>
                    <a:cubicBezTo>
                      <a:pt x="105" y="46"/>
                      <a:pt x="92" y="19"/>
                      <a:pt x="65" y="19"/>
                    </a:cubicBezTo>
                    <a:cubicBezTo>
                      <a:pt x="37" y="19"/>
                      <a:pt x="23" y="47"/>
                      <a:pt x="23" y="104"/>
                    </a:cubicBezTo>
                    <a:cubicBezTo>
                      <a:pt x="23" y="157"/>
                      <a:pt x="37" y="183"/>
                      <a:pt x="64" y="183"/>
                    </a:cubicBezTo>
                    <a:cubicBezTo>
                      <a:pt x="91" y="183"/>
                      <a:pt x="105" y="156"/>
                      <a:pt x="105"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9" name="Freeform 206"/>
              <p:cNvSpPr>
                <a:spLocks/>
              </p:cNvSpPr>
              <p:nvPr userDrawn="1"/>
            </p:nvSpPr>
            <p:spPr bwMode="auto">
              <a:xfrm>
                <a:off x="3788" y="3292"/>
                <a:ext cx="83" cy="245"/>
              </a:xfrm>
              <a:custGeom>
                <a:avLst/>
                <a:gdLst>
                  <a:gd name="T0" fmla="*/ 68 w 68"/>
                  <a:gd name="T1" fmla="*/ 201 h 201"/>
                  <a:gd name="T2" fmla="*/ 46 w 68"/>
                  <a:gd name="T3" fmla="*/ 201 h 201"/>
                  <a:gd name="T4" fmla="*/ 46 w 68"/>
                  <a:gd name="T5" fmla="*/ 31 h 201"/>
                  <a:gd name="T6" fmla="*/ 38 w 68"/>
                  <a:gd name="T7" fmla="*/ 37 h 201"/>
                  <a:gd name="T8" fmla="*/ 27 w 68"/>
                  <a:gd name="T9" fmla="*/ 44 h 201"/>
                  <a:gd name="T10" fmla="*/ 14 w 68"/>
                  <a:gd name="T11" fmla="*/ 50 h 201"/>
                  <a:gd name="T12" fmla="*/ 0 w 68"/>
                  <a:gd name="T13" fmla="*/ 55 h 201"/>
                  <a:gd name="T14" fmla="*/ 0 w 68"/>
                  <a:gd name="T15" fmla="*/ 32 h 201"/>
                  <a:gd name="T16" fmla="*/ 16 w 68"/>
                  <a:gd name="T17" fmla="*/ 26 h 201"/>
                  <a:gd name="T18" fmla="*/ 32 w 68"/>
                  <a:gd name="T19" fmla="*/ 19 h 201"/>
                  <a:gd name="T20" fmla="*/ 47 w 68"/>
                  <a:gd name="T21" fmla="*/ 10 h 201"/>
                  <a:gd name="T22" fmla="*/ 60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6" y="201"/>
                      <a:pt x="46" y="201"/>
                      <a:pt x="46" y="201"/>
                    </a:cubicBezTo>
                    <a:cubicBezTo>
                      <a:pt x="46" y="31"/>
                      <a:pt x="46" y="31"/>
                      <a:pt x="46" y="31"/>
                    </a:cubicBezTo>
                    <a:cubicBezTo>
                      <a:pt x="44" y="33"/>
                      <a:pt x="41" y="35"/>
                      <a:pt x="38" y="37"/>
                    </a:cubicBezTo>
                    <a:cubicBezTo>
                      <a:pt x="35" y="40"/>
                      <a:pt x="31" y="42"/>
                      <a:pt x="27" y="44"/>
                    </a:cubicBezTo>
                    <a:cubicBezTo>
                      <a:pt x="23" y="46"/>
                      <a:pt x="18" y="48"/>
                      <a:pt x="14" y="50"/>
                    </a:cubicBezTo>
                    <a:cubicBezTo>
                      <a:pt x="9" y="52"/>
                      <a:pt x="5" y="54"/>
                      <a:pt x="0" y="55"/>
                    </a:cubicBezTo>
                    <a:cubicBezTo>
                      <a:pt x="0" y="32"/>
                      <a:pt x="0" y="32"/>
                      <a:pt x="0" y="32"/>
                    </a:cubicBezTo>
                    <a:cubicBezTo>
                      <a:pt x="5" y="31"/>
                      <a:pt x="10" y="29"/>
                      <a:pt x="16" y="26"/>
                    </a:cubicBezTo>
                    <a:cubicBezTo>
                      <a:pt x="21" y="24"/>
                      <a:pt x="27" y="22"/>
                      <a:pt x="32" y="19"/>
                    </a:cubicBezTo>
                    <a:cubicBezTo>
                      <a:pt x="38" y="16"/>
                      <a:pt x="43" y="13"/>
                      <a:pt x="47" y="10"/>
                    </a:cubicBezTo>
                    <a:cubicBezTo>
                      <a:pt x="52" y="7"/>
                      <a:pt x="56" y="3"/>
                      <a:pt x="60"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0" name="Freeform 207"/>
              <p:cNvSpPr>
                <a:spLocks/>
              </p:cNvSpPr>
              <p:nvPr userDrawn="1"/>
            </p:nvSpPr>
            <p:spPr bwMode="auto">
              <a:xfrm>
                <a:off x="3938" y="3292"/>
                <a:ext cx="83" cy="245"/>
              </a:xfrm>
              <a:custGeom>
                <a:avLst/>
                <a:gdLst>
                  <a:gd name="T0" fmla="*/ 68 w 68"/>
                  <a:gd name="T1" fmla="*/ 201 h 201"/>
                  <a:gd name="T2" fmla="*/ 45 w 68"/>
                  <a:gd name="T3" fmla="*/ 201 h 201"/>
                  <a:gd name="T4" fmla="*/ 45 w 68"/>
                  <a:gd name="T5" fmla="*/ 31 h 201"/>
                  <a:gd name="T6" fmla="*/ 38 w 68"/>
                  <a:gd name="T7" fmla="*/ 37 h 201"/>
                  <a:gd name="T8" fmla="*/ 26 w 68"/>
                  <a:gd name="T9" fmla="*/ 44 h 201"/>
                  <a:gd name="T10" fmla="*/ 13 w 68"/>
                  <a:gd name="T11" fmla="*/ 50 h 201"/>
                  <a:gd name="T12" fmla="*/ 0 w 68"/>
                  <a:gd name="T13" fmla="*/ 55 h 201"/>
                  <a:gd name="T14" fmla="*/ 0 w 68"/>
                  <a:gd name="T15" fmla="*/ 32 h 201"/>
                  <a:gd name="T16" fmla="*/ 16 w 68"/>
                  <a:gd name="T17" fmla="*/ 26 h 201"/>
                  <a:gd name="T18" fmla="*/ 32 w 68"/>
                  <a:gd name="T19" fmla="*/ 19 h 201"/>
                  <a:gd name="T20" fmla="*/ 47 w 68"/>
                  <a:gd name="T21" fmla="*/ 10 h 201"/>
                  <a:gd name="T22" fmla="*/ 59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5" y="201"/>
                      <a:pt x="45" y="201"/>
                      <a:pt x="45" y="201"/>
                    </a:cubicBezTo>
                    <a:cubicBezTo>
                      <a:pt x="45" y="31"/>
                      <a:pt x="45" y="31"/>
                      <a:pt x="45" y="31"/>
                    </a:cubicBezTo>
                    <a:cubicBezTo>
                      <a:pt x="44" y="33"/>
                      <a:pt x="41" y="35"/>
                      <a:pt x="38" y="37"/>
                    </a:cubicBezTo>
                    <a:cubicBezTo>
                      <a:pt x="34" y="40"/>
                      <a:pt x="31" y="42"/>
                      <a:pt x="26" y="44"/>
                    </a:cubicBezTo>
                    <a:cubicBezTo>
                      <a:pt x="22" y="46"/>
                      <a:pt x="18" y="48"/>
                      <a:pt x="13" y="50"/>
                    </a:cubicBezTo>
                    <a:cubicBezTo>
                      <a:pt x="9" y="52"/>
                      <a:pt x="4" y="54"/>
                      <a:pt x="0" y="55"/>
                    </a:cubicBezTo>
                    <a:cubicBezTo>
                      <a:pt x="0" y="32"/>
                      <a:pt x="0" y="32"/>
                      <a:pt x="0" y="32"/>
                    </a:cubicBezTo>
                    <a:cubicBezTo>
                      <a:pt x="5" y="31"/>
                      <a:pt x="10" y="29"/>
                      <a:pt x="16" y="26"/>
                    </a:cubicBezTo>
                    <a:cubicBezTo>
                      <a:pt x="21" y="24"/>
                      <a:pt x="26" y="22"/>
                      <a:pt x="32" y="19"/>
                    </a:cubicBezTo>
                    <a:cubicBezTo>
                      <a:pt x="37" y="16"/>
                      <a:pt x="42" y="13"/>
                      <a:pt x="47" y="10"/>
                    </a:cubicBezTo>
                    <a:cubicBezTo>
                      <a:pt x="52" y="7"/>
                      <a:pt x="56" y="3"/>
                      <a:pt x="59"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1" name="Freeform 208"/>
              <p:cNvSpPr>
                <a:spLocks noEditPoints="1"/>
              </p:cNvSpPr>
              <p:nvPr userDrawn="1"/>
            </p:nvSpPr>
            <p:spPr bwMode="auto">
              <a:xfrm>
                <a:off x="4085" y="3294"/>
                <a:ext cx="156" cy="247"/>
              </a:xfrm>
              <a:custGeom>
                <a:avLst/>
                <a:gdLst>
                  <a:gd name="T0" fmla="*/ 128 w 128"/>
                  <a:gd name="T1" fmla="*/ 100 h 202"/>
                  <a:gd name="T2" fmla="*/ 124 w 128"/>
                  <a:gd name="T3" fmla="*/ 144 h 202"/>
                  <a:gd name="T4" fmla="*/ 111 w 128"/>
                  <a:gd name="T5" fmla="*/ 176 h 202"/>
                  <a:gd name="T6" fmla="*/ 90 w 128"/>
                  <a:gd name="T7" fmla="*/ 196 h 202"/>
                  <a:gd name="T8" fmla="*/ 62 w 128"/>
                  <a:gd name="T9" fmla="*/ 202 h 202"/>
                  <a:gd name="T10" fmla="*/ 36 w 128"/>
                  <a:gd name="T11" fmla="*/ 196 h 202"/>
                  <a:gd name="T12" fmla="*/ 17 w 128"/>
                  <a:gd name="T13" fmla="*/ 177 h 202"/>
                  <a:gd name="T14" fmla="*/ 5 w 128"/>
                  <a:gd name="T15" fmla="*/ 146 h 202"/>
                  <a:gd name="T16" fmla="*/ 0 w 128"/>
                  <a:gd name="T17" fmla="*/ 105 h 202"/>
                  <a:gd name="T18" fmla="*/ 5 w 128"/>
                  <a:gd name="T19" fmla="*/ 59 h 202"/>
                  <a:gd name="T20" fmla="*/ 17 w 128"/>
                  <a:gd name="T21" fmla="*/ 26 h 202"/>
                  <a:gd name="T22" fmla="*/ 38 w 128"/>
                  <a:gd name="T23" fmla="*/ 6 h 202"/>
                  <a:gd name="T24" fmla="*/ 67 w 128"/>
                  <a:gd name="T25" fmla="*/ 0 h 202"/>
                  <a:gd name="T26" fmla="*/ 128 w 128"/>
                  <a:gd name="T27" fmla="*/ 100 h 202"/>
                  <a:gd name="T28" fmla="*/ 105 w 128"/>
                  <a:gd name="T29" fmla="*/ 102 h 202"/>
                  <a:gd name="T30" fmla="*/ 65 w 128"/>
                  <a:gd name="T31" fmla="*/ 19 h 202"/>
                  <a:gd name="T32" fmla="*/ 23 w 128"/>
                  <a:gd name="T33" fmla="*/ 104 h 202"/>
                  <a:gd name="T34" fmla="*/ 65 w 128"/>
                  <a:gd name="T35" fmla="*/ 183 h 202"/>
                  <a:gd name="T36" fmla="*/ 105 w 128"/>
                  <a:gd name="T37" fmla="*/ 102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2">
                    <a:moveTo>
                      <a:pt x="128" y="100"/>
                    </a:moveTo>
                    <a:cubicBezTo>
                      <a:pt x="128" y="116"/>
                      <a:pt x="127" y="131"/>
                      <a:pt x="124" y="144"/>
                    </a:cubicBezTo>
                    <a:cubicBezTo>
                      <a:pt x="121" y="156"/>
                      <a:pt x="116" y="167"/>
                      <a:pt x="111" y="176"/>
                    </a:cubicBezTo>
                    <a:cubicBezTo>
                      <a:pt x="105" y="184"/>
                      <a:pt x="98" y="191"/>
                      <a:pt x="90" y="196"/>
                    </a:cubicBezTo>
                    <a:cubicBezTo>
                      <a:pt x="82" y="200"/>
                      <a:pt x="73" y="202"/>
                      <a:pt x="62" y="202"/>
                    </a:cubicBezTo>
                    <a:cubicBezTo>
                      <a:pt x="53" y="202"/>
                      <a:pt x="44" y="200"/>
                      <a:pt x="36" y="196"/>
                    </a:cubicBezTo>
                    <a:cubicBezTo>
                      <a:pt x="28" y="191"/>
                      <a:pt x="22" y="185"/>
                      <a:pt x="17" y="177"/>
                    </a:cubicBezTo>
                    <a:cubicBezTo>
                      <a:pt x="11" y="169"/>
                      <a:pt x="7" y="158"/>
                      <a:pt x="5" y="146"/>
                    </a:cubicBezTo>
                    <a:cubicBezTo>
                      <a:pt x="2" y="134"/>
                      <a:pt x="0" y="120"/>
                      <a:pt x="0" y="105"/>
                    </a:cubicBezTo>
                    <a:cubicBezTo>
                      <a:pt x="0" y="88"/>
                      <a:pt x="2" y="73"/>
                      <a:pt x="5" y="59"/>
                    </a:cubicBezTo>
                    <a:cubicBezTo>
                      <a:pt x="8" y="46"/>
                      <a:pt x="12" y="35"/>
                      <a:pt x="17" y="26"/>
                    </a:cubicBezTo>
                    <a:cubicBezTo>
                      <a:pt x="23" y="18"/>
                      <a:pt x="30" y="11"/>
                      <a:pt x="38" y="6"/>
                    </a:cubicBezTo>
                    <a:cubicBezTo>
                      <a:pt x="46" y="2"/>
                      <a:pt x="56" y="0"/>
                      <a:pt x="67" y="0"/>
                    </a:cubicBezTo>
                    <a:cubicBezTo>
                      <a:pt x="108" y="0"/>
                      <a:pt x="128" y="33"/>
                      <a:pt x="128" y="100"/>
                    </a:cubicBezTo>
                    <a:close/>
                    <a:moveTo>
                      <a:pt x="105" y="102"/>
                    </a:moveTo>
                    <a:cubicBezTo>
                      <a:pt x="105" y="46"/>
                      <a:pt x="92" y="19"/>
                      <a:pt x="65" y="19"/>
                    </a:cubicBezTo>
                    <a:cubicBezTo>
                      <a:pt x="37" y="19"/>
                      <a:pt x="23" y="47"/>
                      <a:pt x="23" y="104"/>
                    </a:cubicBezTo>
                    <a:cubicBezTo>
                      <a:pt x="23" y="157"/>
                      <a:pt x="37" y="183"/>
                      <a:pt x="65" y="183"/>
                    </a:cubicBezTo>
                    <a:cubicBezTo>
                      <a:pt x="92" y="183"/>
                      <a:pt x="105" y="156"/>
                      <a:pt x="105"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2" name="Freeform 209"/>
              <p:cNvSpPr>
                <a:spLocks/>
              </p:cNvSpPr>
              <p:nvPr userDrawn="1"/>
            </p:nvSpPr>
            <p:spPr bwMode="auto">
              <a:xfrm>
                <a:off x="4284" y="3292"/>
                <a:ext cx="82" cy="245"/>
              </a:xfrm>
              <a:custGeom>
                <a:avLst/>
                <a:gdLst>
                  <a:gd name="T0" fmla="*/ 67 w 67"/>
                  <a:gd name="T1" fmla="*/ 201 h 201"/>
                  <a:gd name="T2" fmla="*/ 45 w 67"/>
                  <a:gd name="T3" fmla="*/ 201 h 201"/>
                  <a:gd name="T4" fmla="*/ 45 w 67"/>
                  <a:gd name="T5" fmla="*/ 31 h 201"/>
                  <a:gd name="T6" fmla="*/ 37 w 67"/>
                  <a:gd name="T7" fmla="*/ 37 h 201"/>
                  <a:gd name="T8" fmla="*/ 26 w 67"/>
                  <a:gd name="T9" fmla="*/ 44 h 201"/>
                  <a:gd name="T10" fmla="*/ 13 w 67"/>
                  <a:gd name="T11" fmla="*/ 50 h 201"/>
                  <a:gd name="T12" fmla="*/ 0 w 67"/>
                  <a:gd name="T13" fmla="*/ 55 h 201"/>
                  <a:gd name="T14" fmla="*/ 0 w 67"/>
                  <a:gd name="T15" fmla="*/ 32 h 201"/>
                  <a:gd name="T16" fmla="*/ 15 w 67"/>
                  <a:gd name="T17" fmla="*/ 26 h 201"/>
                  <a:gd name="T18" fmla="*/ 31 w 67"/>
                  <a:gd name="T19" fmla="*/ 19 h 201"/>
                  <a:gd name="T20" fmla="*/ 47 w 67"/>
                  <a:gd name="T21" fmla="*/ 10 h 201"/>
                  <a:gd name="T22" fmla="*/ 59 w 67"/>
                  <a:gd name="T23" fmla="*/ 0 h 201"/>
                  <a:gd name="T24" fmla="*/ 67 w 67"/>
                  <a:gd name="T25" fmla="*/ 0 h 201"/>
                  <a:gd name="T26" fmla="*/ 67 w 67"/>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7" h="201">
                    <a:moveTo>
                      <a:pt x="67" y="201"/>
                    </a:moveTo>
                    <a:cubicBezTo>
                      <a:pt x="45" y="201"/>
                      <a:pt x="45" y="201"/>
                      <a:pt x="45" y="201"/>
                    </a:cubicBezTo>
                    <a:cubicBezTo>
                      <a:pt x="45" y="31"/>
                      <a:pt x="45" y="31"/>
                      <a:pt x="45" y="31"/>
                    </a:cubicBezTo>
                    <a:cubicBezTo>
                      <a:pt x="43" y="33"/>
                      <a:pt x="41" y="35"/>
                      <a:pt x="37" y="37"/>
                    </a:cubicBezTo>
                    <a:cubicBezTo>
                      <a:pt x="34" y="40"/>
                      <a:pt x="30" y="42"/>
                      <a:pt x="26" y="44"/>
                    </a:cubicBezTo>
                    <a:cubicBezTo>
                      <a:pt x="22" y="46"/>
                      <a:pt x="18" y="48"/>
                      <a:pt x="13" y="50"/>
                    </a:cubicBezTo>
                    <a:cubicBezTo>
                      <a:pt x="8" y="52"/>
                      <a:pt x="4" y="54"/>
                      <a:pt x="0" y="55"/>
                    </a:cubicBezTo>
                    <a:cubicBezTo>
                      <a:pt x="0" y="32"/>
                      <a:pt x="0" y="32"/>
                      <a:pt x="0" y="32"/>
                    </a:cubicBezTo>
                    <a:cubicBezTo>
                      <a:pt x="4" y="31"/>
                      <a:pt x="10" y="29"/>
                      <a:pt x="15" y="26"/>
                    </a:cubicBezTo>
                    <a:cubicBezTo>
                      <a:pt x="21" y="24"/>
                      <a:pt x="26" y="22"/>
                      <a:pt x="31" y="19"/>
                    </a:cubicBezTo>
                    <a:cubicBezTo>
                      <a:pt x="37" y="16"/>
                      <a:pt x="42" y="13"/>
                      <a:pt x="47" y="10"/>
                    </a:cubicBezTo>
                    <a:cubicBezTo>
                      <a:pt x="51" y="7"/>
                      <a:pt x="55" y="3"/>
                      <a:pt x="59" y="0"/>
                    </a:cubicBezTo>
                    <a:cubicBezTo>
                      <a:pt x="67" y="0"/>
                      <a:pt x="67" y="0"/>
                      <a:pt x="67" y="0"/>
                    </a:cubicBezTo>
                    <a:lnTo>
                      <a:pt x="67"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3" name="Freeform 210"/>
              <p:cNvSpPr>
                <a:spLocks/>
              </p:cNvSpPr>
              <p:nvPr userDrawn="1"/>
            </p:nvSpPr>
            <p:spPr bwMode="auto">
              <a:xfrm>
                <a:off x="4433" y="3292"/>
                <a:ext cx="82" cy="245"/>
              </a:xfrm>
              <a:custGeom>
                <a:avLst/>
                <a:gdLst>
                  <a:gd name="T0" fmla="*/ 68 w 68"/>
                  <a:gd name="T1" fmla="*/ 201 h 201"/>
                  <a:gd name="T2" fmla="*/ 46 w 68"/>
                  <a:gd name="T3" fmla="*/ 201 h 201"/>
                  <a:gd name="T4" fmla="*/ 46 w 68"/>
                  <a:gd name="T5" fmla="*/ 31 h 201"/>
                  <a:gd name="T6" fmla="*/ 38 w 68"/>
                  <a:gd name="T7" fmla="*/ 37 h 201"/>
                  <a:gd name="T8" fmla="*/ 27 w 68"/>
                  <a:gd name="T9" fmla="*/ 44 h 201"/>
                  <a:gd name="T10" fmla="*/ 14 w 68"/>
                  <a:gd name="T11" fmla="*/ 50 h 201"/>
                  <a:gd name="T12" fmla="*/ 0 w 68"/>
                  <a:gd name="T13" fmla="*/ 55 h 201"/>
                  <a:gd name="T14" fmla="*/ 0 w 68"/>
                  <a:gd name="T15" fmla="*/ 32 h 201"/>
                  <a:gd name="T16" fmla="*/ 16 w 68"/>
                  <a:gd name="T17" fmla="*/ 26 h 201"/>
                  <a:gd name="T18" fmla="*/ 32 w 68"/>
                  <a:gd name="T19" fmla="*/ 19 h 201"/>
                  <a:gd name="T20" fmla="*/ 47 w 68"/>
                  <a:gd name="T21" fmla="*/ 10 h 201"/>
                  <a:gd name="T22" fmla="*/ 59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6" y="201"/>
                      <a:pt x="46" y="201"/>
                      <a:pt x="46" y="201"/>
                    </a:cubicBezTo>
                    <a:cubicBezTo>
                      <a:pt x="46" y="31"/>
                      <a:pt x="46" y="31"/>
                      <a:pt x="46" y="31"/>
                    </a:cubicBezTo>
                    <a:cubicBezTo>
                      <a:pt x="44" y="33"/>
                      <a:pt x="41" y="35"/>
                      <a:pt x="38" y="37"/>
                    </a:cubicBezTo>
                    <a:cubicBezTo>
                      <a:pt x="35" y="40"/>
                      <a:pt x="31" y="42"/>
                      <a:pt x="27" y="44"/>
                    </a:cubicBezTo>
                    <a:cubicBezTo>
                      <a:pt x="23" y="46"/>
                      <a:pt x="18" y="48"/>
                      <a:pt x="14" y="50"/>
                    </a:cubicBezTo>
                    <a:cubicBezTo>
                      <a:pt x="9" y="52"/>
                      <a:pt x="4" y="54"/>
                      <a:pt x="0" y="55"/>
                    </a:cubicBezTo>
                    <a:cubicBezTo>
                      <a:pt x="0" y="32"/>
                      <a:pt x="0" y="32"/>
                      <a:pt x="0" y="32"/>
                    </a:cubicBezTo>
                    <a:cubicBezTo>
                      <a:pt x="5" y="31"/>
                      <a:pt x="10" y="29"/>
                      <a:pt x="16" y="26"/>
                    </a:cubicBezTo>
                    <a:cubicBezTo>
                      <a:pt x="21" y="24"/>
                      <a:pt x="27" y="22"/>
                      <a:pt x="32" y="19"/>
                    </a:cubicBezTo>
                    <a:cubicBezTo>
                      <a:pt x="37" y="16"/>
                      <a:pt x="42" y="13"/>
                      <a:pt x="47" y="10"/>
                    </a:cubicBezTo>
                    <a:cubicBezTo>
                      <a:pt x="52" y="7"/>
                      <a:pt x="56" y="3"/>
                      <a:pt x="59"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4" name="Freeform 211"/>
              <p:cNvSpPr>
                <a:spLocks noEditPoints="1"/>
              </p:cNvSpPr>
              <p:nvPr userDrawn="1"/>
            </p:nvSpPr>
            <p:spPr bwMode="auto">
              <a:xfrm>
                <a:off x="4581" y="3294"/>
                <a:ext cx="155" cy="247"/>
              </a:xfrm>
              <a:custGeom>
                <a:avLst/>
                <a:gdLst>
                  <a:gd name="T0" fmla="*/ 127 w 127"/>
                  <a:gd name="T1" fmla="*/ 100 h 202"/>
                  <a:gd name="T2" fmla="*/ 123 w 127"/>
                  <a:gd name="T3" fmla="*/ 144 h 202"/>
                  <a:gd name="T4" fmla="*/ 110 w 127"/>
                  <a:gd name="T5" fmla="*/ 176 h 202"/>
                  <a:gd name="T6" fmla="*/ 89 w 127"/>
                  <a:gd name="T7" fmla="*/ 196 h 202"/>
                  <a:gd name="T8" fmla="*/ 62 w 127"/>
                  <a:gd name="T9" fmla="*/ 202 h 202"/>
                  <a:gd name="T10" fmla="*/ 35 w 127"/>
                  <a:gd name="T11" fmla="*/ 196 h 202"/>
                  <a:gd name="T12" fmla="*/ 16 w 127"/>
                  <a:gd name="T13" fmla="*/ 177 h 202"/>
                  <a:gd name="T14" fmla="*/ 4 w 127"/>
                  <a:gd name="T15" fmla="*/ 146 h 202"/>
                  <a:gd name="T16" fmla="*/ 0 w 127"/>
                  <a:gd name="T17" fmla="*/ 105 h 202"/>
                  <a:gd name="T18" fmla="*/ 4 w 127"/>
                  <a:gd name="T19" fmla="*/ 59 h 202"/>
                  <a:gd name="T20" fmla="*/ 17 w 127"/>
                  <a:gd name="T21" fmla="*/ 26 h 202"/>
                  <a:gd name="T22" fmla="*/ 37 w 127"/>
                  <a:gd name="T23" fmla="*/ 6 h 202"/>
                  <a:gd name="T24" fmla="*/ 66 w 127"/>
                  <a:gd name="T25" fmla="*/ 0 h 202"/>
                  <a:gd name="T26" fmla="*/ 127 w 127"/>
                  <a:gd name="T27" fmla="*/ 100 h 202"/>
                  <a:gd name="T28" fmla="*/ 104 w 127"/>
                  <a:gd name="T29" fmla="*/ 102 h 202"/>
                  <a:gd name="T30" fmla="*/ 65 w 127"/>
                  <a:gd name="T31" fmla="*/ 19 h 202"/>
                  <a:gd name="T32" fmla="*/ 23 w 127"/>
                  <a:gd name="T33" fmla="*/ 104 h 202"/>
                  <a:gd name="T34" fmla="*/ 64 w 127"/>
                  <a:gd name="T35" fmla="*/ 183 h 202"/>
                  <a:gd name="T36" fmla="*/ 104 w 127"/>
                  <a:gd name="T37" fmla="*/ 102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7" h="202">
                    <a:moveTo>
                      <a:pt x="127" y="100"/>
                    </a:moveTo>
                    <a:cubicBezTo>
                      <a:pt x="127" y="116"/>
                      <a:pt x="126" y="131"/>
                      <a:pt x="123" y="144"/>
                    </a:cubicBezTo>
                    <a:cubicBezTo>
                      <a:pt x="120" y="156"/>
                      <a:pt x="116" y="167"/>
                      <a:pt x="110" y="176"/>
                    </a:cubicBezTo>
                    <a:cubicBezTo>
                      <a:pt x="105" y="184"/>
                      <a:pt x="98" y="191"/>
                      <a:pt x="89" y="196"/>
                    </a:cubicBezTo>
                    <a:cubicBezTo>
                      <a:pt x="81" y="200"/>
                      <a:pt x="72" y="202"/>
                      <a:pt x="62" y="202"/>
                    </a:cubicBezTo>
                    <a:cubicBezTo>
                      <a:pt x="52" y="202"/>
                      <a:pt x="43" y="200"/>
                      <a:pt x="35" y="196"/>
                    </a:cubicBezTo>
                    <a:cubicBezTo>
                      <a:pt x="28" y="191"/>
                      <a:pt x="21" y="185"/>
                      <a:pt x="16" y="177"/>
                    </a:cubicBezTo>
                    <a:cubicBezTo>
                      <a:pt x="11" y="169"/>
                      <a:pt x="7" y="158"/>
                      <a:pt x="4" y="146"/>
                    </a:cubicBezTo>
                    <a:cubicBezTo>
                      <a:pt x="1" y="134"/>
                      <a:pt x="0" y="120"/>
                      <a:pt x="0" y="105"/>
                    </a:cubicBezTo>
                    <a:cubicBezTo>
                      <a:pt x="0" y="88"/>
                      <a:pt x="1" y="73"/>
                      <a:pt x="4" y="59"/>
                    </a:cubicBezTo>
                    <a:cubicBezTo>
                      <a:pt x="7" y="46"/>
                      <a:pt x="11" y="35"/>
                      <a:pt x="17" y="26"/>
                    </a:cubicBezTo>
                    <a:cubicBezTo>
                      <a:pt x="22" y="18"/>
                      <a:pt x="29" y="11"/>
                      <a:pt x="37" y="6"/>
                    </a:cubicBezTo>
                    <a:cubicBezTo>
                      <a:pt x="46" y="2"/>
                      <a:pt x="55" y="0"/>
                      <a:pt x="66" y="0"/>
                    </a:cubicBezTo>
                    <a:cubicBezTo>
                      <a:pt x="107" y="0"/>
                      <a:pt x="127" y="33"/>
                      <a:pt x="127" y="100"/>
                    </a:cubicBezTo>
                    <a:close/>
                    <a:moveTo>
                      <a:pt x="104" y="102"/>
                    </a:moveTo>
                    <a:cubicBezTo>
                      <a:pt x="104" y="46"/>
                      <a:pt x="91" y="19"/>
                      <a:pt x="65" y="19"/>
                    </a:cubicBezTo>
                    <a:cubicBezTo>
                      <a:pt x="37" y="19"/>
                      <a:pt x="23" y="47"/>
                      <a:pt x="23" y="104"/>
                    </a:cubicBezTo>
                    <a:cubicBezTo>
                      <a:pt x="23" y="157"/>
                      <a:pt x="36" y="183"/>
                      <a:pt x="64" y="183"/>
                    </a:cubicBezTo>
                    <a:cubicBezTo>
                      <a:pt x="91" y="183"/>
                      <a:pt x="104" y="156"/>
                      <a:pt x="104"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5" name="Freeform 212"/>
              <p:cNvSpPr>
                <a:spLocks/>
              </p:cNvSpPr>
              <p:nvPr userDrawn="1"/>
            </p:nvSpPr>
            <p:spPr bwMode="auto">
              <a:xfrm>
                <a:off x="4779" y="3292"/>
                <a:ext cx="83" cy="245"/>
              </a:xfrm>
              <a:custGeom>
                <a:avLst/>
                <a:gdLst>
                  <a:gd name="T0" fmla="*/ 68 w 68"/>
                  <a:gd name="T1" fmla="*/ 201 h 201"/>
                  <a:gd name="T2" fmla="*/ 45 w 68"/>
                  <a:gd name="T3" fmla="*/ 201 h 201"/>
                  <a:gd name="T4" fmla="*/ 45 w 68"/>
                  <a:gd name="T5" fmla="*/ 31 h 201"/>
                  <a:gd name="T6" fmla="*/ 38 w 68"/>
                  <a:gd name="T7" fmla="*/ 37 h 201"/>
                  <a:gd name="T8" fmla="*/ 26 w 68"/>
                  <a:gd name="T9" fmla="*/ 44 h 201"/>
                  <a:gd name="T10" fmla="*/ 13 w 68"/>
                  <a:gd name="T11" fmla="*/ 50 h 201"/>
                  <a:gd name="T12" fmla="*/ 0 w 68"/>
                  <a:gd name="T13" fmla="*/ 55 h 201"/>
                  <a:gd name="T14" fmla="*/ 0 w 68"/>
                  <a:gd name="T15" fmla="*/ 32 h 201"/>
                  <a:gd name="T16" fmla="*/ 15 w 68"/>
                  <a:gd name="T17" fmla="*/ 26 h 201"/>
                  <a:gd name="T18" fmla="*/ 32 w 68"/>
                  <a:gd name="T19" fmla="*/ 19 h 201"/>
                  <a:gd name="T20" fmla="*/ 47 w 68"/>
                  <a:gd name="T21" fmla="*/ 10 h 201"/>
                  <a:gd name="T22" fmla="*/ 59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5" y="201"/>
                      <a:pt x="45" y="201"/>
                      <a:pt x="45" y="201"/>
                    </a:cubicBezTo>
                    <a:cubicBezTo>
                      <a:pt x="45" y="31"/>
                      <a:pt x="45" y="31"/>
                      <a:pt x="45" y="31"/>
                    </a:cubicBezTo>
                    <a:cubicBezTo>
                      <a:pt x="43" y="33"/>
                      <a:pt x="41" y="35"/>
                      <a:pt x="38" y="37"/>
                    </a:cubicBezTo>
                    <a:cubicBezTo>
                      <a:pt x="34" y="40"/>
                      <a:pt x="31" y="42"/>
                      <a:pt x="26" y="44"/>
                    </a:cubicBezTo>
                    <a:cubicBezTo>
                      <a:pt x="22" y="46"/>
                      <a:pt x="18" y="48"/>
                      <a:pt x="13" y="50"/>
                    </a:cubicBezTo>
                    <a:cubicBezTo>
                      <a:pt x="9" y="52"/>
                      <a:pt x="4" y="54"/>
                      <a:pt x="0" y="55"/>
                    </a:cubicBezTo>
                    <a:cubicBezTo>
                      <a:pt x="0" y="32"/>
                      <a:pt x="0" y="32"/>
                      <a:pt x="0" y="32"/>
                    </a:cubicBezTo>
                    <a:cubicBezTo>
                      <a:pt x="5" y="31"/>
                      <a:pt x="10" y="29"/>
                      <a:pt x="15" y="26"/>
                    </a:cubicBezTo>
                    <a:cubicBezTo>
                      <a:pt x="21" y="24"/>
                      <a:pt x="26" y="22"/>
                      <a:pt x="32" y="19"/>
                    </a:cubicBezTo>
                    <a:cubicBezTo>
                      <a:pt x="37" y="16"/>
                      <a:pt x="42" y="13"/>
                      <a:pt x="47" y="10"/>
                    </a:cubicBezTo>
                    <a:cubicBezTo>
                      <a:pt x="52" y="7"/>
                      <a:pt x="56" y="3"/>
                      <a:pt x="59"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6" name="Freeform 213"/>
              <p:cNvSpPr>
                <a:spLocks noEditPoints="1"/>
              </p:cNvSpPr>
              <p:nvPr userDrawn="1"/>
            </p:nvSpPr>
            <p:spPr bwMode="auto">
              <a:xfrm>
                <a:off x="4926" y="3294"/>
                <a:ext cx="156" cy="247"/>
              </a:xfrm>
              <a:custGeom>
                <a:avLst/>
                <a:gdLst>
                  <a:gd name="T0" fmla="*/ 128 w 128"/>
                  <a:gd name="T1" fmla="*/ 100 h 202"/>
                  <a:gd name="T2" fmla="*/ 124 w 128"/>
                  <a:gd name="T3" fmla="*/ 144 h 202"/>
                  <a:gd name="T4" fmla="*/ 111 w 128"/>
                  <a:gd name="T5" fmla="*/ 176 h 202"/>
                  <a:gd name="T6" fmla="*/ 90 w 128"/>
                  <a:gd name="T7" fmla="*/ 196 h 202"/>
                  <a:gd name="T8" fmla="*/ 62 w 128"/>
                  <a:gd name="T9" fmla="*/ 202 h 202"/>
                  <a:gd name="T10" fmla="*/ 36 w 128"/>
                  <a:gd name="T11" fmla="*/ 196 h 202"/>
                  <a:gd name="T12" fmla="*/ 17 w 128"/>
                  <a:gd name="T13" fmla="*/ 177 h 202"/>
                  <a:gd name="T14" fmla="*/ 5 w 128"/>
                  <a:gd name="T15" fmla="*/ 146 h 202"/>
                  <a:gd name="T16" fmla="*/ 0 w 128"/>
                  <a:gd name="T17" fmla="*/ 105 h 202"/>
                  <a:gd name="T18" fmla="*/ 5 w 128"/>
                  <a:gd name="T19" fmla="*/ 59 h 202"/>
                  <a:gd name="T20" fmla="*/ 17 w 128"/>
                  <a:gd name="T21" fmla="*/ 26 h 202"/>
                  <a:gd name="T22" fmla="*/ 38 w 128"/>
                  <a:gd name="T23" fmla="*/ 6 h 202"/>
                  <a:gd name="T24" fmla="*/ 66 w 128"/>
                  <a:gd name="T25" fmla="*/ 0 h 202"/>
                  <a:gd name="T26" fmla="*/ 128 w 128"/>
                  <a:gd name="T27" fmla="*/ 100 h 202"/>
                  <a:gd name="T28" fmla="*/ 105 w 128"/>
                  <a:gd name="T29" fmla="*/ 102 h 202"/>
                  <a:gd name="T30" fmla="*/ 65 w 128"/>
                  <a:gd name="T31" fmla="*/ 19 h 202"/>
                  <a:gd name="T32" fmla="*/ 23 w 128"/>
                  <a:gd name="T33" fmla="*/ 104 h 202"/>
                  <a:gd name="T34" fmla="*/ 65 w 128"/>
                  <a:gd name="T35" fmla="*/ 183 h 202"/>
                  <a:gd name="T36" fmla="*/ 105 w 128"/>
                  <a:gd name="T37" fmla="*/ 102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2">
                    <a:moveTo>
                      <a:pt x="128" y="100"/>
                    </a:moveTo>
                    <a:cubicBezTo>
                      <a:pt x="128" y="116"/>
                      <a:pt x="127" y="131"/>
                      <a:pt x="124" y="144"/>
                    </a:cubicBezTo>
                    <a:cubicBezTo>
                      <a:pt x="121" y="156"/>
                      <a:pt x="116" y="167"/>
                      <a:pt x="111" y="176"/>
                    </a:cubicBezTo>
                    <a:cubicBezTo>
                      <a:pt x="105" y="184"/>
                      <a:pt x="98" y="191"/>
                      <a:pt x="90" y="196"/>
                    </a:cubicBezTo>
                    <a:cubicBezTo>
                      <a:pt x="82" y="200"/>
                      <a:pt x="73" y="202"/>
                      <a:pt x="62" y="202"/>
                    </a:cubicBezTo>
                    <a:cubicBezTo>
                      <a:pt x="53" y="202"/>
                      <a:pt x="44" y="200"/>
                      <a:pt x="36" y="196"/>
                    </a:cubicBezTo>
                    <a:cubicBezTo>
                      <a:pt x="28" y="191"/>
                      <a:pt x="22" y="185"/>
                      <a:pt x="17" y="177"/>
                    </a:cubicBezTo>
                    <a:cubicBezTo>
                      <a:pt x="11" y="169"/>
                      <a:pt x="7" y="158"/>
                      <a:pt x="5" y="146"/>
                    </a:cubicBezTo>
                    <a:cubicBezTo>
                      <a:pt x="2" y="134"/>
                      <a:pt x="0" y="120"/>
                      <a:pt x="0" y="105"/>
                    </a:cubicBezTo>
                    <a:cubicBezTo>
                      <a:pt x="0" y="88"/>
                      <a:pt x="2" y="73"/>
                      <a:pt x="5" y="59"/>
                    </a:cubicBezTo>
                    <a:cubicBezTo>
                      <a:pt x="8" y="46"/>
                      <a:pt x="12" y="35"/>
                      <a:pt x="17" y="26"/>
                    </a:cubicBezTo>
                    <a:cubicBezTo>
                      <a:pt x="23" y="18"/>
                      <a:pt x="30" y="11"/>
                      <a:pt x="38" y="6"/>
                    </a:cubicBezTo>
                    <a:cubicBezTo>
                      <a:pt x="46" y="2"/>
                      <a:pt x="56" y="0"/>
                      <a:pt x="66" y="0"/>
                    </a:cubicBezTo>
                    <a:cubicBezTo>
                      <a:pt x="108" y="0"/>
                      <a:pt x="128" y="33"/>
                      <a:pt x="128" y="100"/>
                    </a:cubicBezTo>
                    <a:close/>
                    <a:moveTo>
                      <a:pt x="105" y="102"/>
                    </a:moveTo>
                    <a:cubicBezTo>
                      <a:pt x="105" y="46"/>
                      <a:pt x="92" y="19"/>
                      <a:pt x="65" y="19"/>
                    </a:cubicBezTo>
                    <a:cubicBezTo>
                      <a:pt x="37" y="19"/>
                      <a:pt x="23" y="47"/>
                      <a:pt x="23" y="104"/>
                    </a:cubicBezTo>
                    <a:cubicBezTo>
                      <a:pt x="23" y="157"/>
                      <a:pt x="37" y="183"/>
                      <a:pt x="65" y="183"/>
                    </a:cubicBezTo>
                    <a:cubicBezTo>
                      <a:pt x="92" y="183"/>
                      <a:pt x="105" y="156"/>
                      <a:pt x="105"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7" name="Freeform 214"/>
              <p:cNvSpPr>
                <a:spLocks/>
              </p:cNvSpPr>
              <p:nvPr userDrawn="1"/>
            </p:nvSpPr>
            <p:spPr bwMode="auto">
              <a:xfrm>
                <a:off x="5125" y="3292"/>
                <a:ext cx="81" cy="245"/>
              </a:xfrm>
              <a:custGeom>
                <a:avLst/>
                <a:gdLst>
                  <a:gd name="T0" fmla="*/ 67 w 67"/>
                  <a:gd name="T1" fmla="*/ 201 h 201"/>
                  <a:gd name="T2" fmla="*/ 45 w 67"/>
                  <a:gd name="T3" fmla="*/ 201 h 201"/>
                  <a:gd name="T4" fmla="*/ 45 w 67"/>
                  <a:gd name="T5" fmla="*/ 31 h 201"/>
                  <a:gd name="T6" fmla="*/ 37 w 67"/>
                  <a:gd name="T7" fmla="*/ 37 h 201"/>
                  <a:gd name="T8" fmla="*/ 26 w 67"/>
                  <a:gd name="T9" fmla="*/ 44 h 201"/>
                  <a:gd name="T10" fmla="*/ 13 w 67"/>
                  <a:gd name="T11" fmla="*/ 50 h 201"/>
                  <a:gd name="T12" fmla="*/ 0 w 67"/>
                  <a:gd name="T13" fmla="*/ 55 h 201"/>
                  <a:gd name="T14" fmla="*/ 0 w 67"/>
                  <a:gd name="T15" fmla="*/ 32 h 201"/>
                  <a:gd name="T16" fmla="*/ 15 w 67"/>
                  <a:gd name="T17" fmla="*/ 26 h 201"/>
                  <a:gd name="T18" fmla="*/ 31 w 67"/>
                  <a:gd name="T19" fmla="*/ 19 h 201"/>
                  <a:gd name="T20" fmla="*/ 47 w 67"/>
                  <a:gd name="T21" fmla="*/ 10 h 201"/>
                  <a:gd name="T22" fmla="*/ 59 w 67"/>
                  <a:gd name="T23" fmla="*/ 0 h 201"/>
                  <a:gd name="T24" fmla="*/ 67 w 67"/>
                  <a:gd name="T25" fmla="*/ 0 h 201"/>
                  <a:gd name="T26" fmla="*/ 67 w 67"/>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7" h="201">
                    <a:moveTo>
                      <a:pt x="67" y="201"/>
                    </a:moveTo>
                    <a:cubicBezTo>
                      <a:pt x="45" y="201"/>
                      <a:pt x="45" y="201"/>
                      <a:pt x="45" y="201"/>
                    </a:cubicBezTo>
                    <a:cubicBezTo>
                      <a:pt x="45" y="31"/>
                      <a:pt x="45" y="31"/>
                      <a:pt x="45" y="31"/>
                    </a:cubicBezTo>
                    <a:cubicBezTo>
                      <a:pt x="43" y="33"/>
                      <a:pt x="41" y="35"/>
                      <a:pt x="37" y="37"/>
                    </a:cubicBezTo>
                    <a:cubicBezTo>
                      <a:pt x="34" y="40"/>
                      <a:pt x="30" y="42"/>
                      <a:pt x="26" y="44"/>
                    </a:cubicBezTo>
                    <a:cubicBezTo>
                      <a:pt x="22" y="46"/>
                      <a:pt x="18" y="48"/>
                      <a:pt x="13" y="50"/>
                    </a:cubicBezTo>
                    <a:cubicBezTo>
                      <a:pt x="8" y="52"/>
                      <a:pt x="4" y="54"/>
                      <a:pt x="0" y="55"/>
                    </a:cubicBezTo>
                    <a:cubicBezTo>
                      <a:pt x="0" y="32"/>
                      <a:pt x="0" y="32"/>
                      <a:pt x="0" y="32"/>
                    </a:cubicBezTo>
                    <a:cubicBezTo>
                      <a:pt x="4" y="31"/>
                      <a:pt x="10" y="29"/>
                      <a:pt x="15" y="26"/>
                    </a:cubicBezTo>
                    <a:cubicBezTo>
                      <a:pt x="21" y="24"/>
                      <a:pt x="26" y="22"/>
                      <a:pt x="31" y="19"/>
                    </a:cubicBezTo>
                    <a:cubicBezTo>
                      <a:pt x="37" y="16"/>
                      <a:pt x="42" y="13"/>
                      <a:pt x="47" y="10"/>
                    </a:cubicBezTo>
                    <a:cubicBezTo>
                      <a:pt x="51" y="7"/>
                      <a:pt x="55" y="3"/>
                      <a:pt x="59" y="0"/>
                    </a:cubicBezTo>
                    <a:cubicBezTo>
                      <a:pt x="67" y="0"/>
                      <a:pt x="67" y="0"/>
                      <a:pt x="67" y="0"/>
                    </a:cubicBezTo>
                    <a:lnTo>
                      <a:pt x="67"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8" name="Freeform 215"/>
              <p:cNvSpPr>
                <a:spLocks noEditPoints="1"/>
              </p:cNvSpPr>
              <p:nvPr userDrawn="1"/>
            </p:nvSpPr>
            <p:spPr bwMode="auto">
              <a:xfrm>
                <a:off x="5261" y="3298"/>
                <a:ext cx="188" cy="218"/>
              </a:xfrm>
              <a:custGeom>
                <a:avLst/>
                <a:gdLst>
                  <a:gd name="T0" fmla="*/ 188 w 188"/>
                  <a:gd name="T1" fmla="*/ 67 h 218"/>
                  <a:gd name="T2" fmla="*/ 184 w 188"/>
                  <a:gd name="T3" fmla="*/ 84 h 218"/>
                  <a:gd name="T4" fmla="*/ 142 w 188"/>
                  <a:gd name="T5" fmla="*/ 84 h 218"/>
                  <a:gd name="T6" fmla="*/ 131 w 188"/>
                  <a:gd name="T7" fmla="*/ 134 h 218"/>
                  <a:gd name="T8" fmla="*/ 177 w 188"/>
                  <a:gd name="T9" fmla="*/ 134 h 218"/>
                  <a:gd name="T10" fmla="*/ 173 w 188"/>
                  <a:gd name="T11" fmla="*/ 152 h 218"/>
                  <a:gd name="T12" fmla="*/ 127 w 188"/>
                  <a:gd name="T13" fmla="*/ 152 h 218"/>
                  <a:gd name="T14" fmla="*/ 112 w 188"/>
                  <a:gd name="T15" fmla="*/ 218 h 218"/>
                  <a:gd name="T16" fmla="*/ 92 w 188"/>
                  <a:gd name="T17" fmla="*/ 218 h 218"/>
                  <a:gd name="T18" fmla="*/ 106 w 188"/>
                  <a:gd name="T19" fmla="*/ 152 h 218"/>
                  <a:gd name="T20" fmla="*/ 64 w 188"/>
                  <a:gd name="T21" fmla="*/ 152 h 218"/>
                  <a:gd name="T22" fmla="*/ 50 w 188"/>
                  <a:gd name="T23" fmla="*/ 218 h 218"/>
                  <a:gd name="T24" fmla="*/ 30 w 188"/>
                  <a:gd name="T25" fmla="*/ 218 h 218"/>
                  <a:gd name="T26" fmla="*/ 43 w 188"/>
                  <a:gd name="T27" fmla="*/ 152 h 218"/>
                  <a:gd name="T28" fmla="*/ 0 w 188"/>
                  <a:gd name="T29" fmla="*/ 152 h 218"/>
                  <a:gd name="T30" fmla="*/ 3 w 188"/>
                  <a:gd name="T31" fmla="*/ 134 h 218"/>
                  <a:gd name="T32" fmla="*/ 48 w 188"/>
                  <a:gd name="T33" fmla="*/ 134 h 218"/>
                  <a:gd name="T34" fmla="*/ 58 w 188"/>
                  <a:gd name="T35" fmla="*/ 84 h 218"/>
                  <a:gd name="T36" fmla="*/ 11 w 188"/>
                  <a:gd name="T37" fmla="*/ 84 h 218"/>
                  <a:gd name="T38" fmla="*/ 15 w 188"/>
                  <a:gd name="T39" fmla="*/ 67 h 218"/>
                  <a:gd name="T40" fmla="*/ 61 w 188"/>
                  <a:gd name="T41" fmla="*/ 67 h 218"/>
                  <a:gd name="T42" fmla="*/ 75 w 188"/>
                  <a:gd name="T43" fmla="*/ 0 h 218"/>
                  <a:gd name="T44" fmla="*/ 95 w 188"/>
                  <a:gd name="T45" fmla="*/ 0 h 218"/>
                  <a:gd name="T46" fmla="*/ 82 w 188"/>
                  <a:gd name="T47" fmla="*/ 67 h 218"/>
                  <a:gd name="T48" fmla="*/ 123 w 188"/>
                  <a:gd name="T49" fmla="*/ 67 h 218"/>
                  <a:gd name="T50" fmla="*/ 138 w 188"/>
                  <a:gd name="T51" fmla="*/ 0 h 218"/>
                  <a:gd name="T52" fmla="*/ 159 w 188"/>
                  <a:gd name="T53" fmla="*/ 0 h 218"/>
                  <a:gd name="T54" fmla="*/ 145 w 188"/>
                  <a:gd name="T55" fmla="*/ 67 h 218"/>
                  <a:gd name="T56" fmla="*/ 188 w 188"/>
                  <a:gd name="T57" fmla="*/ 67 h 218"/>
                  <a:gd name="T58" fmla="*/ 121 w 188"/>
                  <a:gd name="T59" fmla="*/ 84 h 218"/>
                  <a:gd name="T60" fmla="*/ 78 w 188"/>
                  <a:gd name="T61" fmla="*/ 84 h 218"/>
                  <a:gd name="T62" fmla="*/ 67 w 188"/>
                  <a:gd name="T63" fmla="*/ 134 h 218"/>
                  <a:gd name="T64" fmla="*/ 110 w 188"/>
                  <a:gd name="T65" fmla="*/ 134 h 218"/>
                  <a:gd name="T66" fmla="*/ 121 w 188"/>
                  <a:gd name="T67" fmla="*/ 84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8" h="218">
                    <a:moveTo>
                      <a:pt x="188" y="67"/>
                    </a:moveTo>
                    <a:lnTo>
                      <a:pt x="184" y="84"/>
                    </a:lnTo>
                    <a:lnTo>
                      <a:pt x="142" y="84"/>
                    </a:lnTo>
                    <a:lnTo>
                      <a:pt x="131" y="134"/>
                    </a:lnTo>
                    <a:lnTo>
                      <a:pt x="177" y="134"/>
                    </a:lnTo>
                    <a:lnTo>
                      <a:pt x="173" y="152"/>
                    </a:lnTo>
                    <a:lnTo>
                      <a:pt x="127" y="152"/>
                    </a:lnTo>
                    <a:lnTo>
                      <a:pt x="112" y="218"/>
                    </a:lnTo>
                    <a:lnTo>
                      <a:pt x="92" y="218"/>
                    </a:lnTo>
                    <a:lnTo>
                      <a:pt x="106" y="152"/>
                    </a:lnTo>
                    <a:lnTo>
                      <a:pt x="64" y="152"/>
                    </a:lnTo>
                    <a:lnTo>
                      <a:pt x="50" y="218"/>
                    </a:lnTo>
                    <a:lnTo>
                      <a:pt x="30" y="218"/>
                    </a:lnTo>
                    <a:lnTo>
                      <a:pt x="43" y="152"/>
                    </a:lnTo>
                    <a:lnTo>
                      <a:pt x="0" y="152"/>
                    </a:lnTo>
                    <a:lnTo>
                      <a:pt x="3" y="134"/>
                    </a:lnTo>
                    <a:lnTo>
                      <a:pt x="48" y="134"/>
                    </a:lnTo>
                    <a:lnTo>
                      <a:pt x="58" y="84"/>
                    </a:lnTo>
                    <a:lnTo>
                      <a:pt x="11" y="84"/>
                    </a:lnTo>
                    <a:lnTo>
                      <a:pt x="15" y="67"/>
                    </a:lnTo>
                    <a:lnTo>
                      <a:pt x="61" y="67"/>
                    </a:lnTo>
                    <a:lnTo>
                      <a:pt x="75" y="0"/>
                    </a:lnTo>
                    <a:lnTo>
                      <a:pt x="95" y="0"/>
                    </a:lnTo>
                    <a:lnTo>
                      <a:pt x="82" y="67"/>
                    </a:lnTo>
                    <a:lnTo>
                      <a:pt x="123" y="67"/>
                    </a:lnTo>
                    <a:lnTo>
                      <a:pt x="138" y="0"/>
                    </a:lnTo>
                    <a:lnTo>
                      <a:pt x="159" y="0"/>
                    </a:lnTo>
                    <a:lnTo>
                      <a:pt x="145" y="67"/>
                    </a:lnTo>
                    <a:lnTo>
                      <a:pt x="188" y="67"/>
                    </a:lnTo>
                    <a:close/>
                    <a:moveTo>
                      <a:pt x="121" y="84"/>
                    </a:moveTo>
                    <a:lnTo>
                      <a:pt x="78" y="84"/>
                    </a:lnTo>
                    <a:lnTo>
                      <a:pt x="67" y="134"/>
                    </a:lnTo>
                    <a:lnTo>
                      <a:pt x="110" y="134"/>
                    </a:lnTo>
                    <a:lnTo>
                      <a:pt x="121"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9" name="Freeform 216"/>
              <p:cNvSpPr>
                <a:spLocks noEditPoints="1"/>
              </p:cNvSpPr>
              <p:nvPr userDrawn="1"/>
            </p:nvSpPr>
            <p:spPr bwMode="auto">
              <a:xfrm>
                <a:off x="5478" y="3294"/>
                <a:ext cx="156" cy="247"/>
              </a:xfrm>
              <a:custGeom>
                <a:avLst/>
                <a:gdLst>
                  <a:gd name="T0" fmla="*/ 128 w 128"/>
                  <a:gd name="T1" fmla="*/ 100 h 202"/>
                  <a:gd name="T2" fmla="*/ 123 w 128"/>
                  <a:gd name="T3" fmla="*/ 144 h 202"/>
                  <a:gd name="T4" fmla="*/ 110 w 128"/>
                  <a:gd name="T5" fmla="*/ 176 h 202"/>
                  <a:gd name="T6" fmla="*/ 90 w 128"/>
                  <a:gd name="T7" fmla="*/ 196 h 202"/>
                  <a:gd name="T8" fmla="*/ 62 w 128"/>
                  <a:gd name="T9" fmla="*/ 202 h 202"/>
                  <a:gd name="T10" fmla="*/ 35 w 128"/>
                  <a:gd name="T11" fmla="*/ 196 h 202"/>
                  <a:gd name="T12" fmla="*/ 16 w 128"/>
                  <a:gd name="T13" fmla="*/ 177 h 202"/>
                  <a:gd name="T14" fmla="*/ 4 w 128"/>
                  <a:gd name="T15" fmla="*/ 146 h 202"/>
                  <a:gd name="T16" fmla="*/ 0 w 128"/>
                  <a:gd name="T17" fmla="*/ 105 h 202"/>
                  <a:gd name="T18" fmla="*/ 4 w 128"/>
                  <a:gd name="T19" fmla="*/ 59 h 202"/>
                  <a:gd name="T20" fmla="*/ 17 w 128"/>
                  <a:gd name="T21" fmla="*/ 26 h 202"/>
                  <a:gd name="T22" fmla="*/ 38 w 128"/>
                  <a:gd name="T23" fmla="*/ 6 h 202"/>
                  <a:gd name="T24" fmla="*/ 66 w 128"/>
                  <a:gd name="T25" fmla="*/ 0 h 202"/>
                  <a:gd name="T26" fmla="*/ 128 w 128"/>
                  <a:gd name="T27" fmla="*/ 100 h 202"/>
                  <a:gd name="T28" fmla="*/ 105 w 128"/>
                  <a:gd name="T29" fmla="*/ 102 h 202"/>
                  <a:gd name="T30" fmla="*/ 65 w 128"/>
                  <a:gd name="T31" fmla="*/ 19 h 202"/>
                  <a:gd name="T32" fmla="*/ 23 w 128"/>
                  <a:gd name="T33" fmla="*/ 104 h 202"/>
                  <a:gd name="T34" fmla="*/ 64 w 128"/>
                  <a:gd name="T35" fmla="*/ 183 h 202"/>
                  <a:gd name="T36" fmla="*/ 105 w 128"/>
                  <a:gd name="T37" fmla="*/ 102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2">
                    <a:moveTo>
                      <a:pt x="128" y="100"/>
                    </a:moveTo>
                    <a:cubicBezTo>
                      <a:pt x="128" y="116"/>
                      <a:pt x="126" y="131"/>
                      <a:pt x="123" y="144"/>
                    </a:cubicBezTo>
                    <a:cubicBezTo>
                      <a:pt x="120" y="156"/>
                      <a:pt x="116" y="167"/>
                      <a:pt x="110" y="176"/>
                    </a:cubicBezTo>
                    <a:cubicBezTo>
                      <a:pt x="105" y="184"/>
                      <a:pt x="98" y="191"/>
                      <a:pt x="90" y="196"/>
                    </a:cubicBezTo>
                    <a:cubicBezTo>
                      <a:pt x="81" y="200"/>
                      <a:pt x="72" y="202"/>
                      <a:pt x="62" y="202"/>
                    </a:cubicBezTo>
                    <a:cubicBezTo>
                      <a:pt x="52" y="202"/>
                      <a:pt x="43" y="200"/>
                      <a:pt x="35" y="196"/>
                    </a:cubicBezTo>
                    <a:cubicBezTo>
                      <a:pt x="28" y="191"/>
                      <a:pt x="21" y="185"/>
                      <a:pt x="16" y="177"/>
                    </a:cubicBezTo>
                    <a:cubicBezTo>
                      <a:pt x="11" y="169"/>
                      <a:pt x="7" y="158"/>
                      <a:pt x="4" y="146"/>
                    </a:cubicBezTo>
                    <a:cubicBezTo>
                      <a:pt x="1" y="134"/>
                      <a:pt x="0" y="120"/>
                      <a:pt x="0" y="105"/>
                    </a:cubicBezTo>
                    <a:cubicBezTo>
                      <a:pt x="0" y="88"/>
                      <a:pt x="1" y="73"/>
                      <a:pt x="4" y="59"/>
                    </a:cubicBezTo>
                    <a:cubicBezTo>
                      <a:pt x="7" y="46"/>
                      <a:pt x="11" y="35"/>
                      <a:pt x="17" y="26"/>
                    </a:cubicBezTo>
                    <a:cubicBezTo>
                      <a:pt x="22" y="18"/>
                      <a:pt x="29" y="11"/>
                      <a:pt x="38" y="6"/>
                    </a:cubicBezTo>
                    <a:cubicBezTo>
                      <a:pt x="46" y="2"/>
                      <a:pt x="55" y="0"/>
                      <a:pt x="66" y="0"/>
                    </a:cubicBezTo>
                    <a:cubicBezTo>
                      <a:pt x="107" y="0"/>
                      <a:pt x="128" y="33"/>
                      <a:pt x="128" y="100"/>
                    </a:cubicBezTo>
                    <a:close/>
                    <a:moveTo>
                      <a:pt x="105" y="102"/>
                    </a:moveTo>
                    <a:cubicBezTo>
                      <a:pt x="105" y="46"/>
                      <a:pt x="91" y="19"/>
                      <a:pt x="65" y="19"/>
                    </a:cubicBezTo>
                    <a:cubicBezTo>
                      <a:pt x="37" y="19"/>
                      <a:pt x="23" y="47"/>
                      <a:pt x="23" y="104"/>
                    </a:cubicBezTo>
                    <a:cubicBezTo>
                      <a:pt x="23" y="157"/>
                      <a:pt x="37" y="183"/>
                      <a:pt x="64" y="183"/>
                    </a:cubicBezTo>
                    <a:cubicBezTo>
                      <a:pt x="91" y="183"/>
                      <a:pt x="105" y="156"/>
                      <a:pt x="105"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0" name="Freeform 217"/>
              <p:cNvSpPr>
                <a:spLocks/>
              </p:cNvSpPr>
              <p:nvPr userDrawn="1"/>
            </p:nvSpPr>
            <p:spPr bwMode="auto">
              <a:xfrm>
                <a:off x="5904" y="3292"/>
                <a:ext cx="82" cy="245"/>
              </a:xfrm>
              <a:custGeom>
                <a:avLst/>
                <a:gdLst>
                  <a:gd name="T0" fmla="*/ 68 w 68"/>
                  <a:gd name="T1" fmla="*/ 201 h 201"/>
                  <a:gd name="T2" fmla="*/ 45 w 68"/>
                  <a:gd name="T3" fmla="*/ 201 h 201"/>
                  <a:gd name="T4" fmla="*/ 45 w 68"/>
                  <a:gd name="T5" fmla="*/ 31 h 201"/>
                  <a:gd name="T6" fmla="*/ 38 w 68"/>
                  <a:gd name="T7" fmla="*/ 37 h 201"/>
                  <a:gd name="T8" fmla="*/ 26 w 68"/>
                  <a:gd name="T9" fmla="*/ 44 h 201"/>
                  <a:gd name="T10" fmla="*/ 13 w 68"/>
                  <a:gd name="T11" fmla="*/ 50 h 201"/>
                  <a:gd name="T12" fmla="*/ 0 w 68"/>
                  <a:gd name="T13" fmla="*/ 55 h 201"/>
                  <a:gd name="T14" fmla="*/ 0 w 68"/>
                  <a:gd name="T15" fmla="*/ 32 h 201"/>
                  <a:gd name="T16" fmla="*/ 15 w 68"/>
                  <a:gd name="T17" fmla="*/ 26 h 201"/>
                  <a:gd name="T18" fmla="*/ 32 w 68"/>
                  <a:gd name="T19" fmla="*/ 19 h 201"/>
                  <a:gd name="T20" fmla="*/ 47 w 68"/>
                  <a:gd name="T21" fmla="*/ 10 h 201"/>
                  <a:gd name="T22" fmla="*/ 59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5" y="201"/>
                      <a:pt x="45" y="201"/>
                      <a:pt x="45" y="201"/>
                    </a:cubicBezTo>
                    <a:cubicBezTo>
                      <a:pt x="45" y="31"/>
                      <a:pt x="45" y="31"/>
                      <a:pt x="45" y="31"/>
                    </a:cubicBezTo>
                    <a:cubicBezTo>
                      <a:pt x="43" y="33"/>
                      <a:pt x="41" y="35"/>
                      <a:pt x="38" y="37"/>
                    </a:cubicBezTo>
                    <a:cubicBezTo>
                      <a:pt x="34" y="40"/>
                      <a:pt x="31" y="42"/>
                      <a:pt x="26" y="44"/>
                    </a:cubicBezTo>
                    <a:cubicBezTo>
                      <a:pt x="22" y="46"/>
                      <a:pt x="18" y="48"/>
                      <a:pt x="13" y="50"/>
                    </a:cubicBezTo>
                    <a:cubicBezTo>
                      <a:pt x="9" y="52"/>
                      <a:pt x="4" y="54"/>
                      <a:pt x="0" y="55"/>
                    </a:cubicBezTo>
                    <a:cubicBezTo>
                      <a:pt x="0" y="32"/>
                      <a:pt x="0" y="32"/>
                      <a:pt x="0" y="32"/>
                    </a:cubicBezTo>
                    <a:cubicBezTo>
                      <a:pt x="5" y="31"/>
                      <a:pt x="10" y="29"/>
                      <a:pt x="15" y="26"/>
                    </a:cubicBezTo>
                    <a:cubicBezTo>
                      <a:pt x="21" y="24"/>
                      <a:pt x="26" y="22"/>
                      <a:pt x="32" y="19"/>
                    </a:cubicBezTo>
                    <a:cubicBezTo>
                      <a:pt x="37" y="16"/>
                      <a:pt x="42" y="13"/>
                      <a:pt x="47" y="10"/>
                    </a:cubicBezTo>
                    <a:cubicBezTo>
                      <a:pt x="52" y="7"/>
                      <a:pt x="56" y="3"/>
                      <a:pt x="59"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30" name="Group 419"/>
            <p:cNvGrpSpPr>
              <a:grpSpLocks/>
            </p:cNvGrpSpPr>
            <p:nvPr userDrawn="1"/>
          </p:nvGrpSpPr>
          <p:grpSpPr bwMode="auto">
            <a:xfrm>
              <a:off x="1951" y="0"/>
              <a:ext cx="5890" cy="3541"/>
              <a:chOff x="1951" y="0"/>
              <a:chExt cx="5890" cy="3541"/>
            </a:xfrm>
            <a:grpFill/>
          </p:grpSpPr>
          <p:sp>
            <p:nvSpPr>
              <p:cNvPr id="1349" name="Freeform 219"/>
              <p:cNvSpPr>
                <a:spLocks noEditPoints="1"/>
              </p:cNvSpPr>
              <p:nvPr userDrawn="1"/>
            </p:nvSpPr>
            <p:spPr bwMode="auto">
              <a:xfrm>
                <a:off x="6051" y="3294"/>
                <a:ext cx="156" cy="247"/>
              </a:xfrm>
              <a:custGeom>
                <a:avLst/>
                <a:gdLst>
                  <a:gd name="T0" fmla="*/ 128 w 128"/>
                  <a:gd name="T1" fmla="*/ 100 h 202"/>
                  <a:gd name="T2" fmla="*/ 124 w 128"/>
                  <a:gd name="T3" fmla="*/ 144 h 202"/>
                  <a:gd name="T4" fmla="*/ 111 w 128"/>
                  <a:gd name="T5" fmla="*/ 176 h 202"/>
                  <a:gd name="T6" fmla="*/ 90 w 128"/>
                  <a:gd name="T7" fmla="*/ 196 h 202"/>
                  <a:gd name="T8" fmla="*/ 62 w 128"/>
                  <a:gd name="T9" fmla="*/ 202 h 202"/>
                  <a:gd name="T10" fmla="*/ 36 w 128"/>
                  <a:gd name="T11" fmla="*/ 196 h 202"/>
                  <a:gd name="T12" fmla="*/ 17 w 128"/>
                  <a:gd name="T13" fmla="*/ 177 h 202"/>
                  <a:gd name="T14" fmla="*/ 5 w 128"/>
                  <a:gd name="T15" fmla="*/ 146 h 202"/>
                  <a:gd name="T16" fmla="*/ 0 w 128"/>
                  <a:gd name="T17" fmla="*/ 105 h 202"/>
                  <a:gd name="T18" fmla="*/ 5 w 128"/>
                  <a:gd name="T19" fmla="*/ 59 h 202"/>
                  <a:gd name="T20" fmla="*/ 17 w 128"/>
                  <a:gd name="T21" fmla="*/ 26 h 202"/>
                  <a:gd name="T22" fmla="*/ 38 w 128"/>
                  <a:gd name="T23" fmla="*/ 6 h 202"/>
                  <a:gd name="T24" fmla="*/ 66 w 128"/>
                  <a:gd name="T25" fmla="*/ 0 h 202"/>
                  <a:gd name="T26" fmla="*/ 128 w 128"/>
                  <a:gd name="T27" fmla="*/ 100 h 202"/>
                  <a:gd name="T28" fmla="*/ 105 w 128"/>
                  <a:gd name="T29" fmla="*/ 102 h 202"/>
                  <a:gd name="T30" fmla="*/ 65 w 128"/>
                  <a:gd name="T31" fmla="*/ 19 h 202"/>
                  <a:gd name="T32" fmla="*/ 23 w 128"/>
                  <a:gd name="T33" fmla="*/ 104 h 202"/>
                  <a:gd name="T34" fmla="*/ 65 w 128"/>
                  <a:gd name="T35" fmla="*/ 183 h 202"/>
                  <a:gd name="T36" fmla="*/ 105 w 128"/>
                  <a:gd name="T37" fmla="*/ 102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2">
                    <a:moveTo>
                      <a:pt x="128" y="100"/>
                    </a:moveTo>
                    <a:cubicBezTo>
                      <a:pt x="128" y="116"/>
                      <a:pt x="127" y="131"/>
                      <a:pt x="124" y="144"/>
                    </a:cubicBezTo>
                    <a:cubicBezTo>
                      <a:pt x="121" y="156"/>
                      <a:pt x="116" y="167"/>
                      <a:pt x="111" y="176"/>
                    </a:cubicBezTo>
                    <a:cubicBezTo>
                      <a:pt x="105" y="184"/>
                      <a:pt x="98" y="191"/>
                      <a:pt x="90" y="196"/>
                    </a:cubicBezTo>
                    <a:cubicBezTo>
                      <a:pt x="82" y="200"/>
                      <a:pt x="73" y="202"/>
                      <a:pt x="62" y="202"/>
                    </a:cubicBezTo>
                    <a:cubicBezTo>
                      <a:pt x="53" y="202"/>
                      <a:pt x="44" y="200"/>
                      <a:pt x="36" y="196"/>
                    </a:cubicBezTo>
                    <a:cubicBezTo>
                      <a:pt x="28" y="191"/>
                      <a:pt x="22" y="185"/>
                      <a:pt x="17" y="177"/>
                    </a:cubicBezTo>
                    <a:cubicBezTo>
                      <a:pt x="11" y="169"/>
                      <a:pt x="7" y="158"/>
                      <a:pt x="5" y="146"/>
                    </a:cubicBezTo>
                    <a:cubicBezTo>
                      <a:pt x="2" y="134"/>
                      <a:pt x="0" y="120"/>
                      <a:pt x="0" y="105"/>
                    </a:cubicBezTo>
                    <a:cubicBezTo>
                      <a:pt x="0" y="88"/>
                      <a:pt x="2" y="73"/>
                      <a:pt x="5" y="59"/>
                    </a:cubicBezTo>
                    <a:cubicBezTo>
                      <a:pt x="8" y="46"/>
                      <a:pt x="12" y="35"/>
                      <a:pt x="17" y="26"/>
                    </a:cubicBezTo>
                    <a:cubicBezTo>
                      <a:pt x="23" y="18"/>
                      <a:pt x="30" y="11"/>
                      <a:pt x="38" y="6"/>
                    </a:cubicBezTo>
                    <a:cubicBezTo>
                      <a:pt x="46" y="2"/>
                      <a:pt x="56" y="0"/>
                      <a:pt x="66" y="0"/>
                    </a:cubicBezTo>
                    <a:cubicBezTo>
                      <a:pt x="108" y="0"/>
                      <a:pt x="128" y="33"/>
                      <a:pt x="128" y="100"/>
                    </a:cubicBezTo>
                    <a:close/>
                    <a:moveTo>
                      <a:pt x="105" y="102"/>
                    </a:moveTo>
                    <a:cubicBezTo>
                      <a:pt x="105" y="46"/>
                      <a:pt x="92" y="19"/>
                      <a:pt x="65" y="19"/>
                    </a:cubicBezTo>
                    <a:cubicBezTo>
                      <a:pt x="37" y="19"/>
                      <a:pt x="23" y="47"/>
                      <a:pt x="23" y="104"/>
                    </a:cubicBezTo>
                    <a:cubicBezTo>
                      <a:pt x="23" y="157"/>
                      <a:pt x="37" y="183"/>
                      <a:pt x="65" y="183"/>
                    </a:cubicBezTo>
                    <a:cubicBezTo>
                      <a:pt x="92" y="183"/>
                      <a:pt x="105" y="156"/>
                      <a:pt x="105"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0" name="Freeform 220"/>
              <p:cNvSpPr>
                <a:spLocks/>
              </p:cNvSpPr>
              <p:nvPr userDrawn="1"/>
            </p:nvSpPr>
            <p:spPr bwMode="auto">
              <a:xfrm>
                <a:off x="6250" y="3292"/>
                <a:ext cx="81" cy="245"/>
              </a:xfrm>
              <a:custGeom>
                <a:avLst/>
                <a:gdLst>
                  <a:gd name="T0" fmla="*/ 67 w 67"/>
                  <a:gd name="T1" fmla="*/ 201 h 201"/>
                  <a:gd name="T2" fmla="*/ 45 w 67"/>
                  <a:gd name="T3" fmla="*/ 201 h 201"/>
                  <a:gd name="T4" fmla="*/ 45 w 67"/>
                  <a:gd name="T5" fmla="*/ 31 h 201"/>
                  <a:gd name="T6" fmla="*/ 37 w 67"/>
                  <a:gd name="T7" fmla="*/ 37 h 201"/>
                  <a:gd name="T8" fmla="*/ 26 w 67"/>
                  <a:gd name="T9" fmla="*/ 44 h 201"/>
                  <a:gd name="T10" fmla="*/ 13 w 67"/>
                  <a:gd name="T11" fmla="*/ 50 h 201"/>
                  <a:gd name="T12" fmla="*/ 0 w 67"/>
                  <a:gd name="T13" fmla="*/ 55 h 201"/>
                  <a:gd name="T14" fmla="*/ 0 w 67"/>
                  <a:gd name="T15" fmla="*/ 32 h 201"/>
                  <a:gd name="T16" fmla="*/ 15 w 67"/>
                  <a:gd name="T17" fmla="*/ 26 h 201"/>
                  <a:gd name="T18" fmla="*/ 31 w 67"/>
                  <a:gd name="T19" fmla="*/ 19 h 201"/>
                  <a:gd name="T20" fmla="*/ 47 w 67"/>
                  <a:gd name="T21" fmla="*/ 10 h 201"/>
                  <a:gd name="T22" fmla="*/ 59 w 67"/>
                  <a:gd name="T23" fmla="*/ 0 h 201"/>
                  <a:gd name="T24" fmla="*/ 67 w 67"/>
                  <a:gd name="T25" fmla="*/ 0 h 201"/>
                  <a:gd name="T26" fmla="*/ 67 w 67"/>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7" h="201">
                    <a:moveTo>
                      <a:pt x="67" y="201"/>
                    </a:moveTo>
                    <a:cubicBezTo>
                      <a:pt x="45" y="201"/>
                      <a:pt x="45" y="201"/>
                      <a:pt x="45" y="201"/>
                    </a:cubicBezTo>
                    <a:cubicBezTo>
                      <a:pt x="45" y="31"/>
                      <a:pt x="45" y="31"/>
                      <a:pt x="45" y="31"/>
                    </a:cubicBezTo>
                    <a:cubicBezTo>
                      <a:pt x="43" y="33"/>
                      <a:pt x="41" y="35"/>
                      <a:pt x="37" y="37"/>
                    </a:cubicBezTo>
                    <a:cubicBezTo>
                      <a:pt x="34" y="40"/>
                      <a:pt x="30" y="42"/>
                      <a:pt x="26" y="44"/>
                    </a:cubicBezTo>
                    <a:cubicBezTo>
                      <a:pt x="22" y="46"/>
                      <a:pt x="18" y="48"/>
                      <a:pt x="13" y="50"/>
                    </a:cubicBezTo>
                    <a:cubicBezTo>
                      <a:pt x="8" y="52"/>
                      <a:pt x="4" y="54"/>
                      <a:pt x="0" y="55"/>
                    </a:cubicBezTo>
                    <a:cubicBezTo>
                      <a:pt x="0" y="32"/>
                      <a:pt x="0" y="32"/>
                      <a:pt x="0" y="32"/>
                    </a:cubicBezTo>
                    <a:cubicBezTo>
                      <a:pt x="4" y="31"/>
                      <a:pt x="10" y="29"/>
                      <a:pt x="15" y="26"/>
                    </a:cubicBezTo>
                    <a:cubicBezTo>
                      <a:pt x="21" y="24"/>
                      <a:pt x="26" y="22"/>
                      <a:pt x="31" y="19"/>
                    </a:cubicBezTo>
                    <a:cubicBezTo>
                      <a:pt x="37" y="16"/>
                      <a:pt x="42" y="13"/>
                      <a:pt x="47" y="10"/>
                    </a:cubicBezTo>
                    <a:cubicBezTo>
                      <a:pt x="51" y="7"/>
                      <a:pt x="55" y="3"/>
                      <a:pt x="59" y="0"/>
                    </a:cubicBezTo>
                    <a:cubicBezTo>
                      <a:pt x="67" y="0"/>
                      <a:pt x="67" y="0"/>
                      <a:pt x="67" y="0"/>
                    </a:cubicBezTo>
                    <a:lnTo>
                      <a:pt x="67"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1" name="Freeform 221"/>
              <p:cNvSpPr>
                <a:spLocks/>
              </p:cNvSpPr>
              <p:nvPr userDrawn="1"/>
            </p:nvSpPr>
            <p:spPr bwMode="auto">
              <a:xfrm>
                <a:off x="6398" y="3292"/>
                <a:ext cx="83" cy="245"/>
              </a:xfrm>
              <a:custGeom>
                <a:avLst/>
                <a:gdLst>
                  <a:gd name="T0" fmla="*/ 68 w 68"/>
                  <a:gd name="T1" fmla="*/ 201 h 201"/>
                  <a:gd name="T2" fmla="*/ 45 w 68"/>
                  <a:gd name="T3" fmla="*/ 201 h 201"/>
                  <a:gd name="T4" fmla="*/ 45 w 68"/>
                  <a:gd name="T5" fmla="*/ 31 h 201"/>
                  <a:gd name="T6" fmla="*/ 38 w 68"/>
                  <a:gd name="T7" fmla="*/ 37 h 201"/>
                  <a:gd name="T8" fmla="*/ 27 w 68"/>
                  <a:gd name="T9" fmla="*/ 44 h 201"/>
                  <a:gd name="T10" fmla="*/ 14 w 68"/>
                  <a:gd name="T11" fmla="*/ 50 h 201"/>
                  <a:gd name="T12" fmla="*/ 0 w 68"/>
                  <a:gd name="T13" fmla="*/ 55 h 201"/>
                  <a:gd name="T14" fmla="*/ 0 w 68"/>
                  <a:gd name="T15" fmla="*/ 32 h 201"/>
                  <a:gd name="T16" fmla="*/ 16 w 68"/>
                  <a:gd name="T17" fmla="*/ 26 h 201"/>
                  <a:gd name="T18" fmla="*/ 32 w 68"/>
                  <a:gd name="T19" fmla="*/ 19 h 201"/>
                  <a:gd name="T20" fmla="*/ 47 w 68"/>
                  <a:gd name="T21" fmla="*/ 10 h 201"/>
                  <a:gd name="T22" fmla="*/ 59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5" y="201"/>
                      <a:pt x="45" y="201"/>
                      <a:pt x="45" y="201"/>
                    </a:cubicBezTo>
                    <a:cubicBezTo>
                      <a:pt x="45" y="31"/>
                      <a:pt x="45" y="31"/>
                      <a:pt x="45" y="31"/>
                    </a:cubicBezTo>
                    <a:cubicBezTo>
                      <a:pt x="44" y="33"/>
                      <a:pt x="41" y="35"/>
                      <a:pt x="38" y="37"/>
                    </a:cubicBezTo>
                    <a:cubicBezTo>
                      <a:pt x="35" y="40"/>
                      <a:pt x="31" y="42"/>
                      <a:pt x="27" y="44"/>
                    </a:cubicBezTo>
                    <a:cubicBezTo>
                      <a:pt x="23" y="46"/>
                      <a:pt x="18" y="48"/>
                      <a:pt x="14" y="50"/>
                    </a:cubicBezTo>
                    <a:cubicBezTo>
                      <a:pt x="9" y="52"/>
                      <a:pt x="4" y="54"/>
                      <a:pt x="0" y="55"/>
                    </a:cubicBezTo>
                    <a:cubicBezTo>
                      <a:pt x="0" y="32"/>
                      <a:pt x="0" y="32"/>
                      <a:pt x="0" y="32"/>
                    </a:cubicBezTo>
                    <a:cubicBezTo>
                      <a:pt x="5" y="31"/>
                      <a:pt x="10" y="29"/>
                      <a:pt x="16" y="26"/>
                    </a:cubicBezTo>
                    <a:cubicBezTo>
                      <a:pt x="21" y="24"/>
                      <a:pt x="27" y="22"/>
                      <a:pt x="32" y="19"/>
                    </a:cubicBezTo>
                    <a:cubicBezTo>
                      <a:pt x="37" y="16"/>
                      <a:pt x="42" y="13"/>
                      <a:pt x="47" y="10"/>
                    </a:cubicBezTo>
                    <a:cubicBezTo>
                      <a:pt x="52" y="7"/>
                      <a:pt x="56" y="3"/>
                      <a:pt x="59"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2" name="Freeform 222"/>
              <p:cNvSpPr>
                <a:spLocks noEditPoints="1"/>
              </p:cNvSpPr>
              <p:nvPr userDrawn="1"/>
            </p:nvSpPr>
            <p:spPr bwMode="auto">
              <a:xfrm>
                <a:off x="6547" y="3294"/>
                <a:ext cx="155" cy="247"/>
              </a:xfrm>
              <a:custGeom>
                <a:avLst/>
                <a:gdLst>
                  <a:gd name="T0" fmla="*/ 127 w 127"/>
                  <a:gd name="T1" fmla="*/ 100 h 202"/>
                  <a:gd name="T2" fmla="*/ 123 w 127"/>
                  <a:gd name="T3" fmla="*/ 144 h 202"/>
                  <a:gd name="T4" fmla="*/ 110 w 127"/>
                  <a:gd name="T5" fmla="*/ 176 h 202"/>
                  <a:gd name="T6" fmla="*/ 89 w 127"/>
                  <a:gd name="T7" fmla="*/ 196 h 202"/>
                  <a:gd name="T8" fmla="*/ 62 w 127"/>
                  <a:gd name="T9" fmla="*/ 202 h 202"/>
                  <a:gd name="T10" fmla="*/ 35 w 127"/>
                  <a:gd name="T11" fmla="*/ 196 h 202"/>
                  <a:gd name="T12" fmla="*/ 16 w 127"/>
                  <a:gd name="T13" fmla="*/ 177 h 202"/>
                  <a:gd name="T14" fmla="*/ 4 w 127"/>
                  <a:gd name="T15" fmla="*/ 146 h 202"/>
                  <a:gd name="T16" fmla="*/ 0 w 127"/>
                  <a:gd name="T17" fmla="*/ 105 h 202"/>
                  <a:gd name="T18" fmla="*/ 4 w 127"/>
                  <a:gd name="T19" fmla="*/ 59 h 202"/>
                  <a:gd name="T20" fmla="*/ 17 w 127"/>
                  <a:gd name="T21" fmla="*/ 26 h 202"/>
                  <a:gd name="T22" fmla="*/ 37 w 127"/>
                  <a:gd name="T23" fmla="*/ 6 h 202"/>
                  <a:gd name="T24" fmla="*/ 66 w 127"/>
                  <a:gd name="T25" fmla="*/ 0 h 202"/>
                  <a:gd name="T26" fmla="*/ 127 w 127"/>
                  <a:gd name="T27" fmla="*/ 100 h 202"/>
                  <a:gd name="T28" fmla="*/ 104 w 127"/>
                  <a:gd name="T29" fmla="*/ 102 h 202"/>
                  <a:gd name="T30" fmla="*/ 65 w 127"/>
                  <a:gd name="T31" fmla="*/ 19 h 202"/>
                  <a:gd name="T32" fmla="*/ 23 w 127"/>
                  <a:gd name="T33" fmla="*/ 104 h 202"/>
                  <a:gd name="T34" fmla="*/ 64 w 127"/>
                  <a:gd name="T35" fmla="*/ 183 h 202"/>
                  <a:gd name="T36" fmla="*/ 104 w 127"/>
                  <a:gd name="T37" fmla="*/ 102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7" h="202">
                    <a:moveTo>
                      <a:pt x="127" y="100"/>
                    </a:moveTo>
                    <a:cubicBezTo>
                      <a:pt x="127" y="116"/>
                      <a:pt x="126" y="131"/>
                      <a:pt x="123" y="144"/>
                    </a:cubicBezTo>
                    <a:cubicBezTo>
                      <a:pt x="120" y="156"/>
                      <a:pt x="116" y="167"/>
                      <a:pt x="110" y="176"/>
                    </a:cubicBezTo>
                    <a:cubicBezTo>
                      <a:pt x="104" y="184"/>
                      <a:pt x="98" y="191"/>
                      <a:pt x="89" y="196"/>
                    </a:cubicBezTo>
                    <a:cubicBezTo>
                      <a:pt x="81" y="200"/>
                      <a:pt x="72" y="202"/>
                      <a:pt x="62" y="202"/>
                    </a:cubicBezTo>
                    <a:cubicBezTo>
                      <a:pt x="52" y="202"/>
                      <a:pt x="43" y="200"/>
                      <a:pt x="35" y="196"/>
                    </a:cubicBezTo>
                    <a:cubicBezTo>
                      <a:pt x="28" y="191"/>
                      <a:pt x="21" y="185"/>
                      <a:pt x="16" y="177"/>
                    </a:cubicBezTo>
                    <a:cubicBezTo>
                      <a:pt x="11" y="169"/>
                      <a:pt x="7" y="158"/>
                      <a:pt x="4" y="146"/>
                    </a:cubicBezTo>
                    <a:cubicBezTo>
                      <a:pt x="1" y="134"/>
                      <a:pt x="0" y="120"/>
                      <a:pt x="0" y="105"/>
                    </a:cubicBezTo>
                    <a:cubicBezTo>
                      <a:pt x="0" y="88"/>
                      <a:pt x="1" y="73"/>
                      <a:pt x="4" y="59"/>
                    </a:cubicBezTo>
                    <a:cubicBezTo>
                      <a:pt x="7" y="46"/>
                      <a:pt x="11" y="35"/>
                      <a:pt x="17" y="26"/>
                    </a:cubicBezTo>
                    <a:cubicBezTo>
                      <a:pt x="22" y="18"/>
                      <a:pt x="29" y="11"/>
                      <a:pt x="37" y="6"/>
                    </a:cubicBezTo>
                    <a:cubicBezTo>
                      <a:pt x="46" y="2"/>
                      <a:pt x="55" y="0"/>
                      <a:pt x="66" y="0"/>
                    </a:cubicBezTo>
                    <a:cubicBezTo>
                      <a:pt x="107" y="0"/>
                      <a:pt x="127" y="33"/>
                      <a:pt x="127" y="100"/>
                    </a:cubicBezTo>
                    <a:close/>
                    <a:moveTo>
                      <a:pt x="104" y="102"/>
                    </a:moveTo>
                    <a:cubicBezTo>
                      <a:pt x="104" y="46"/>
                      <a:pt x="91" y="19"/>
                      <a:pt x="65" y="19"/>
                    </a:cubicBezTo>
                    <a:cubicBezTo>
                      <a:pt x="37" y="19"/>
                      <a:pt x="23" y="47"/>
                      <a:pt x="23" y="104"/>
                    </a:cubicBezTo>
                    <a:cubicBezTo>
                      <a:pt x="23" y="157"/>
                      <a:pt x="36" y="183"/>
                      <a:pt x="64" y="183"/>
                    </a:cubicBezTo>
                    <a:cubicBezTo>
                      <a:pt x="91" y="183"/>
                      <a:pt x="104" y="156"/>
                      <a:pt x="104"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3" name="Freeform 223"/>
              <p:cNvSpPr>
                <a:spLocks/>
              </p:cNvSpPr>
              <p:nvPr userDrawn="1"/>
            </p:nvSpPr>
            <p:spPr bwMode="auto">
              <a:xfrm>
                <a:off x="6744" y="3292"/>
                <a:ext cx="83" cy="245"/>
              </a:xfrm>
              <a:custGeom>
                <a:avLst/>
                <a:gdLst>
                  <a:gd name="T0" fmla="*/ 68 w 68"/>
                  <a:gd name="T1" fmla="*/ 201 h 201"/>
                  <a:gd name="T2" fmla="*/ 45 w 68"/>
                  <a:gd name="T3" fmla="*/ 201 h 201"/>
                  <a:gd name="T4" fmla="*/ 45 w 68"/>
                  <a:gd name="T5" fmla="*/ 31 h 201"/>
                  <a:gd name="T6" fmla="*/ 38 w 68"/>
                  <a:gd name="T7" fmla="*/ 37 h 201"/>
                  <a:gd name="T8" fmla="*/ 26 w 68"/>
                  <a:gd name="T9" fmla="*/ 44 h 201"/>
                  <a:gd name="T10" fmla="*/ 13 w 68"/>
                  <a:gd name="T11" fmla="*/ 50 h 201"/>
                  <a:gd name="T12" fmla="*/ 0 w 68"/>
                  <a:gd name="T13" fmla="*/ 55 h 201"/>
                  <a:gd name="T14" fmla="*/ 0 w 68"/>
                  <a:gd name="T15" fmla="*/ 32 h 201"/>
                  <a:gd name="T16" fmla="*/ 15 w 68"/>
                  <a:gd name="T17" fmla="*/ 26 h 201"/>
                  <a:gd name="T18" fmla="*/ 32 w 68"/>
                  <a:gd name="T19" fmla="*/ 19 h 201"/>
                  <a:gd name="T20" fmla="*/ 47 w 68"/>
                  <a:gd name="T21" fmla="*/ 10 h 201"/>
                  <a:gd name="T22" fmla="*/ 59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5" y="201"/>
                      <a:pt x="45" y="201"/>
                      <a:pt x="45" y="201"/>
                    </a:cubicBezTo>
                    <a:cubicBezTo>
                      <a:pt x="45" y="31"/>
                      <a:pt x="45" y="31"/>
                      <a:pt x="45" y="31"/>
                    </a:cubicBezTo>
                    <a:cubicBezTo>
                      <a:pt x="43" y="33"/>
                      <a:pt x="41" y="35"/>
                      <a:pt x="38" y="37"/>
                    </a:cubicBezTo>
                    <a:cubicBezTo>
                      <a:pt x="34" y="40"/>
                      <a:pt x="31" y="42"/>
                      <a:pt x="26" y="44"/>
                    </a:cubicBezTo>
                    <a:cubicBezTo>
                      <a:pt x="22" y="46"/>
                      <a:pt x="18" y="48"/>
                      <a:pt x="13" y="50"/>
                    </a:cubicBezTo>
                    <a:cubicBezTo>
                      <a:pt x="9" y="52"/>
                      <a:pt x="4" y="54"/>
                      <a:pt x="0" y="55"/>
                    </a:cubicBezTo>
                    <a:cubicBezTo>
                      <a:pt x="0" y="32"/>
                      <a:pt x="0" y="32"/>
                      <a:pt x="0" y="32"/>
                    </a:cubicBezTo>
                    <a:cubicBezTo>
                      <a:pt x="5" y="31"/>
                      <a:pt x="10" y="29"/>
                      <a:pt x="15" y="26"/>
                    </a:cubicBezTo>
                    <a:cubicBezTo>
                      <a:pt x="21" y="24"/>
                      <a:pt x="26" y="22"/>
                      <a:pt x="32" y="19"/>
                    </a:cubicBezTo>
                    <a:cubicBezTo>
                      <a:pt x="37" y="16"/>
                      <a:pt x="42" y="13"/>
                      <a:pt x="47" y="10"/>
                    </a:cubicBezTo>
                    <a:cubicBezTo>
                      <a:pt x="52" y="7"/>
                      <a:pt x="56" y="3"/>
                      <a:pt x="59"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4" name="Freeform 224"/>
              <p:cNvSpPr>
                <a:spLocks/>
              </p:cNvSpPr>
              <p:nvPr userDrawn="1"/>
            </p:nvSpPr>
            <p:spPr bwMode="auto">
              <a:xfrm>
                <a:off x="6893" y="3292"/>
                <a:ext cx="83" cy="245"/>
              </a:xfrm>
              <a:custGeom>
                <a:avLst/>
                <a:gdLst>
                  <a:gd name="T0" fmla="*/ 68 w 68"/>
                  <a:gd name="T1" fmla="*/ 201 h 201"/>
                  <a:gd name="T2" fmla="*/ 46 w 68"/>
                  <a:gd name="T3" fmla="*/ 201 h 201"/>
                  <a:gd name="T4" fmla="*/ 46 w 68"/>
                  <a:gd name="T5" fmla="*/ 31 h 201"/>
                  <a:gd name="T6" fmla="*/ 38 w 68"/>
                  <a:gd name="T7" fmla="*/ 37 h 201"/>
                  <a:gd name="T8" fmla="*/ 27 w 68"/>
                  <a:gd name="T9" fmla="*/ 44 h 201"/>
                  <a:gd name="T10" fmla="*/ 14 w 68"/>
                  <a:gd name="T11" fmla="*/ 50 h 201"/>
                  <a:gd name="T12" fmla="*/ 0 w 68"/>
                  <a:gd name="T13" fmla="*/ 55 h 201"/>
                  <a:gd name="T14" fmla="*/ 0 w 68"/>
                  <a:gd name="T15" fmla="*/ 32 h 201"/>
                  <a:gd name="T16" fmla="*/ 16 w 68"/>
                  <a:gd name="T17" fmla="*/ 26 h 201"/>
                  <a:gd name="T18" fmla="*/ 32 w 68"/>
                  <a:gd name="T19" fmla="*/ 19 h 201"/>
                  <a:gd name="T20" fmla="*/ 47 w 68"/>
                  <a:gd name="T21" fmla="*/ 10 h 201"/>
                  <a:gd name="T22" fmla="*/ 60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6" y="201"/>
                      <a:pt x="46" y="201"/>
                      <a:pt x="46" y="201"/>
                    </a:cubicBezTo>
                    <a:cubicBezTo>
                      <a:pt x="46" y="31"/>
                      <a:pt x="46" y="31"/>
                      <a:pt x="46" y="31"/>
                    </a:cubicBezTo>
                    <a:cubicBezTo>
                      <a:pt x="44" y="33"/>
                      <a:pt x="41" y="35"/>
                      <a:pt x="38" y="37"/>
                    </a:cubicBezTo>
                    <a:cubicBezTo>
                      <a:pt x="35" y="40"/>
                      <a:pt x="31" y="42"/>
                      <a:pt x="27" y="44"/>
                    </a:cubicBezTo>
                    <a:cubicBezTo>
                      <a:pt x="23" y="46"/>
                      <a:pt x="18" y="48"/>
                      <a:pt x="14" y="50"/>
                    </a:cubicBezTo>
                    <a:cubicBezTo>
                      <a:pt x="9" y="52"/>
                      <a:pt x="5" y="54"/>
                      <a:pt x="0" y="55"/>
                    </a:cubicBezTo>
                    <a:cubicBezTo>
                      <a:pt x="0" y="32"/>
                      <a:pt x="0" y="32"/>
                      <a:pt x="0" y="32"/>
                    </a:cubicBezTo>
                    <a:cubicBezTo>
                      <a:pt x="5" y="31"/>
                      <a:pt x="10" y="29"/>
                      <a:pt x="16" y="26"/>
                    </a:cubicBezTo>
                    <a:cubicBezTo>
                      <a:pt x="21" y="24"/>
                      <a:pt x="27" y="22"/>
                      <a:pt x="32" y="19"/>
                    </a:cubicBezTo>
                    <a:cubicBezTo>
                      <a:pt x="38" y="16"/>
                      <a:pt x="43" y="13"/>
                      <a:pt x="47" y="10"/>
                    </a:cubicBezTo>
                    <a:cubicBezTo>
                      <a:pt x="52" y="7"/>
                      <a:pt x="56" y="3"/>
                      <a:pt x="60"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5" name="Freeform 225"/>
              <p:cNvSpPr>
                <a:spLocks/>
              </p:cNvSpPr>
              <p:nvPr userDrawn="1"/>
            </p:nvSpPr>
            <p:spPr bwMode="auto">
              <a:xfrm>
                <a:off x="7043" y="3292"/>
                <a:ext cx="83" cy="245"/>
              </a:xfrm>
              <a:custGeom>
                <a:avLst/>
                <a:gdLst>
                  <a:gd name="T0" fmla="*/ 68 w 68"/>
                  <a:gd name="T1" fmla="*/ 201 h 201"/>
                  <a:gd name="T2" fmla="*/ 45 w 68"/>
                  <a:gd name="T3" fmla="*/ 201 h 201"/>
                  <a:gd name="T4" fmla="*/ 45 w 68"/>
                  <a:gd name="T5" fmla="*/ 31 h 201"/>
                  <a:gd name="T6" fmla="*/ 38 w 68"/>
                  <a:gd name="T7" fmla="*/ 37 h 201"/>
                  <a:gd name="T8" fmla="*/ 26 w 68"/>
                  <a:gd name="T9" fmla="*/ 44 h 201"/>
                  <a:gd name="T10" fmla="*/ 13 w 68"/>
                  <a:gd name="T11" fmla="*/ 50 h 201"/>
                  <a:gd name="T12" fmla="*/ 0 w 68"/>
                  <a:gd name="T13" fmla="*/ 55 h 201"/>
                  <a:gd name="T14" fmla="*/ 0 w 68"/>
                  <a:gd name="T15" fmla="*/ 32 h 201"/>
                  <a:gd name="T16" fmla="*/ 16 w 68"/>
                  <a:gd name="T17" fmla="*/ 26 h 201"/>
                  <a:gd name="T18" fmla="*/ 32 w 68"/>
                  <a:gd name="T19" fmla="*/ 19 h 201"/>
                  <a:gd name="T20" fmla="*/ 47 w 68"/>
                  <a:gd name="T21" fmla="*/ 10 h 201"/>
                  <a:gd name="T22" fmla="*/ 59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5" y="201"/>
                      <a:pt x="45" y="201"/>
                      <a:pt x="45" y="201"/>
                    </a:cubicBezTo>
                    <a:cubicBezTo>
                      <a:pt x="45" y="31"/>
                      <a:pt x="45" y="31"/>
                      <a:pt x="45" y="31"/>
                    </a:cubicBezTo>
                    <a:cubicBezTo>
                      <a:pt x="44" y="33"/>
                      <a:pt x="41" y="35"/>
                      <a:pt x="38" y="37"/>
                    </a:cubicBezTo>
                    <a:cubicBezTo>
                      <a:pt x="34" y="40"/>
                      <a:pt x="31" y="42"/>
                      <a:pt x="26" y="44"/>
                    </a:cubicBezTo>
                    <a:cubicBezTo>
                      <a:pt x="22" y="46"/>
                      <a:pt x="18" y="48"/>
                      <a:pt x="13" y="50"/>
                    </a:cubicBezTo>
                    <a:cubicBezTo>
                      <a:pt x="9" y="52"/>
                      <a:pt x="4" y="54"/>
                      <a:pt x="0" y="55"/>
                    </a:cubicBezTo>
                    <a:cubicBezTo>
                      <a:pt x="0" y="32"/>
                      <a:pt x="0" y="32"/>
                      <a:pt x="0" y="32"/>
                    </a:cubicBezTo>
                    <a:cubicBezTo>
                      <a:pt x="5" y="31"/>
                      <a:pt x="10" y="29"/>
                      <a:pt x="16" y="26"/>
                    </a:cubicBezTo>
                    <a:cubicBezTo>
                      <a:pt x="21" y="24"/>
                      <a:pt x="26" y="22"/>
                      <a:pt x="32" y="19"/>
                    </a:cubicBezTo>
                    <a:cubicBezTo>
                      <a:pt x="37" y="16"/>
                      <a:pt x="42" y="13"/>
                      <a:pt x="47" y="10"/>
                    </a:cubicBezTo>
                    <a:cubicBezTo>
                      <a:pt x="52" y="7"/>
                      <a:pt x="56" y="3"/>
                      <a:pt x="59"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6" name="Freeform 226"/>
              <p:cNvSpPr>
                <a:spLocks/>
              </p:cNvSpPr>
              <p:nvPr userDrawn="1"/>
            </p:nvSpPr>
            <p:spPr bwMode="auto">
              <a:xfrm>
                <a:off x="7192" y="3292"/>
                <a:ext cx="83" cy="245"/>
              </a:xfrm>
              <a:custGeom>
                <a:avLst/>
                <a:gdLst>
                  <a:gd name="T0" fmla="*/ 68 w 68"/>
                  <a:gd name="T1" fmla="*/ 201 h 201"/>
                  <a:gd name="T2" fmla="*/ 46 w 68"/>
                  <a:gd name="T3" fmla="*/ 201 h 201"/>
                  <a:gd name="T4" fmla="*/ 46 w 68"/>
                  <a:gd name="T5" fmla="*/ 31 h 201"/>
                  <a:gd name="T6" fmla="*/ 38 w 68"/>
                  <a:gd name="T7" fmla="*/ 37 h 201"/>
                  <a:gd name="T8" fmla="*/ 27 w 68"/>
                  <a:gd name="T9" fmla="*/ 44 h 201"/>
                  <a:gd name="T10" fmla="*/ 14 w 68"/>
                  <a:gd name="T11" fmla="*/ 50 h 201"/>
                  <a:gd name="T12" fmla="*/ 0 w 68"/>
                  <a:gd name="T13" fmla="*/ 55 h 201"/>
                  <a:gd name="T14" fmla="*/ 0 w 68"/>
                  <a:gd name="T15" fmla="*/ 32 h 201"/>
                  <a:gd name="T16" fmla="*/ 16 w 68"/>
                  <a:gd name="T17" fmla="*/ 26 h 201"/>
                  <a:gd name="T18" fmla="*/ 32 w 68"/>
                  <a:gd name="T19" fmla="*/ 19 h 201"/>
                  <a:gd name="T20" fmla="*/ 47 w 68"/>
                  <a:gd name="T21" fmla="*/ 10 h 201"/>
                  <a:gd name="T22" fmla="*/ 60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6" y="201"/>
                      <a:pt x="46" y="201"/>
                      <a:pt x="46" y="201"/>
                    </a:cubicBezTo>
                    <a:cubicBezTo>
                      <a:pt x="46" y="31"/>
                      <a:pt x="46" y="31"/>
                      <a:pt x="46" y="31"/>
                    </a:cubicBezTo>
                    <a:cubicBezTo>
                      <a:pt x="44" y="33"/>
                      <a:pt x="42" y="35"/>
                      <a:pt x="38" y="37"/>
                    </a:cubicBezTo>
                    <a:cubicBezTo>
                      <a:pt x="35" y="40"/>
                      <a:pt x="31" y="42"/>
                      <a:pt x="27" y="44"/>
                    </a:cubicBezTo>
                    <a:cubicBezTo>
                      <a:pt x="23" y="46"/>
                      <a:pt x="18" y="48"/>
                      <a:pt x="14" y="50"/>
                    </a:cubicBezTo>
                    <a:cubicBezTo>
                      <a:pt x="9" y="52"/>
                      <a:pt x="5" y="54"/>
                      <a:pt x="0" y="55"/>
                    </a:cubicBezTo>
                    <a:cubicBezTo>
                      <a:pt x="0" y="32"/>
                      <a:pt x="0" y="32"/>
                      <a:pt x="0" y="32"/>
                    </a:cubicBezTo>
                    <a:cubicBezTo>
                      <a:pt x="5" y="31"/>
                      <a:pt x="11" y="29"/>
                      <a:pt x="16" y="26"/>
                    </a:cubicBezTo>
                    <a:cubicBezTo>
                      <a:pt x="22" y="24"/>
                      <a:pt x="27" y="22"/>
                      <a:pt x="32" y="19"/>
                    </a:cubicBezTo>
                    <a:cubicBezTo>
                      <a:pt x="38" y="16"/>
                      <a:pt x="43" y="13"/>
                      <a:pt x="47" y="10"/>
                    </a:cubicBezTo>
                    <a:cubicBezTo>
                      <a:pt x="52" y="7"/>
                      <a:pt x="56" y="3"/>
                      <a:pt x="60"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7" name="Freeform 227"/>
              <p:cNvSpPr>
                <a:spLocks noEditPoints="1"/>
              </p:cNvSpPr>
              <p:nvPr userDrawn="1"/>
            </p:nvSpPr>
            <p:spPr bwMode="auto">
              <a:xfrm>
                <a:off x="7340" y="3294"/>
                <a:ext cx="156" cy="247"/>
              </a:xfrm>
              <a:custGeom>
                <a:avLst/>
                <a:gdLst>
                  <a:gd name="T0" fmla="*/ 128 w 128"/>
                  <a:gd name="T1" fmla="*/ 100 h 202"/>
                  <a:gd name="T2" fmla="*/ 123 w 128"/>
                  <a:gd name="T3" fmla="*/ 144 h 202"/>
                  <a:gd name="T4" fmla="*/ 110 w 128"/>
                  <a:gd name="T5" fmla="*/ 176 h 202"/>
                  <a:gd name="T6" fmla="*/ 90 w 128"/>
                  <a:gd name="T7" fmla="*/ 196 h 202"/>
                  <a:gd name="T8" fmla="*/ 62 w 128"/>
                  <a:gd name="T9" fmla="*/ 202 h 202"/>
                  <a:gd name="T10" fmla="*/ 36 w 128"/>
                  <a:gd name="T11" fmla="*/ 196 h 202"/>
                  <a:gd name="T12" fmla="*/ 16 w 128"/>
                  <a:gd name="T13" fmla="*/ 177 h 202"/>
                  <a:gd name="T14" fmla="*/ 4 w 128"/>
                  <a:gd name="T15" fmla="*/ 146 h 202"/>
                  <a:gd name="T16" fmla="*/ 0 w 128"/>
                  <a:gd name="T17" fmla="*/ 105 h 202"/>
                  <a:gd name="T18" fmla="*/ 4 w 128"/>
                  <a:gd name="T19" fmla="*/ 59 h 202"/>
                  <a:gd name="T20" fmla="*/ 17 w 128"/>
                  <a:gd name="T21" fmla="*/ 26 h 202"/>
                  <a:gd name="T22" fmla="*/ 38 w 128"/>
                  <a:gd name="T23" fmla="*/ 6 h 202"/>
                  <a:gd name="T24" fmla="*/ 66 w 128"/>
                  <a:gd name="T25" fmla="*/ 0 h 202"/>
                  <a:gd name="T26" fmla="*/ 128 w 128"/>
                  <a:gd name="T27" fmla="*/ 100 h 202"/>
                  <a:gd name="T28" fmla="*/ 105 w 128"/>
                  <a:gd name="T29" fmla="*/ 102 h 202"/>
                  <a:gd name="T30" fmla="*/ 65 w 128"/>
                  <a:gd name="T31" fmla="*/ 19 h 202"/>
                  <a:gd name="T32" fmla="*/ 23 w 128"/>
                  <a:gd name="T33" fmla="*/ 104 h 202"/>
                  <a:gd name="T34" fmla="*/ 64 w 128"/>
                  <a:gd name="T35" fmla="*/ 183 h 202"/>
                  <a:gd name="T36" fmla="*/ 105 w 128"/>
                  <a:gd name="T37" fmla="*/ 102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2">
                    <a:moveTo>
                      <a:pt x="128" y="100"/>
                    </a:moveTo>
                    <a:cubicBezTo>
                      <a:pt x="128" y="116"/>
                      <a:pt x="126" y="131"/>
                      <a:pt x="123" y="144"/>
                    </a:cubicBezTo>
                    <a:cubicBezTo>
                      <a:pt x="120" y="156"/>
                      <a:pt x="116" y="167"/>
                      <a:pt x="110" y="176"/>
                    </a:cubicBezTo>
                    <a:cubicBezTo>
                      <a:pt x="105" y="184"/>
                      <a:pt x="98" y="191"/>
                      <a:pt x="90" y="196"/>
                    </a:cubicBezTo>
                    <a:cubicBezTo>
                      <a:pt x="82" y="200"/>
                      <a:pt x="72" y="202"/>
                      <a:pt x="62" y="202"/>
                    </a:cubicBezTo>
                    <a:cubicBezTo>
                      <a:pt x="52" y="202"/>
                      <a:pt x="43" y="200"/>
                      <a:pt x="36" y="196"/>
                    </a:cubicBezTo>
                    <a:cubicBezTo>
                      <a:pt x="28" y="191"/>
                      <a:pt x="21" y="185"/>
                      <a:pt x="16" y="177"/>
                    </a:cubicBezTo>
                    <a:cubicBezTo>
                      <a:pt x="11" y="169"/>
                      <a:pt x="7" y="158"/>
                      <a:pt x="4" y="146"/>
                    </a:cubicBezTo>
                    <a:cubicBezTo>
                      <a:pt x="1" y="134"/>
                      <a:pt x="0" y="120"/>
                      <a:pt x="0" y="105"/>
                    </a:cubicBezTo>
                    <a:cubicBezTo>
                      <a:pt x="0" y="88"/>
                      <a:pt x="1" y="73"/>
                      <a:pt x="4" y="59"/>
                    </a:cubicBezTo>
                    <a:cubicBezTo>
                      <a:pt x="7" y="46"/>
                      <a:pt x="11" y="35"/>
                      <a:pt x="17" y="26"/>
                    </a:cubicBezTo>
                    <a:cubicBezTo>
                      <a:pt x="23" y="18"/>
                      <a:pt x="29" y="11"/>
                      <a:pt x="38" y="6"/>
                    </a:cubicBezTo>
                    <a:cubicBezTo>
                      <a:pt x="46" y="2"/>
                      <a:pt x="55" y="0"/>
                      <a:pt x="66" y="0"/>
                    </a:cubicBezTo>
                    <a:cubicBezTo>
                      <a:pt x="107" y="0"/>
                      <a:pt x="128" y="33"/>
                      <a:pt x="128" y="100"/>
                    </a:cubicBezTo>
                    <a:close/>
                    <a:moveTo>
                      <a:pt x="105" y="102"/>
                    </a:moveTo>
                    <a:cubicBezTo>
                      <a:pt x="105" y="46"/>
                      <a:pt x="91" y="19"/>
                      <a:pt x="65" y="19"/>
                    </a:cubicBezTo>
                    <a:cubicBezTo>
                      <a:pt x="37" y="19"/>
                      <a:pt x="23" y="47"/>
                      <a:pt x="23" y="104"/>
                    </a:cubicBezTo>
                    <a:cubicBezTo>
                      <a:pt x="23" y="157"/>
                      <a:pt x="37" y="183"/>
                      <a:pt x="64" y="183"/>
                    </a:cubicBezTo>
                    <a:cubicBezTo>
                      <a:pt x="91" y="183"/>
                      <a:pt x="105" y="156"/>
                      <a:pt x="105"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8" name="Freeform 228"/>
              <p:cNvSpPr>
                <a:spLocks/>
              </p:cNvSpPr>
              <p:nvPr userDrawn="1"/>
            </p:nvSpPr>
            <p:spPr bwMode="auto">
              <a:xfrm>
                <a:off x="7538" y="3292"/>
                <a:ext cx="83" cy="245"/>
              </a:xfrm>
              <a:custGeom>
                <a:avLst/>
                <a:gdLst>
                  <a:gd name="T0" fmla="*/ 68 w 68"/>
                  <a:gd name="T1" fmla="*/ 201 h 201"/>
                  <a:gd name="T2" fmla="*/ 45 w 68"/>
                  <a:gd name="T3" fmla="*/ 201 h 201"/>
                  <a:gd name="T4" fmla="*/ 45 w 68"/>
                  <a:gd name="T5" fmla="*/ 31 h 201"/>
                  <a:gd name="T6" fmla="*/ 38 w 68"/>
                  <a:gd name="T7" fmla="*/ 37 h 201"/>
                  <a:gd name="T8" fmla="*/ 27 w 68"/>
                  <a:gd name="T9" fmla="*/ 44 h 201"/>
                  <a:gd name="T10" fmla="*/ 14 w 68"/>
                  <a:gd name="T11" fmla="*/ 50 h 201"/>
                  <a:gd name="T12" fmla="*/ 0 w 68"/>
                  <a:gd name="T13" fmla="*/ 55 h 201"/>
                  <a:gd name="T14" fmla="*/ 0 w 68"/>
                  <a:gd name="T15" fmla="*/ 32 h 201"/>
                  <a:gd name="T16" fmla="*/ 16 w 68"/>
                  <a:gd name="T17" fmla="*/ 26 h 201"/>
                  <a:gd name="T18" fmla="*/ 32 w 68"/>
                  <a:gd name="T19" fmla="*/ 19 h 201"/>
                  <a:gd name="T20" fmla="*/ 47 w 68"/>
                  <a:gd name="T21" fmla="*/ 10 h 201"/>
                  <a:gd name="T22" fmla="*/ 59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5" y="201"/>
                      <a:pt x="45" y="201"/>
                      <a:pt x="45" y="201"/>
                    </a:cubicBezTo>
                    <a:cubicBezTo>
                      <a:pt x="45" y="31"/>
                      <a:pt x="45" y="31"/>
                      <a:pt x="45" y="31"/>
                    </a:cubicBezTo>
                    <a:cubicBezTo>
                      <a:pt x="44" y="33"/>
                      <a:pt x="41" y="35"/>
                      <a:pt x="38" y="37"/>
                    </a:cubicBezTo>
                    <a:cubicBezTo>
                      <a:pt x="35" y="40"/>
                      <a:pt x="31" y="42"/>
                      <a:pt x="27" y="44"/>
                    </a:cubicBezTo>
                    <a:cubicBezTo>
                      <a:pt x="23" y="46"/>
                      <a:pt x="18" y="48"/>
                      <a:pt x="14" y="50"/>
                    </a:cubicBezTo>
                    <a:cubicBezTo>
                      <a:pt x="9" y="52"/>
                      <a:pt x="4" y="54"/>
                      <a:pt x="0" y="55"/>
                    </a:cubicBezTo>
                    <a:cubicBezTo>
                      <a:pt x="0" y="32"/>
                      <a:pt x="0" y="32"/>
                      <a:pt x="0" y="32"/>
                    </a:cubicBezTo>
                    <a:cubicBezTo>
                      <a:pt x="5" y="31"/>
                      <a:pt x="10" y="29"/>
                      <a:pt x="16" y="26"/>
                    </a:cubicBezTo>
                    <a:cubicBezTo>
                      <a:pt x="21" y="24"/>
                      <a:pt x="27" y="22"/>
                      <a:pt x="32" y="19"/>
                    </a:cubicBezTo>
                    <a:cubicBezTo>
                      <a:pt x="37" y="16"/>
                      <a:pt x="42" y="13"/>
                      <a:pt x="47" y="10"/>
                    </a:cubicBezTo>
                    <a:cubicBezTo>
                      <a:pt x="52" y="7"/>
                      <a:pt x="56" y="3"/>
                      <a:pt x="59"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9" name="Freeform 229"/>
              <p:cNvSpPr>
                <a:spLocks noEditPoints="1"/>
              </p:cNvSpPr>
              <p:nvPr userDrawn="1"/>
            </p:nvSpPr>
            <p:spPr bwMode="auto">
              <a:xfrm>
                <a:off x="7686" y="3294"/>
                <a:ext cx="155" cy="247"/>
              </a:xfrm>
              <a:custGeom>
                <a:avLst/>
                <a:gdLst>
                  <a:gd name="T0" fmla="*/ 127 w 127"/>
                  <a:gd name="T1" fmla="*/ 100 h 202"/>
                  <a:gd name="T2" fmla="*/ 123 w 127"/>
                  <a:gd name="T3" fmla="*/ 144 h 202"/>
                  <a:gd name="T4" fmla="*/ 110 w 127"/>
                  <a:gd name="T5" fmla="*/ 176 h 202"/>
                  <a:gd name="T6" fmla="*/ 89 w 127"/>
                  <a:gd name="T7" fmla="*/ 196 h 202"/>
                  <a:gd name="T8" fmla="*/ 62 w 127"/>
                  <a:gd name="T9" fmla="*/ 202 h 202"/>
                  <a:gd name="T10" fmla="*/ 35 w 127"/>
                  <a:gd name="T11" fmla="*/ 196 h 202"/>
                  <a:gd name="T12" fmla="*/ 16 w 127"/>
                  <a:gd name="T13" fmla="*/ 177 h 202"/>
                  <a:gd name="T14" fmla="*/ 4 w 127"/>
                  <a:gd name="T15" fmla="*/ 146 h 202"/>
                  <a:gd name="T16" fmla="*/ 0 w 127"/>
                  <a:gd name="T17" fmla="*/ 105 h 202"/>
                  <a:gd name="T18" fmla="*/ 4 w 127"/>
                  <a:gd name="T19" fmla="*/ 59 h 202"/>
                  <a:gd name="T20" fmla="*/ 17 w 127"/>
                  <a:gd name="T21" fmla="*/ 26 h 202"/>
                  <a:gd name="T22" fmla="*/ 37 w 127"/>
                  <a:gd name="T23" fmla="*/ 6 h 202"/>
                  <a:gd name="T24" fmla="*/ 66 w 127"/>
                  <a:gd name="T25" fmla="*/ 0 h 202"/>
                  <a:gd name="T26" fmla="*/ 127 w 127"/>
                  <a:gd name="T27" fmla="*/ 100 h 202"/>
                  <a:gd name="T28" fmla="*/ 104 w 127"/>
                  <a:gd name="T29" fmla="*/ 102 h 202"/>
                  <a:gd name="T30" fmla="*/ 65 w 127"/>
                  <a:gd name="T31" fmla="*/ 19 h 202"/>
                  <a:gd name="T32" fmla="*/ 23 w 127"/>
                  <a:gd name="T33" fmla="*/ 104 h 202"/>
                  <a:gd name="T34" fmla="*/ 64 w 127"/>
                  <a:gd name="T35" fmla="*/ 183 h 202"/>
                  <a:gd name="T36" fmla="*/ 104 w 127"/>
                  <a:gd name="T37" fmla="*/ 102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7" h="202">
                    <a:moveTo>
                      <a:pt x="127" y="100"/>
                    </a:moveTo>
                    <a:cubicBezTo>
                      <a:pt x="127" y="116"/>
                      <a:pt x="126" y="131"/>
                      <a:pt x="123" y="144"/>
                    </a:cubicBezTo>
                    <a:cubicBezTo>
                      <a:pt x="120" y="156"/>
                      <a:pt x="116" y="167"/>
                      <a:pt x="110" y="176"/>
                    </a:cubicBezTo>
                    <a:cubicBezTo>
                      <a:pt x="105" y="184"/>
                      <a:pt x="98" y="191"/>
                      <a:pt x="89" y="196"/>
                    </a:cubicBezTo>
                    <a:cubicBezTo>
                      <a:pt x="81" y="200"/>
                      <a:pt x="72" y="202"/>
                      <a:pt x="62" y="202"/>
                    </a:cubicBezTo>
                    <a:cubicBezTo>
                      <a:pt x="52" y="202"/>
                      <a:pt x="43" y="200"/>
                      <a:pt x="35" y="196"/>
                    </a:cubicBezTo>
                    <a:cubicBezTo>
                      <a:pt x="28" y="191"/>
                      <a:pt x="21" y="185"/>
                      <a:pt x="16" y="177"/>
                    </a:cubicBezTo>
                    <a:cubicBezTo>
                      <a:pt x="11" y="169"/>
                      <a:pt x="7" y="158"/>
                      <a:pt x="4" y="146"/>
                    </a:cubicBezTo>
                    <a:cubicBezTo>
                      <a:pt x="1" y="134"/>
                      <a:pt x="0" y="120"/>
                      <a:pt x="0" y="105"/>
                    </a:cubicBezTo>
                    <a:cubicBezTo>
                      <a:pt x="0" y="88"/>
                      <a:pt x="1" y="73"/>
                      <a:pt x="4" y="59"/>
                    </a:cubicBezTo>
                    <a:cubicBezTo>
                      <a:pt x="7" y="46"/>
                      <a:pt x="11" y="35"/>
                      <a:pt x="17" y="26"/>
                    </a:cubicBezTo>
                    <a:cubicBezTo>
                      <a:pt x="22" y="18"/>
                      <a:pt x="29" y="11"/>
                      <a:pt x="37" y="6"/>
                    </a:cubicBezTo>
                    <a:cubicBezTo>
                      <a:pt x="46" y="2"/>
                      <a:pt x="55" y="0"/>
                      <a:pt x="66" y="0"/>
                    </a:cubicBezTo>
                    <a:cubicBezTo>
                      <a:pt x="107" y="0"/>
                      <a:pt x="127" y="33"/>
                      <a:pt x="127" y="100"/>
                    </a:cubicBezTo>
                    <a:close/>
                    <a:moveTo>
                      <a:pt x="104" y="102"/>
                    </a:moveTo>
                    <a:cubicBezTo>
                      <a:pt x="104" y="46"/>
                      <a:pt x="91" y="19"/>
                      <a:pt x="65" y="19"/>
                    </a:cubicBezTo>
                    <a:cubicBezTo>
                      <a:pt x="37" y="19"/>
                      <a:pt x="23" y="47"/>
                      <a:pt x="23" y="104"/>
                    </a:cubicBezTo>
                    <a:cubicBezTo>
                      <a:pt x="23" y="157"/>
                      <a:pt x="36" y="183"/>
                      <a:pt x="64" y="183"/>
                    </a:cubicBezTo>
                    <a:cubicBezTo>
                      <a:pt x="91" y="183"/>
                      <a:pt x="104" y="156"/>
                      <a:pt x="104"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0" name="Freeform 230"/>
              <p:cNvSpPr>
                <a:spLocks noEditPoints="1"/>
              </p:cNvSpPr>
              <p:nvPr userDrawn="1"/>
            </p:nvSpPr>
            <p:spPr bwMode="auto">
              <a:xfrm>
                <a:off x="5672" y="3284"/>
                <a:ext cx="218" cy="256"/>
              </a:xfrm>
              <a:custGeom>
                <a:avLst/>
                <a:gdLst>
                  <a:gd name="T0" fmla="*/ 175 w 179"/>
                  <a:gd name="T1" fmla="*/ 174 h 209"/>
                  <a:gd name="T2" fmla="*/ 134 w 179"/>
                  <a:gd name="T3" fmla="*/ 209 h 209"/>
                  <a:gd name="T4" fmla="*/ 81 w 179"/>
                  <a:gd name="T5" fmla="*/ 199 h 209"/>
                  <a:gd name="T6" fmla="*/ 32 w 179"/>
                  <a:gd name="T7" fmla="*/ 202 h 209"/>
                  <a:gd name="T8" fmla="*/ 2 w 179"/>
                  <a:gd name="T9" fmla="*/ 184 h 209"/>
                  <a:gd name="T10" fmla="*/ 14 w 179"/>
                  <a:gd name="T11" fmla="*/ 159 h 209"/>
                  <a:gd name="T12" fmla="*/ 9 w 179"/>
                  <a:gd name="T13" fmla="*/ 163 h 209"/>
                  <a:gd name="T14" fmla="*/ 6 w 179"/>
                  <a:gd name="T15" fmla="*/ 184 h 209"/>
                  <a:gd name="T16" fmla="*/ 45 w 179"/>
                  <a:gd name="T17" fmla="*/ 203 h 209"/>
                  <a:gd name="T18" fmla="*/ 42 w 179"/>
                  <a:gd name="T19" fmla="*/ 153 h 209"/>
                  <a:gd name="T20" fmla="*/ 25 w 179"/>
                  <a:gd name="T21" fmla="*/ 134 h 209"/>
                  <a:gd name="T22" fmla="*/ 52 w 179"/>
                  <a:gd name="T23" fmla="*/ 84 h 209"/>
                  <a:gd name="T24" fmla="*/ 58 w 179"/>
                  <a:gd name="T25" fmla="*/ 28 h 209"/>
                  <a:gd name="T26" fmla="*/ 117 w 179"/>
                  <a:gd name="T27" fmla="*/ 18 h 209"/>
                  <a:gd name="T28" fmla="*/ 159 w 179"/>
                  <a:gd name="T29" fmla="*/ 129 h 209"/>
                  <a:gd name="T30" fmla="*/ 153 w 179"/>
                  <a:gd name="T31" fmla="*/ 152 h 209"/>
                  <a:gd name="T32" fmla="*/ 128 w 179"/>
                  <a:gd name="T33" fmla="*/ 151 h 209"/>
                  <a:gd name="T34" fmla="*/ 122 w 179"/>
                  <a:gd name="T35" fmla="*/ 186 h 209"/>
                  <a:gd name="T36" fmla="*/ 165 w 179"/>
                  <a:gd name="T37" fmla="*/ 186 h 209"/>
                  <a:gd name="T38" fmla="*/ 171 w 179"/>
                  <a:gd name="T39" fmla="*/ 174 h 209"/>
                  <a:gd name="T40" fmla="*/ 161 w 179"/>
                  <a:gd name="T41" fmla="*/ 153 h 209"/>
                  <a:gd name="T42" fmla="*/ 88 w 179"/>
                  <a:gd name="T43" fmla="*/ 72 h 209"/>
                  <a:gd name="T44" fmla="*/ 102 w 179"/>
                  <a:gd name="T45" fmla="*/ 68 h 209"/>
                  <a:gd name="T46" fmla="*/ 73 w 179"/>
                  <a:gd name="T47" fmla="*/ 80 h 209"/>
                  <a:gd name="T48" fmla="*/ 63 w 179"/>
                  <a:gd name="T49" fmla="*/ 77 h 209"/>
                  <a:gd name="T50" fmla="*/ 56 w 179"/>
                  <a:gd name="T51" fmla="*/ 101 h 209"/>
                  <a:gd name="T52" fmla="*/ 45 w 179"/>
                  <a:gd name="T53" fmla="*/ 141 h 209"/>
                  <a:gd name="T54" fmla="*/ 38 w 179"/>
                  <a:gd name="T55" fmla="*/ 121 h 209"/>
                  <a:gd name="T56" fmla="*/ 40 w 179"/>
                  <a:gd name="T57" fmla="*/ 143 h 209"/>
                  <a:gd name="T58" fmla="*/ 64 w 179"/>
                  <a:gd name="T59" fmla="*/ 178 h 209"/>
                  <a:gd name="T60" fmla="*/ 70 w 179"/>
                  <a:gd name="T61" fmla="*/ 198 h 209"/>
                  <a:gd name="T62" fmla="*/ 68 w 179"/>
                  <a:gd name="T63" fmla="*/ 183 h 209"/>
                  <a:gd name="T64" fmla="*/ 109 w 179"/>
                  <a:gd name="T65" fmla="*/ 179 h 209"/>
                  <a:gd name="T66" fmla="*/ 115 w 179"/>
                  <a:gd name="T67" fmla="*/ 186 h 209"/>
                  <a:gd name="T68" fmla="*/ 119 w 179"/>
                  <a:gd name="T69" fmla="*/ 171 h 209"/>
                  <a:gd name="T70" fmla="*/ 126 w 179"/>
                  <a:gd name="T71" fmla="*/ 146 h 209"/>
                  <a:gd name="T72" fmla="*/ 126 w 179"/>
                  <a:gd name="T73" fmla="*/ 92 h 209"/>
                  <a:gd name="T74" fmla="*/ 128 w 179"/>
                  <a:gd name="T75" fmla="*/ 135 h 209"/>
                  <a:gd name="T76" fmla="*/ 117 w 179"/>
                  <a:gd name="T77" fmla="*/ 94 h 209"/>
                  <a:gd name="T78" fmla="*/ 104 w 179"/>
                  <a:gd name="T79" fmla="*/ 54 h 209"/>
                  <a:gd name="T80" fmla="*/ 98 w 179"/>
                  <a:gd name="T81" fmla="*/ 37 h 209"/>
                  <a:gd name="T82" fmla="*/ 107 w 179"/>
                  <a:gd name="T83" fmla="*/ 49 h 209"/>
                  <a:gd name="T84" fmla="*/ 87 w 179"/>
                  <a:gd name="T85" fmla="*/ 42 h 209"/>
                  <a:gd name="T86" fmla="*/ 78 w 179"/>
                  <a:gd name="T87" fmla="*/ 44 h 209"/>
                  <a:gd name="T88" fmla="*/ 66 w 179"/>
                  <a:gd name="T89" fmla="*/ 35 h 209"/>
                  <a:gd name="T90" fmla="*/ 67 w 179"/>
                  <a:gd name="T91" fmla="*/ 48 h 209"/>
                  <a:gd name="T92" fmla="*/ 73 w 179"/>
                  <a:gd name="T93" fmla="*/ 48 h 209"/>
                  <a:gd name="T94" fmla="*/ 65 w 179"/>
                  <a:gd name="T95" fmla="*/ 60 h 209"/>
                  <a:gd name="T96" fmla="*/ 101 w 179"/>
                  <a:gd name="T97" fmla="*/ 59 h 209"/>
                  <a:gd name="T98" fmla="*/ 86 w 179"/>
                  <a:gd name="T99" fmla="*/ 68 h 209"/>
                  <a:gd name="T100" fmla="*/ 72 w 179"/>
                  <a:gd name="T101" fmla="*/ 40 h 209"/>
                  <a:gd name="T102" fmla="*/ 73 w 179"/>
                  <a:gd name="T103" fmla="*/ 45 h 209"/>
                  <a:gd name="T104" fmla="*/ 99 w 179"/>
                  <a:gd name="T105" fmla="*/ 40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79" h="209">
                    <a:moveTo>
                      <a:pt x="161" y="153"/>
                    </a:moveTo>
                    <a:cubicBezTo>
                      <a:pt x="161" y="156"/>
                      <a:pt x="162" y="159"/>
                      <a:pt x="163" y="161"/>
                    </a:cubicBezTo>
                    <a:cubicBezTo>
                      <a:pt x="164" y="166"/>
                      <a:pt x="167" y="169"/>
                      <a:pt x="170" y="171"/>
                    </a:cubicBezTo>
                    <a:cubicBezTo>
                      <a:pt x="172" y="172"/>
                      <a:pt x="174" y="173"/>
                      <a:pt x="175" y="174"/>
                    </a:cubicBezTo>
                    <a:cubicBezTo>
                      <a:pt x="179" y="177"/>
                      <a:pt x="179" y="180"/>
                      <a:pt x="176" y="183"/>
                    </a:cubicBezTo>
                    <a:cubicBezTo>
                      <a:pt x="173" y="186"/>
                      <a:pt x="170" y="188"/>
                      <a:pt x="166" y="189"/>
                    </a:cubicBezTo>
                    <a:cubicBezTo>
                      <a:pt x="157" y="193"/>
                      <a:pt x="148" y="199"/>
                      <a:pt x="141" y="206"/>
                    </a:cubicBezTo>
                    <a:cubicBezTo>
                      <a:pt x="139" y="208"/>
                      <a:pt x="137" y="209"/>
                      <a:pt x="134" y="209"/>
                    </a:cubicBezTo>
                    <a:cubicBezTo>
                      <a:pt x="131" y="209"/>
                      <a:pt x="128" y="209"/>
                      <a:pt x="125" y="208"/>
                    </a:cubicBezTo>
                    <a:cubicBezTo>
                      <a:pt x="122" y="208"/>
                      <a:pt x="119" y="206"/>
                      <a:pt x="118" y="203"/>
                    </a:cubicBezTo>
                    <a:cubicBezTo>
                      <a:pt x="116" y="200"/>
                      <a:pt x="113" y="198"/>
                      <a:pt x="110" y="198"/>
                    </a:cubicBezTo>
                    <a:cubicBezTo>
                      <a:pt x="100" y="198"/>
                      <a:pt x="90" y="199"/>
                      <a:pt x="81" y="199"/>
                    </a:cubicBezTo>
                    <a:cubicBezTo>
                      <a:pt x="76" y="199"/>
                      <a:pt x="72" y="200"/>
                      <a:pt x="68" y="202"/>
                    </a:cubicBezTo>
                    <a:cubicBezTo>
                      <a:pt x="66" y="203"/>
                      <a:pt x="64" y="204"/>
                      <a:pt x="63" y="205"/>
                    </a:cubicBezTo>
                    <a:cubicBezTo>
                      <a:pt x="58" y="209"/>
                      <a:pt x="54" y="209"/>
                      <a:pt x="48" y="208"/>
                    </a:cubicBezTo>
                    <a:cubicBezTo>
                      <a:pt x="43" y="206"/>
                      <a:pt x="38" y="204"/>
                      <a:pt x="32" y="202"/>
                    </a:cubicBezTo>
                    <a:cubicBezTo>
                      <a:pt x="25" y="200"/>
                      <a:pt x="18" y="199"/>
                      <a:pt x="11" y="198"/>
                    </a:cubicBezTo>
                    <a:cubicBezTo>
                      <a:pt x="9" y="197"/>
                      <a:pt x="7" y="196"/>
                      <a:pt x="5" y="196"/>
                    </a:cubicBezTo>
                    <a:cubicBezTo>
                      <a:pt x="1" y="194"/>
                      <a:pt x="0" y="192"/>
                      <a:pt x="1" y="188"/>
                    </a:cubicBezTo>
                    <a:cubicBezTo>
                      <a:pt x="1" y="187"/>
                      <a:pt x="2" y="185"/>
                      <a:pt x="2" y="184"/>
                    </a:cubicBezTo>
                    <a:cubicBezTo>
                      <a:pt x="4" y="180"/>
                      <a:pt x="4" y="176"/>
                      <a:pt x="3" y="172"/>
                    </a:cubicBezTo>
                    <a:cubicBezTo>
                      <a:pt x="3" y="170"/>
                      <a:pt x="2" y="169"/>
                      <a:pt x="2" y="167"/>
                    </a:cubicBezTo>
                    <a:cubicBezTo>
                      <a:pt x="1" y="163"/>
                      <a:pt x="3" y="160"/>
                      <a:pt x="7" y="160"/>
                    </a:cubicBezTo>
                    <a:cubicBezTo>
                      <a:pt x="10" y="160"/>
                      <a:pt x="12" y="160"/>
                      <a:pt x="14" y="159"/>
                    </a:cubicBezTo>
                    <a:cubicBezTo>
                      <a:pt x="19" y="159"/>
                      <a:pt x="22" y="155"/>
                      <a:pt x="23" y="150"/>
                    </a:cubicBezTo>
                    <a:cubicBezTo>
                      <a:pt x="23" y="150"/>
                      <a:pt x="23" y="150"/>
                      <a:pt x="23" y="150"/>
                    </a:cubicBezTo>
                    <a:cubicBezTo>
                      <a:pt x="25" y="153"/>
                      <a:pt x="23" y="160"/>
                      <a:pt x="17" y="162"/>
                    </a:cubicBezTo>
                    <a:cubicBezTo>
                      <a:pt x="15" y="163"/>
                      <a:pt x="12" y="163"/>
                      <a:pt x="9" y="163"/>
                    </a:cubicBezTo>
                    <a:cubicBezTo>
                      <a:pt x="9" y="163"/>
                      <a:pt x="9" y="163"/>
                      <a:pt x="9" y="163"/>
                    </a:cubicBezTo>
                    <a:cubicBezTo>
                      <a:pt x="5" y="162"/>
                      <a:pt x="3" y="164"/>
                      <a:pt x="4" y="168"/>
                    </a:cubicBezTo>
                    <a:cubicBezTo>
                      <a:pt x="5" y="170"/>
                      <a:pt x="6" y="171"/>
                      <a:pt x="6" y="173"/>
                    </a:cubicBezTo>
                    <a:cubicBezTo>
                      <a:pt x="8" y="176"/>
                      <a:pt x="8" y="180"/>
                      <a:pt x="6" y="184"/>
                    </a:cubicBezTo>
                    <a:cubicBezTo>
                      <a:pt x="6" y="185"/>
                      <a:pt x="5" y="187"/>
                      <a:pt x="4" y="188"/>
                    </a:cubicBezTo>
                    <a:cubicBezTo>
                      <a:pt x="4" y="190"/>
                      <a:pt x="4" y="192"/>
                      <a:pt x="7" y="193"/>
                    </a:cubicBezTo>
                    <a:cubicBezTo>
                      <a:pt x="9" y="194"/>
                      <a:pt x="11" y="194"/>
                      <a:pt x="13" y="195"/>
                    </a:cubicBezTo>
                    <a:cubicBezTo>
                      <a:pt x="24" y="197"/>
                      <a:pt x="35" y="199"/>
                      <a:pt x="45" y="203"/>
                    </a:cubicBezTo>
                    <a:cubicBezTo>
                      <a:pt x="49" y="204"/>
                      <a:pt x="52" y="204"/>
                      <a:pt x="55" y="204"/>
                    </a:cubicBezTo>
                    <a:cubicBezTo>
                      <a:pt x="63" y="202"/>
                      <a:pt x="66" y="198"/>
                      <a:pt x="65" y="190"/>
                    </a:cubicBezTo>
                    <a:cubicBezTo>
                      <a:pt x="64" y="186"/>
                      <a:pt x="62" y="182"/>
                      <a:pt x="60" y="179"/>
                    </a:cubicBezTo>
                    <a:cubicBezTo>
                      <a:pt x="54" y="170"/>
                      <a:pt x="49" y="161"/>
                      <a:pt x="42" y="153"/>
                    </a:cubicBezTo>
                    <a:cubicBezTo>
                      <a:pt x="40" y="150"/>
                      <a:pt x="37" y="147"/>
                      <a:pt x="35" y="145"/>
                    </a:cubicBezTo>
                    <a:cubicBezTo>
                      <a:pt x="32" y="143"/>
                      <a:pt x="29" y="143"/>
                      <a:pt x="27" y="145"/>
                    </a:cubicBezTo>
                    <a:cubicBezTo>
                      <a:pt x="26" y="145"/>
                      <a:pt x="25" y="145"/>
                      <a:pt x="25" y="144"/>
                    </a:cubicBezTo>
                    <a:cubicBezTo>
                      <a:pt x="24" y="141"/>
                      <a:pt x="24" y="137"/>
                      <a:pt x="25" y="134"/>
                    </a:cubicBezTo>
                    <a:cubicBezTo>
                      <a:pt x="26" y="133"/>
                      <a:pt x="26" y="132"/>
                      <a:pt x="27" y="130"/>
                    </a:cubicBezTo>
                    <a:cubicBezTo>
                      <a:pt x="30" y="125"/>
                      <a:pt x="32" y="119"/>
                      <a:pt x="35" y="113"/>
                    </a:cubicBezTo>
                    <a:cubicBezTo>
                      <a:pt x="37" y="106"/>
                      <a:pt x="39" y="100"/>
                      <a:pt x="43" y="94"/>
                    </a:cubicBezTo>
                    <a:cubicBezTo>
                      <a:pt x="46" y="91"/>
                      <a:pt x="49" y="87"/>
                      <a:pt x="52" y="84"/>
                    </a:cubicBezTo>
                    <a:cubicBezTo>
                      <a:pt x="54" y="80"/>
                      <a:pt x="56" y="77"/>
                      <a:pt x="58" y="74"/>
                    </a:cubicBezTo>
                    <a:cubicBezTo>
                      <a:pt x="60" y="71"/>
                      <a:pt x="60" y="68"/>
                      <a:pt x="60" y="65"/>
                    </a:cubicBezTo>
                    <a:cubicBezTo>
                      <a:pt x="59" y="58"/>
                      <a:pt x="59" y="51"/>
                      <a:pt x="59" y="44"/>
                    </a:cubicBezTo>
                    <a:cubicBezTo>
                      <a:pt x="58" y="39"/>
                      <a:pt x="58" y="33"/>
                      <a:pt x="58" y="28"/>
                    </a:cubicBezTo>
                    <a:cubicBezTo>
                      <a:pt x="59" y="17"/>
                      <a:pt x="63" y="8"/>
                      <a:pt x="73" y="3"/>
                    </a:cubicBezTo>
                    <a:cubicBezTo>
                      <a:pt x="77" y="1"/>
                      <a:pt x="81" y="1"/>
                      <a:pt x="85" y="0"/>
                    </a:cubicBezTo>
                    <a:cubicBezTo>
                      <a:pt x="91" y="0"/>
                      <a:pt x="97" y="1"/>
                      <a:pt x="102" y="4"/>
                    </a:cubicBezTo>
                    <a:cubicBezTo>
                      <a:pt x="109" y="6"/>
                      <a:pt x="114" y="12"/>
                      <a:pt x="117" y="18"/>
                    </a:cubicBezTo>
                    <a:cubicBezTo>
                      <a:pt x="120" y="24"/>
                      <a:pt x="122" y="30"/>
                      <a:pt x="122" y="37"/>
                    </a:cubicBezTo>
                    <a:cubicBezTo>
                      <a:pt x="122" y="40"/>
                      <a:pt x="122" y="44"/>
                      <a:pt x="123" y="47"/>
                    </a:cubicBezTo>
                    <a:cubicBezTo>
                      <a:pt x="124" y="62"/>
                      <a:pt x="128" y="75"/>
                      <a:pt x="138" y="85"/>
                    </a:cubicBezTo>
                    <a:cubicBezTo>
                      <a:pt x="150" y="97"/>
                      <a:pt x="156" y="112"/>
                      <a:pt x="159" y="129"/>
                    </a:cubicBezTo>
                    <a:cubicBezTo>
                      <a:pt x="161" y="134"/>
                      <a:pt x="161" y="139"/>
                      <a:pt x="160" y="144"/>
                    </a:cubicBezTo>
                    <a:cubicBezTo>
                      <a:pt x="160" y="145"/>
                      <a:pt x="159" y="146"/>
                      <a:pt x="159" y="147"/>
                    </a:cubicBezTo>
                    <a:cubicBezTo>
                      <a:pt x="158" y="147"/>
                      <a:pt x="158" y="148"/>
                      <a:pt x="157" y="148"/>
                    </a:cubicBezTo>
                    <a:cubicBezTo>
                      <a:pt x="155" y="149"/>
                      <a:pt x="154" y="151"/>
                      <a:pt x="153" y="152"/>
                    </a:cubicBezTo>
                    <a:cubicBezTo>
                      <a:pt x="151" y="154"/>
                      <a:pt x="149" y="157"/>
                      <a:pt x="147" y="158"/>
                    </a:cubicBezTo>
                    <a:cubicBezTo>
                      <a:pt x="143" y="161"/>
                      <a:pt x="139" y="161"/>
                      <a:pt x="135" y="160"/>
                    </a:cubicBezTo>
                    <a:cubicBezTo>
                      <a:pt x="133" y="159"/>
                      <a:pt x="132" y="158"/>
                      <a:pt x="131" y="156"/>
                    </a:cubicBezTo>
                    <a:cubicBezTo>
                      <a:pt x="130" y="154"/>
                      <a:pt x="129" y="152"/>
                      <a:pt x="128" y="151"/>
                    </a:cubicBezTo>
                    <a:cubicBezTo>
                      <a:pt x="127" y="150"/>
                      <a:pt x="126" y="148"/>
                      <a:pt x="125" y="148"/>
                    </a:cubicBezTo>
                    <a:cubicBezTo>
                      <a:pt x="123" y="148"/>
                      <a:pt x="122" y="150"/>
                      <a:pt x="121" y="152"/>
                    </a:cubicBezTo>
                    <a:cubicBezTo>
                      <a:pt x="120" y="156"/>
                      <a:pt x="120" y="160"/>
                      <a:pt x="121" y="164"/>
                    </a:cubicBezTo>
                    <a:cubicBezTo>
                      <a:pt x="123" y="171"/>
                      <a:pt x="123" y="179"/>
                      <a:pt x="122" y="186"/>
                    </a:cubicBezTo>
                    <a:cubicBezTo>
                      <a:pt x="121" y="189"/>
                      <a:pt x="121" y="192"/>
                      <a:pt x="122" y="194"/>
                    </a:cubicBezTo>
                    <a:cubicBezTo>
                      <a:pt x="123" y="202"/>
                      <a:pt x="129" y="205"/>
                      <a:pt x="136" y="203"/>
                    </a:cubicBezTo>
                    <a:cubicBezTo>
                      <a:pt x="139" y="202"/>
                      <a:pt x="142" y="200"/>
                      <a:pt x="144" y="198"/>
                    </a:cubicBezTo>
                    <a:cubicBezTo>
                      <a:pt x="150" y="192"/>
                      <a:pt x="158" y="189"/>
                      <a:pt x="165" y="186"/>
                    </a:cubicBezTo>
                    <a:cubicBezTo>
                      <a:pt x="168" y="186"/>
                      <a:pt x="170" y="184"/>
                      <a:pt x="173" y="183"/>
                    </a:cubicBezTo>
                    <a:cubicBezTo>
                      <a:pt x="174" y="183"/>
                      <a:pt x="174" y="182"/>
                      <a:pt x="175" y="181"/>
                    </a:cubicBezTo>
                    <a:cubicBezTo>
                      <a:pt x="176" y="180"/>
                      <a:pt x="176" y="178"/>
                      <a:pt x="175" y="177"/>
                    </a:cubicBezTo>
                    <a:cubicBezTo>
                      <a:pt x="174" y="176"/>
                      <a:pt x="172" y="175"/>
                      <a:pt x="171" y="174"/>
                    </a:cubicBezTo>
                    <a:cubicBezTo>
                      <a:pt x="170" y="174"/>
                      <a:pt x="169" y="173"/>
                      <a:pt x="168" y="173"/>
                    </a:cubicBezTo>
                    <a:cubicBezTo>
                      <a:pt x="163" y="172"/>
                      <a:pt x="161" y="168"/>
                      <a:pt x="160" y="163"/>
                    </a:cubicBezTo>
                    <a:cubicBezTo>
                      <a:pt x="159" y="161"/>
                      <a:pt x="160" y="158"/>
                      <a:pt x="160" y="156"/>
                    </a:cubicBezTo>
                    <a:cubicBezTo>
                      <a:pt x="160" y="155"/>
                      <a:pt x="160" y="154"/>
                      <a:pt x="161" y="153"/>
                    </a:cubicBezTo>
                    <a:close/>
                    <a:moveTo>
                      <a:pt x="71" y="69"/>
                    </a:moveTo>
                    <a:cubicBezTo>
                      <a:pt x="71" y="69"/>
                      <a:pt x="71" y="69"/>
                      <a:pt x="71" y="69"/>
                    </a:cubicBezTo>
                    <a:cubicBezTo>
                      <a:pt x="73" y="72"/>
                      <a:pt x="74" y="73"/>
                      <a:pt x="77" y="74"/>
                    </a:cubicBezTo>
                    <a:cubicBezTo>
                      <a:pt x="81" y="74"/>
                      <a:pt x="85" y="74"/>
                      <a:pt x="88" y="72"/>
                    </a:cubicBezTo>
                    <a:cubicBezTo>
                      <a:pt x="91" y="70"/>
                      <a:pt x="94" y="69"/>
                      <a:pt x="98" y="67"/>
                    </a:cubicBezTo>
                    <a:cubicBezTo>
                      <a:pt x="99" y="66"/>
                      <a:pt x="100" y="66"/>
                      <a:pt x="101" y="66"/>
                    </a:cubicBezTo>
                    <a:cubicBezTo>
                      <a:pt x="101" y="66"/>
                      <a:pt x="102" y="66"/>
                      <a:pt x="102" y="67"/>
                    </a:cubicBezTo>
                    <a:cubicBezTo>
                      <a:pt x="102" y="67"/>
                      <a:pt x="102" y="68"/>
                      <a:pt x="102" y="68"/>
                    </a:cubicBezTo>
                    <a:cubicBezTo>
                      <a:pt x="101" y="69"/>
                      <a:pt x="100" y="69"/>
                      <a:pt x="99" y="70"/>
                    </a:cubicBezTo>
                    <a:cubicBezTo>
                      <a:pt x="94" y="72"/>
                      <a:pt x="91" y="75"/>
                      <a:pt x="87" y="78"/>
                    </a:cubicBezTo>
                    <a:cubicBezTo>
                      <a:pt x="85" y="79"/>
                      <a:pt x="83" y="80"/>
                      <a:pt x="81" y="81"/>
                    </a:cubicBezTo>
                    <a:cubicBezTo>
                      <a:pt x="78" y="83"/>
                      <a:pt x="76" y="82"/>
                      <a:pt x="73" y="80"/>
                    </a:cubicBezTo>
                    <a:cubicBezTo>
                      <a:pt x="71" y="77"/>
                      <a:pt x="69" y="74"/>
                      <a:pt x="67" y="72"/>
                    </a:cubicBezTo>
                    <a:cubicBezTo>
                      <a:pt x="67" y="71"/>
                      <a:pt x="66" y="70"/>
                      <a:pt x="65" y="70"/>
                    </a:cubicBezTo>
                    <a:cubicBezTo>
                      <a:pt x="65" y="70"/>
                      <a:pt x="65" y="71"/>
                      <a:pt x="65" y="71"/>
                    </a:cubicBezTo>
                    <a:cubicBezTo>
                      <a:pt x="64" y="73"/>
                      <a:pt x="64" y="75"/>
                      <a:pt x="63" y="77"/>
                    </a:cubicBezTo>
                    <a:cubicBezTo>
                      <a:pt x="63" y="79"/>
                      <a:pt x="61" y="81"/>
                      <a:pt x="60" y="84"/>
                    </a:cubicBezTo>
                    <a:cubicBezTo>
                      <a:pt x="59" y="86"/>
                      <a:pt x="57" y="89"/>
                      <a:pt x="57" y="92"/>
                    </a:cubicBezTo>
                    <a:cubicBezTo>
                      <a:pt x="57" y="94"/>
                      <a:pt x="58" y="96"/>
                      <a:pt x="58" y="98"/>
                    </a:cubicBezTo>
                    <a:cubicBezTo>
                      <a:pt x="58" y="99"/>
                      <a:pt x="57" y="100"/>
                      <a:pt x="56" y="101"/>
                    </a:cubicBezTo>
                    <a:cubicBezTo>
                      <a:pt x="54" y="105"/>
                      <a:pt x="52" y="109"/>
                      <a:pt x="50" y="113"/>
                    </a:cubicBezTo>
                    <a:cubicBezTo>
                      <a:pt x="47" y="117"/>
                      <a:pt x="46" y="122"/>
                      <a:pt x="46" y="128"/>
                    </a:cubicBezTo>
                    <a:cubicBezTo>
                      <a:pt x="46" y="130"/>
                      <a:pt x="46" y="133"/>
                      <a:pt x="46" y="136"/>
                    </a:cubicBezTo>
                    <a:cubicBezTo>
                      <a:pt x="46" y="138"/>
                      <a:pt x="45" y="139"/>
                      <a:pt x="45" y="141"/>
                    </a:cubicBezTo>
                    <a:cubicBezTo>
                      <a:pt x="45" y="142"/>
                      <a:pt x="44" y="142"/>
                      <a:pt x="43" y="141"/>
                    </a:cubicBezTo>
                    <a:cubicBezTo>
                      <a:pt x="42" y="141"/>
                      <a:pt x="41" y="140"/>
                      <a:pt x="40" y="139"/>
                    </a:cubicBezTo>
                    <a:cubicBezTo>
                      <a:pt x="38" y="134"/>
                      <a:pt x="37" y="130"/>
                      <a:pt x="38" y="125"/>
                    </a:cubicBezTo>
                    <a:cubicBezTo>
                      <a:pt x="38" y="124"/>
                      <a:pt x="38" y="123"/>
                      <a:pt x="38" y="121"/>
                    </a:cubicBezTo>
                    <a:cubicBezTo>
                      <a:pt x="38" y="121"/>
                      <a:pt x="38" y="121"/>
                      <a:pt x="38" y="121"/>
                    </a:cubicBezTo>
                    <a:cubicBezTo>
                      <a:pt x="37" y="122"/>
                      <a:pt x="37" y="123"/>
                      <a:pt x="37" y="123"/>
                    </a:cubicBezTo>
                    <a:cubicBezTo>
                      <a:pt x="35" y="127"/>
                      <a:pt x="35" y="131"/>
                      <a:pt x="36" y="135"/>
                    </a:cubicBezTo>
                    <a:cubicBezTo>
                      <a:pt x="37" y="138"/>
                      <a:pt x="38" y="141"/>
                      <a:pt x="40" y="143"/>
                    </a:cubicBezTo>
                    <a:cubicBezTo>
                      <a:pt x="44" y="146"/>
                      <a:pt x="48" y="150"/>
                      <a:pt x="52" y="153"/>
                    </a:cubicBezTo>
                    <a:cubicBezTo>
                      <a:pt x="57" y="157"/>
                      <a:pt x="62" y="161"/>
                      <a:pt x="67" y="165"/>
                    </a:cubicBezTo>
                    <a:cubicBezTo>
                      <a:pt x="69" y="167"/>
                      <a:pt x="70" y="170"/>
                      <a:pt x="69" y="173"/>
                    </a:cubicBezTo>
                    <a:cubicBezTo>
                      <a:pt x="68" y="175"/>
                      <a:pt x="67" y="177"/>
                      <a:pt x="64" y="178"/>
                    </a:cubicBezTo>
                    <a:cubicBezTo>
                      <a:pt x="64" y="178"/>
                      <a:pt x="63" y="178"/>
                      <a:pt x="62" y="178"/>
                    </a:cubicBezTo>
                    <a:cubicBezTo>
                      <a:pt x="63" y="180"/>
                      <a:pt x="65" y="182"/>
                      <a:pt x="66" y="183"/>
                    </a:cubicBezTo>
                    <a:cubicBezTo>
                      <a:pt x="68" y="186"/>
                      <a:pt x="69" y="189"/>
                      <a:pt x="69" y="192"/>
                    </a:cubicBezTo>
                    <a:cubicBezTo>
                      <a:pt x="70" y="194"/>
                      <a:pt x="70" y="196"/>
                      <a:pt x="70" y="198"/>
                    </a:cubicBezTo>
                    <a:cubicBezTo>
                      <a:pt x="70" y="197"/>
                      <a:pt x="70" y="197"/>
                      <a:pt x="70" y="197"/>
                    </a:cubicBezTo>
                    <a:cubicBezTo>
                      <a:pt x="73" y="196"/>
                      <a:pt x="73" y="194"/>
                      <a:pt x="72" y="191"/>
                    </a:cubicBezTo>
                    <a:cubicBezTo>
                      <a:pt x="72" y="189"/>
                      <a:pt x="70" y="186"/>
                      <a:pt x="69" y="184"/>
                    </a:cubicBezTo>
                    <a:cubicBezTo>
                      <a:pt x="68" y="184"/>
                      <a:pt x="68" y="183"/>
                      <a:pt x="68" y="183"/>
                    </a:cubicBezTo>
                    <a:cubicBezTo>
                      <a:pt x="69" y="182"/>
                      <a:pt x="71" y="182"/>
                      <a:pt x="72" y="183"/>
                    </a:cubicBezTo>
                    <a:cubicBezTo>
                      <a:pt x="74" y="184"/>
                      <a:pt x="76" y="186"/>
                      <a:pt x="79" y="186"/>
                    </a:cubicBezTo>
                    <a:cubicBezTo>
                      <a:pt x="85" y="188"/>
                      <a:pt x="91" y="187"/>
                      <a:pt x="97" y="185"/>
                    </a:cubicBezTo>
                    <a:cubicBezTo>
                      <a:pt x="101" y="184"/>
                      <a:pt x="106" y="183"/>
                      <a:pt x="109" y="179"/>
                    </a:cubicBezTo>
                    <a:cubicBezTo>
                      <a:pt x="111" y="178"/>
                      <a:pt x="112" y="176"/>
                      <a:pt x="113" y="174"/>
                    </a:cubicBezTo>
                    <a:cubicBezTo>
                      <a:pt x="114" y="173"/>
                      <a:pt x="115" y="173"/>
                      <a:pt x="115" y="173"/>
                    </a:cubicBezTo>
                    <a:cubicBezTo>
                      <a:pt x="116" y="173"/>
                      <a:pt x="116" y="174"/>
                      <a:pt x="117" y="175"/>
                    </a:cubicBezTo>
                    <a:cubicBezTo>
                      <a:pt x="117" y="179"/>
                      <a:pt x="117" y="182"/>
                      <a:pt x="115" y="186"/>
                    </a:cubicBezTo>
                    <a:cubicBezTo>
                      <a:pt x="115" y="188"/>
                      <a:pt x="114" y="191"/>
                      <a:pt x="114" y="193"/>
                    </a:cubicBezTo>
                    <a:cubicBezTo>
                      <a:pt x="113" y="195"/>
                      <a:pt x="114" y="196"/>
                      <a:pt x="116" y="196"/>
                    </a:cubicBezTo>
                    <a:cubicBezTo>
                      <a:pt x="117" y="191"/>
                      <a:pt x="118" y="187"/>
                      <a:pt x="119" y="183"/>
                    </a:cubicBezTo>
                    <a:cubicBezTo>
                      <a:pt x="119" y="179"/>
                      <a:pt x="120" y="175"/>
                      <a:pt x="119" y="171"/>
                    </a:cubicBezTo>
                    <a:cubicBezTo>
                      <a:pt x="119" y="168"/>
                      <a:pt x="118" y="164"/>
                      <a:pt x="118" y="160"/>
                    </a:cubicBezTo>
                    <a:cubicBezTo>
                      <a:pt x="118" y="157"/>
                      <a:pt x="118" y="154"/>
                      <a:pt x="119" y="151"/>
                    </a:cubicBezTo>
                    <a:cubicBezTo>
                      <a:pt x="120" y="148"/>
                      <a:pt x="122" y="146"/>
                      <a:pt x="126" y="146"/>
                    </a:cubicBezTo>
                    <a:cubicBezTo>
                      <a:pt x="126" y="146"/>
                      <a:pt x="126" y="146"/>
                      <a:pt x="126" y="146"/>
                    </a:cubicBezTo>
                    <a:cubicBezTo>
                      <a:pt x="127" y="143"/>
                      <a:pt x="129" y="140"/>
                      <a:pt x="132" y="139"/>
                    </a:cubicBezTo>
                    <a:cubicBezTo>
                      <a:pt x="137" y="138"/>
                      <a:pt x="141" y="139"/>
                      <a:pt x="146" y="141"/>
                    </a:cubicBezTo>
                    <a:cubicBezTo>
                      <a:pt x="145" y="139"/>
                      <a:pt x="142" y="138"/>
                      <a:pt x="140" y="136"/>
                    </a:cubicBezTo>
                    <a:cubicBezTo>
                      <a:pt x="145" y="119"/>
                      <a:pt x="135" y="98"/>
                      <a:pt x="126" y="92"/>
                    </a:cubicBezTo>
                    <a:cubicBezTo>
                      <a:pt x="131" y="98"/>
                      <a:pt x="134" y="104"/>
                      <a:pt x="136" y="110"/>
                    </a:cubicBezTo>
                    <a:cubicBezTo>
                      <a:pt x="139" y="117"/>
                      <a:pt x="140" y="124"/>
                      <a:pt x="139" y="131"/>
                    </a:cubicBezTo>
                    <a:cubicBezTo>
                      <a:pt x="138" y="136"/>
                      <a:pt x="136" y="138"/>
                      <a:pt x="132" y="138"/>
                    </a:cubicBezTo>
                    <a:cubicBezTo>
                      <a:pt x="130" y="138"/>
                      <a:pt x="128" y="137"/>
                      <a:pt x="128" y="135"/>
                    </a:cubicBezTo>
                    <a:cubicBezTo>
                      <a:pt x="127" y="133"/>
                      <a:pt x="127" y="131"/>
                      <a:pt x="127" y="129"/>
                    </a:cubicBezTo>
                    <a:cubicBezTo>
                      <a:pt x="127" y="122"/>
                      <a:pt x="126" y="115"/>
                      <a:pt x="124" y="108"/>
                    </a:cubicBezTo>
                    <a:cubicBezTo>
                      <a:pt x="123" y="103"/>
                      <a:pt x="121" y="99"/>
                      <a:pt x="117" y="95"/>
                    </a:cubicBezTo>
                    <a:cubicBezTo>
                      <a:pt x="117" y="95"/>
                      <a:pt x="117" y="95"/>
                      <a:pt x="117" y="94"/>
                    </a:cubicBezTo>
                    <a:cubicBezTo>
                      <a:pt x="115" y="87"/>
                      <a:pt x="112" y="79"/>
                      <a:pt x="107" y="73"/>
                    </a:cubicBezTo>
                    <a:cubicBezTo>
                      <a:pt x="106" y="70"/>
                      <a:pt x="105" y="67"/>
                      <a:pt x="106" y="64"/>
                    </a:cubicBezTo>
                    <a:cubicBezTo>
                      <a:pt x="106" y="62"/>
                      <a:pt x="106" y="61"/>
                      <a:pt x="107" y="59"/>
                    </a:cubicBezTo>
                    <a:cubicBezTo>
                      <a:pt x="107" y="56"/>
                      <a:pt x="106" y="54"/>
                      <a:pt x="104" y="54"/>
                    </a:cubicBezTo>
                    <a:cubicBezTo>
                      <a:pt x="100" y="53"/>
                      <a:pt x="97" y="51"/>
                      <a:pt x="94" y="50"/>
                    </a:cubicBezTo>
                    <a:cubicBezTo>
                      <a:pt x="91" y="49"/>
                      <a:pt x="91" y="47"/>
                      <a:pt x="91" y="45"/>
                    </a:cubicBezTo>
                    <a:cubicBezTo>
                      <a:pt x="91" y="43"/>
                      <a:pt x="91" y="42"/>
                      <a:pt x="92" y="41"/>
                    </a:cubicBezTo>
                    <a:cubicBezTo>
                      <a:pt x="93" y="38"/>
                      <a:pt x="95" y="37"/>
                      <a:pt x="98" y="37"/>
                    </a:cubicBezTo>
                    <a:cubicBezTo>
                      <a:pt x="99" y="37"/>
                      <a:pt x="101" y="38"/>
                      <a:pt x="102" y="40"/>
                    </a:cubicBezTo>
                    <a:cubicBezTo>
                      <a:pt x="103" y="43"/>
                      <a:pt x="103" y="45"/>
                      <a:pt x="102" y="48"/>
                    </a:cubicBezTo>
                    <a:cubicBezTo>
                      <a:pt x="102" y="49"/>
                      <a:pt x="101" y="50"/>
                      <a:pt x="102" y="51"/>
                    </a:cubicBezTo>
                    <a:cubicBezTo>
                      <a:pt x="104" y="52"/>
                      <a:pt x="107" y="50"/>
                      <a:pt x="107" y="49"/>
                    </a:cubicBezTo>
                    <a:cubicBezTo>
                      <a:pt x="107" y="44"/>
                      <a:pt x="107" y="40"/>
                      <a:pt x="105" y="36"/>
                    </a:cubicBezTo>
                    <a:cubicBezTo>
                      <a:pt x="103" y="32"/>
                      <a:pt x="100" y="30"/>
                      <a:pt x="96" y="30"/>
                    </a:cubicBezTo>
                    <a:cubicBezTo>
                      <a:pt x="91" y="31"/>
                      <a:pt x="88" y="34"/>
                      <a:pt x="87" y="38"/>
                    </a:cubicBezTo>
                    <a:cubicBezTo>
                      <a:pt x="87" y="39"/>
                      <a:pt x="87" y="41"/>
                      <a:pt x="87" y="42"/>
                    </a:cubicBezTo>
                    <a:cubicBezTo>
                      <a:pt x="87" y="44"/>
                      <a:pt x="87" y="46"/>
                      <a:pt x="87" y="47"/>
                    </a:cubicBezTo>
                    <a:cubicBezTo>
                      <a:pt x="85" y="46"/>
                      <a:pt x="83" y="46"/>
                      <a:pt x="81" y="46"/>
                    </a:cubicBezTo>
                    <a:cubicBezTo>
                      <a:pt x="80" y="46"/>
                      <a:pt x="80" y="46"/>
                      <a:pt x="80" y="46"/>
                    </a:cubicBezTo>
                    <a:cubicBezTo>
                      <a:pt x="78" y="46"/>
                      <a:pt x="78" y="46"/>
                      <a:pt x="78" y="44"/>
                    </a:cubicBezTo>
                    <a:cubicBezTo>
                      <a:pt x="77" y="42"/>
                      <a:pt x="77" y="39"/>
                      <a:pt x="76" y="36"/>
                    </a:cubicBezTo>
                    <a:cubicBezTo>
                      <a:pt x="76" y="36"/>
                      <a:pt x="76" y="35"/>
                      <a:pt x="76" y="35"/>
                    </a:cubicBezTo>
                    <a:cubicBezTo>
                      <a:pt x="74" y="33"/>
                      <a:pt x="73" y="31"/>
                      <a:pt x="70" y="31"/>
                    </a:cubicBezTo>
                    <a:cubicBezTo>
                      <a:pt x="68" y="31"/>
                      <a:pt x="67" y="33"/>
                      <a:pt x="66" y="35"/>
                    </a:cubicBezTo>
                    <a:cubicBezTo>
                      <a:pt x="63" y="40"/>
                      <a:pt x="63" y="45"/>
                      <a:pt x="66" y="50"/>
                    </a:cubicBezTo>
                    <a:cubicBezTo>
                      <a:pt x="66" y="51"/>
                      <a:pt x="67" y="52"/>
                      <a:pt x="68" y="51"/>
                    </a:cubicBezTo>
                    <a:cubicBezTo>
                      <a:pt x="69" y="51"/>
                      <a:pt x="69" y="50"/>
                      <a:pt x="69" y="50"/>
                    </a:cubicBezTo>
                    <a:cubicBezTo>
                      <a:pt x="69" y="49"/>
                      <a:pt x="68" y="48"/>
                      <a:pt x="67" y="48"/>
                    </a:cubicBezTo>
                    <a:cubicBezTo>
                      <a:pt x="66" y="45"/>
                      <a:pt x="65" y="43"/>
                      <a:pt x="66" y="40"/>
                    </a:cubicBezTo>
                    <a:cubicBezTo>
                      <a:pt x="67" y="37"/>
                      <a:pt x="71" y="36"/>
                      <a:pt x="73" y="38"/>
                    </a:cubicBezTo>
                    <a:cubicBezTo>
                      <a:pt x="74" y="40"/>
                      <a:pt x="75" y="42"/>
                      <a:pt x="75" y="45"/>
                    </a:cubicBezTo>
                    <a:cubicBezTo>
                      <a:pt x="75" y="46"/>
                      <a:pt x="74" y="48"/>
                      <a:pt x="73" y="48"/>
                    </a:cubicBezTo>
                    <a:cubicBezTo>
                      <a:pt x="73" y="49"/>
                      <a:pt x="72" y="49"/>
                      <a:pt x="72" y="49"/>
                    </a:cubicBezTo>
                    <a:cubicBezTo>
                      <a:pt x="71" y="51"/>
                      <a:pt x="69" y="53"/>
                      <a:pt x="66" y="54"/>
                    </a:cubicBezTo>
                    <a:cubicBezTo>
                      <a:pt x="65" y="55"/>
                      <a:pt x="65" y="56"/>
                      <a:pt x="64" y="57"/>
                    </a:cubicBezTo>
                    <a:cubicBezTo>
                      <a:pt x="63" y="58"/>
                      <a:pt x="64" y="59"/>
                      <a:pt x="65" y="60"/>
                    </a:cubicBezTo>
                    <a:cubicBezTo>
                      <a:pt x="66" y="61"/>
                      <a:pt x="67" y="62"/>
                      <a:pt x="68" y="63"/>
                    </a:cubicBezTo>
                    <a:cubicBezTo>
                      <a:pt x="70" y="66"/>
                      <a:pt x="74" y="67"/>
                      <a:pt x="78" y="67"/>
                    </a:cubicBezTo>
                    <a:cubicBezTo>
                      <a:pt x="82" y="67"/>
                      <a:pt x="87" y="65"/>
                      <a:pt x="91" y="64"/>
                    </a:cubicBezTo>
                    <a:cubicBezTo>
                      <a:pt x="94" y="63"/>
                      <a:pt x="98" y="62"/>
                      <a:pt x="101" y="59"/>
                    </a:cubicBezTo>
                    <a:cubicBezTo>
                      <a:pt x="101" y="58"/>
                      <a:pt x="102" y="58"/>
                      <a:pt x="103" y="59"/>
                    </a:cubicBezTo>
                    <a:cubicBezTo>
                      <a:pt x="103" y="59"/>
                      <a:pt x="103" y="60"/>
                      <a:pt x="103" y="61"/>
                    </a:cubicBezTo>
                    <a:cubicBezTo>
                      <a:pt x="103" y="61"/>
                      <a:pt x="102" y="61"/>
                      <a:pt x="102" y="62"/>
                    </a:cubicBezTo>
                    <a:cubicBezTo>
                      <a:pt x="97" y="64"/>
                      <a:pt x="91" y="66"/>
                      <a:pt x="86" y="68"/>
                    </a:cubicBezTo>
                    <a:cubicBezTo>
                      <a:pt x="82" y="69"/>
                      <a:pt x="78" y="70"/>
                      <a:pt x="74" y="69"/>
                    </a:cubicBezTo>
                    <a:cubicBezTo>
                      <a:pt x="73" y="69"/>
                      <a:pt x="72" y="69"/>
                      <a:pt x="71" y="69"/>
                    </a:cubicBezTo>
                    <a:close/>
                    <a:moveTo>
                      <a:pt x="73" y="45"/>
                    </a:moveTo>
                    <a:cubicBezTo>
                      <a:pt x="73" y="43"/>
                      <a:pt x="73" y="42"/>
                      <a:pt x="72" y="40"/>
                    </a:cubicBezTo>
                    <a:cubicBezTo>
                      <a:pt x="71" y="40"/>
                      <a:pt x="71" y="40"/>
                      <a:pt x="70" y="40"/>
                    </a:cubicBezTo>
                    <a:cubicBezTo>
                      <a:pt x="70" y="40"/>
                      <a:pt x="70" y="41"/>
                      <a:pt x="70" y="41"/>
                    </a:cubicBezTo>
                    <a:cubicBezTo>
                      <a:pt x="72" y="42"/>
                      <a:pt x="71" y="43"/>
                      <a:pt x="71" y="44"/>
                    </a:cubicBezTo>
                    <a:cubicBezTo>
                      <a:pt x="71" y="45"/>
                      <a:pt x="72" y="46"/>
                      <a:pt x="73" y="45"/>
                    </a:cubicBezTo>
                    <a:close/>
                    <a:moveTo>
                      <a:pt x="97" y="40"/>
                    </a:moveTo>
                    <a:cubicBezTo>
                      <a:pt x="99" y="40"/>
                      <a:pt x="99" y="42"/>
                      <a:pt x="100" y="44"/>
                    </a:cubicBezTo>
                    <a:cubicBezTo>
                      <a:pt x="100" y="44"/>
                      <a:pt x="101" y="43"/>
                      <a:pt x="101" y="43"/>
                    </a:cubicBezTo>
                    <a:cubicBezTo>
                      <a:pt x="101" y="42"/>
                      <a:pt x="100" y="40"/>
                      <a:pt x="99" y="40"/>
                    </a:cubicBezTo>
                    <a:cubicBezTo>
                      <a:pt x="98" y="39"/>
                      <a:pt x="98" y="39"/>
                      <a:pt x="97" y="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1" name="Freeform 231"/>
              <p:cNvSpPr>
                <a:spLocks/>
              </p:cNvSpPr>
              <p:nvPr userDrawn="1"/>
            </p:nvSpPr>
            <p:spPr bwMode="auto">
              <a:xfrm>
                <a:off x="5762" y="3343"/>
                <a:ext cx="3" cy="2"/>
              </a:xfrm>
              <a:custGeom>
                <a:avLst/>
                <a:gdLst>
                  <a:gd name="T0" fmla="*/ 2 w 2"/>
                  <a:gd name="T1" fmla="*/ 0 h 2"/>
                  <a:gd name="T2" fmla="*/ 1 w 2"/>
                  <a:gd name="T3" fmla="*/ 2 h 2"/>
                  <a:gd name="T4" fmla="*/ 0 w 2"/>
                  <a:gd name="T5" fmla="*/ 2 h 2"/>
                  <a:gd name="T6" fmla="*/ 0 w 2"/>
                  <a:gd name="T7" fmla="*/ 1 h 2"/>
                  <a:gd name="T8" fmla="*/ 2 w 2"/>
                  <a:gd name="T9" fmla="*/ 0 h 2"/>
                  <a:gd name="T10" fmla="*/ 2 w 2"/>
                  <a:gd name="T11" fmla="*/ 0 h 2"/>
                </a:gdLst>
                <a:ahLst/>
                <a:cxnLst>
                  <a:cxn ang="0">
                    <a:pos x="T0" y="T1"/>
                  </a:cxn>
                  <a:cxn ang="0">
                    <a:pos x="T2" y="T3"/>
                  </a:cxn>
                  <a:cxn ang="0">
                    <a:pos x="T4" y="T5"/>
                  </a:cxn>
                  <a:cxn ang="0">
                    <a:pos x="T6" y="T7"/>
                  </a:cxn>
                  <a:cxn ang="0">
                    <a:pos x="T8" y="T9"/>
                  </a:cxn>
                  <a:cxn ang="0">
                    <a:pos x="T10" y="T11"/>
                  </a:cxn>
                </a:cxnLst>
                <a:rect l="0" t="0" r="r" b="b"/>
                <a:pathLst>
                  <a:path w="2" h="2">
                    <a:moveTo>
                      <a:pt x="2" y="0"/>
                    </a:moveTo>
                    <a:cubicBezTo>
                      <a:pt x="2" y="1"/>
                      <a:pt x="2" y="1"/>
                      <a:pt x="1" y="2"/>
                    </a:cubicBezTo>
                    <a:cubicBezTo>
                      <a:pt x="1" y="2"/>
                      <a:pt x="0" y="2"/>
                      <a:pt x="0" y="2"/>
                    </a:cubicBezTo>
                    <a:cubicBezTo>
                      <a:pt x="0" y="2"/>
                      <a:pt x="0" y="1"/>
                      <a:pt x="0" y="1"/>
                    </a:cubicBezTo>
                    <a:cubicBezTo>
                      <a:pt x="1" y="1"/>
                      <a:pt x="1" y="0"/>
                      <a:pt x="2" y="0"/>
                    </a:cubicBezTo>
                    <a:cubicBezTo>
                      <a:pt x="2" y="0"/>
                      <a:pt x="2" y="0"/>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2" name="Freeform 232"/>
              <p:cNvSpPr>
                <a:spLocks/>
              </p:cNvSpPr>
              <p:nvPr userDrawn="1"/>
            </p:nvSpPr>
            <p:spPr bwMode="auto">
              <a:xfrm>
                <a:off x="5774" y="3343"/>
                <a:ext cx="5" cy="2"/>
              </a:xfrm>
              <a:custGeom>
                <a:avLst/>
                <a:gdLst>
                  <a:gd name="T0" fmla="*/ 0 w 4"/>
                  <a:gd name="T1" fmla="*/ 0 h 2"/>
                  <a:gd name="T2" fmla="*/ 3 w 4"/>
                  <a:gd name="T3" fmla="*/ 0 h 2"/>
                  <a:gd name="T4" fmla="*/ 4 w 4"/>
                  <a:gd name="T5" fmla="*/ 2 h 2"/>
                  <a:gd name="T6" fmla="*/ 2 w 4"/>
                  <a:gd name="T7" fmla="*/ 2 h 2"/>
                  <a:gd name="T8" fmla="*/ 0 w 4"/>
                  <a:gd name="T9" fmla="*/ 0 h 2"/>
                </a:gdLst>
                <a:ahLst/>
                <a:cxnLst>
                  <a:cxn ang="0">
                    <a:pos x="T0" y="T1"/>
                  </a:cxn>
                  <a:cxn ang="0">
                    <a:pos x="T2" y="T3"/>
                  </a:cxn>
                  <a:cxn ang="0">
                    <a:pos x="T4" y="T5"/>
                  </a:cxn>
                  <a:cxn ang="0">
                    <a:pos x="T6" y="T7"/>
                  </a:cxn>
                  <a:cxn ang="0">
                    <a:pos x="T8" y="T9"/>
                  </a:cxn>
                </a:cxnLst>
                <a:rect l="0" t="0" r="r" b="b"/>
                <a:pathLst>
                  <a:path w="4" h="2">
                    <a:moveTo>
                      <a:pt x="0" y="0"/>
                    </a:moveTo>
                    <a:cubicBezTo>
                      <a:pt x="2" y="0"/>
                      <a:pt x="2" y="0"/>
                      <a:pt x="3" y="0"/>
                    </a:cubicBezTo>
                    <a:cubicBezTo>
                      <a:pt x="3" y="1"/>
                      <a:pt x="3" y="1"/>
                      <a:pt x="4" y="2"/>
                    </a:cubicBezTo>
                    <a:cubicBezTo>
                      <a:pt x="3" y="2"/>
                      <a:pt x="3" y="2"/>
                      <a:pt x="2" y="2"/>
                    </a:cubicBezTo>
                    <a:cubicBezTo>
                      <a:pt x="2" y="1"/>
                      <a:pt x="1" y="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3" name="Freeform 233"/>
              <p:cNvSpPr>
                <a:spLocks noEditPoints="1"/>
              </p:cNvSpPr>
              <p:nvPr userDrawn="1"/>
            </p:nvSpPr>
            <p:spPr bwMode="auto">
              <a:xfrm>
                <a:off x="1951" y="9"/>
                <a:ext cx="156" cy="247"/>
              </a:xfrm>
              <a:custGeom>
                <a:avLst/>
                <a:gdLst>
                  <a:gd name="T0" fmla="*/ 128 w 128"/>
                  <a:gd name="T1" fmla="*/ 101 h 203"/>
                  <a:gd name="T2" fmla="*/ 123 w 128"/>
                  <a:gd name="T3" fmla="*/ 145 h 203"/>
                  <a:gd name="T4" fmla="*/ 110 w 128"/>
                  <a:gd name="T5" fmla="*/ 177 h 203"/>
                  <a:gd name="T6" fmla="*/ 90 w 128"/>
                  <a:gd name="T7" fmla="*/ 196 h 203"/>
                  <a:gd name="T8" fmla="*/ 62 w 128"/>
                  <a:gd name="T9" fmla="*/ 203 h 203"/>
                  <a:gd name="T10" fmla="*/ 36 w 128"/>
                  <a:gd name="T11" fmla="*/ 197 h 203"/>
                  <a:gd name="T12" fmla="*/ 16 w 128"/>
                  <a:gd name="T13" fmla="*/ 178 h 203"/>
                  <a:gd name="T14" fmla="*/ 4 w 128"/>
                  <a:gd name="T15" fmla="*/ 147 h 203"/>
                  <a:gd name="T16" fmla="*/ 0 w 128"/>
                  <a:gd name="T17" fmla="*/ 106 h 203"/>
                  <a:gd name="T18" fmla="*/ 4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5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6" y="132"/>
                      <a:pt x="123" y="145"/>
                    </a:cubicBezTo>
                    <a:cubicBezTo>
                      <a:pt x="120" y="157"/>
                      <a:pt x="116" y="168"/>
                      <a:pt x="110" y="177"/>
                    </a:cubicBezTo>
                    <a:cubicBezTo>
                      <a:pt x="105" y="185"/>
                      <a:pt x="98" y="192"/>
                      <a:pt x="90" y="196"/>
                    </a:cubicBezTo>
                    <a:cubicBezTo>
                      <a:pt x="82" y="201"/>
                      <a:pt x="72" y="203"/>
                      <a:pt x="62" y="203"/>
                    </a:cubicBezTo>
                    <a:cubicBezTo>
                      <a:pt x="52" y="203"/>
                      <a:pt x="43" y="201"/>
                      <a:pt x="36" y="197"/>
                    </a:cubicBezTo>
                    <a:cubicBezTo>
                      <a:pt x="28" y="192"/>
                      <a:pt x="21" y="186"/>
                      <a:pt x="16" y="178"/>
                    </a:cubicBezTo>
                    <a:cubicBezTo>
                      <a:pt x="11" y="169"/>
                      <a:pt x="7" y="159"/>
                      <a:pt x="4" y="147"/>
                    </a:cubicBezTo>
                    <a:cubicBezTo>
                      <a:pt x="1" y="135"/>
                      <a:pt x="0" y="121"/>
                      <a:pt x="0" y="106"/>
                    </a:cubicBezTo>
                    <a:cubicBezTo>
                      <a:pt x="0" y="89"/>
                      <a:pt x="1" y="73"/>
                      <a:pt x="4" y="60"/>
                    </a:cubicBezTo>
                    <a:cubicBezTo>
                      <a:pt x="7" y="47"/>
                      <a:pt x="11" y="36"/>
                      <a:pt x="17" y="27"/>
                    </a:cubicBezTo>
                    <a:cubicBezTo>
                      <a:pt x="22" y="18"/>
                      <a:pt x="29" y="12"/>
                      <a:pt x="38" y="7"/>
                    </a:cubicBezTo>
                    <a:cubicBezTo>
                      <a:pt x="46" y="3"/>
                      <a:pt x="55" y="0"/>
                      <a:pt x="66" y="0"/>
                    </a:cubicBezTo>
                    <a:cubicBezTo>
                      <a:pt x="107" y="0"/>
                      <a:pt x="128" y="34"/>
                      <a:pt x="128" y="101"/>
                    </a:cubicBezTo>
                    <a:close/>
                    <a:moveTo>
                      <a:pt x="105" y="103"/>
                    </a:moveTo>
                    <a:cubicBezTo>
                      <a:pt x="105" y="47"/>
                      <a:pt x="91" y="19"/>
                      <a:pt x="65" y="19"/>
                    </a:cubicBezTo>
                    <a:cubicBezTo>
                      <a:pt x="37" y="19"/>
                      <a:pt x="23" y="48"/>
                      <a:pt x="23" y="105"/>
                    </a:cubicBezTo>
                    <a:cubicBezTo>
                      <a:pt x="23" y="158"/>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4" name="Freeform 234"/>
              <p:cNvSpPr>
                <a:spLocks/>
              </p:cNvSpPr>
              <p:nvPr userDrawn="1"/>
            </p:nvSpPr>
            <p:spPr bwMode="auto">
              <a:xfrm>
                <a:off x="2149" y="7"/>
                <a:ext cx="83" cy="246"/>
              </a:xfrm>
              <a:custGeom>
                <a:avLst/>
                <a:gdLst>
                  <a:gd name="T0" fmla="*/ 68 w 68"/>
                  <a:gd name="T1" fmla="*/ 201 h 201"/>
                  <a:gd name="T2" fmla="*/ 45 w 68"/>
                  <a:gd name="T3" fmla="*/ 201 h 201"/>
                  <a:gd name="T4" fmla="*/ 45 w 68"/>
                  <a:gd name="T5" fmla="*/ 31 h 201"/>
                  <a:gd name="T6" fmla="*/ 38 w 68"/>
                  <a:gd name="T7" fmla="*/ 37 h 201"/>
                  <a:gd name="T8" fmla="*/ 27 w 68"/>
                  <a:gd name="T9" fmla="*/ 44 h 201"/>
                  <a:gd name="T10" fmla="*/ 13 w 68"/>
                  <a:gd name="T11" fmla="*/ 50 h 201"/>
                  <a:gd name="T12" fmla="*/ 0 w 68"/>
                  <a:gd name="T13" fmla="*/ 55 h 201"/>
                  <a:gd name="T14" fmla="*/ 0 w 68"/>
                  <a:gd name="T15" fmla="*/ 32 h 201"/>
                  <a:gd name="T16" fmla="*/ 16 w 68"/>
                  <a:gd name="T17" fmla="*/ 26 h 201"/>
                  <a:gd name="T18" fmla="*/ 32 w 68"/>
                  <a:gd name="T19" fmla="*/ 19 h 201"/>
                  <a:gd name="T20" fmla="*/ 47 w 68"/>
                  <a:gd name="T21" fmla="*/ 10 h 201"/>
                  <a:gd name="T22" fmla="*/ 59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5" y="201"/>
                      <a:pt x="45" y="201"/>
                      <a:pt x="45" y="201"/>
                    </a:cubicBezTo>
                    <a:cubicBezTo>
                      <a:pt x="45" y="31"/>
                      <a:pt x="45" y="31"/>
                      <a:pt x="45" y="31"/>
                    </a:cubicBezTo>
                    <a:cubicBezTo>
                      <a:pt x="44" y="33"/>
                      <a:pt x="41" y="35"/>
                      <a:pt x="38" y="37"/>
                    </a:cubicBezTo>
                    <a:cubicBezTo>
                      <a:pt x="34" y="40"/>
                      <a:pt x="31" y="42"/>
                      <a:pt x="27" y="44"/>
                    </a:cubicBezTo>
                    <a:cubicBezTo>
                      <a:pt x="22" y="46"/>
                      <a:pt x="18" y="48"/>
                      <a:pt x="13" y="50"/>
                    </a:cubicBezTo>
                    <a:cubicBezTo>
                      <a:pt x="9" y="52"/>
                      <a:pt x="4" y="54"/>
                      <a:pt x="0" y="55"/>
                    </a:cubicBezTo>
                    <a:cubicBezTo>
                      <a:pt x="0" y="32"/>
                      <a:pt x="0" y="32"/>
                      <a:pt x="0" y="32"/>
                    </a:cubicBezTo>
                    <a:cubicBezTo>
                      <a:pt x="5" y="31"/>
                      <a:pt x="10" y="29"/>
                      <a:pt x="16" y="26"/>
                    </a:cubicBezTo>
                    <a:cubicBezTo>
                      <a:pt x="21" y="24"/>
                      <a:pt x="27" y="21"/>
                      <a:pt x="32" y="19"/>
                    </a:cubicBezTo>
                    <a:cubicBezTo>
                      <a:pt x="37" y="16"/>
                      <a:pt x="42" y="13"/>
                      <a:pt x="47" y="10"/>
                    </a:cubicBezTo>
                    <a:cubicBezTo>
                      <a:pt x="52" y="6"/>
                      <a:pt x="56" y="3"/>
                      <a:pt x="59"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5" name="Freeform 235"/>
              <p:cNvSpPr>
                <a:spLocks/>
              </p:cNvSpPr>
              <p:nvPr userDrawn="1"/>
            </p:nvSpPr>
            <p:spPr bwMode="auto">
              <a:xfrm>
                <a:off x="2299" y="7"/>
                <a:ext cx="81" cy="246"/>
              </a:xfrm>
              <a:custGeom>
                <a:avLst/>
                <a:gdLst>
                  <a:gd name="T0" fmla="*/ 67 w 67"/>
                  <a:gd name="T1" fmla="*/ 201 h 201"/>
                  <a:gd name="T2" fmla="*/ 45 w 67"/>
                  <a:gd name="T3" fmla="*/ 201 h 201"/>
                  <a:gd name="T4" fmla="*/ 45 w 67"/>
                  <a:gd name="T5" fmla="*/ 31 h 201"/>
                  <a:gd name="T6" fmla="*/ 37 w 67"/>
                  <a:gd name="T7" fmla="*/ 37 h 201"/>
                  <a:gd name="T8" fmla="*/ 26 w 67"/>
                  <a:gd name="T9" fmla="*/ 44 h 201"/>
                  <a:gd name="T10" fmla="*/ 13 w 67"/>
                  <a:gd name="T11" fmla="*/ 50 h 201"/>
                  <a:gd name="T12" fmla="*/ 0 w 67"/>
                  <a:gd name="T13" fmla="*/ 55 h 201"/>
                  <a:gd name="T14" fmla="*/ 0 w 67"/>
                  <a:gd name="T15" fmla="*/ 32 h 201"/>
                  <a:gd name="T16" fmla="*/ 15 w 67"/>
                  <a:gd name="T17" fmla="*/ 26 h 201"/>
                  <a:gd name="T18" fmla="*/ 31 w 67"/>
                  <a:gd name="T19" fmla="*/ 19 h 201"/>
                  <a:gd name="T20" fmla="*/ 47 w 67"/>
                  <a:gd name="T21" fmla="*/ 10 h 201"/>
                  <a:gd name="T22" fmla="*/ 59 w 67"/>
                  <a:gd name="T23" fmla="*/ 0 h 201"/>
                  <a:gd name="T24" fmla="*/ 67 w 67"/>
                  <a:gd name="T25" fmla="*/ 0 h 201"/>
                  <a:gd name="T26" fmla="*/ 67 w 67"/>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7" h="201">
                    <a:moveTo>
                      <a:pt x="67" y="201"/>
                    </a:moveTo>
                    <a:cubicBezTo>
                      <a:pt x="45" y="201"/>
                      <a:pt x="45" y="201"/>
                      <a:pt x="45" y="201"/>
                    </a:cubicBezTo>
                    <a:cubicBezTo>
                      <a:pt x="45" y="31"/>
                      <a:pt x="45" y="31"/>
                      <a:pt x="45" y="31"/>
                    </a:cubicBezTo>
                    <a:cubicBezTo>
                      <a:pt x="43" y="33"/>
                      <a:pt x="41" y="35"/>
                      <a:pt x="37" y="37"/>
                    </a:cubicBezTo>
                    <a:cubicBezTo>
                      <a:pt x="34" y="40"/>
                      <a:pt x="30" y="42"/>
                      <a:pt x="26" y="44"/>
                    </a:cubicBezTo>
                    <a:cubicBezTo>
                      <a:pt x="22" y="46"/>
                      <a:pt x="18" y="48"/>
                      <a:pt x="13" y="50"/>
                    </a:cubicBezTo>
                    <a:cubicBezTo>
                      <a:pt x="8" y="52"/>
                      <a:pt x="4" y="54"/>
                      <a:pt x="0" y="55"/>
                    </a:cubicBezTo>
                    <a:cubicBezTo>
                      <a:pt x="0" y="32"/>
                      <a:pt x="0" y="32"/>
                      <a:pt x="0" y="32"/>
                    </a:cubicBezTo>
                    <a:cubicBezTo>
                      <a:pt x="4" y="31"/>
                      <a:pt x="10" y="29"/>
                      <a:pt x="15" y="26"/>
                    </a:cubicBezTo>
                    <a:cubicBezTo>
                      <a:pt x="21" y="24"/>
                      <a:pt x="26" y="21"/>
                      <a:pt x="31" y="19"/>
                    </a:cubicBezTo>
                    <a:cubicBezTo>
                      <a:pt x="37" y="16"/>
                      <a:pt x="42" y="13"/>
                      <a:pt x="47" y="10"/>
                    </a:cubicBezTo>
                    <a:cubicBezTo>
                      <a:pt x="51" y="6"/>
                      <a:pt x="55" y="3"/>
                      <a:pt x="59" y="0"/>
                    </a:cubicBezTo>
                    <a:cubicBezTo>
                      <a:pt x="67" y="0"/>
                      <a:pt x="67" y="0"/>
                      <a:pt x="67" y="0"/>
                    </a:cubicBezTo>
                    <a:lnTo>
                      <a:pt x="67"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6" name="Freeform 236"/>
              <p:cNvSpPr>
                <a:spLocks noEditPoints="1"/>
              </p:cNvSpPr>
              <p:nvPr userDrawn="1"/>
            </p:nvSpPr>
            <p:spPr bwMode="auto">
              <a:xfrm>
                <a:off x="2446" y="9"/>
                <a:ext cx="156" cy="247"/>
              </a:xfrm>
              <a:custGeom>
                <a:avLst/>
                <a:gdLst>
                  <a:gd name="T0" fmla="*/ 128 w 128"/>
                  <a:gd name="T1" fmla="*/ 101 h 203"/>
                  <a:gd name="T2" fmla="*/ 123 w 128"/>
                  <a:gd name="T3" fmla="*/ 145 h 203"/>
                  <a:gd name="T4" fmla="*/ 111 w 128"/>
                  <a:gd name="T5" fmla="*/ 177 h 203"/>
                  <a:gd name="T6" fmla="*/ 90 w 128"/>
                  <a:gd name="T7" fmla="*/ 196 h 203"/>
                  <a:gd name="T8" fmla="*/ 62 w 128"/>
                  <a:gd name="T9" fmla="*/ 203 h 203"/>
                  <a:gd name="T10" fmla="*/ 36 w 128"/>
                  <a:gd name="T11" fmla="*/ 197 h 203"/>
                  <a:gd name="T12" fmla="*/ 16 w 128"/>
                  <a:gd name="T13" fmla="*/ 178 h 203"/>
                  <a:gd name="T14" fmla="*/ 4 w 128"/>
                  <a:gd name="T15" fmla="*/ 147 h 203"/>
                  <a:gd name="T16" fmla="*/ 0 w 128"/>
                  <a:gd name="T17" fmla="*/ 106 h 203"/>
                  <a:gd name="T18" fmla="*/ 4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5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6" y="132"/>
                      <a:pt x="123" y="145"/>
                    </a:cubicBezTo>
                    <a:cubicBezTo>
                      <a:pt x="120" y="157"/>
                      <a:pt x="116" y="168"/>
                      <a:pt x="111" y="177"/>
                    </a:cubicBezTo>
                    <a:cubicBezTo>
                      <a:pt x="105" y="185"/>
                      <a:pt x="98" y="192"/>
                      <a:pt x="90" y="196"/>
                    </a:cubicBezTo>
                    <a:cubicBezTo>
                      <a:pt x="82" y="201"/>
                      <a:pt x="72" y="203"/>
                      <a:pt x="62" y="203"/>
                    </a:cubicBezTo>
                    <a:cubicBezTo>
                      <a:pt x="52" y="203"/>
                      <a:pt x="43" y="201"/>
                      <a:pt x="36" y="197"/>
                    </a:cubicBezTo>
                    <a:cubicBezTo>
                      <a:pt x="28" y="192"/>
                      <a:pt x="22" y="186"/>
                      <a:pt x="16" y="178"/>
                    </a:cubicBezTo>
                    <a:cubicBezTo>
                      <a:pt x="11" y="169"/>
                      <a:pt x="7" y="159"/>
                      <a:pt x="4" y="147"/>
                    </a:cubicBezTo>
                    <a:cubicBezTo>
                      <a:pt x="2" y="135"/>
                      <a:pt x="0" y="121"/>
                      <a:pt x="0" y="106"/>
                    </a:cubicBezTo>
                    <a:cubicBezTo>
                      <a:pt x="0" y="89"/>
                      <a:pt x="2" y="73"/>
                      <a:pt x="4" y="60"/>
                    </a:cubicBezTo>
                    <a:cubicBezTo>
                      <a:pt x="7" y="47"/>
                      <a:pt x="12" y="36"/>
                      <a:pt x="17" y="27"/>
                    </a:cubicBezTo>
                    <a:cubicBezTo>
                      <a:pt x="23" y="18"/>
                      <a:pt x="30" y="12"/>
                      <a:pt x="38" y="7"/>
                    </a:cubicBezTo>
                    <a:cubicBezTo>
                      <a:pt x="46" y="3"/>
                      <a:pt x="56" y="0"/>
                      <a:pt x="66" y="0"/>
                    </a:cubicBezTo>
                    <a:cubicBezTo>
                      <a:pt x="107" y="0"/>
                      <a:pt x="128" y="34"/>
                      <a:pt x="128" y="101"/>
                    </a:cubicBezTo>
                    <a:close/>
                    <a:moveTo>
                      <a:pt x="105" y="103"/>
                    </a:moveTo>
                    <a:cubicBezTo>
                      <a:pt x="105" y="47"/>
                      <a:pt x="92" y="19"/>
                      <a:pt x="65" y="19"/>
                    </a:cubicBezTo>
                    <a:cubicBezTo>
                      <a:pt x="37" y="19"/>
                      <a:pt x="23" y="48"/>
                      <a:pt x="23" y="105"/>
                    </a:cubicBezTo>
                    <a:cubicBezTo>
                      <a:pt x="23" y="158"/>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7" name="Freeform 237"/>
              <p:cNvSpPr>
                <a:spLocks/>
              </p:cNvSpPr>
              <p:nvPr userDrawn="1"/>
            </p:nvSpPr>
            <p:spPr bwMode="auto">
              <a:xfrm>
                <a:off x="2643" y="7"/>
                <a:ext cx="83" cy="246"/>
              </a:xfrm>
              <a:custGeom>
                <a:avLst/>
                <a:gdLst>
                  <a:gd name="T0" fmla="*/ 68 w 68"/>
                  <a:gd name="T1" fmla="*/ 201 h 201"/>
                  <a:gd name="T2" fmla="*/ 46 w 68"/>
                  <a:gd name="T3" fmla="*/ 201 h 201"/>
                  <a:gd name="T4" fmla="*/ 46 w 68"/>
                  <a:gd name="T5" fmla="*/ 31 h 201"/>
                  <a:gd name="T6" fmla="*/ 38 w 68"/>
                  <a:gd name="T7" fmla="*/ 37 h 201"/>
                  <a:gd name="T8" fmla="*/ 27 w 68"/>
                  <a:gd name="T9" fmla="*/ 44 h 201"/>
                  <a:gd name="T10" fmla="*/ 14 w 68"/>
                  <a:gd name="T11" fmla="*/ 50 h 201"/>
                  <a:gd name="T12" fmla="*/ 0 w 68"/>
                  <a:gd name="T13" fmla="*/ 55 h 201"/>
                  <a:gd name="T14" fmla="*/ 0 w 68"/>
                  <a:gd name="T15" fmla="*/ 32 h 201"/>
                  <a:gd name="T16" fmla="*/ 16 w 68"/>
                  <a:gd name="T17" fmla="*/ 26 h 201"/>
                  <a:gd name="T18" fmla="*/ 32 w 68"/>
                  <a:gd name="T19" fmla="*/ 19 h 201"/>
                  <a:gd name="T20" fmla="*/ 47 w 68"/>
                  <a:gd name="T21" fmla="*/ 10 h 201"/>
                  <a:gd name="T22" fmla="*/ 60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6" y="201"/>
                      <a:pt x="46" y="201"/>
                      <a:pt x="46" y="201"/>
                    </a:cubicBezTo>
                    <a:cubicBezTo>
                      <a:pt x="46" y="31"/>
                      <a:pt x="46" y="31"/>
                      <a:pt x="46" y="31"/>
                    </a:cubicBezTo>
                    <a:cubicBezTo>
                      <a:pt x="44" y="33"/>
                      <a:pt x="41" y="35"/>
                      <a:pt x="38" y="37"/>
                    </a:cubicBezTo>
                    <a:cubicBezTo>
                      <a:pt x="35" y="40"/>
                      <a:pt x="31" y="42"/>
                      <a:pt x="27" y="44"/>
                    </a:cubicBezTo>
                    <a:cubicBezTo>
                      <a:pt x="23" y="46"/>
                      <a:pt x="18" y="48"/>
                      <a:pt x="14" y="50"/>
                    </a:cubicBezTo>
                    <a:cubicBezTo>
                      <a:pt x="9" y="52"/>
                      <a:pt x="5" y="54"/>
                      <a:pt x="0" y="55"/>
                    </a:cubicBezTo>
                    <a:cubicBezTo>
                      <a:pt x="0" y="32"/>
                      <a:pt x="0" y="32"/>
                      <a:pt x="0" y="32"/>
                    </a:cubicBezTo>
                    <a:cubicBezTo>
                      <a:pt x="5" y="31"/>
                      <a:pt x="10" y="29"/>
                      <a:pt x="16" y="26"/>
                    </a:cubicBezTo>
                    <a:cubicBezTo>
                      <a:pt x="21" y="24"/>
                      <a:pt x="27" y="21"/>
                      <a:pt x="32" y="19"/>
                    </a:cubicBezTo>
                    <a:cubicBezTo>
                      <a:pt x="38" y="16"/>
                      <a:pt x="43" y="13"/>
                      <a:pt x="47" y="10"/>
                    </a:cubicBezTo>
                    <a:cubicBezTo>
                      <a:pt x="52" y="6"/>
                      <a:pt x="56" y="3"/>
                      <a:pt x="60"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8" name="Freeform 238"/>
              <p:cNvSpPr>
                <a:spLocks noEditPoints="1"/>
              </p:cNvSpPr>
              <p:nvPr userDrawn="1"/>
            </p:nvSpPr>
            <p:spPr bwMode="auto">
              <a:xfrm>
                <a:off x="2792" y="9"/>
                <a:ext cx="156" cy="247"/>
              </a:xfrm>
              <a:custGeom>
                <a:avLst/>
                <a:gdLst>
                  <a:gd name="T0" fmla="*/ 128 w 128"/>
                  <a:gd name="T1" fmla="*/ 101 h 203"/>
                  <a:gd name="T2" fmla="*/ 123 w 128"/>
                  <a:gd name="T3" fmla="*/ 145 h 203"/>
                  <a:gd name="T4" fmla="*/ 110 w 128"/>
                  <a:gd name="T5" fmla="*/ 177 h 203"/>
                  <a:gd name="T6" fmla="*/ 90 w 128"/>
                  <a:gd name="T7" fmla="*/ 196 h 203"/>
                  <a:gd name="T8" fmla="*/ 62 w 128"/>
                  <a:gd name="T9" fmla="*/ 203 h 203"/>
                  <a:gd name="T10" fmla="*/ 35 w 128"/>
                  <a:gd name="T11" fmla="*/ 197 h 203"/>
                  <a:gd name="T12" fmla="*/ 16 w 128"/>
                  <a:gd name="T13" fmla="*/ 178 h 203"/>
                  <a:gd name="T14" fmla="*/ 4 w 128"/>
                  <a:gd name="T15" fmla="*/ 147 h 203"/>
                  <a:gd name="T16" fmla="*/ 0 w 128"/>
                  <a:gd name="T17" fmla="*/ 106 h 203"/>
                  <a:gd name="T18" fmla="*/ 4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5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6" y="132"/>
                      <a:pt x="123" y="145"/>
                    </a:cubicBezTo>
                    <a:cubicBezTo>
                      <a:pt x="120" y="157"/>
                      <a:pt x="116" y="168"/>
                      <a:pt x="110" y="177"/>
                    </a:cubicBezTo>
                    <a:cubicBezTo>
                      <a:pt x="105" y="185"/>
                      <a:pt x="98" y="192"/>
                      <a:pt x="90" y="196"/>
                    </a:cubicBezTo>
                    <a:cubicBezTo>
                      <a:pt x="81" y="201"/>
                      <a:pt x="72" y="203"/>
                      <a:pt x="62" y="203"/>
                    </a:cubicBezTo>
                    <a:cubicBezTo>
                      <a:pt x="52" y="203"/>
                      <a:pt x="43" y="201"/>
                      <a:pt x="35" y="197"/>
                    </a:cubicBezTo>
                    <a:cubicBezTo>
                      <a:pt x="28" y="192"/>
                      <a:pt x="21" y="186"/>
                      <a:pt x="16" y="178"/>
                    </a:cubicBezTo>
                    <a:cubicBezTo>
                      <a:pt x="11" y="169"/>
                      <a:pt x="7" y="159"/>
                      <a:pt x="4" y="147"/>
                    </a:cubicBezTo>
                    <a:cubicBezTo>
                      <a:pt x="1" y="135"/>
                      <a:pt x="0" y="121"/>
                      <a:pt x="0" y="106"/>
                    </a:cubicBezTo>
                    <a:cubicBezTo>
                      <a:pt x="0" y="89"/>
                      <a:pt x="1" y="73"/>
                      <a:pt x="4" y="60"/>
                    </a:cubicBezTo>
                    <a:cubicBezTo>
                      <a:pt x="7" y="47"/>
                      <a:pt x="11" y="36"/>
                      <a:pt x="17" y="27"/>
                    </a:cubicBezTo>
                    <a:cubicBezTo>
                      <a:pt x="22" y="18"/>
                      <a:pt x="29" y="12"/>
                      <a:pt x="38" y="7"/>
                    </a:cubicBezTo>
                    <a:cubicBezTo>
                      <a:pt x="46" y="3"/>
                      <a:pt x="55" y="0"/>
                      <a:pt x="66" y="0"/>
                    </a:cubicBezTo>
                    <a:cubicBezTo>
                      <a:pt x="107" y="0"/>
                      <a:pt x="128" y="34"/>
                      <a:pt x="128" y="101"/>
                    </a:cubicBezTo>
                    <a:close/>
                    <a:moveTo>
                      <a:pt x="105" y="103"/>
                    </a:moveTo>
                    <a:cubicBezTo>
                      <a:pt x="105" y="47"/>
                      <a:pt x="91" y="19"/>
                      <a:pt x="65" y="19"/>
                    </a:cubicBezTo>
                    <a:cubicBezTo>
                      <a:pt x="37" y="19"/>
                      <a:pt x="23" y="48"/>
                      <a:pt x="23" y="105"/>
                    </a:cubicBezTo>
                    <a:cubicBezTo>
                      <a:pt x="23" y="158"/>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9" name="Freeform 239"/>
              <p:cNvSpPr>
                <a:spLocks/>
              </p:cNvSpPr>
              <p:nvPr userDrawn="1"/>
            </p:nvSpPr>
            <p:spPr bwMode="auto">
              <a:xfrm>
                <a:off x="2990" y="7"/>
                <a:ext cx="82" cy="246"/>
              </a:xfrm>
              <a:custGeom>
                <a:avLst/>
                <a:gdLst>
                  <a:gd name="T0" fmla="*/ 68 w 68"/>
                  <a:gd name="T1" fmla="*/ 201 h 201"/>
                  <a:gd name="T2" fmla="*/ 45 w 68"/>
                  <a:gd name="T3" fmla="*/ 201 h 201"/>
                  <a:gd name="T4" fmla="*/ 45 w 68"/>
                  <a:gd name="T5" fmla="*/ 31 h 201"/>
                  <a:gd name="T6" fmla="*/ 38 w 68"/>
                  <a:gd name="T7" fmla="*/ 37 h 201"/>
                  <a:gd name="T8" fmla="*/ 27 w 68"/>
                  <a:gd name="T9" fmla="*/ 44 h 201"/>
                  <a:gd name="T10" fmla="*/ 13 w 68"/>
                  <a:gd name="T11" fmla="*/ 50 h 201"/>
                  <a:gd name="T12" fmla="*/ 0 w 68"/>
                  <a:gd name="T13" fmla="*/ 55 h 201"/>
                  <a:gd name="T14" fmla="*/ 0 w 68"/>
                  <a:gd name="T15" fmla="*/ 32 h 201"/>
                  <a:gd name="T16" fmla="*/ 16 w 68"/>
                  <a:gd name="T17" fmla="*/ 26 h 201"/>
                  <a:gd name="T18" fmla="*/ 32 w 68"/>
                  <a:gd name="T19" fmla="*/ 19 h 201"/>
                  <a:gd name="T20" fmla="*/ 47 w 68"/>
                  <a:gd name="T21" fmla="*/ 10 h 201"/>
                  <a:gd name="T22" fmla="*/ 59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5" y="201"/>
                      <a:pt x="45" y="201"/>
                      <a:pt x="45" y="201"/>
                    </a:cubicBezTo>
                    <a:cubicBezTo>
                      <a:pt x="45" y="31"/>
                      <a:pt x="45" y="31"/>
                      <a:pt x="45" y="31"/>
                    </a:cubicBezTo>
                    <a:cubicBezTo>
                      <a:pt x="44" y="33"/>
                      <a:pt x="41" y="35"/>
                      <a:pt x="38" y="37"/>
                    </a:cubicBezTo>
                    <a:cubicBezTo>
                      <a:pt x="34" y="40"/>
                      <a:pt x="31" y="42"/>
                      <a:pt x="27" y="44"/>
                    </a:cubicBezTo>
                    <a:cubicBezTo>
                      <a:pt x="22" y="46"/>
                      <a:pt x="18" y="48"/>
                      <a:pt x="13" y="50"/>
                    </a:cubicBezTo>
                    <a:cubicBezTo>
                      <a:pt x="9" y="52"/>
                      <a:pt x="4" y="54"/>
                      <a:pt x="0" y="55"/>
                    </a:cubicBezTo>
                    <a:cubicBezTo>
                      <a:pt x="0" y="32"/>
                      <a:pt x="0" y="32"/>
                      <a:pt x="0" y="32"/>
                    </a:cubicBezTo>
                    <a:cubicBezTo>
                      <a:pt x="5" y="31"/>
                      <a:pt x="10" y="29"/>
                      <a:pt x="16" y="26"/>
                    </a:cubicBezTo>
                    <a:cubicBezTo>
                      <a:pt x="21" y="24"/>
                      <a:pt x="27" y="21"/>
                      <a:pt x="32" y="19"/>
                    </a:cubicBezTo>
                    <a:cubicBezTo>
                      <a:pt x="37" y="16"/>
                      <a:pt x="42" y="13"/>
                      <a:pt x="47" y="10"/>
                    </a:cubicBezTo>
                    <a:cubicBezTo>
                      <a:pt x="52" y="6"/>
                      <a:pt x="56" y="3"/>
                      <a:pt x="59"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0" name="Freeform 240"/>
              <p:cNvSpPr>
                <a:spLocks/>
              </p:cNvSpPr>
              <p:nvPr userDrawn="1"/>
            </p:nvSpPr>
            <p:spPr bwMode="auto">
              <a:xfrm>
                <a:off x="3140" y="7"/>
                <a:ext cx="81" cy="246"/>
              </a:xfrm>
              <a:custGeom>
                <a:avLst/>
                <a:gdLst>
                  <a:gd name="T0" fmla="*/ 67 w 67"/>
                  <a:gd name="T1" fmla="*/ 201 h 201"/>
                  <a:gd name="T2" fmla="*/ 45 w 67"/>
                  <a:gd name="T3" fmla="*/ 201 h 201"/>
                  <a:gd name="T4" fmla="*/ 45 w 67"/>
                  <a:gd name="T5" fmla="*/ 31 h 201"/>
                  <a:gd name="T6" fmla="*/ 37 w 67"/>
                  <a:gd name="T7" fmla="*/ 37 h 201"/>
                  <a:gd name="T8" fmla="*/ 26 w 67"/>
                  <a:gd name="T9" fmla="*/ 44 h 201"/>
                  <a:gd name="T10" fmla="*/ 13 w 67"/>
                  <a:gd name="T11" fmla="*/ 50 h 201"/>
                  <a:gd name="T12" fmla="*/ 0 w 67"/>
                  <a:gd name="T13" fmla="*/ 55 h 201"/>
                  <a:gd name="T14" fmla="*/ 0 w 67"/>
                  <a:gd name="T15" fmla="*/ 32 h 201"/>
                  <a:gd name="T16" fmla="*/ 15 w 67"/>
                  <a:gd name="T17" fmla="*/ 26 h 201"/>
                  <a:gd name="T18" fmla="*/ 31 w 67"/>
                  <a:gd name="T19" fmla="*/ 19 h 201"/>
                  <a:gd name="T20" fmla="*/ 47 w 67"/>
                  <a:gd name="T21" fmla="*/ 10 h 201"/>
                  <a:gd name="T22" fmla="*/ 59 w 67"/>
                  <a:gd name="T23" fmla="*/ 0 h 201"/>
                  <a:gd name="T24" fmla="*/ 67 w 67"/>
                  <a:gd name="T25" fmla="*/ 0 h 201"/>
                  <a:gd name="T26" fmla="*/ 67 w 67"/>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7" h="201">
                    <a:moveTo>
                      <a:pt x="67" y="201"/>
                    </a:moveTo>
                    <a:cubicBezTo>
                      <a:pt x="45" y="201"/>
                      <a:pt x="45" y="201"/>
                      <a:pt x="45" y="201"/>
                    </a:cubicBezTo>
                    <a:cubicBezTo>
                      <a:pt x="45" y="31"/>
                      <a:pt x="45" y="31"/>
                      <a:pt x="45" y="31"/>
                    </a:cubicBezTo>
                    <a:cubicBezTo>
                      <a:pt x="43" y="33"/>
                      <a:pt x="41" y="35"/>
                      <a:pt x="37" y="37"/>
                    </a:cubicBezTo>
                    <a:cubicBezTo>
                      <a:pt x="34" y="40"/>
                      <a:pt x="30" y="42"/>
                      <a:pt x="26" y="44"/>
                    </a:cubicBezTo>
                    <a:cubicBezTo>
                      <a:pt x="22" y="46"/>
                      <a:pt x="18" y="48"/>
                      <a:pt x="13" y="50"/>
                    </a:cubicBezTo>
                    <a:cubicBezTo>
                      <a:pt x="8" y="52"/>
                      <a:pt x="4" y="54"/>
                      <a:pt x="0" y="55"/>
                    </a:cubicBezTo>
                    <a:cubicBezTo>
                      <a:pt x="0" y="32"/>
                      <a:pt x="0" y="32"/>
                      <a:pt x="0" y="32"/>
                    </a:cubicBezTo>
                    <a:cubicBezTo>
                      <a:pt x="4" y="31"/>
                      <a:pt x="10" y="29"/>
                      <a:pt x="15" y="26"/>
                    </a:cubicBezTo>
                    <a:cubicBezTo>
                      <a:pt x="21" y="24"/>
                      <a:pt x="26" y="21"/>
                      <a:pt x="31" y="19"/>
                    </a:cubicBezTo>
                    <a:cubicBezTo>
                      <a:pt x="37" y="16"/>
                      <a:pt x="42" y="13"/>
                      <a:pt x="47" y="10"/>
                    </a:cubicBezTo>
                    <a:cubicBezTo>
                      <a:pt x="51" y="6"/>
                      <a:pt x="55" y="3"/>
                      <a:pt x="59" y="0"/>
                    </a:cubicBezTo>
                    <a:cubicBezTo>
                      <a:pt x="67" y="0"/>
                      <a:pt x="67" y="0"/>
                      <a:pt x="67" y="0"/>
                    </a:cubicBezTo>
                    <a:lnTo>
                      <a:pt x="67"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1" name="Freeform 241"/>
              <p:cNvSpPr>
                <a:spLocks/>
              </p:cNvSpPr>
              <p:nvPr userDrawn="1"/>
            </p:nvSpPr>
            <p:spPr bwMode="auto">
              <a:xfrm>
                <a:off x="3288" y="7"/>
                <a:ext cx="83" cy="246"/>
              </a:xfrm>
              <a:custGeom>
                <a:avLst/>
                <a:gdLst>
                  <a:gd name="T0" fmla="*/ 68 w 68"/>
                  <a:gd name="T1" fmla="*/ 201 h 201"/>
                  <a:gd name="T2" fmla="*/ 45 w 68"/>
                  <a:gd name="T3" fmla="*/ 201 h 201"/>
                  <a:gd name="T4" fmla="*/ 45 w 68"/>
                  <a:gd name="T5" fmla="*/ 31 h 201"/>
                  <a:gd name="T6" fmla="*/ 38 w 68"/>
                  <a:gd name="T7" fmla="*/ 37 h 201"/>
                  <a:gd name="T8" fmla="*/ 27 w 68"/>
                  <a:gd name="T9" fmla="*/ 44 h 201"/>
                  <a:gd name="T10" fmla="*/ 14 w 68"/>
                  <a:gd name="T11" fmla="*/ 50 h 201"/>
                  <a:gd name="T12" fmla="*/ 0 w 68"/>
                  <a:gd name="T13" fmla="*/ 55 h 201"/>
                  <a:gd name="T14" fmla="*/ 0 w 68"/>
                  <a:gd name="T15" fmla="*/ 32 h 201"/>
                  <a:gd name="T16" fmla="*/ 16 w 68"/>
                  <a:gd name="T17" fmla="*/ 26 h 201"/>
                  <a:gd name="T18" fmla="*/ 32 w 68"/>
                  <a:gd name="T19" fmla="*/ 19 h 201"/>
                  <a:gd name="T20" fmla="*/ 47 w 68"/>
                  <a:gd name="T21" fmla="*/ 10 h 201"/>
                  <a:gd name="T22" fmla="*/ 59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5" y="201"/>
                      <a:pt x="45" y="201"/>
                      <a:pt x="45" y="201"/>
                    </a:cubicBezTo>
                    <a:cubicBezTo>
                      <a:pt x="45" y="31"/>
                      <a:pt x="45" y="31"/>
                      <a:pt x="45" y="31"/>
                    </a:cubicBezTo>
                    <a:cubicBezTo>
                      <a:pt x="44" y="33"/>
                      <a:pt x="41" y="35"/>
                      <a:pt x="38" y="37"/>
                    </a:cubicBezTo>
                    <a:cubicBezTo>
                      <a:pt x="35" y="40"/>
                      <a:pt x="31" y="42"/>
                      <a:pt x="27" y="44"/>
                    </a:cubicBezTo>
                    <a:cubicBezTo>
                      <a:pt x="22" y="46"/>
                      <a:pt x="18" y="48"/>
                      <a:pt x="14" y="50"/>
                    </a:cubicBezTo>
                    <a:cubicBezTo>
                      <a:pt x="9" y="52"/>
                      <a:pt x="4" y="54"/>
                      <a:pt x="0" y="55"/>
                    </a:cubicBezTo>
                    <a:cubicBezTo>
                      <a:pt x="0" y="32"/>
                      <a:pt x="0" y="32"/>
                      <a:pt x="0" y="32"/>
                    </a:cubicBezTo>
                    <a:cubicBezTo>
                      <a:pt x="5" y="31"/>
                      <a:pt x="10" y="29"/>
                      <a:pt x="16" y="26"/>
                    </a:cubicBezTo>
                    <a:cubicBezTo>
                      <a:pt x="21" y="24"/>
                      <a:pt x="27" y="21"/>
                      <a:pt x="32" y="19"/>
                    </a:cubicBezTo>
                    <a:cubicBezTo>
                      <a:pt x="37" y="16"/>
                      <a:pt x="42" y="13"/>
                      <a:pt x="47" y="10"/>
                    </a:cubicBezTo>
                    <a:cubicBezTo>
                      <a:pt x="52" y="6"/>
                      <a:pt x="56" y="3"/>
                      <a:pt x="59"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2" name="Freeform 242"/>
              <p:cNvSpPr>
                <a:spLocks noEditPoints="1"/>
              </p:cNvSpPr>
              <p:nvPr userDrawn="1"/>
            </p:nvSpPr>
            <p:spPr bwMode="auto">
              <a:xfrm>
                <a:off x="3437" y="9"/>
                <a:ext cx="155" cy="247"/>
              </a:xfrm>
              <a:custGeom>
                <a:avLst/>
                <a:gdLst>
                  <a:gd name="T0" fmla="*/ 127 w 127"/>
                  <a:gd name="T1" fmla="*/ 101 h 203"/>
                  <a:gd name="T2" fmla="*/ 123 w 127"/>
                  <a:gd name="T3" fmla="*/ 145 h 203"/>
                  <a:gd name="T4" fmla="*/ 110 w 127"/>
                  <a:gd name="T5" fmla="*/ 177 h 203"/>
                  <a:gd name="T6" fmla="*/ 89 w 127"/>
                  <a:gd name="T7" fmla="*/ 196 h 203"/>
                  <a:gd name="T8" fmla="*/ 62 w 127"/>
                  <a:gd name="T9" fmla="*/ 203 h 203"/>
                  <a:gd name="T10" fmla="*/ 35 w 127"/>
                  <a:gd name="T11" fmla="*/ 197 h 203"/>
                  <a:gd name="T12" fmla="*/ 16 w 127"/>
                  <a:gd name="T13" fmla="*/ 178 h 203"/>
                  <a:gd name="T14" fmla="*/ 4 w 127"/>
                  <a:gd name="T15" fmla="*/ 147 h 203"/>
                  <a:gd name="T16" fmla="*/ 0 w 127"/>
                  <a:gd name="T17" fmla="*/ 106 h 203"/>
                  <a:gd name="T18" fmla="*/ 4 w 127"/>
                  <a:gd name="T19" fmla="*/ 60 h 203"/>
                  <a:gd name="T20" fmla="*/ 17 w 127"/>
                  <a:gd name="T21" fmla="*/ 27 h 203"/>
                  <a:gd name="T22" fmla="*/ 37 w 127"/>
                  <a:gd name="T23" fmla="*/ 7 h 203"/>
                  <a:gd name="T24" fmla="*/ 66 w 127"/>
                  <a:gd name="T25" fmla="*/ 0 h 203"/>
                  <a:gd name="T26" fmla="*/ 127 w 127"/>
                  <a:gd name="T27" fmla="*/ 101 h 203"/>
                  <a:gd name="T28" fmla="*/ 104 w 127"/>
                  <a:gd name="T29" fmla="*/ 103 h 203"/>
                  <a:gd name="T30" fmla="*/ 65 w 127"/>
                  <a:gd name="T31" fmla="*/ 19 h 203"/>
                  <a:gd name="T32" fmla="*/ 23 w 127"/>
                  <a:gd name="T33" fmla="*/ 105 h 203"/>
                  <a:gd name="T34" fmla="*/ 64 w 127"/>
                  <a:gd name="T35" fmla="*/ 184 h 203"/>
                  <a:gd name="T36" fmla="*/ 104 w 127"/>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7" h="203">
                    <a:moveTo>
                      <a:pt x="127" y="101"/>
                    </a:moveTo>
                    <a:cubicBezTo>
                      <a:pt x="127" y="117"/>
                      <a:pt x="126" y="132"/>
                      <a:pt x="123" y="145"/>
                    </a:cubicBezTo>
                    <a:cubicBezTo>
                      <a:pt x="120" y="157"/>
                      <a:pt x="116" y="168"/>
                      <a:pt x="110" y="177"/>
                    </a:cubicBezTo>
                    <a:cubicBezTo>
                      <a:pt x="104" y="185"/>
                      <a:pt x="98" y="192"/>
                      <a:pt x="89" y="196"/>
                    </a:cubicBezTo>
                    <a:cubicBezTo>
                      <a:pt x="81" y="201"/>
                      <a:pt x="72" y="203"/>
                      <a:pt x="62" y="203"/>
                    </a:cubicBezTo>
                    <a:cubicBezTo>
                      <a:pt x="52" y="203"/>
                      <a:pt x="43" y="201"/>
                      <a:pt x="35" y="197"/>
                    </a:cubicBezTo>
                    <a:cubicBezTo>
                      <a:pt x="28" y="192"/>
                      <a:pt x="21" y="186"/>
                      <a:pt x="16" y="178"/>
                    </a:cubicBezTo>
                    <a:cubicBezTo>
                      <a:pt x="11" y="169"/>
                      <a:pt x="6" y="159"/>
                      <a:pt x="4" y="147"/>
                    </a:cubicBezTo>
                    <a:cubicBezTo>
                      <a:pt x="1" y="135"/>
                      <a:pt x="0" y="121"/>
                      <a:pt x="0" y="106"/>
                    </a:cubicBezTo>
                    <a:cubicBezTo>
                      <a:pt x="0" y="89"/>
                      <a:pt x="1" y="73"/>
                      <a:pt x="4" y="60"/>
                    </a:cubicBezTo>
                    <a:cubicBezTo>
                      <a:pt x="7" y="47"/>
                      <a:pt x="11" y="36"/>
                      <a:pt x="17" y="27"/>
                    </a:cubicBezTo>
                    <a:cubicBezTo>
                      <a:pt x="22" y="18"/>
                      <a:pt x="29" y="12"/>
                      <a:pt x="37" y="7"/>
                    </a:cubicBezTo>
                    <a:cubicBezTo>
                      <a:pt x="46" y="3"/>
                      <a:pt x="55" y="0"/>
                      <a:pt x="66" y="0"/>
                    </a:cubicBezTo>
                    <a:cubicBezTo>
                      <a:pt x="107" y="0"/>
                      <a:pt x="127" y="34"/>
                      <a:pt x="127" y="101"/>
                    </a:cubicBezTo>
                    <a:close/>
                    <a:moveTo>
                      <a:pt x="104" y="103"/>
                    </a:moveTo>
                    <a:cubicBezTo>
                      <a:pt x="104" y="47"/>
                      <a:pt x="91" y="19"/>
                      <a:pt x="65" y="19"/>
                    </a:cubicBezTo>
                    <a:cubicBezTo>
                      <a:pt x="37" y="19"/>
                      <a:pt x="23" y="48"/>
                      <a:pt x="23" y="105"/>
                    </a:cubicBezTo>
                    <a:cubicBezTo>
                      <a:pt x="23" y="158"/>
                      <a:pt x="36" y="184"/>
                      <a:pt x="64" y="184"/>
                    </a:cubicBezTo>
                    <a:cubicBezTo>
                      <a:pt x="91" y="184"/>
                      <a:pt x="104" y="157"/>
                      <a:pt x="104"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3" name="Freeform 243"/>
              <p:cNvSpPr>
                <a:spLocks noEditPoints="1"/>
              </p:cNvSpPr>
              <p:nvPr userDrawn="1"/>
            </p:nvSpPr>
            <p:spPr bwMode="auto">
              <a:xfrm>
                <a:off x="3632" y="9"/>
                <a:ext cx="155" cy="247"/>
              </a:xfrm>
              <a:custGeom>
                <a:avLst/>
                <a:gdLst>
                  <a:gd name="T0" fmla="*/ 127 w 127"/>
                  <a:gd name="T1" fmla="*/ 101 h 203"/>
                  <a:gd name="T2" fmla="*/ 123 w 127"/>
                  <a:gd name="T3" fmla="*/ 145 h 203"/>
                  <a:gd name="T4" fmla="*/ 110 w 127"/>
                  <a:gd name="T5" fmla="*/ 177 h 203"/>
                  <a:gd name="T6" fmla="*/ 89 w 127"/>
                  <a:gd name="T7" fmla="*/ 196 h 203"/>
                  <a:gd name="T8" fmla="*/ 62 w 127"/>
                  <a:gd name="T9" fmla="*/ 203 h 203"/>
                  <a:gd name="T10" fmla="*/ 35 w 127"/>
                  <a:gd name="T11" fmla="*/ 197 h 203"/>
                  <a:gd name="T12" fmla="*/ 16 w 127"/>
                  <a:gd name="T13" fmla="*/ 178 h 203"/>
                  <a:gd name="T14" fmla="*/ 4 w 127"/>
                  <a:gd name="T15" fmla="*/ 147 h 203"/>
                  <a:gd name="T16" fmla="*/ 0 w 127"/>
                  <a:gd name="T17" fmla="*/ 106 h 203"/>
                  <a:gd name="T18" fmla="*/ 4 w 127"/>
                  <a:gd name="T19" fmla="*/ 60 h 203"/>
                  <a:gd name="T20" fmla="*/ 17 w 127"/>
                  <a:gd name="T21" fmla="*/ 27 h 203"/>
                  <a:gd name="T22" fmla="*/ 37 w 127"/>
                  <a:gd name="T23" fmla="*/ 7 h 203"/>
                  <a:gd name="T24" fmla="*/ 66 w 127"/>
                  <a:gd name="T25" fmla="*/ 0 h 203"/>
                  <a:gd name="T26" fmla="*/ 127 w 127"/>
                  <a:gd name="T27" fmla="*/ 101 h 203"/>
                  <a:gd name="T28" fmla="*/ 104 w 127"/>
                  <a:gd name="T29" fmla="*/ 103 h 203"/>
                  <a:gd name="T30" fmla="*/ 65 w 127"/>
                  <a:gd name="T31" fmla="*/ 19 h 203"/>
                  <a:gd name="T32" fmla="*/ 23 w 127"/>
                  <a:gd name="T33" fmla="*/ 105 h 203"/>
                  <a:gd name="T34" fmla="*/ 64 w 127"/>
                  <a:gd name="T35" fmla="*/ 184 h 203"/>
                  <a:gd name="T36" fmla="*/ 104 w 127"/>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7" h="203">
                    <a:moveTo>
                      <a:pt x="127" y="101"/>
                    </a:moveTo>
                    <a:cubicBezTo>
                      <a:pt x="127" y="117"/>
                      <a:pt x="126" y="132"/>
                      <a:pt x="123" y="145"/>
                    </a:cubicBezTo>
                    <a:cubicBezTo>
                      <a:pt x="120" y="157"/>
                      <a:pt x="116" y="168"/>
                      <a:pt x="110" y="177"/>
                    </a:cubicBezTo>
                    <a:cubicBezTo>
                      <a:pt x="104" y="185"/>
                      <a:pt x="98" y="192"/>
                      <a:pt x="89" y="196"/>
                    </a:cubicBezTo>
                    <a:cubicBezTo>
                      <a:pt x="81" y="201"/>
                      <a:pt x="72" y="203"/>
                      <a:pt x="62" y="203"/>
                    </a:cubicBezTo>
                    <a:cubicBezTo>
                      <a:pt x="52" y="203"/>
                      <a:pt x="43" y="201"/>
                      <a:pt x="35" y="197"/>
                    </a:cubicBezTo>
                    <a:cubicBezTo>
                      <a:pt x="28" y="192"/>
                      <a:pt x="21" y="186"/>
                      <a:pt x="16" y="178"/>
                    </a:cubicBezTo>
                    <a:cubicBezTo>
                      <a:pt x="10" y="169"/>
                      <a:pt x="6" y="159"/>
                      <a:pt x="4" y="147"/>
                    </a:cubicBezTo>
                    <a:cubicBezTo>
                      <a:pt x="1" y="135"/>
                      <a:pt x="0" y="121"/>
                      <a:pt x="0" y="106"/>
                    </a:cubicBezTo>
                    <a:cubicBezTo>
                      <a:pt x="0" y="89"/>
                      <a:pt x="1" y="73"/>
                      <a:pt x="4" y="60"/>
                    </a:cubicBezTo>
                    <a:cubicBezTo>
                      <a:pt x="7" y="47"/>
                      <a:pt x="11" y="36"/>
                      <a:pt x="17" y="27"/>
                    </a:cubicBezTo>
                    <a:cubicBezTo>
                      <a:pt x="22" y="18"/>
                      <a:pt x="29" y="12"/>
                      <a:pt x="37" y="7"/>
                    </a:cubicBezTo>
                    <a:cubicBezTo>
                      <a:pt x="46" y="3"/>
                      <a:pt x="55" y="0"/>
                      <a:pt x="66" y="0"/>
                    </a:cubicBezTo>
                    <a:cubicBezTo>
                      <a:pt x="107" y="0"/>
                      <a:pt x="127" y="34"/>
                      <a:pt x="127" y="101"/>
                    </a:cubicBezTo>
                    <a:close/>
                    <a:moveTo>
                      <a:pt x="104" y="103"/>
                    </a:moveTo>
                    <a:cubicBezTo>
                      <a:pt x="104" y="47"/>
                      <a:pt x="91" y="19"/>
                      <a:pt x="65" y="19"/>
                    </a:cubicBezTo>
                    <a:cubicBezTo>
                      <a:pt x="37" y="19"/>
                      <a:pt x="23" y="48"/>
                      <a:pt x="23" y="105"/>
                    </a:cubicBezTo>
                    <a:cubicBezTo>
                      <a:pt x="23" y="158"/>
                      <a:pt x="36" y="184"/>
                      <a:pt x="64" y="184"/>
                    </a:cubicBezTo>
                    <a:cubicBezTo>
                      <a:pt x="91" y="184"/>
                      <a:pt x="104" y="157"/>
                      <a:pt x="104"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4" name="Freeform 244"/>
              <p:cNvSpPr>
                <a:spLocks noEditPoints="1"/>
              </p:cNvSpPr>
              <p:nvPr userDrawn="1"/>
            </p:nvSpPr>
            <p:spPr bwMode="auto">
              <a:xfrm>
                <a:off x="3827" y="9"/>
                <a:ext cx="155" cy="247"/>
              </a:xfrm>
              <a:custGeom>
                <a:avLst/>
                <a:gdLst>
                  <a:gd name="T0" fmla="*/ 127 w 127"/>
                  <a:gd name="T1" fmla="*/ 101 h 203"/>
                  <a:gd name="T2" fmla="*/ 123 w 127"/>
                  <a:gd name="T3" fmla="*/ 145 h 203"/>
                  <a:gd name="T4" fmla="*/ 110 w 127"/>
                  <a:gd name="T5" fmla="*/ 177 h 203"/>
                  <a:gd name="T6" fmla="*/ 89 w 127"/>
                  <a:gd name="T7" fmla="*/ 196 h 203"/>
                  <a:gd name="T8" fmla="*/ 62 w 127"/>
                  <a:gd name="T9" fmla="*/ 203 h 203"/>
                  <a:gd name="T10" fmla="*/ 35 w 127"/>
                  <a:gd name="T11" fmla="*/ 197 h 203"/>
                  <a:gd name="T12" fmla="*/ 16 w 127"/>
                  <a:gd name="T13" fmla="*/ 178 h 203"/>
                  <a:gd name="T14" fmla="*/ 4 w 127"/>
                  <a:gd name="T15" fmla="*/ 147 h 203"/>
                  <a:gd name="T16" fmla="*/ 0 w 127"/>
                  <a:gd name="T17" fmla="*/ 106 h 203"/>
                  <a:gd name="T18" fmla="*/ 4 w 127"/>
                  <a:gd name="T19" fmla="*/ 60 h 203"/>
                  <a:gd name="T20" fmla="*/ 17 w 127"/>
                  <a:gd name="T21" fmla="*/ 27 h 203"/>
                  <a:gd name="T22" fmla="*/ 37 w 127"/>
                  <a:gd name="T23" fmla="*/ 7 h 203"/>
                  <a:gd name="T24" fmla="*/ 66 w 127"/>
                  <a:gd name="T25" fmla="*/ 0 h 203"/>
                  <a:gd name="T26" fmla="*/ 127 w 127"/>
                  <a:gd name="T27" fmla="*/ 101 h 203"/>
                  <a:gd name="T28" fmla="*/ 104 w 127"/>
                  <a:gd name="T29" fmla="*/ 103 h 203"/>
                  <a:gd name="T30" fmla="*/ 65 w 127"/>
                  <a:gd name="T31" fmla="*/ 19 h 203"/>
                  <a:gd name="T32" fmla="*/ 23 w 127"/>
                  <a:gd name="T33" fmla="*/ 105 h 203"/>
                  <a:gd name="T34" fmla="*/ 64 w 127"/>
                  <a:gd name="T35" fmla="*/ 184 h 203"/>
                  <a:gd name="T36" fmla="*/ 104 w 127"/>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7" h="203">
                    <a:moveTo>
                      <a:pt x="127" y="101"/>
                    </a:moveTo>
                    <a:cubicBezTo>
                      <a:pt x="127" y="117"/>
                      <a:pt x="126" y="132"/>
                      <a:pt x="123" y="145"/>
                    </a:cubicBezTo>
                    <a:cubicBezTo>
                      <a:pt x="120" y="157"/>
                      <a:pt x="116" y="168"/>
                      <a:pt x="110" y="177"/>
                    </a:cubicBezTo>
                    <a:cubicBezTo>
                      <a:pt x="104" y="185"/>
                      <a:pt x="98" y="192"/>
                      <a:pt x="89" y="196"/>
                    </a:cubicBezTo>
                    <a:cubicBezTo>
                      <a:pt x="81" y="201"/>
                      <a:pt x="72" y="203"/>
                      <a:pt x="62" y="203"/>
                    </a:cubicBezTo>
                    <a:cubicBezTo>
                      <a:pt x="52" y="203"/>
                      <a:pt x="43" y="201"/>
                      <a:pt x="35" y="197"/>
                    </a:cubicBezTo>
                    <a:cubicBezTo>
                      <a:pt x="28" y="192"/>
                      <a:pt x="21" y="186"/>
                      <a:pt x="16" y="178"/>
                    </a:cubicBezTo>
                    <a:cubicBezTo>
                      <a:pt x="10" y="169"/>
                      <a:pt x="6" y="159"/>
                      <a:pt x="4" y="147"/>
                    </a:cubicBezTo>
                    <a:cubicBezTo>
                      <a:pt x="1" y="135"/>
                      <a:pt x="0" y="121"/>
                      <a:pt x="0" y="106"/>
                    </a:cubicBezTo>
                    <a:cubicBezTo>
                      <a:pt x="0" y="89"/>
                      <a:pt x="1" y="73"/>
                      <a:pt x="4" y="60"/>
                    </a:cubicBezTo>
                    <a:cubicBezTo>
                      <a:pt x="7" y="47"/>
                      <a:pt x="11" y="36"/>
                      <a:pt x="17" y="27"/>
                    </a:cubicBezTo>
                    <a:cubicBezTo>
                      <a:pt x="22" y="18"/>
                      <a:pt x="29" y="12"/>
                      <a:pt x="37" y="7"/>
                    </a:cubicBezTo>
                    <a:cubicBezTo>
                      <a:pt x="46" y="3"/>
                      <a:pt x="55" y="0"/>
                      <a:pt x="66" y="0"/>
                    </a:cubicBezTo>
                    <a:cubicBezTo>
                      <a:pt x="107" y="0"/>
                      <a:pt x="127" y="34"/>
                      <a:pt x="127" y="101"/>
                    </a:cubicBezTo>
                    <a:close/>
                    <a:moveTo>
                      <a:pt x="104" y="103"/>
                    </a:moveTo>
                    <a:cubicBezTo>
                      <a:pt x="104" y="47"/>
                      <a:pt x="91" y="19"/>
                      <a:pt x="65" y="19"/>
                    </a:cubicBezTo>
                    <a:cubicBezTo>
                      <a:pt x="37" y="19"/>
                      <a:pt x="23" y="48"/>
                      <a:pt x="23" y="105"/>
                    </a:cubicBezTo>
                    <a:cubicBezTo>
                      <a:pt x="23" y="158"/>
                      <a:pt x="36" y="184"/>
                      <a:pt x="64" y="184"/>
                    </a:cubicBezTo>
                    <a:cubicBezTo>
                      <a:pt x="91" y="184"/>
                      <a:pt x="104" y="157"/>
                      <a:pt x="104"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5" name="Freeform 245"/>
              <p:cNvSpPr>
                <a:spLocks noEditPoints="1"/>
              </p:cNvSpPr>
              <p:nvPr userDrawn="1"/>
            </p:nvSpPr>
            <p:spPr bwMode="auto">
              <a:xfrm>
                <a:off x="4228" y="9"/>
                <a:ext cx="156" cy="247"/>
              </a:xfrm>
              <a:custGeom>
                <a:avLst/>
                <a:gdLst>
                  <a:gd name="T0" fmla="*/ 128 w 128"/>
                  <a:gd name="T1" fmla="*/ 101 h 203"/>
                  <a:gd name="T2" fmla="*/ 123 w 128"/>
                  <a:gd name="T3" fmla="*/ 145 h 203"/>
                  <a:gd name="T4" fmla="*/ 111 w 128"/>
                  <a:gd name="T5" fmla="*/ 177 h 203"/>
                  <a:gd name="T6" fmla="*/ 90 w 128"/>
                  <a:gd name="T7" fmla="*/ 196 h 203"/>
                  <a:gd name="T8" fmla="*/ 62 w 128"/>
                  <a:gd name="T9" fmla="*/ 203 h 203"/>
                  <a:gd name="T10" fmla="*/ 36 w 128"/>
                  <a:gd name="T11" fmla="*/ 197 h 203"/>
                  <a:gd name="T12" fmla="*/ 16 w 128"/>
                  <a:gd name="T13" fmla="*/ 178 h 203"/>
                  <a:gd name="T14" fmla="*/ 4 w 128"/>
                  <a:gd name="T15" fmla="*/ 147 h 203"/>
                  <a:gd name="T16" fmla="*/ 0 w 128"/>
                  <a:gd name="T17" fmla="*/ 106 h 203"/>
                  <a:gd name="T18" fmla="*/ 4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5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6" y="132"/>
                      <a:pt x="123" y="145"/>
                    </a:cubicBezTo>
                    <a:cubicBezTo>
                      <a:pt x="120" y="157"/>
                      <a:pt x="116" y="168"/>
                      <a:pt x="111" y="177"/>
                    </a:cubicBezTo>
                    <a:cubicBezTo>
                      <a:pt x="105" y="185"/>
                      <a:pt x="98" y="192"/>
                      <a:pt x="90" y="196"/>
                    </a:cubicBezTo>
                    <a:cubicBezTo>
                      <a:pt x="82" y="201"/>
                      <a:pt x="72" y="203"/>
                      <a:pt x="62" y="203"/>
                    </a:cubicBezTo>
                    <a:cubicBezTo>
                      <a:pt x="52" y="203"/>
                      <a:pt x="43" y="201"/>
                      <a:pt x="36" y="197"/>
                    </a:cubicBezTo>
                    <a:cubicBezTo>
                      <a:pt x="28" y="192"/>
                      <a:pt x="22" y="186"/>
                      <a:pt x="16" y="178"/>
                    </a:cubicBezTo>
                    <a:cubicBezTo>
                      <a:pt x="11" y="169"/>
                      <a:pt x="7" y="159"/>
                      <a:pt x="4" y="147"/>
                    </a:cubicBezTo>
                    <a:cubicBezTo>
                      <a:pt x="2" y="135"/>
                      <a:pt x="0" y="121"/>
                      <a:pt x="0" y="106"/>
                    </a:cubicBezTo>
                    <a:cubicBezTo>
                      <a:pt x="0" y="89"/>
                      <a:pt x="2" y="73"/>
                      <a:pt x="4" y="60"/>
                    </a:cubicBezTo>
                    <a:cubicBezTo>
                      <a:pt x="7" y="47"/>
                      <a:pt x="12" y="36"/>
                      <a:pt x="17" y="27"/>
                    </a:cubicBezTo>
                    <a:cubicBezTo>
                      <a:pt x="23" y="18"/>
                      <a:pt x="30" y="12"/>
                      <a:pt x="38" y="7"/>
                    </a:cubicBezTo>
                    <a:cubicBezTo>
                      <a:pt x="46" y="3"/>
                      <a:pt x="56" y="0"/>
                      <a:pt x="66" y="0"/>
                    </a:cubicBezTo>
                    <a:cubicBezTo>
                      <a:pt x="107" y="0"/>
                      <a:pt x="128" y="34"/>
                      <a:pt x="128" y="101"/>
                    </a:cubicBezTo>
                    <a:close/>
                    <a:moveTo>
                      <a:pt x="105" y="103"/>
                    </a:moveTo>
                    <a:cubicBezTo>
                      <a:pt x="105" y="47"/>
                      <a:pt x="92" y="19"/>
                      <a:pt x="65" y="19"/>
                    </a:cubicBezTo>
                    <a:cubicBezTo>
                      <a:pt x="37" y="19"/>
                      <a:pt x="23" y="48"/>
                      <a:pt x="23" y="105"/>
                    </a:cubicBezTo>
                    <a:cubicBezTo>
                      <a:pt x="23" y="158"/>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6" name="Freeform 246"/>
              <p:cNvSpPr>
                <a:spLocks/>
              </p:cNvSpPr>
              <p:nvPr userDrawn="1"/>
            </p:nvSpPr>
            <p:spPr bwMode="auto">
              <a:xfrm>
                <a:off x="4425" y="7"/>
                <a:ext cx="83" cy="246"/>
              </a:xfrm>
              <a:custGeom>
                <a:avLst/>
                <a:gdLst>
                  <a:gd name="T0" fmla="*/ 68 w 68"/>
                  <a:gd name="T1" fmla="*/ 201 h 201"/>
                  <a:gd name="T2" fmla="*/ 46 w 68"/>
                  <a:gd name="T3" fmla="*/ 201 h 201"/>
                  <a:gd name="T4" fmla="*/ 46 w 68"/>
                  <a:gd name="T5" fmla="*/ 31 h 201"/>
                  <a:gd name="T6" fmla="*/ 38 w 68"/>
                  <a:gd name="T7" fmla="*/ 37 h 201"/>
                  <a:gd name="T8" fmla="*/ 27 w 68"/>
                  <a:gd name="T9" fmla="*/ 44 h 201"/>
                  <a:gd name="T10" fmla="*/ 14 w 68"/>
                  <a:gd name="T11" fmla="*/ 50 h 201"/>
                  <a:gd name="T12" fmla="*/ 0 w 68"/>
                  <a:gd name="T13" fmla="*/ 55 h 201"/>
                  <a:gd name="T14" fmla="*/ 0 w 68"/>
                  <a:gd name="T15" fmla="*/ 32 h 201"/>
                  <a:gd name="T16" fmla="*/ 16 w 68"/>
                  <a:gd name="T17" fmla="*/ 26 h 201"/>
                  <a:gd name="T18" fmla="*/ 32 w 68"/>
                  <a:gd name="T19" fmla="*/ 19 h 201"/>
                  <a:gd name="T20" fmla="*/ 47 w 68"/>
                  <a:gd name="T21" fmla="*/ 10 h 201"/>
                  <a:gd name="T22" fmla="*/ 60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6" y="201"/>
                      <a:pt x="46" y="201"/>
                      <a:pt x="46" y="201"/>
                    </a:cubicBezTo>
                    <a:cubicBezTo>
                      <a:pt x="46" y="31"/>
                      <a:pt x="46" y="31"/>
                      <a:pt x="46" y="31"/>
                    </a:cubicBezTo>
                    <a:cubicBezTo>
                      <a:pt x="44" y="33"/>
                      <a:pt x="41" y="35"/>
                      <a:pt x="38" y="37"/>
                    </a:cubicBezTo>
                    <a:cubicBezTo>
                      <a:pt x="35" y="40"/>
                      <a:pt x="31" y="42"/>
                      <a:pt x="27" y="44"/>
                    </a:cubicBezTo>
                    <a:cubicBezTo>
                      <a:pt x="23" y="46"/>
                      <a:pt x="18" y="48"/>
                      <a:pt x="14" y="50"/>
                    </a:cubicBezTo>
                    <a:cubicBezTo>
                      <a:pt x="9" y="52"/>
                      <a:pt x="5" y="54"/>
                      <a:pt x="0" y="55"/>
                    </a:cubicBezTo>
                    <a:cubicBezTo>
                      <a:pt x="0" y="32"/>
                      <a:pt x="0" y="32"/>
                      <a:pt x="0" y="32"/>
                    </a:cubicBezTo>
                    <a:cubicBezTo>
                      <a:pt x="5" y="31"/>
                      <a:pt x="10" y="29"/>
                      <a:pt x="16" y="26"/>
                    </a:cubicBezTo>
                    <a:cubicBezTo>
                      <a:pt x="21" y="24"/>
                      <a:pt x="27" y="21"/>
                      <a:pt x="32" y="19"/>
                    </a:cubicBezTo>
                    <a:cubicBezTo>
                      <a:pt x="38" y="16"/>
                      <a:pt x="43" y="13"/>
                      <a:pt x="47" y="10"/>
                    </a:cubicBezTo>
                    <a:cubicBezTo>
                      <a:pt x="52" y="6"/>
                      <a:pt x="56" y="3"/>
                      <a:pt x="60"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7" name="Freeform 247"/>
              <p:cNvSpPr>
                <a:spLocks/>
              </p:cNvSpPr>
              <p:nvPr userDrawn="1"/>
            </p:nvSpPr>
            <p:spPr bwMode="auto">
              <a:xfrm>
                <a:off x="4575" y="7"/>
                <a:ext cx="83" cy="246"/>
              </a:xfrm>
              <a:custGeom>
                <a:avLst/>
                <a:gdLst>
                  <a:gd name="T0" fmla="*/ 68 w 68"/>
                  <a:gd name="T1" fmla="*/ 201 h 201"/>
                  <a:gd name="T2" fmla="*/ 45 w 68"/>
                  <a:gd name="T3" fmla="*/ 201 h 201"/>
                  <a:gd name="T4" fmla="*/ 45 w 68"/>
                  <a:gd name="T5" fmla="*/ 31 h 201"/>
                  <a:gd name="T6" fmla="*/ 38 w 68"/>
                  <a:gd name="T7" fmla="*/ 37 h 201"/>
                  <a:gd name="T8" fmla="*/ 26 w 68"/>
                  <a:gd name="T9" fmla="*/ 44 h 201"/>
                  <a:gd name="T10" fmla="*/ 13 w 68"/>
                  <a:gd name="T11" fmla="*/ 50 h 201"/>
                  <a:gd name="T12" fmla="*/ 0 w 68"/>
                  <a:gd name="T13" fmla="*/ 55 h 201"/>
                  <a:gd name="T14" fmla="*/ 0 w 68"/>
                  <a:gd name="T15" fmla="*/ 32 h 201"/>
                  <a:gd name="T16" fmla="*/ 15 w 68"/>
                  <a:gd name="T17" fmla="*/ 26 h 201"/>
                  <a:gd name="T18" fmla="*/ 32 w 68"/>
                  <a:gd name="T19" fmla="*/ 19 h 201"/>
                  <a:gd name="T20" fmla="*/ 47 w 68"/>
                  <a:gd name="T21" fmla="*/ 10 h 201"/>
                  <a:gd name="T22" fmla="*/ 59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5" y="201"/>
                      <a:pt x="45" y="201"/>
                      <a:pt x="45" y="201"/>
                    </a:cubicBezTo>
                    <a:cubicBezTo>
                      <a:pt x="45" y="31"/>
                      <a:pt x="45" y="31"/>
                      <a:pt x="45" y="31"/>
                    </a:cubicBezTo>
                    <a:cubicBezTo>
                      <a:pt x="43" y="33"/>
                      <a:pt x="41" y="35"/>
                      <a:pt x="38" y="37"/>
                    </a:cubicBezTo>
                    <a:cubicBezTo>
                      <a:pt x="34" y="40"/>
                      <a:pt x="31" y="42"/>
                      <a:pt x="26" y="44"/>
                    </a:cubicBezTo>
                    <a:cubicBezTo>
                      <a:pt x="22" y="46"/>
                      <a:pt x="18" y="48"/>
                      <a:pt x="13" y="50"/>
                    </a:cubicBezTo>
                    <a:cubicBezTo>
                      <a:pt x="9" y="52"/>
                      <a:pt x="4" y="54"/>
                      <a:pt x="0" y="55"/>
                    </a:cubicBezTo>
                    <a:cubicBezTo>
                      <a:pt x="0" y="32"/>
                      <a:pt x="0" y="32"/>
                      <a:pt x="0" y="32"/>
                    </a:cubicBezTo>
                    <a:cubicBezTo>
                      <a:pt x="5" y="31"/>
                      <a:pt x="10" y="29"/>
                      <a:pt x="15" y="26"/>
                    </a:cubicBezTo>
                    <a:cubicBezTo>
                      <a:pt x="21" y="24"/>
                      <a:pt x="26" y="21"/>
                      <a:pt x="32" y="19"/>
                    </a:cubicBezTo>
                    <a:cubicBezTo>
                      <a:pt x="37" y="16"/>
                      <a:pt x="42" y="13"/>
                      <a:pt x="47" y="10"/>
                    </a:cubicBezTo>
                    <a:cubicBezTo>
                      <a:pt x="52" y="6"/>
                      <a:pt x="56" y="3"/>
                      <a:pt x="59"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8" name="Freeform 248"/>
              <p:cNvSpPr>
                <a:spLocks noEditPoints="1"/>
              </p:cNvSpPr>
              <p:nvPr userDrawn="1"/>
            </p:nvSpPr>
            <p:spPr bwMode="auto">
              <a:xfrm>
                <a:off x="4723" y="9"/>
                <a:ext cx="156" cy="247"/>
              </a:xfrm>
              <a:custGeom>
                <a:avLst/>
                <a:gdLst>
                  <a:gd name="T0" fmla="*/ 128 w 128"/>
                  <a:gd name="T1" fmla="*/ 101 h 203"/>
                  <a:gd name="T2" fmla="*/ 124 w 128"/>
                  <a:gd name="T3" fmla="*/ 145 h 203"/>
                  <a:gd name="T4" fmla="*/ 111 w 128"/>
                  <a:gd name="T5" fmla="*/ 177 h 203"/>
                  <a:gd name="T6" fmla="*/ 90 w 128"/>
                  <a:gd name="T7" fmla="*/ 196 h 203"/>
                  <a:gd name="T8" fmla="*/ 62 w 128"/>
                  <a:gd name="T9" fmla="*/ 203 h 203"/>
                  <a:gd name="T10" fmla="*/ 36 w 128"/>
                  <a:gd name="T11" fmla="*/ 197 h 203"/>
                  <a:gd name="T12" fmla="*/ 17 w 128"/>
                  <a:gd name="T13" fmla="*/ 178 h 203"/>
                  <a:gd name="T14" fmla="*/ 5 w 128"/>
                  <a:gd name="T15" fmla="*/ 147 h 203"/>
                  <a:gd name="T16" fmla="*/ 0 w 128"/>
                  <a:gd name="T17" fmla="*/ 106 h 203"/>
                  <a:gd name="T18" fmla="*/ 5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5 h 203"/>
                  <a:gd name="T34" fmla="*/ 65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7" y="132"/>
                      <a:pt x="124" y="145"/>
                    </a:cubicBezTo>
                    <a:cubicBezTo>
                      <a:pt x="121" y="157"/>
                      <a:pt x="116" y="168"/>
                      <a:pt x="111" y="177"/>
                    </a:cubicBezTo>
                    <a:cubicBezTo>
                      <a:pt x="105" y="185"/>
                      <a:pt x="98" y="192"/>
                      <a:pt x="90" y="196"/>
                    </a:cubicBezTo>
                    <a:cubicBezTo>
                      <a:pt x="82" y="201"/>
                      <a:pt x="73" y="203"/>
                      <a:pt x="62" y="203"/>
                    </a:cubicBezTo>
                    <a:cubicBezTo>
                      <a:pt x="52" y="203"/>
                      <a:pt x="44" y="201"/>
                      <a:pt x="36" y="197"/>
                    </a:cubicBezTo>
                    <a:cubicBezTo>
                      <a:pt x="28" y="192"/>
                      <a:pt x="22" y="186"/>
                      <a:pt x="17" y="178"/>
                    </a:cubicBezTo>
                    <a:cubicBezTo>
                      <a:pt x="11" y="169"/>
                      <a:pt x="7" y="159"/>
                      <a:pt x="5" y="147"/>
                    </a:cubicBezTo>
                    <a:cubicBezTo>
                      <a:pt x="2" y="135"/>
                      <a:pt x="0" y="121"/>
                      <a:pt x="0" y="106"/>
                    </a:cubicBezTo>
                    <a:cubicBezTo>
                      <a:pt x="0" y="89"/>
                      <a:pt x="2" y="73"/>
                      <a:pt x="5" y="60"/>
                    </a:cubicBezTo>
                    <a:cubicBezTo>
                      <a:pt x="8" y="47"/>
                      <a:pt x="12" y="36"/>
                      <a:pt x="17" y="27"/>
                    </a:cubicBezTo>
                    <a:cubicBezTo>
                      <a:pt x="23" y="18"/>
                      <a:pt x="30" y="12"/>
                      <a:pt x="38" y="7"/>
                    </a:cubicBezTo>
                    <a:cubicBezTo>
                      <a:pt x="46" y="3"/>
                      <a:pt x="56" y="0"/>
                      <a:pt x="66" y="0"/>
                    </a:cubicBezTo>
                    <a:cubicBezTo>
                      <a:pt x="108" y="0"/>
                      <a:pt x="128" y="34"/>
                      <a:pt x="128" y="101"/>
                    </a:cubicBezTo>
                    <a:close/>
                    <a:moveTo>
                      <a:pt x="105" y="103"/>
                    </a:moveTo>
                    <a:cubicBezTo>
                      <a:pt x="105" y="47"/>
                      <a:pt x="92" y="19"/>
                      <a:pt x="65" y="19"/>
                    </a:cubicBezTo>
                    <a:cubicBezTo>
                      <a:pt x="37" y="19"/>
                      <a:pt x="23" y="48"/>
                      <a:pt x="23" y="105"/>
                    </a:cubicBezTo>
                    <a:cubicBezTo>
                      <a:pt x="23" y="158"/>
                      <a:pt x="37" y="184"/>
                      <a:pt x="65" y="184"/>
                    </a:cubicBezTo>
                    <a:cubicBezTo>
                      <a:pt x="92"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9" name="Freeform 249"/>
              <p:cNvSpPr>
                <a:spLocks/>
              </p:cNvSpPr>
              <p:nvPr userDrawn="1"/>
            </p:nvSpPr>
            <p:spPr bwMode="auto">
              <a:xfrm>
                <a:off x="4920" y="7"/>
                <a:ext cx="83" cy="246"/>
              </a:xfrm>
              <a:custGeom>
                <a:avLst/>
                <a:gdLst>
                  <a:gd name="T0" fmla="*/ 68 w 68"/>
                  <a:gd name="T1" fmla="*/ 201 h 201"/>
                  <a:gd name="T2" fmla="*/ 46 w 68"/>
                  <a:gd name="T3" fmla="*/ 201 h 201"/>
                  <a:gd name="T4" fmla="*/ 46 w 68"/>
                  <a:gd name="T5" fmla="*/ 31 h 201"/>
                  <a:gd name="T6" fmla="*/ 38 w 68"/>
                  <a:gd name="T7" fmla="*/ 37 h 201"/>
                  <a:gd name="T8" fmla="*/ 27 w 68"/>
                  <a:gd name="T9" fmla="*/ 44 h 201"/>
                  <a:gd name="T10" fmla="*/ 14 w 68"/>
                  <a:gd name="T11" fmla="*/ 50 h 201"/>
                  <a:gd name="T12" fmla="*/ 0 w 68"/>
                  <a:gd name="T13" fmla="*/ 55 h 201"/>
                  <a:gd name="T14" fmla="*/ 0 w 68"/>
                  <a:gd name="T15" fmla="*/ 32 h 201"/>
                  <a:gd name="T16" fmla="*/ 16 w 68"/>
                  <a:gd name="T17" fmla="*/ 26 h 201"/>
                  <a:gd name="T18" fmla="*/ 32 w 68"/>
                  <a:gd name="T19" fmla="*/ 19 h 201"/>
                  <a:gd name="T20" fmla="*/ 48 w 68"/>
                  <a:gd name="T21" fmla="*/ 10 h 201"/>
                  <a:gd name="T22" fmla="*/ 60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6" y="201"/>
                      <a:pt x="46" y="201"/>
                      <a:pt x="46" y="201"/>
                    </a:cubicBezTo>
                    <a:cubicBezTo>
                      <a:pt x="46" y="31"/>
                      <a:pt x="46" y="31"/>
                      <a:pt x="46" y="31"/>
                    </a:cubicBezTo>
                    <a:cubicBezTo>
                      <a:pt x="44" y="33"/>
                      <a:pt x="42" y="35"/>
                      <a:pt x="38" y="37"/>
                    </a:cubicBezTo>
                    <a:cubicBezTo>
                      <a:pt x="35" y="40"/>
                      <a:pt x="31" y="42"/>
                      <a:pt x="27" y="44"/>
                    </a:cubicBezTo>
                    <a:cubicBezTo>
                      <a:pt x="23" y="46"/>
                      <a:pt x="19" y="48"/>
                      <a:pt x="14" y="50"/>
                    </a:cubicBezTo>
                    <a:cubicBezTo>
                      <a:pt x="9" y="52"/>
                      <a:pt x="5" y="54"/>
                      <a:pt x="0" y="55"/>
                    </a:cubicBezTo>
                    <a:cubicBezTo>
                      <a:pt x="0" y="32"/>
                      <a:pt x="0" y="32"/>
                      <a:pt x="0" y="32"/>
                    </a:cubicBezTo>
                    <a:cubicBezTo>
                      <a:pt x="5" y="31"/>
                      <a:pt x="11" y="29"/>
                      <a:pt x="16" y="26"/>
                    </a:cubicBezTo>
                    <a:cubicBezTo>
                      <a:pt x="22" y="24"/>
                      <a:pt x="27" y="21"/>
                      <a:pt x="32" y="19"/>
                    </a:cubicBezTo>
                    <a:cubicBezTo>
                      <a:pt x="38" y="16"/>
                      <a:pt x="43" y="13"/>
                      <a:pt x="48" y="10"/>
                    </a:cubicBezTo>
                    <a:cubicBezTo>
                      <a:pt x="52" y="6"/>
                      <a:pt x="56" y="3"/>
                      <a:pt x="60"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80" name="Freeform 250"/>
              <p:cNvSpPr>
                <a:spLocks/>
              </p:cNvSpPr>
              <p:nvPr userDrawn="1"/>
            </p:nvSpPr>
            <p:spPr bwMode="auto">
              <a:xfrm>
                <a:off x="5070" y="7"/>
                <a:ext cx="83" cy="246"/>
              </a:xfrm>
              <a:custGeom>
                <a:avLst/>
                <a:gdLst>
                  <a:gd name="T0" fmla="*/ 68 w 68"/>
                  <a:gd name="T1" fmla="*/ 201 h 201"/>
                  <a:gd name="T2" fmla="*/ 45 w 68"/>
                  <a:gd name="T3" fmla="*/ 201 h 201"/>
                  <a:gd name="T4" fmla="*/ 45 w 68"/>
                  <a:gd name="T5" fmla="*/ 31 h 201"/>
                  <a:gd name="T6" fmla="*/ 38 w 68"/>
                  <a:gd name="T7" fmla="*/ 37 h 201"/>
                  <a:gd name="T8" fmla="*/ 27 w 68"/>
                  <a:gd name="T9" fmla="*/ 44 h 201"/>
                  <a:gd name="T10" fmla="*/ 14 w 68"/>
                  <a:gd name="T11" fmla="*/ 50 h 201"/>
                  <a:gd name="T12" fmla="*/ 0 w 68"/>
                  <a:gd name="T13" fmla="*/ 55 h 201"/>
                  <a:gd name="T14" fmla="*/ 0 w 68"/>
                  <a:gd name="T15" fmla="*/ 32 h 201"/>
                  <a:gd name="T16" fmla="*/ 16 w 68"/>
                  <a:gd name="T17" fmla="*/ 26 h 201"/>
                  <a:gd name="T18" fmla="*/ 32 w 68"/>
                  <a:gd name="T19" fmla="*/ 19 h 201"/>
                  <a:gd name="T20" fmla="*/ 47 w 68"/>
                  <a:gd name="T21" fmla="*/ 10 h 201"/>
                  <a:gd name="T22" fmla="*/ 59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5" y="201"/>
                      <a:pt x="45" y="201"/>
                      <a:pt x="45" y="201"/>
                    </a:cubicBezTo>
                    <a:cubicBezTo>
                      <a:pt x="45" y="31"/>
                      <a:pt x="45" y="31"/>
                      <a:pt x="45" y="31"/>
                    </a:cubicBezTo>
                    <a:cubicBezTo>
                      <a:pt x="44" y="33"/>
                      <a:pt x="41" y="35"/>
                      <a:pt x="38" y="37"/>
                    </a:cubicBezTo>
                    <a:cubicBezTo>
                      <a:pt x="35" y="40"/>
                      <a:pt x="31" y="42"/>
                      <a:pt x="27" y="44"/>
                    </a:cubicBezTo>
                    <a:cubicBezTo>
                      <a:pt x="22" y="46"/>
                      <a:pt x="18" y="48"/>
                      <a:pt x="14" y="50"/>
                    </a:cubicBezTo>
                    <a:cubicBezTo>
                      <a:pt x="9" y="52"/>
                      <a:pt x="4" y="54"/>
                      <a:pt x="0" y="55"/>
                    </a:cubicBezTo>
                    <a:cubicBezTo>
                      <a:pt x="0" y="32"/>
                      <a:pt x="0" y="32"/>
                      <a:pt x="0" y="32"/>
                    </a:cubicBezTo>
                    <a:cubicBezTo>
                      <a:pt x="5" y="31"/>
                      <a:pt x="10" y="29"/>
                      <a:pt x="16" y="26"/>
                    </a:cubicBezTo>
                    <a:cubicBezTo>
                      <a:pt x="21" y="24"/>
                      <a:pt x="27" y="21"/>
                      <a:pt x="32" y="19"/>
                    </a:cubicBezTo>
                    <a:cubicBezTo>
                      <a:pt x="37" y="16"/>
                      <a:pt x="42" y="13"/>
                      <a:pt x="47" y="10"/>
                    </a:cubicBezTo>
                    <a:cubicBezTo>
                      <a:pt x="52" y="6"/>
                      <a:pt x="56" y="3"/>
                      <a:pt x="59"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93" name="Freeform 251"/>
              <p:cNvSpPr>
                <a:spLocks noEditPoints="1"/>
              </p:cNvSpPr>
              <p:nvPr userDrawn="1"/>
            </p:nvSpPr>
            <p:spPr bwMode="auto">
              <a:xfrm>
                <a:off x="5219" y="9"/>
                <a:ext cx="154" cy="247"/>
              </a:xfrm>
              <a:custGeom>
                <a:avLst/>
                <a:gdLst>
                  <a:gd name="T0" fmla="*/ 127 w 127"/>
                  <a:gd name="T1" fmla="*/ 101 h 203"/>
                  <a:gd name="T2" fmla="*/ 123 w 127"/>
                  <a:gd name="T3" fmla="*/ 145 h 203"/>
                  <a:gd name="T4" fmla="*/ 110 w 127"/>
                  <a:gd name="T5" fmla="*/ 177 h 203"/>
                  <a:gd name="T6" fmla="*/ 89 w 127"/>
                  <a:gd name="T7" fmla="*/ 196 h 203"/>
                  <a:gd name="T8" fmla="*/ 62 w 127"/>
                  <a:gd name="T9" fmla="*/ 203 h 203"/>
                  <a:gd name="T10" fmla="*/ 35 w 127"/>
                  <a:gd name="T11" fmla="*/ 197 h 203"/>
                  <a:gd name="T12" fmla="*/ 16 w 127"/>
                  <a:gd name="T13" fmla="*/ 178 h 203"/>
                  <a:gd name="T14" fmla="*/ 4 w 127"/>
                  <a:gd name="T15" fmla="*/ 147 h 203"/>
                  <a:gd name="T16" fmla="*/ 0 w 127"/>
                  <a:gd name="T17" fmla="*/ 106 h 203"/>
                  <a:gd name="T18" fmla="*/ 4 w 127"/>
                  <a:gd name="T19" fmla="*/ 60 h 203"/>
                  <a:gd name="T20" fmla="*/ 17 w 127"/>
                  <a:gd name="T21" fmla="*/ 27 h 203"/>
                  <a:gd name="T22" fmla="*/ 37 w 127"/>
                  <a:gd name="T23" fmla="*/ 7 h 203"/>
                  <a:gd name="T24" fmla="*/ 66 w 127"/>
                  <a:gd name="T25" fmla="*/ 0 h 203"/>
                  <a:gd name="T26" fmla="*/ 127 w 127"/>
                  <a:gd name="T27" fmla="*/ 101 h 203"/>
                  <a:gd name="T28" fmla="*/ 104 w 127"/>
                  <a:gd name="T29" fmla="*/ 103 h 203"/>
                  <a:gd name="T30" fmla="*/ 65 w 127"/>
                  <a:gd name="T31" fmla="*/ 19 h 203"/>
                  <a:gd name="T32" fmla="*/ 23 w 127"/>
                  <a:gd name="T33" fmla="*/ 105 h 203"/>
                  <a:gd name="T34" fmla="*/ 64 w 127"/>
                  <a:gd name="T35" fmla="*/ 184 h 203"/>
                  <a:gd name="T36" fmla="*/ 104 w 127"/>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7" h="203">
                    <a:moveTo>
                      <a:pt x="127" y="101"/>
                    </a:moveTo>
                    <a:cubicBezTo>
                      <a:pt x="127" y="117"/>
                      <a:pt x="126" y="132"/>
                      <a:pt x="123" y="145"/>
                    </a:cubicBezTo>
                    <a:cubicBezTo>
                      <a:pt x="120" y="157"/>
                      <a:pt x="116" y="168"/>
                      <a:pt x="110" y="177"/>
                    </a:cubicBezTo>
                    <a:cubicBezTo>
                      <a:pt x="104" y="185"/>
                      <a:pt x="98" y="192"/>
                      <a:pt x="89" y="196"/>
                    </a:cubicBezTo>
                    <a:cubicBezTo>
                      <a:pt x="81" y="201"/>
                      <a:pt x="72" y="203"/>
                      <a:pt x="62" y="203"/>
                    </a:cubicBezTo>
                    <a:cubicBezTo>
                      <a:pt x="52" y="203"/>
                      <a:pt x="43" y="201"/>
                      <a:pt x="35" y="197"/>
                    </a:cubicBezTo>
                    <a:cubicBezTo>
                      <a:pt x="28" y="192"/>
                      <a:pt x="21" y="186"/>
                      <a:pt x="16" y="178"/>
                    </a:cubicBezTo>
                    <a:cubicBezTo>
                      <a:pt x="10" y="169"/>
                      <a:pt x="6" y="159"/>
                      <a:pt x="4" y="147"/>
                    </a:cubicBezTo>
                    <a:cubicBezTo>
                      <a:pt x="1" y="135"/>
                      <a:pt x="0" y="121"/>
                      <a:pt x="0" y="106"/>
                    </a:cubicBezTo>
                    <a:cubicBezTo>
                      <a:pt x="0" y="89"/>
                      <a:pt x="1" y="73"/>
                      <a:pt x="4" y="60"/>
                    </a:cubicBezTo>
                    <a:cubicBezTo>
                      <a:pt x="7" y="47"/>
                      <a:pt x="11" y="36"/>
                      <a:pt x="17" y="27"/>
                    </a:cubicBezTo>
                    <a:cubicBezTo>
                      <a:pt x="22" y="18"/>
                      <a:pt x="29" y="12"/>
                      <a:pt x="37" y="7"/>
                    </a:cubicBezTo>
                    <a:cubicBezTo>
                      <a:pt x="46" y="3"/>
                      <a:pt x="55" y="0"/>
                      <a:pt x="66" y="0"/>
                    </a:cubicBezTo>
                    <a:cubicBezTo>
                      <a:pt x="107" y="0"/>
                      <a:pt x="127" y="34"/>
                      <a:pt x="127" y="101"/>
                    </a:cubicBezTo>
                    <a:close/>
                    <a:moveTo>
                      <a:pt x="104" y="103"/>
                    </a:moveTo>
                    <a:cubicBezTo>
                      <a:pt x="104" y="47"/>
                      <a:pt x="91" y="19"/>
                      <a:pt x="65" y="19"/>
                    </a:cubicBezTo>
                    <a:cubicBezTo>
                      <a:pt x="37" y="19"/>
                      <a:pt x="23" y="48"/>
                      <a:pt x="23" y="105"/>
                    </a:cubicBezTo>
                    <a:cubicBezTo>
                      <a:pt x="23" y="158"/>
                      <a:pt x="36" y="184"/>
                      <a:pt x="64" y="184"/>
                    </a:cubicBezTo>
                    <a:cubicBezTo>
                      <a:pt x="91" y="184"/>
                      <a:pt x="104" y="157"/>
                      <a:pt x="104"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94" name="Freeform 252"/>
              <p:cNvSpPr>
                <a:spLocks noEditPoints="1"/>
              </p:cNvSpPr>
              <p:nvPr userDrawn="1"/>
            </p:nvSpPr>
            <p:spPr bwMode="auto">
              <a:xfrm>
                <a:off x="5414" y="9"/>
                <a:ext cx="154" cy="247"/>
              </a:xfrm>
              <a:custGeom>
                <a:avLst/>
                <a:gdLst>
                  <a:gd name="T0" fmla="*/ 127 w 127"/>
                  <a:gd name="T1" fmla="*/ 101 h 203"/>
                  <a:gd name="T2" fmla="*/ 123 w 127"/>
                  <a:gd name="T3" fmla="*/ 145 h 203"/>
                  <a:gd name="T4" fmla="*/ 110 w 127"/>
                  <a:gd name="T5" fmla="*/ 177 h 203"/>
                  <a:gd name="T6" fmla="*/ 89 w 127"/>
                  <a:gd name="T7" fmla="*/ 196 h 203"/>
                  <a:gd name="T8" fmla="*/ 62 w 127"/>
                  <a:gd name="T9" fmla="*/ 203 h 203"/>
                  <a:gd name="T10" fmla="*/ 35 w 127"/>
                  <a:gd name="T11" fmla="*/ 197 h 203"/>
                  <a:gd name="T12" fmla="*/ 16 w 127"/>
                  <a:gd name="T13" fmla="*/ 178 h 203"/>
                  <a:gd name="T14" fmla="*/ 4 w 127"/>
                  <a:gd name="T15" fmla="*/ 147 h 203"/>
                  <a:gd name="T16" fmla="*/ 0 w 127"/>
                  <a:gd name="T17" fmla="*/ 106 h 203"/>
                  <a:gd name="T18" fmla="*/ 4 w 127"/>
                  <a:gd name="T19" fmla="*/ 60 h 203"/>
                  <a:gd name="T20" fmla="*/ 17 w 127"/>
                  <a:gd name="T21" fmla="*/ 27 h 203"/>
                  <a:gd name="T22" fmla="*/ 37 w 127"/>
                  <a:gd name="T23" fmla="*/ 7 h 203"/>
                  <a:gd name="T24" fmla="*/ 66 w 127"/>
                  <a:gd name="T25" fmla="*/ 0 h 203"/>
                  <a:gd name="T26" fmla="*/ 127 w 127"/>
                  <a:gd name="T27" fmla="*/ 101 h 203"/>
                  <a:gd name="T28" fmla="*/ 104 w 127"/>
                  <a:gd name="T29" fmla="*/ 103 h 203"/>
                  <a:gd name="T30" fmla="*/ 65 w 127"/>
                  <a:gd name="T31" fmla="*/ 19 h 203"/>
                  <a:gd name="T32" fmla="*/ 23 w 127"/>
                  <a:gd name="T33" fmla="*/ 105 h 203"/>
                  <a:gd name="T34" fmla="*/ 64 w 127"/>
                  <a:gd name="T35" fmla="*/ 184 h 203"/>
                  <a:gd name="T36" fmla="*/ 104 w 127"/>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7" h="203">
                    <a:moveTo>
                      <a:pt x="127" y="101"/>
                    </a:moveTo>
                    <a:cubicBezTo>
                      <a:pt x="127" y="117"/>
                      <a:pt x="126" y="132"/>
                      <a:pt x="123" y="145"/>
                    </a:cubicBezTo>
                    <a:cubicBezTo>
                      <a:pt x="120" y="157"/>
                      <a:pt x="116" y="168"/>
                      <a:pt x="110" y="177"/>
                    </a:cubicBezTo>
                    <a:cubicBezTo>
                      <a:pt x="104" y="185"/>
                      <a:pt x="98" y="192"/>
                      <a:pt x="89" y="196"/>
                    </a:cubicBezTo>
                    <a:cubicBezTo>
                      <a:pt x="81" y="201"/>
                      <a:pt x="72" y="203"/>
                      <a:pt x="62" y="203"/>
                    </a:cubicBezTo>
                    <a:cubicBezTo>
                      <a:pt x="52" y="203"/>
                      <a:pt x="43" y="201"/>
                      <a:pt x="35" y="197"/>
                    </a:cubicBezTo>
                    <a:cubicBezTo>
                      <a:pt x="28" y="192"/>
                      <a:pt x="21" y="186"/>
                      <a:pt x="16" y="178"/>
                    </a:cubicBezTo>
                    <a:cubicBezTo>
                      <a:pt x="10" y="169"/>
                      <a:pt x="6" y="159"/>
                      <a:pt x="4" y="147"/>
                    </a:cubicBezTo>
                    <a:cubicBezTo>
                      <a:pt x="1" y="135"/>
                      <a:pt x="0" y="121"/>
                      <a:pt x="0" y="106"/>
                    </a:cubicBezTo>
                    <a:cubicBezTo>
                      <a:pt x="0" y="89"/>
                      <a:pt x="1" y="73"/>
                      <a:pt x="4" y="60"/>
                    </a:cubicBezTo>
                    <a:cubicBezTo>
                      <a:pt x="7" y="47"/>
                      <a:pt x="11" y="36"/>
                      <a:pt x="17" y="27"/>
                    </a:cubicBezTo>
                    <a:cubicBezTo>
                      <a:pt x="22" y="18"/>
                      <a:pt x="29" y="12"/>
                      <a:pt x="37" y="7"/>
                    </a:cubicBezTo>
                    <a:cubicBezTo>
                      <a:pt x="46" y="3"/>
                      <a:pt x="55" y="0"/>
                      <a:pt x="66" y="0"/>
                    </a:cubicBezTo>
                    <a:cubicBezTo>
                      <a:pt x="107" y="0"/>
                      <a:pt x="127" y="34"/>
                      <a:pt x="127" y="101"/>
                    </a:cubicBezTo>
                    <a:close/>
                    <a:moveTo>
                      <a:pt x="104" y="103"/>
                    </a:moveTo>
                    <a:cubicBezTo>
                      <a:pt x="104" y="47"/>
                      <a:pt x="91" y="19"/>
                      <a:pt x="65" y="19"/>
                    </a:cubicBezTo>
                    <a:cubicBezTo>
                      <a:pt x="37" y="19"/>
                      <a:pt x="23" y="48"/>
                      <a:pt x="23" y="105"/>
                    </a:cubicBezTo>
                    <a:cubicBezTo>
                      <a:pt x="23" y="158"/>
                      <a:pt x="36" y="184"/>
                      <a:pt x="64" y="184"/>
                    </a:cubicBezTo>
                    <a:cubicBezTo>
                      <a:pt x="91" y="184"/>
                      <a:pt x="104" y="157"/>
                      <a:pt x="104"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95" name="Freeform 253"/>
              <p:cNvSpPr>
                <a:spLocks noEditPoints="1"/>
              </p:cNvSpPr>
              <p:nvPr userDrawn="1"/>
            </p:nvSpPr>
            <p:spPr bwMode="auto">
              <a:xfrm>
                <a:off x="5609" y="9"/>
                <a:ext cx="154" cy="247"/>
              </a:xfrm>
              <a:custGeom>
                <a:avLst/>
                <a:gdLst>
                  <a:gd name="T0" fmla="*/ 127 w 127"/>
                  <a:gd name="T1" fmla="*/ 101 h 203"/>
                  <a:gd name="T2" fmla="*/ 123 w 127"/>
                  <a:gd name="T3" fmla="*/ 145 h 203"/>
                  <a:gd name="T4" fmla="*/ 110 w 127"/>
                  <a:gd name="T5" fmla="*/ 177 h 203"/>
                  <a:gd name="T6" fmla="*/ 89 w 127"/>
                  <a:gd name="T7" fmla="*/ 196 h 203"/>
                  <a:gd name="T8" fmla="*/ 62 w 127"/>
                  <a:gd name="T9" fmla="*/ 203 h 203"/>
                  <a:gd name="T10" fmla="*/ 35 w 127"/>
                  <a:gd name="T11" fmla="*/ 197 h 203"/>
                  <a:gd name="T12" fmla="*/ 16 w 127"/>
                  <a:gd name="T13" fmla="*/ 178 h 203"/>
                  <a:gd name="T14" fmla="*/ 4 w 127"/>
                  <a:gd name="T15" fmla="*/ 147 h 203"/>
                  <a:gd name="T16" fmla="*/ 0 w 127"/>
                  <a:gd name="T17" fmla="*/ 106 h 203"/>
                  <a:gd name="T18" fmla="*/ 4 w 127"/>
                  <a:gd name="T19" fmla="*/ 60 h 203"/>
                  <a:gd name="T20" fmla="*/ 17 w 127"/>
                  <a:gd name="T21" fmla="*/ 27 h 203"/>
                  <a:gd name="T22" fmla="*/ 37 w 127"/>
                  <a:gd name="T23" fmla="*/ 7 h 203"/>
                  <a:gd name="T24" fmla="*/ 66 w 127"/>
                  <a:gd name="T25" fmla="*/ 0 h 203"/>
                  <a:gd name="T26" fmla="*/ 127 w 127"/>
                  <a:gd name="T27" fmla="*/ 101 h 203"/>
                  <a:gd name="T28" fmla="*/ 104 w 127"/>
                  <a:gd name="T29" fmla="*/ 103 h 203"/>
                  <a:gd name="T30" fmla="*/ 65 w 127"/>
                  <a:gd name="T31" fmla="*/ 19 h 203"/>
                  <a:gd name="T32" fmla="*/ 23 w 127"/>
                  <a:gd name="T33" fmla="*/ 105 h 203"/>
                  <a:gd name="T34" fmla="*/ 64 w 127"/>
                  <a:gd name="T35" fmla="*/ 184 h 203"/>
                  <a:gd name="T36" fmla="*/ 104 w 127"/>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7" h="203">
                    <a:moveTo>
                      <a:pt x="127" y="101"/>
                    </a:moveTo>
                    <a:cubicBezTo>
                      <a:pt x="127" y="117"/>
                      <a:pt x="126" y="132"/>
                      <a:pt x="123" y="145"/>
                    </a:cubicBezTo>
                    <a:cubicBezTo>
                      <a:pt x="120" y="157"/>
                      <a:pt x="116" y="168"/>
                      <a:pt x="110" y="177"/>
                    </a:cubicBezTo>
                    <a:cubicBezTo>
                      <a:pt x="104" y="185"/>
                      <a:pt x="98" y="192"/>
                      <a:pt x="89" y="196"/>
                    </a:cubicBezTo>
                    <a:cubicBezTo>
                      <a:pt x="81" y="201"/>
                      <a:pt x="72" y="203"/>
                      <a:pt x="62" y="203"/>
                    </a:cubicBezTo>
                    <a:cubicBezTo>
                      <a:pt x="52" y="203"/>
                      <a:pt x="43" y="201"/>
                      <a:pt x="35" y="197"/>
                    </a:cubicBezTo>
                    <a:cubicBezTo>
                      <a:pt x="28" y="192"/>
                      <a:pt x="21" y="186"/>
                      <a:pt x="16" y="178"/>
                    </a:cubicBezTo>
                    <a:cubicBezTo>
                      <a:pt x="10" y="169"/>
                      <a:pt x="6" y="159"/>
                      <a:pt x="4" y="147"/>
                    </a:cubicBezTo>
                    <a:cubicBezTo>
                      <a:pt x="1" y="135"/>
                      <a:pt x="0" y="121"/>
                      <a:pt x="0" y="106"/>
                    </a:cubicBezTo>
                    <a:cubicBezTo>
                      <a:pt x="0" y="89"/>
                      <a:pt x="1" y="73"/>
                      <a:pt x="4" y="60"/>
                    </a:cubicBezTo>
                    <a:cubicBezTo>
                      <a:pt x="7" y="47"/>
                      <a:pt x="11" y="36"/>
                      <a:pt x="17" y="27"/>
                    </a:cubicBezTo>
                    <a:cubicBezTo>
                      <a:pt x="22" y="18"/>
                      <a:pt x="29" y="12"/>
                      <a:pt x="37" y="7"/>
                    </a:cubicBezTo>
                    <a:cubicBezTo>
                      <a:pt x="46" y="3"/>
                      <a:pt x="55" y="0"/>
                      <a:pt x="66" y="0"/>
                    </a:cubicBezTo>
                    <a:cubicBezTo>
                      <a:pt x="107" y="0"/>
                      <a:pt x="127" y="34"/>
                      <a:pt x="127" y="101"/>
                    </a:cubicBezTo>
                    <a:close/>
                    <a:moveTo>
                      <a:pt x="104" y="103"/>
                    </a:moveTo>
                    <a:cubicBezTo>
                      <a:pt x="104" y="47"/>
                      <a:pt x="91" y="19"/>
                      <a:pt x="65" y="19"/>
                    </a:cubicBezTo>
                    <a:cubicBezTo>
                      <a:pt x="37" y="19"/>
                      <a:pt x="23" y="48"/>
                      <a:pt x="23" y="105"/>
                    </a:cubicBezTo>
                    <a:cubicBezTo>
                      <a:pt x="23" y="158"/>
                      <a:pt x="36" y="184"/>
                      <a:pt x="64" y="184"/>
                    </a:cubicBezTo>
                    <a:cubicBezTo>
                      <a:pt x="91" y="184"/>
                      <a:pt x="104" y="157"/>
                      <a:pt x="104"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96" name="Freeform 254"/>
              <p:cNvSpPr>
                <a:spLocks/>
              </p:cNvSpPr>
              <p:nvPr userDrawn="1"/>
            </p:nvSpPr>
            <p:spPr bwMode="auto">
              <a:xfrm>
                <a:off x="5806" y="7"/>
                <a:ext cx="83" cy="246"/>
              </a:xfrm>
              <a:custGeom>
                <a:avLst/>
                <a:gdLst>
                  <a:gd name="T0" fmla="*/ 68 w 68"/>
                  <a:gd name="T1" fmla="*/ 201 h 201"/>
                  <a:gd name="T2" fmla="*/ 45 w 68"/>
                  <a:gd name="T3" fmla="*/ 201 h 201"/>
                  <a:gd name="T4" fmla="*/ 45 w 68"/>
                  <a:gd name="T5" fmla="*/ 31 h 201"/>
                  <a:gd name="T6" fmla="*/ 38 w 68"/>
                  <a:gd name="T7" fmla="*/ 37 h 201"/>
                  <a:gd name="T8" fmla="*/ 26 w 68"/>
                  <a:gd name="T9" fmla="*/ 44 h 201"/>
                  <a:gd name="T10" fmla="*/ 13 w 68"/>
                  <a:gd name="T11" fmla="*/ 50 h 201"/>
                  <a:gd name="T12" fmla="*/ 0 w 68"/>
                  <a:gd name="T13" fmla="*/ 55 h 201"/>
                  <a:gd name="T14" fmla="*/ 0 w 68"/>
                  <a:gd name="T15" fmla="*/ 32 h 201"/>
                  <a:gd name="T16" fmla="*/ 15 w 68"/>
                  <a:gd name="T17" fmla="*/ 26 h 201"/>
                  <a:gd name="T18" fmla="*/ 32 w 68"/>
                  <a:gd name="T19" fmla="*/ 19 h 201"/>
                  <a:gd name="T20" fmla="*/ 47 w 68"/>
                  <a:gd name="T21" fmla="*/ 10 h 201"/>
                  <a:gd name="T22" fmla="*/ 59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5" y="201"/>
                      <a:pt x="45" y="201"/>
                      <a:pt x="45" y="201"/>
                    </a:cubicBezTo>
                    <a:cubicBezTo>
                      <a:pt x="45" y="31"/>
                      <a:pt x="45" y="31"/>
                      <a:pt x="45" y="31"/>
                    </a:cubicBezTo>
                    <a:cubicBezTo>
                      <a:pt x="43" y="33"/>
                      <a:pt x="41" y="35"/>
                      <a:pt x="38" y="37"/>
                    </a:cubicBezTo>
                    <a:cubicBezTo>
                      <a:pt x="34" y="40"/>
                      <a:pt x="30" y="42"/>
                      <a:pt x="26" y="44"/>
                    </a:cubicBezTo>
                    <a:cubicBezTo>
                      <a:pt x="22" y="46"/>
                      <a:pt x="18" y="48"/>
                      <a:pt x="13" y="50"/>
                    </a:cubicBezTo>
                    <a:cubicBezTo>
                      <a:pt x="9" y="52"/>
                      <a:pt x="4" y="54"/>
                      <a:pt x="0" y="55"/>
                    </a:cubicBezTo>
                    <a:cubicBezTo>
                      <a:pt x="0" y="32"/>
                      <a:pt x="0" y="32"/>
                      <a:pt x="0" y="32"/>
                    </a:cubicBezTo>
                    <a:cubicBezTo>
                      <a:pt x="5" y="31"/>
                      <a:pt x="10" y="29"/>
                      <a:pt x="15" y="26"/>
                    </a:cubicBezTo>
                    <a:cubicBezTo>
                      <a:pt x="21" y="24"/>
                      <a:pt x="26" y="21"/>
                      <a:pt x="32" y="19"/>
                    </a:cubicBezTo>
                    <a:cubicBezTo>
                      <a:pt x="37" y="16"/>
                      <a:pt x="42" y="13"/>
                      <a:pt x="47" y="10"/>
                    </a:cubicBezTo>
                    <a:cubicBezTo>
                      <a:pt x="51" y="6"/>
                      <a:pt x="56" y="3"/>
                      <a:pt x="59"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97" name="Freeform 255"/>
              <p:cNvSpPr>
                <a:spLocks noEditPoints="1"/>
              </p:cNvSpPr>
              <p:nvPr userDrawn="1"/>
            </p:nvSpPr>
            <p:spPr bwMode="auto">
              <a:xfrm>
                <a:off x="5943" y="13"/>
                <a:ext cx="188" cy="219"/>
              </a:xfrm>
              <a:custGeom>
                <a:avLst/>
                <a:gdLst>
                  <a:gd name="T0" fmla="*/ 188 w 188"/>
                  <a:gd name="T1" fmla="*/ 68 h 219"/>
                  <a:gd name="T2" fmla="*/ 185 w 188"/>
                  <a:gd name="T3" fmla="*/ 85 h 219"/>
                  <a:gd name="T4" fmla="*/ 141 w 188"/>
                  <a:gd name="T5" fmla="*/ 85 h 219"/>
                  <a:gd name="T6" fmla="*/ 130 w 188"/>
                  <a:gd name="T7" fmla="*/ 135 h 219"/>
                  <a:gd name="T8" fmla="*/ 177 w 188"/>
                  <a:gd name="T9" fmla="*/ 135 h 219"/>
                  <a:gd name="T10" fmla="*/ 173 w 188"/>
                  <a:gd name="T11" fmla="*/ 153 h 219"/>
                  <a:gd name="T12" fmla="*/ 126 w 188"/>
                  <a:gd name="T13" fmla="*/ 153 h 219"/>
                  <a:gd name="T14" fmla="*/ 112 w 188"/>
                  <a:gd name="T15" fmla="*/ 219 h 219"/>
                  <a:gd name="T16" fmla="*/ 91 w 188"/>
                  <a:gd name="T17" fmla="*/ 219 h 219"/>
                  <a:gd name="T18" fmla="*/ 106 w 188"/>
                  <a:gd name="T19" fmla="*/ 153 h 219"/>
                  <a:gd name="T20" fmla="*/ 64 w 188"/>
                  <a:gd name="T21" fmla="*/ 153 h 219"/>
                  <a:gd name="T22" fmla="*/ 49 w 188"/>
                  <a:gd name="T23" fmla="*/ 219 h 219"/>
                  <a:gd name="T24" fmla="*/ 29 w 188"/>
                  <a:gd name="T25" fmla="*/ 219 h 219"/>
                  <a:gd name="T26" fmla="*/ 43 w 188"/>
                  <a:gd name="T27" fmla="*/ 153 h 219"/>
                  <a:gd name="T28" fmla="*/ 0 w 188"/>
                  <a:gd name="T29" fmla="*/ 153 h 219"/>
                  <a:gd name="T30" fmla="*/ 3 w 188"/>
                  <a:gd name="T31" fmla="*/ 135 h 219"/>
                  <a:gd name="T32" fmla="*/ 47 w 188"/>
                  <a:gd name="T33" fmla="*/ 135 h 219"/>
                  <a:gd name="T34" fmla="*/ 57 w 188"/>
                  <a:gd name="T35" fmla="*/ 85 h 219"/>
                  <a:gd name="T36" fmla="*/ 10 w 188"/>
                  <a:gd name="T37" fmla="*/ 85 h 219"/>
                  <a:gd name="T38" fmla="*/ 14 w 188"/>
                  <a:gd name="T39" fmla="*/ 68 h 219"/>
                  <a:gd name="T40" fmla="*/ 60 w 188"/>
                  <a:gd name="T41" fmla="*/ 68 h 219"/>
                  <a:gd name="T42" fmla="*/ 74 w 188"/>
                  <a:gd name="T43" fmla="*/ 0 h 219"/>
                  <a:gd name="T44" fmla="*/ 96 w 188"/>
                  <a:gd name="T45" fmla="*/ 0 h 219"/>
                  <a:gd name="T46" fmla="*/ 81 w 188"/>
                  <a:gd name="T47" fmla="*/ 68 h 219"/>
                  <a:gd name="T48" fmla="*/ 124 w 188"/>
                  <a:gd name="T49" fmla="*/ 68 h 219"/>
                  <a:gd name="T50" fmla="*/ 137 w 188"/>
                  <a:gd name="T51" fmla="*/ 0 h 219"/>
                  <a:gd name="T52" fmla="*/ 158 w 188"/>
                  <a:gd name="T53" fmla="*/ 0 h 219"/>
                  <a:gd name="T54" fmla="*/ 145 w 188"/>
                  <a:gd name="T55" fmla="*/ 68 h 219"/>
                  <a:gd name="T56" fmla="*/ 188 w 188"/>
                  <a:gd name="T57" fmla="*/ 68 h 219"/>
                  <a:gd name="T58" fmla="*/ 120 w 188"/>
                  <a:gd name="T59" fmla="*/ 85 h 219"/>
                  <a:gd name="T60" fmla="*/ 78 w 188"/>
                  <a:gd name="T61" fmla="*/ 85 h 219"/>
                  <a:gd name="T62" fmla="*/ 67 w 188"/>
                  <a:gd name="T63" fmla="*/ 135 h 219"/>
                  <a:gd name="T64" fmla="*/ 109 w 188"/>
                  <a:gd name="T65" fmla="*/ 135 h 219"/>
                  <a:gd name="T66" fmla="*/ 120 w 188"/>
                  <a:gd name="T67" fmla="*/ 85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8" h="219">
                    <a:moveTo>
                      <a:pt x="188" y="68"/>
                    </a:moveTo>
                    <a:lnTo>
                      <a:pt x="185" y="85"/>
                    </a:lnTo>
                    <a:lnTo>
                      <a:pt x="141" y="85"/>
                    </a:lnTo>
                    <a:lnTo>
                      <a:pt x="130" y="135"/>
                    </a:lnTo>
                    <a:lnTo>
                      <a:pt x="177" y="135"/>
                    </a:lnTo>
                    <a:lnTo>
                      <a:pt x="173" y="153"/>
                    </a:lnTo>
                    <a:lnTo>
                      <a:pt x="126" y="153"/>
                    </a:lnTo>
                    <a:lnTo>
                      <a:pt x="112" y="219"/>
                    </a:lnTo>
                    <a:lnTo>
                      <a:pt x="91" y="219"/>
                    </a:lnTo>
                    <a:lnTo>
                      <a:pt x="106" y="153"/>
                    </a:lnTo>
                    <a:lnTo>
                      <a:pt x="64" y="153"/>
                    </a:lnTo>
                    <a:lnTo>
                      <a:pt x="49" y="219"/>
                    </a:lnTo>
                    <a:lnTo>
                      <a:pt x="29" y="219"/>
                    </a:lnTo>
                    <a:lnTo>
                      <a:pt x="43" y="153"/>
                    </a:lnTo>
                    <a:lnTo>
                      <a:pt x="0" y="153"/>
                    </a:lnTo>
                    <a:lnTo>
                      <a:pt x="3" y="135"/>
                    </a:lnTo>
                    <a:lnTo>
                      <a:pt x="47" y="135"/>
                    </a:lnTo>
                    <a:lnTo>
                      <a:pt x="57" y="85"/>
                    </a:lnTo>
                    <a:lnTo>
                      <a:pt x="10" y="85"/>
                    </a:lnTo>
                    <a:lnTo>
                      <a:pt x="14" y="68"/>
                    </a:lnTo>
                    <a:lnTo>
                      <a:pt x="60" y="68"/>
                    </a:lnTo>
                    <a:lnTo>
                      <a:pt x="74" y="0"/>
                    </a:lnTo>
                    <a:lnTo>
                      <a:pt x="96" y="0"/>
                    </a:lnTo>
                    <a:lnTo>
                      <a:pt x="81" y="68"/>
                    </a:lnTo>
                    <a:lnTo>
                      <a:pt x="124" y="68"/>
                    </a:lnTo>
                    <a:lnTo>
                      <a:pt x="137" y="0"/>
                    </a:lnTo>
                    <a:lnTo>
                      <a:pt x="158" y="0"/>
                    </a:lnTo>
                    <a:lnTo>
                      <a:pt x="145" y="68"/>
                    </a:lnTo>
                    <a:lnTo>
                      <a:pt x="188" y="68"/>
                    </a:lnTo>
                    <a:close/>
                    <a:moveTo>
                      <a:pt x="120" y="85"/>
                    </a:moveTo>
                    <a:lnTo>
                      <a:pt x="78" y="85"/>
                    </a:lnTo>
                    <a:lnTo>
                      <a:pt x="67" y="135"/>
                    </a:lnTo>
                    <a:lnTo>
                      <a:pt x="109" y="135"/>
                    </a:lnTo>
                    <a:lnTo>
                      <a:pt x="120" y="8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98" name="Freeform 256"/>
              <p:cNvSpPr>
                <a:spLocks noEditPoints="1"/>
              </p:cNvSpPr>
              <p:nvPr userDrawn="1"/>
            </p:nvSpPr>
            <p:spPr bwMode="auto">
              <a:xfrm>
                <a:off x="6159" y="9"/>
                <a:ext cx="156" cy="247"/>
              </a:xfrm>
              <a:custGeom>
                <a:avLst/>
                <a:gdLst>
                  <a:gd name="T0" fmla="*/ 128 w 128"/>
                  <a:gd name="T1" fmla="*/ 101 h 203"/>
                  <a:gd name="T2" fmla="*/ 123 w 128"/>
                  <a:gd name="T3" fmla="*/ 145 h 203"/>
                  <a:gd name="T4" fmla="*/ 110 w 128"/>
                  <a:gd name="T5" fmla="*/ 177 h 203"/>
                  <a:gd name="T6" fmla="*/ 90 w 128"/>
                  <a:gd name="T7" fmla="*/ 196 h 203"/>
                  <a:gd name="T8" fmla="*/ 62 w 128"/>
                  <a:gd name="T9" fmla="*/ 203 h 203"/>
                  <a:gd name="T10" fmla="*/ 36 w 128"/>
                  <a:gd name="T11" fmla="*/ 197 h 203"/>
                  <a:gd name="T12" fmla="*/ 16 w 128"/>
                  <a:gd name="T13" fmla="*/ 178 h 203"/>
                  <a:gd name="T14" fmla="*/ 4 w 128"/>
                  <a:gd name="T15" fmla="*/ 147 h 203"/>
                  <a:gd name="T16" fmla="*/ 0 w 128"/>
                  <a:gd name="T17" fmla="*/ 106 h 203"/>
                  <a:gd name="T18" fmla="*/ 4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5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6" y="132"/>
                      <a:pt x="123" y="145"/>
                    </a:cubicBezTo>
                    <a:cubicBezTo>
                      <a:pt x="120" y="157"/>
                      <a:pt x="116" y="168"/>
                      <a:pt x="110" y="177"/>
                    </a:cubicBezTo>
                    <a:cubicBezTo>
                      <a:pt x="105" y="185"/>
                      <a:pt x="98" y="192"/>
                      <a:pt x="90" y="196"/>
                    </a:cubicBezTo>
                    <a:cubicBezTo>
                      <a:pt x="82" y="201"/>
                      <a:pt x="72" y="203"/>
                      <a:pt x="62" y="203"/>
                    </a:cubicBezTo>
                    <a:cubicBezTo>
                      <a:pt x="52" y="203"/>
                      <a:pt x="43" y="201"/>
                      <a:pt x="36" y="197"/>
                    </a:cubicBezTo>
                    <a:cubicBezTo>
                      <a:pt x="28" y="192"/>
                      <a:pt x="21" y="186"/>
                      <a:pt x="16" y="178"/>
                    </a:cubicBezTo>
                    <a:cubicBezTo>
                      <a:pt x="11" y="169"/>
                      <a:pt x="7" y="159"/>
                      <a:pt x="4" y="147"/>
                    </a:cubicBezTo>
                    <a:cubicBezTo>
                      <a:pt x="1" y="135"/>
                      <a:pt x="0" y="121"/>
                      <a:pt x="0" y="106"/>
                    </a:cubicBezTo>
                    <a:cubicBezTo>
                      <a:pt x="0" y="89"/>
                      <a:pt x="1" y="73"/>
                      <a:pt x="4" y="60"/>
                    </a:cubicBezTo>
                    <a:cubicBezTo>
                      <a:pt x="7" y="47"/>
                      <a:pt x="11" y="36"/>
                      <a:pt x="17" y="27"/>
                    </a:cubicBezTo>
                    <a:cubicBezTo>
                      <a:pt x="23" y="18"/>
                      <a:pt x="29" y="12"/>
                      <a:pt x="38" y="7"/>
                    </a:cubicBezTo>
                    <a:cubicBezTo>
                      <a:pt x="46" y="3"/>
                      <a:pt x="55" y="0"/>
                      <a:pt x="66" y="0"/>
                    </a:cubicBezTo>
                    <a:cubicBezTo>
                      <a:pt x="107" y="0"/>
                      <a:pt x="128" y="34"/>
                      <a:pt x="128" y="101"/>
                    </a:cubicBezTo>
                    <a:close/>
                    <a:moveTo>
                      <a:pt x="105" y="103"/>
                    </a:moveTo>
                    <a:cubicBezTo>
                      <a:pt x="105" y="47"/>
                      <a:pt x="92" y="19"/>
                      <a:pt x="65" y="19"/>
                    </a:cubicBezTo>
                    <a:cubicBezTo>
                      <a:pt x="37" y="19"/>
                      <a:pt x="23" y="48"/>
                      <a:pt x="23" y="105"/>
                    </a:cubicBezTo>
                    <a:cubicBezTo>
                      <a:pt x="23" y="158"/>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99" name="Freeform 257"/>
              <p:cNvSpPr>
                <a:spLocks/>
              </p:cNvSpPr>
              <p:nvPr userDrawn="1"/>
            </p:nvSpPr>
            <p:spPr bwMode="auto">
              <a:xfrm>
                <a:off x="6357" y="7"/>
                <a:ext cx="83" cy="246"/>
              </a:xfrm>
              <a:custGeom>
                <a:avLst/>
                <a:gdLst>
                  <a:gd name="T0" fmla="*/ 68 w 68"/>
                  <a:gd name="T1" fmla="*/ 201 h 201"/>
                  <a:gd name="T2" fmla="*/ 46 w 68"/>
                  <a:gd name="T3" fmla="*/ 201 h 201"/>
                  <a:gd name="T4" fmla="*/ 46 w 68"/>
                  <a:gd name="T5" fmla="*/ 31 h 201"/>
                  <a:gd name="T6" fmla="*/ 38 w 68"/>
                  <a:gd name="T7" fmla="*/ 37 h 201"/>
                  <a:gd name="T8" fmla="*/ 27 w 68"/>
                  <a:gd name="T9" fmla="*/ 44 h 201"/>
                  <a:gd name="T10" fmla="*/ 14 w 68"/>
                  <a:gd name="T11" fmla="*/ 50 h 201"/>
                  <a:gd name="T12" fmla="*/ 0 w 68"/>
                  <a:gd name="T13" fmla="*/ 55 h 201"/>
                  <a:gd name="T14" fmla="*/ 0 w 68"/>
                  <a:gd name="T15" fmla="*/ 32 h 201"/>
                  <a:gd name="T16" fmla="*/ 16 w 68"/>
                  <a:gd name="T17" fmla="*/ 26 h 201"/>
                  <a:gd name="T18" fmla="*/ 32 w 68"/>
                  <a:gd name="T19" fmla="*/ 19 h 201"/>
                  <a:gd name="T20" fmla="*/ 47 w 68"/>
                  <a:gd name="T21" fmla="*/ 10 h 201"/>
                  <a:gd name="T22" fmla="*/ 59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6" y="201"/>
                      <a:pt x="46" y="201"/>
                      <a:pt x="46" y="201"/>
                    </a:cubicBezTo>
                    <a:cubicBezTo>
                      <a:pt x="46" y="31"/>
                      <a:pt x="46" y="31"/>
                      <a:pt x="46" y="31"/>
                    </a:cubicBezTo>
                    <a:cubicBezTo>
                      <a:pt x="44" y="33"/>
                      <a:pt x="41" y="35"/>
                      <a:pt x="38" y="37"/>
                    </a:cubicBezTo>
                    <a:cubicBezTo>
                      <a:pt x="35" y="40"/>
                      <a:pt x="31" y="42"/>
                      <a:pt x="27" y="44"/>
                    </a:cubicBezTo>
                    <a:cubicBezTo>
                      <a:pt x="23" y="46"/>
                      <a:pt x="18" y="48"/>
                      <a:pt x="14" y="50"/>
                    </a:cubicBezTo>
                    <a:cubicBezTo>
                      <a:pt x="9" y="52"/>
                      <a:pt x="5" y="54"/>
                      <a:pt x="0" y="55"/>
                    </a:cubicBezTo>
                    <a:cubicBezTo>
                      <a:pt x="0" y="32"/>
                      <a:pt x="0" y="32"/>
                      <a:pt x="0" y="32"/>
                    </a:cubicBezTo>
                    <a:cubicBezTo>
                      <a:pt x="5" y="31"/>
                      <a:pt x="10" y="29"/>
                      <a:pt x="16" y="26"/>
                    </a:cubicBezTo>
                    <a:cubicBezTo>
                      <a:pt x="21" y="24"/>
                      <a:pt x="27" y="21"/>
                      <a:pt x="32" y="19"/>
                    </a:cubicBezTo>
                    <a:cubicBezTo>
                      <a:pt x="37" y="16"/>
                      <a:pt x="42" y="13"/>
                      <a:pt x="47" y="10"/>
                    </a:cubicBezTo>
                    <a:cubicBezTo>
                      <a:pt x="52" y="6"/>
                      <a:pt x="56" y="3"/>
                      <a:pt x="59"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0" name="Freeform 258"/>
              <p:cNvSpPr>
                <a:spLocks noEditPoints="1"/>
              </p:cNvSpPr>
              <p:nvPr userDrawn="1"/>
            </p:nvSpPr>
            <p:spPr bwMode="auto">
              <a:xfrm>
                <a:off x="6506" y="9"/>
                <a:ext cx="154" cy="247"/>
              </a:xfrm>
              <a:custGeom>
                <a:avLst/>
                <a:gdLst>
                  <a:gd name="T0" fmla="*/ 127 w 127"/>
                  <a:gd name="T1" fmla="*/ 101 h 203"/>
                  <a:gd name="T2" fmla="*/ 123 w 127"/>
                  <a:gd name="T3" fmla="*/ 145 h 203"/>
                  <a:gd name="T4" fmla="*/ 110 w 127"/>
                  <a:gd name="T5" fmla="*/ 177 h 203"/>
                  <a:gd name="T6" fmla="*/ 90 w 127"/>
                  <a:gd name="T7" fmla="*/ 196 h 203"/>
                  <a:gd name="T8" fmla="*/ 62 w 127"/>
                  <a:gd name="T9" fmla="*/ 203 h 203"/>
                  <a:gd name="T10" fmla="*/ 35 w 127"/>
                  <a:gd name="T11" fmla="*/ 197 h 203"/>
                  <a:gd name="T12" fmla="*/ 16 w 127"/>
                  <a:gd name="T13" fmla="*/ 178 h 203"/>
                  <a:gd name="T14" fmla="*/ 4 w 127"/>
                  <a:gd name="T15" fmla="*/ 147 h 203"/>
                  <a:gd name="T16" fmla="*/ 0 w 127"/>
                  <a:gd name="T17" fmla="*/ 106 h 203"/>
                  <a:gd name="T18" fmla="*/ 4 w 127"/>
                  <a:gd name="T19" fmla="*/ 60 h 203"/>
                  <a:gd name="T20" fmla="*/ 17 w 127"/>
                  <a:gd name="T21" fmla="*/ 27 h 203"/>
                  <a:gd name="T22" fmla="*/ 37 w 127"/>
                  <a:gd name="T23" fmla="*/ 7 h 203"/>
                  <a:gd name="T24" fmla="*/ 66 w 127"/>
                  <a:gd name="T25" fmla="*/ 0 h 203"/>
                  <a:gd name="T26" fmla="*/ 127 w 127"/>
                  <a:gd name="T27" fmla="*/ 101 h 203"/>
                  <a:gd name="T28" fmla="*/ 104 w 127"/>
                  <a:gd name="T29" fmla="*/ 103 h 203"/>
                  <a:gd name="T30" fmla="*/ 65 w 127"/>
                  <a:gd name="T31" fmla="*/ 19 h 203"/>
                  <a:gd name="T32" fmla="*/ 23 w 127"/>
                  <a:gd name="T33" fmla="*/ 105 h 203"/>
                  <a:gd name="T34" fmla="*/ 64 w 127"/>
                  <a:gd name="T35" fmla="*/ 184 h 203"/>
                  <a:gd name="T36" fmla="*/ 104 w 127"/>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7" h="203">
                    <a:moveTo>
                      <a:pt x="127" y="101"/>
                    </a:moveTo>
                    <a:cubicBezTo>
                      <a:pt x="127" y="117"/>
                      <a:pt x="126" y="132"/>
                      <a:pt x="123" y="145"/>
                    </a:cubicBezTo>
                    <a:cubicBezTo>
                      <a:pt x="120" y="157"/>
                      <a:pt x="116" y="168"/>
                      <a:pt x="110" y="177"/>
                    </a:cubicBezTo>
                    <a:cubicBezTo>
                      <a:pt x="105" y="185"/>
                      <a:pt x="98" y="192"/>
                      <a:pt x="90" y="196"/>
                    </a:cubicBezTo>
                    <a:cubicBezTo>
                      <a:pt x="81" y="201"/>
                      <a:pt x="72" y="203"/>
                      <a:pt x="62" y="203"/>
                    </a:cubicBezTo>
                    <a:cubicBezTo>
                      <a:pt x="52" y="203"/>
                      <a:pt x="43" y="201"/>
                      <a:pt x="35" y="197"/>
                    </a:cubicBezTo>
                    <a:cubicBezTo>
                      <a:pt x="28" y="192"/>
                      <a:pt x="21" y="186"/>
                      <a:pt x="16" y="178"/>
                    </a:cubicBezTo>
                    <a:cubicBezTo>
                      <a:pt x="11" y="169"/>
                      <a:pt x="7" y="159"/>
                      <a:pt x="4" y="147"/>
                    </a:cubicBezTo>
                    <a:cubicBezTo>
                      <a:pt x="1" y="135"/>
                      <a:pt x="0" y="121"/>
                      <a:pt x="0" y="106"/>
                    </a:cubicBezTo>
                    <a:cubicBezTo>
                      <a:pt x="0" y="89"/>
                      <a:pt x="1" y="73"/>
                      <a:pt x="4" y="60"/>
                    </a:cubicBezTo>
                    <a:cubicBezTo>
                      <a:pt x="7" y="47"/>
                      <a:pt x="11" y="36"/>
                      <a:pt x="17" y="27"/>
                    </a:cubicBezTo>
                    <a:cubicBezTo>
                      <a:pt x="22" y="18"/>
                      <a:pt x="29" y="12"/>
                      <a:pt x="37" y="7"/>
                    </a:cubicBezTo>
                    <a:cubicBezTo>
                      <a:pt x="46" y="3"/>
                      <a:pt x="55" y="0"/>
                      <a:pt x="66" y="0"/>
                    </a:cubicBezTo>
                    <a:cubicBezTo>
                      <a:pt x="107" y="0"/>
                      <a:pt x="127" y="34"/>
                      <a:pt x="127" y="101"/>
                    </a:cubicBezTo>
                    <a:close/>
                    <a:moveTo>
                      <a:pt x="104" y="103"/>
                    </a:moveTo>
                    <a:cubicBezTo>
                      <a:pt x="104" y="47"/>
                      <a:pt x="91" y="19"/>
                      <a:pt x="65" y="19"/>
                    </a:cubicBezTo>
                    <a:cubicBezTo>
                      <a:pt x="37" y="19"/>
                      <a:pt x="23" y="48"/>
                      <a:pt x="23" y="105"/>
                    </a:cubicBezTo>
                    <a:cubicBezTo>
                      <a:pt x="23" y="158"/>
                      <a:pt x="36" y="184"/>
                      <a:pt x="64" y="184"/>
                    </a:cubicBezTo>
                    <a:cubicBezTo>
                      <a:pt x="91" y="184"/>
                      <a:pt x="104" y="157"/>
                      <a:pt x="104"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1" name="Freeform 259"/>
              <p:cNvSpPr>
                <a:spLocks noEditPoints="1"/>
              </p:cNvSpPr>
              <p:nvPr userDrawn="1"/>
            </p:nvSpPr>
            <p:spPr bwMode="auto">
              <a:xfrm>
                <a:off x="6701" y="9"/>
                <a:ext cx="154" cy="247"/>
              </a:xfrm>
              <a:custGeom>
                <a:avLst/>
                <a:gdLst>
                  <a:gd name="T0" fmla="*/ 127 w 127"/>
                  <a:gd name="T1" fmla="*/ 101 h 203"/>
                  <a:gd name="T2" fmla="*/ 123 w 127"/>
                  <a:gd name="T3" fmla="*/ 145 h 203"/>
                  <a:gd name="T4" fmla="*/ 110 w 127"/>
                  <a:gd name="T5" fmla="*/ 177 h 203"/>
                  <a:gd name="T6" fmla="*/ 89 w 127"/>
                  <a:gd name="T7" fmla="*/ 196 h 203"/>
                  <a:gd name="T8" fmla="*/ 62 w 127"/>
                  <a:gd name="T9" fmla="*/ 203 h 203"/>
                  <a:gd name="T10" fmla="*/ 35 w 127"/>
                  <a:gd name="T11" fmla="*/ 197 h 203"/>
                  <a:gd name="T12" fmla="*/ 16 w 127"/>
                  <a:gd name="T13" fmla="*/ 178 h 203"/>
                  <a:gd name="T14" fmla="*/ 4 w 127"/>
                  <a:gd name="T15" fmla="*/ 147 h 203"/>
                  <a:gd name="T16" fmla="*/ 0 w 127"/>
                  <a:gd name="T17" fmla="*/ 106 h 203"/>
                  <a:gd name="T18" fmla="*/ 4 w 127"/>
                  <a:gd name="T19" fmla="*/ 60 h 203"/>
                  <a:gd name="T20" fmla="*/ 17 w 127"/>
                  <a:gd name="T21" fmla="*/ 27 h 203"/>
                  <a:gd name="T22" fmla="*/ 37 w 127"/>
                  <a:gd name="T23" fmla="*/ 7 h 203"/>
                  <a:gd name="T24" fmla="*/ 66 w 127"/>
                  <a:gd name="T25" fmla="*/ 0 h 203"/>
                  <a:gd name="T26" fmla="*/ 127 w 127"/>
                  <a:gd name="T27" fmla="*/ 101 h 203"/>
                  <a:gd name="T28" fmla="*/ 104 w 127"/>
                  <a:gd name="T29" fmla="*/ 103 h 203"/>
                  <a:gd name="T30" fmla="*/ 65 w 127"/>
                  <a:gd name="T31" fmla="*/ 19 h 203"/>
                  <a:gd name="T32" fmla="*/ 23 w 127"/>
                  <a:gd name="T33" fmla="*/ 105 h 203"/>
                  <a:gd name="T34" fmla="*/ 64 w 127"/>
                  <a:gd name="T35" fmla="*/ 184 h 203"/>
                  <a:gd name="T36" fmla="*/ 104 w 127"/>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7" h="203">
                    <a:moveTo>
                      <a:pt x="127" y="101"/>
                    </a:moveTo>
                    <a:cubicBezTo>
                      <a:pt x="127" y="117"/>
                      <a:pt x="126" y="132"/>
                      <a:pt x="123" y="145"/>
                    </a:cubicBezTo>
                    <a:cubicBezTo>
                      <a:pt x="120" y="157"/>
                      <a:pt x="116" y="168"/>
                      <a:pt x="110" y="177"/>
                    </a:cubicBezTo>
                    <a:cubicBezTo>
                      <a:pt x="105" y="185"/>
                      <a:pt x="98" y="192"/>
                      <a:pt x="89" y="196"/>
                    </a:cubicBezTo>
                    <a:cubicBezTo>
                      <a:pt x="81" y="201"/>
                      <a:pt x="72" y="203"/>
                      <a:pt x="62" y="203"/>
                    </a:cubicBezTo>
                    <a:cubicBezTo>
                      <a:pt x="52" y="203"/>
                      <a:pt x="43" y="201"/>
                      <a:pt x="35" y="197"/>
                    </a:cubicBezTo>
                    <a:cubicBezTo>
                      <a:pt x="28" y="192"/>
                      <a:pt x="21" y="186"/>
                      <a:pt x="16" y="178"/>
                    </a:cubicBezTo>
                    <a:cubicBezTo>
                      <a:pt x="11" y="169"/>
                      <a:pt x="7" y="159"/>
                      <a:pt x="4" y="147"/>
                    </a:cubicBezTo>
                    <a:cubicBezTo>
                      <a:pt x="1" y="135"/>
                      <a:pt x="0" y="121"/>
                      <a:pt x="0" y="106"/>
                    </a:cubicBezTo>
                    <a:cubicBezTo>
                      <a:pt x="0" y="89"/>
                      <a:pt x="1" y="73"/>
                      <a:pt x="4" y="60"/>
                    </a:cubicBezTo>
                    <a:cubicBezTo>
                      <a:pt x="7" y="47"/>
                      <a:pt x="11" y="36"/>
                      <a:pt x="17" y="27"/>
                    </a:cubicBezTo>
                    <a:cubicBezTo>
                      <a:pt x="22" y="18"/>
                      <a:pt x="29" y="12"/>
                      <a:pt x="37" y="7"/>
                    </a:cubicBezTo>
                    <a:cubicBezTo>
                      <a:pt x="46" y="3"/>
                      <a:pt x="55" y="0"/>
                      <a:pt x="66" y="0"/>
                    </a:cubicBezTo>
                    <a:cubicBezTo>
                      <a:pt x="107" y="0"/>
                      <a:pt x="127" y="34"/>
                      <a:pt x="127" y="101"/>
                    </a:cubicBezTo>
                    <a:close/>
                    <a:moveTo>
                      <a:pt x="104" y="103"/>
                    </a:moveTo>
                    <a:cubicBezTo>
                      <a:pt x="104" y="47"/>
                      <a:pt x="91" y="19"/>
                      <a:pt x="65" y="19"/>
                    </a:cubicBezTo>
                    <a:cubicBezTo>
                      <a:pt x="37" y="19"/>
                      <a:pt x="23" y="48"/>
                      <a:pt x="23" y="105"/>
                    </a:cubicBezTo>
                    <a:cubicBezTo>
                      <a:pt x="23" y="158"/>
                      <a:pt x="36" y="184"/>
                      <a:pt x="64" y="184"/>
                    </a:cubicBezTo>
                    <a:cubicBezTo>
                      <a:pt x="91" y="184"/>
                      <a:pt x="104" y="157"/>
                      <a:pt x="104"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2" name="Freeform 260"/>
              <p:cNvSpPr>
                <a:spLocks/>
              </p:cNvSpPr>
              <p:nvPr userDrawn="1"/>
            </p:nvSpPr>
            <p:spPr bwMode="auto">
              <a:xfrm>
                <a:off x="6898" y="7"/>
                <a:ext cx="83" cy="246"/>
              </a:xfrm>
              <a:custGeom>
                <a:avLst/>
                <a:gdLst>
                  <a:gd name="T0" fmla="*/ 68 w 68"/>
                  <a:gd name="T1" fmla="*/ 201 h 201"/>
                  <a:gd name="T2" fmla="*/ 45 w 68"/>
                  <a:gd name="T3" fmla="*/ 201 h 201"/>
                  <a:gd name="T4" fmla="*/ 45 w 68"/>
                  <a:gd name="T5" fmla="*/ 31 h 201"/>
                  <a:gd name="T6" fmla="*/ 38 w 68"/>
                  <a:gd name="T7" fmla="*/ 37 h 201"/>
                  <a:gd name="T8" fmla="*/ 26 w 68"/>
                  <a:gd name="T9" fmla="*/ 44 h 201"/>
                  <a:gd name="T10" fmla="*/ 13 w 68"/>
                  <a:gd name="T11" fmla="*/ 50 h 201"/>
                  <a:gd name="T12" fmla="*/ 0 w 68"/>
                  <a:gd name="T13" fmla="*/ 55 h 201"/>
                  <a:gd name="T14" fmla="*/ 0 w 68"/>
                  <a:gd name="T15" fmla="*/ 32 h 201"/>
                  <a:gd name="T16" fmla="*/ 15 w 68"/>
                  <a:gd name="T17" fmla="*/ 26 h 201"/>
                  <a:gd name="T18" fmla="*/ 32 w 68"/>
                  <a:gd name="T19" fmla="*/ 19 h 201"/>
                  <a:gd name="T20" fmla="*/ 47 w 68"/>
                  <a:gd name="T21" fmla="*/ 10 h 201"/>
                  <a:gd name="T22" fmla="*/ 59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5" y="201"/>
                      <a:pt x="45" y="201"/>
                      <a:pt x="45" y="201"/>
                    </a:cubicBezTo>
                    <a:cubicBezTo>
                      <a:pt x="45" y="31"/>
                      <a:pt x="45" y="31"/>
                      <a:pt x="45" y="31"/>
                    </a:cubicBezTo>
                    <a:cubicBezTo>
                      <a:pt x="43" y="33"/>
                      <a:pt x="41" y="35"/>
                      <a:pt x="38" y="37"/>
                    </a:cubicBezTo>
                    <a:cubicBezTo>
                      <a:pt x="34" y="40"/>
                      <a:pt x="31" y="42"/>
                      <a:pt x="26" y="44"/>
                    </a:cubicBezTo>
                    <a:cubicBezTo>
                      <a:pt x="22" y="46"/>
                      <a:pt x="18" y="48"/>
                      <a:pt x="13" y="50"/>
                    </a:cubicBezTo>
                    <a:cubicBezTo>
                      <a:pt x="9" y="52"/>
                      <a:pt x="4" y="54"/>
                      <a:pt x="0" y="55"/>
                    </a:cubicBezTo>
                    <a:cubicBezTo>
                      <a:pt x="0" y="32"/>
                      <a:pt x="0" y="32"/>
                      <a:pt x="0" y="32"/>
                    </a:cubicBezTo>
                    <a:cubicBezTo>
                      <a:pt x="5" y="31"/>
                      <a:pt x="10" y="29"/>
                      <a:pt x="15" y="26"/>
                    </a:cubicBezTo>
                    <a:cubicBezTo>
                      <a:pt x="21" y="24"/>
                      <a:pt x="26" y="21"/>
                      <a:pt x="32" y="19"/>
                    </a:cubicBezTo>
                    <a:cubicBezTo>
                      <a:pt x="37" y="16"/>
                      <a:pt x="42" y="13"/>
                      <a:pt x="47" y="10"/>
                    </a:cubicBezTo>
                    <a:cubicBezTo>
                      <a:pt x="52" y="6"/>
                      <a:pt x="56" y="3"/>
                      <a:pt x="59"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3" name="Freeform 261"/>
              <p:cNvSpPr>
                <a:spLocks noEditPoints="1"/>
              </p:cNvSpPr>
              <p:nvPr userDrawn="1"/>
            </p:nvSpPr>
            <p:spPr bwMode="auto">
              <a:xfrm>
                <a:off x="7045" y="9"/>
                <a:ext cx="156" cy="247"/>
              </a:xfrm>
              <a:custGeom>
                <a:avLst/>
                <a:gdLst>
                  <a:gd name="T0" fmla="*/ 128 w 128"/>
                  <a:gd name="T1" fmla="*/ 101 h 203"/>
                  <a:gd name="T2" fmla="*/ 124 w 128"/>
                  <a:gd name="T3" fmla="*/ 145 h 203"/>
                  <a:gd name="T4" fmla="*/ 111 w 128"/>
                  <a:gd name="T5" fmla="*/ 177 h 203"/>
                  <a:gd name="T6" fmla="*/ 90 w 128"/>
                  <a:gd name="T7" fmla="*/ 196 h 203"/>
                  <a:gd name="T8" fmla="*/ 62 w 128"/>
                  <a:gd name="T9" fmla="*/ 203 h 203"/>
                  <a:gd name="T10" fmla="*/ 36 w 128"/>
                  <a:gd name="T11" fmla="*/ 197 h 203"/>
                  <a:gd name="T12" fmla="*/ 17 w 128"/>
                  <a:gd name="T13" fmla="*/ 178 h 203"/>
                  <a:gd name="T14" fmla="*/ 5 w 128"/>
                  <a:gd name="T15" fmla="*/ 147 h 203"/>
                  <a:gd name="T16" fmla="*/ 0 w 128"/>
                  <a:gd name="T17" fmla="*/ 106 h 203"/>
                  <a:gd name="T18" fmla="*/ 5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5 h 203"/>
                  <a:gd name="T34" fmla="*/ 65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7" y="132"/>
                      <a:pt x="124" y="145"/>
                    </a:cubicBezTo>
                    <a:cubicBezTo>
                      <a:pt x="121" y="157"/>
                      <a:pt x="116" y="168"/>
                      <a:pt x="111" y="177"/>
                    </a:cubicBezTo>
                    <a:cubicBezTo>
                      <a:pt x="105" y="185"/>
                      <a:pt x="98" y="192"/>
                      <a:pt x="90" y="196"/>
                    </a:cubicBezTo>
                    <a:cubicBezTo>
                      <a:pt x="82" y="201"/>
                      <a:pt x="73" y="203"/>
                      <a:pt x="62" y="203"/>
                    </a:cubicBezTo>
                    <a:cubicBezTo>
                      <a:pt x="53" y="203"/>
                      <a:pt x="44" y="201"/>
                      <a:pt x="36" y="197"/>
                    </a:cubicBezTo>
                    <a:cubicBezTo>
                      <a:pt x="28" y="192"/>
                      <a:pt x="22" y="186"/>
                      <a:pt x="17" y="178"/>
                    </a:cubicBezTo>
                    <a:cubicBezTo>
                      <a:pt x="11" y="169"/>
                      <a:pt x="7" y="159"/>
                      <a:pt x="5" y="147"/>
                    </a:cubicBezTo>
                    <a:cubicBezTo>
                      <a:pt x="2" y="135"/>
                      <a:pt x="0" y="121"/>
                      <a:pt x="0" y="106"/>
                    </a:cubicBezTo>
                    <a:cubicBezTo>
                      <a:pt x="0" y="89"/>
                      <a:pt x="2" y="73"/>
                      <a:pt x="5" y="60"/>
                    </a:cubicBezTo>
                    <a:cubicBezTo>
                      <a:pt x="8" y="47"/>
                      <a:pt x="12" y="36"/>
                      <a:pt x="17" y="27"/>
                    </a:cubicBezTo>
                    <a:cubicBezTo>
                      <a:pt x="23" y="18"/>
                      <a:pt x="30" y="12"/>
                      <a:pt x="38" y="7"/>
                    </a:cubicBezTo>
                    <a:cubicBezTo>
                      <a:pt x="46" y="3"/>
                      <a:pt x="56" y="0"/>
                      <a:pt x="66" y="0"/>
                    </a:cubicBezTo>
                    <a:cubicBezTo>
                      <a:pt x="108" y="0"/>
                      <a:pt x="128" y="34"/>
                      <a:pt x="128" y="101"/>
                    </a:cubicBezTo>
                    <a:close/>
                    <a:moveTo>
                      <a:pt x="105" y="103"/>
                    </a:moveTo>
                    <a:cubicBezTo>
                      <a:pt x="105" y="47"/>
                      <a:pt x="92" y="19"/>
                      <a:pt x="65" y="19"/>
                    </a:cubicBezTo>
                    <a:cubicBezTo>
                      <a:pt x="37" y="19"/>
                      <a:pt x="23" y="48"/>
                      <a:pt x="23" y="105"/>
                    </a:cubicBezTo>
                    <a:cubicBezTo>
                      <a:pt x="23" y="158"/>
                      <a:pt x="37" y="184"/>
                      <a:pt x="65" y="184"/>
                    </a:cubicBezTo>
                    <a:cubicBezTo>
                      <a:pt x="92"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4" name="Freeform 262"/>
              <p:cNvSpPr>
                <a:spLocks/>
              </p:cNvSpPr>
              <p:nvPr userDrawn="1"/>
            </p:nvSpPr>
            <p:spPr bwMode="auto">
              <a:xfrm>
                <a:off x="7244" y="7"/>
                <a:ext cx="82" cy="246"/>
              </a:xfrm>
              <a:custGeom>
                <a:avLst/>
                <a:gdLst>
                  <a:gd name="T0" fmla="*/ 67 w 67"/>
                  <a:gd name="T1" fmla="*/ 201 h 201"/>
                  <a:gd name="T2" fmla="*/ 45 w 67"/>
                  <a:gd name="T3" fmla="*/ 201 h 201"/>
                  <a:gd name="T4" fmla="*/ 45 w 67"/>
                  <a:gd name="T5" fmla="*/ 31 h 201"/>
                  <a:gd name="T6" fmla="*/ 37 w 67"/>
                  <a:gd name="T7" fmla="*/ 37 h 201"/>
                  <a:gd name="T8" fmla="*/ 26 w 67"/>
                  <a:gd name="T9" fmla="*/ 44 h 201"/>
                  <a:gd name="T10" fmla="*/ 13 w 67"/>
                  <a:gd name="T11" fmla="*/ 50 h 201"/>
                  <a:gd name="T12" fmla="*/ 0 w 67"/>
                  <a:gd name="T13" fmla="*/ 55 h 201"/>
                  <a:gd name="T14" fmla="*/ 0 w 67"/>
                  <a:gd name="T15" fmla="*/ 32 h 201"/>
                  <a:gd name="T16" fmla="*/ 15 w 67"/>
                  <a:gd name="T17" fmla="*/ 26 h 201"/>
                  <a:gd name="T18" fmla="*/ 31 w 67"/>
                  <a:gd name="T19" fmla="*/ 19 h 201"/>
                  <a:gd name="T20" fmla="*/ 47 w 67"/>
                  <a:gd name="T21" fmla="*/ 10 h 201"/>
                  <a:gd name="T22" fmla="*/ 59 w 67"/>
                  <a:gd name="T23" fmla="*/ 0 h 201"/>
                  <a:gd name="T24" fmla="*/ 67 w 67"/>
                  <a:gd name="T25" fmla="*/ 0 h 201"/>
                  <a:gd name="T26" fmla="*/ 67 w 67"/>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7" h="201">
                    <a:moveTo>
                      <a:pt x="67" y="201"/>
                    </a:moveTo>
                    <a:cubicBezTo>
                      <a:pt x="45" y="201"/>
                      <a:pt x="45" y="201"/>
                      <a:pt x="45" y="201"/>
                    </a:cubicBezTo>
                    <a:cubicBezTo>
                      <a:pt x="45" y="31"/>
                      <a:pt x="45" y="31"/>
                      <a:pt x="45" y="31"/>
                    </a:cubicBezTo>
                    <a:cubicBezTo>
                      <a:pt x="43" y="33"/>
                      <a:pt x="41" y="35"/>
                      <a:pt x="37" y="37"/>
                    </a:cubicBezTo>
                    <a:cubicBezTo>
                      <a:pt x="34" y="40"/>
                      <a:pt x="30" y="42"/>
                      <a:pt x="26" y="44"/>
                    </a:cubicBezTo>
                    <a:cubicBezTo>
                      <a:pt x="22" y="46"/>
                      <a:pt x="18" y="48"/>
                      <a:pt x="13" y="50"/>
                    </a:cubicBezTo>
                    <a:cubicBezTo>
                      <a:pt x="8" y="52"/>
                      <a:pt x="4" y="54"/>
                      <a:pt x="0" y="55"/>
                    </a:cubicBezTo>
                    <a:cubicBezTo>
                      <a:pt x="0" y="32"/>
                      <a:pt x="0" y="32"/>
                      <a:pt x="0" y="32"/>
                    </a:cubicBezTo>
                    <a:cubicBezTo>
                      <a:pt x="4" y="31"/>
                      <a:pt x="10" y="29"/>
                      <a:pt x="15" y="26"/>
                    </a:cubicBezTo>
                    <a:cubicBezTo>
                      <a:pt x="21" y="24"/>
                      <a:pt x="26" y="21"/>
                      <a:pt x="31" y="19"/>
                    </a:cubicBezTo>
                    <a:cubicBezTo>
                      <a:pt x="37" y="16"/>
                      <a:pt x="42" y="13"/>
                      <a:pt x="47" y="10"/>
                    </a:cubicBezTo>
                    <a:cubicBezTo>
                      <a:pt x="51" y="6"/>
                      <a:pt x="55" y="3"/>
                      <a:pt x="59" y="0"/>
                    </a:cubicBezTo>
                    <a:cubicBezTo>
                      <a:pt x="67" y="0"/>
                      <a:pt x="67" y="0"/>
                      <a:pt x="67" y="0"/>
                    </a:cubicBezTo>
                    <a:lnTo>
                      <a:pt x="67"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5" name="Freeform 263"/>
              <p:cNvSpPr>
                <a:spLocks noEditPoints="1"/>
              </p:cNvSpPr>
              <p:nvPr userDrawn="1"/>
            </p:nvSpPr>
            <p:spPr bwMode="auto">
              <a:xfrm>
                <a:off x="7392" y="9"/>
                <a:ext cx="156" cy="247"/>
              </a:xfrm>
              <a:custGeom>
                <a:avLst/>
                <a:gdLst>
                  <a:gd name="T0" fmla="*/ 128 w 128"/>
                  <a:gd name="T1" fmla="*/ 101 h 203"/>
                  <a:gd name="T2" fmla="*/ 123 w 128"/>
                  <a:gd name="T3" fmla="*/ 145 h 203"/>
                  <a:gd name="T4" fmla="*/ 111 w 128"/>
                  <a:gd name="T5" fmla="*/ 177 h 203"/>
                  <a:gd name="T6" fmla="*/ 90 w 128"/>
                  <a:gd name="T7" fmla="*/ 196 h 203"/>
                  <a:gd name="T8" fmla="*/ 62 w 128"/>
                  <a:gd name="T9" fmla="*/ 203 h 203"/>
                  <a:gd name="T10" fmla="*/ 36 w 128"/>
                  <a:gd name="T11" fmla="*/ 197 h 203"/>
                  <a:gd name="T12" fmla="*/ 16 w 128"/>
                  <a:gd name="T13" fmla="*/ 178 h 203"/>
                  <a:gd name="T14" fmla="*/ 4 w 128"/>
                  <a:gd name="T15" fmla="*/ 147 h 203"/>
                  <a:gd name="T16" fmla="*/ 0 w 128"/>
                  <a:gd name="T17" fmla="*/ 106 h 203"/>
                  <a:gd name="T18" fmla="*/ 4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5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6" y="132"/>
                      <a:pt x="123" y="145"/>
                    </a:cubicBezTo>
                    <a:cubicBezTo>
                      <a:pt x="120" y="157"/>
                      <a:pt x="116" y="168"/>
                      <a:pt x="111" y="177"/>
                    </a:cubicBezTo>
                    <a:cubicBezTo>
                      <a:pt x="105" y="185"/>
                      <a:pt x="98" y="192"/>
                      <a:pt x="90" y="196"/>
                    </a:cubicBezTo>
                    <a:cubicBezTo>
                      <a:pt x="82" y="201"/>
                      <a:pt x="72" y="203"/>
                      <a:pt x="62" y="203"/>
                    </a:cubicBezTo>
                    <a:cubicBezTo>
                      <a:pt x="52" y="203"/>
                      <a:pt x="43" y="201"/>
                      <a:pt x="36" y="197"/>
                    </a:cubicBezTo>
                    <a:cubicBezTo>
                      <a:pt x="28" y="192"/>
                      <a:pt x="22" y="186"/>
                      <a:pt x="16" y="178"/>
                    </a:cubicBezTo>
                    <a:cubicBezTo>
                      <a:pt x="11" y="169"/>
                      <a:pt x="7" y="159"/>
                      <a:pt x="4" y="147"/>
                    </a:cubicBezTo>
                    <a:cubicBezTo>
                      <a:pt x="2" y="135"/>
                      <a:pt x="0" y="121"/>
                      <a:pt x="0" y="106"/>
                    </a:cubicBezTo>
                    <a:cubicBezTo>
                      <a:pt x="0" y="89"/>
                      <a:pt x="2" y="73"/>
                      <a:pt x="4" y="60"/>
                    </a:cubicBezTo>
                    <a:cubicBezTo>
                      <a:pt x="7" y="47"/>
                      <a:pt x="12" y="36"/>
                      <a:pt x="17" y="27"/>
                    </a:cubicBezTo>
                    <a:cubicBezTo>
                      <a:pt x="23" y="18"/>
                      <a:pt x="30" y="12"/>
                      <a:pt x="38" y="7"/>
                    </a:cubicBezTo>
                    <a:cubicBezTo>
                      <a:pt x="46" y="3"/>
                      <a:pt x="56" y="0"/>
                      <a:pt x="66" y="0"/>
                    </a:cubicBezTo>
                    <a:cubicBezTo>
                      <a:pt x="107" y="0"/>
                      <a:pt x="128" y="34"/>
                      <a:pt x="128" y="101"/>
                    </a:cubicBezTo>
                    <a:close/>
                    <a:moveTo>
                      <a:pt x="105" y="103"/>
                    </a:moveTo>
                    <a:cubicBezTo>
                      <a:pt x="105" y="47"/>
                      <a:pt x="92" y="19"/>
                      <a:pt x="65" y="19"/>
                    </a:cubicBezTo>
                    <a:cubicBezTo>
                      <a:pt x="37" y="19"/>
                      <a:pt x="23" y="48"/>
                      <a:pt x="23" y="105"/>
                    </a:cubicBezTo>
                    <a:cubicBezTo>
                      <a:pt x="23" y="158"/>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6" name="Freeform 264"/>
              <p:cNvSpPr>
                <a:spLocks/>
              </p:cNvSpPr>
              <p:nvPr userDrawn="1"/>
            </p:nvSpPr>
            <p:spPr bwMode="auto">
              <a:xfrm>
                <a:off x="7589" y="7"/>
                <a:ext cx="83" cy="246"/>
              </a:xfrm>
              <a:custGeom>
                <a:avLst/>
                <a:gdLst>
                  <a:gd name="T0" fmla="*/ 68 w 68"/>
                  <a:gd name="T1" fmla="*/ 201 h 201"/>
                  <a:gd name="T2" fmla="*/ 46 w 68"/>
                  <a:gd name="T3" fmla="*/ 201 h 201"/>
                  <a:gd name="T4" fmla="*/ 46 w 68"/>
                  <a:gd name="T5" fmla="*/ 31 h 201"/>
                  <a:gd name="T6" fmla="*/ 38 w 68"/>
                  <a:gd name="T7" fmla="*/ 37 h 201"/>
                  <a:gd name="T8" fmla="*/ 27 w 68"/>
                  <a:gd name="T9" fmla="*/ 44 h 201"/>
                  <a:gd name="T10" fmla="*/ 14 w 68"/>
                  <a:gd name="T11" fmla="*/ 50 h 201"/>
                  <a:gd name="T12" fmla="*/ 0 w 68"/>
                  <a:gd name="T13" fmla="*/ 55 h 201"/>
                  <a:gd name="T14" fmla="*/ 0 w 68"/>
                  <a:gd name="T15" fmla="*/ 32 h 201"/>
                  <a:gd name="T16" fmla="*/ 16 w 68"/>
                  <a:gd name="T17" fmla="*/ 26 h 201"/>
                  <a:gd name="T18" fmla="*/ 32 w 68"/>
                  <a:gd name="T19" fmla="*/ 19 h 201"/>
                  <a:gd name="T20" fmla="*/ 47 w 68"/>
                  <a:gd name="T21" fmla="*/ 10 h 201"/>
                  <a:gd name="T22" fmla="*/ 60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6" y="201"/>
                      <a:pt x="46" y="201"/>
                      <a:pt x="46" y="201"/>
                    </a:cubicBezTo>
                    <a:cubicBezTo>
                      <a:pt x="46" y="31"/>
                      <a:pt x="46" y="31"/>
                      <a:pt x="46" y="31"/>
                    </a:cubicBezTo>
                    <a:cubicBezTo>
                      <a:pt x="44" y="33"/>
                      <a:pt x="41" y="35"/>
                      <a:pt x="38" y="37"/>
                    </a:cubicBezTo>
                    <a:cubicBezTo>
                      <a:pt x="35" y="40"/>
                      <a:pt x="31" y="42"/>
                      <a:pt x="27" y="44"/>
                    </a:cubicBezTo>
                    <a:cubicBezTo>
                      <a:pt x="23" y="46"/>
                      <a:pt x="18" y="48"/>
                      <a:pt x="14" y="50"/>
                    </a:cubicBezTo>
                    <a:cubicBezTo>
                      <a:pt x="9" y="52"/>
                      <a:pt x="5" y="54"/>
                      <a:pt x="0" y="55"/>
                    </a:cubicBezTo>
                    <a:cubicBezTo>
                      <a:pt x="0" y="32"/>
                      <a:pt x="0" y="32"/>
                      <a:pt x="0" y="32"/>
                    </a:cubicBezTo>
                    <a:cubicBezTo>
                      <a:pt x="5" y="31"/>
                      <a:pt x="10" y="29"/>
                      <a:pt x="16" y="26"/>
                    </a:cubicBezTo>
                    <a:cubicBezTo>
                      <a:pt x="21" y="24"/>
                      <a:pt x="27" y="21"/>
                      <a:pt x="32" y="19"/>
                    </a:cubicBezTo>
                    <a:cubicBezTo>
                      <a:pt x="37" y="16"/>
                      <a:pt x="43" y="13"/>
                      <a:pt x="47" y="10"/>
                    </a:cubicBezTo>
                    <a:cubicBezTo>
                      <a:pt x="52" y="6"/>
                      <a:pt x="56" y="3"/>
                      <a:pt x="60"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7" name="Freeform 265"/>
              <p:cNvSpPr>
                <a:spLocks/>
              </p:cNvSpPr>
              <p:nvPr userDrawn="1"/>
            </p:nvSpPr>
            <p:spPr bwMode="auto">
              <a:xfrm>
                <a:off x="7739" y="7"/>
                <a:ext cx="83" cy="246"/>
              </a:xfrm>
              <a:custGeom>
                <a:avLst/>
                <a:gdLst>
                  <a:gd name="T0" fmla="*/ 68 w 68"/>
                  <a:gd name="T1" fmla="*/ 201 h 201"/>
                  <a:gd name="T2" fmla="*/ 45 w 68"/>
                  <a:gd name="T3" fmla="*/ 201 h 201"/>
                  <a:gd name="T4" fmla="*/ 45 w 68"/>
                  <a:gd name="T5" fmla="*/ 31 h 201"/>
                  <a:gd name="T6" fmla="*/ 38 w 68"/>
                  <a:gd name="T7" fmla="*/ 37 h 201"/>
                  <a:gd name="T8" fmla="*/ 26 w 68"/>
                  <a:gd name="T9" fmla="*/ 44 h 201"/>
                  <a:gd name="T10" fmla="*/ 13 w 68"/>
                  <a:gd name="T11" fmla="*/ 50 h 201"/>
                  <a:gd name="T12" fmla="*/ 0 w 68"/>
                  <a:gd name="T13" fmla="*/ 55 h 201"/>
                  <a:gd name="T14" fmla="*/ 0 w 68"/>
                  <a:gd name="T15" fmla="*/ 32 h 201"/>
                  <a:gd name="T16" fmla="*/ 15 w 68"/>
                  <a:gd name="T17" fmla="*/ 26 h 201"/>
                  <a:gd name="T18" fmla="*/ 32 w 68"/>
                  <a:gd name="T19" fmla="*/ 19 h 201"/>
                  <a:gd name="T20" fmla="*/ 47 w 68"/>
                  <a:gd name="T21" fmla="*/ 10 h 201"/>
                  <a:gd name="T22" fmla="*/ 59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5" y="201"/>
                      <a:pt x="45" y="201"/>
                      <a:pt x="45" y="201"/>
                    </a:cubicBezTo>
                    <a:cubicBezTo>
                      <a:pt x="45" y="31"/>
                      <a:pt x="45" y="31"/>
                      <a:pt x="45" y="31"/>
                    </a:cubicBezTo>
                    <a:cubicBezTo>
                      <a:pt x="43" y="33"/>
                      <a:pt x="41" y="35"/>
                      <a:pt x="38" y="37"/>
                    </a:cubicBezTo>
                    <a:cubicBezTo>
                      <a:pt x="34" y="40"/>
                      <a:pt x="31" y="42"/>
                      <a:pt x="26" y="44"/>
                    </a:cubicBezTo>
                    <a:cubicBezTo>
                      <a:pt x="22" y="46"/>
                      <a:pt x="18" y="48"/>
                      <a:pt x="13" y="50"/>
                    </a:cubicBezTo>
                    <a:cubicBezTo>
                      <a:pt x="9" y="52"/>
                      <a:pt x="4" y="54"/>
                      <a:pt x="0" y="55"/>
                    </a:cubicBezTo>
                    <a:cubicBezTo>
                      <a:pt x="0" y="32"/>
                      <a:pt x="0" y="32"/>
                      <a:pt x="0" y="32"/>
                    </a:cubicBezTo>
                    <a:cubicBezTo>
                      <a:pt x="5" y="31"/>
                      <a:pt x="10" y="29"/>
                      <a:pt x="15" y="26"/>
                    </a:cubicBezTo>
                    <a:cubicBezTo>
                      <a:pt x="21" y="24"/>
                      <a:pt x="26" y="21"/>
                      <a:pt x="32" y="19"/>
                    </a:cubicBezTo>
                    <a:cubicBezTo>
                      <a:pt x="37" y="16"/>
                      <a:pt x="42" y="13"/>
                      <a:pt x="47" y="10"/>
                    </a:cubicBezTo>
                    <a:cubicBezTo>
                      <a:pt x="52" y="6"/>
                      <a:pt x="56" y="3"/>
                      <a:pt x="59"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8" name="Freeform 266"/>
              <p:cNvSpPr>
                <a:spLocks noEditPoints="1"/>
              </p:cNvSpPr>
              <p:nvPr userDrawn="1"/>
            </p:nvSpPr>
            <p:spPr bwMode="auto">
              <a:xfrm>
                <a:off x="3986" y="0"/>
                <a:ext cx="219" cy="255"/>
              </a:xfrm>
              <a:custGeom>
                <a:avLst/>
                <a:gdLst>
                  <a:gd name="T0" fmla="*/ 175 w 179"/>
                  <a:gd name="T1" fmla="*/ 174 h 209"/>
                  <a:gd name="T2" fmla="*/ 134 w 179"/>
                  <a:gd name="T3" fmla="*/ 209 h 209"/>
                  <a:gd name="T4" fmla="*/ 80 w 179"/>
                  <a:gd name="T5" fmla="*/ 199 h 209"/>
                  <a:gd name="T6" fmla="*/ 32 w 179"/>
                  <a:gd name="T7" fmla="*/ 202 h 209"/>
                  <a:gd name="T8" fmla="*/ 2 w 179"/>
                  <a:gd name="T9" fmla="*/ 184 h 209"/>
                  <a:gd name="T10" fmla="*/ 14 w 179"/>
                  <a:gd name="T11" fmla="*/ 159 h 209"/>
                  <a:gd name="T12" fmla="*/ 9 w 179"/>
                  <a:gd name="T13" fmla="*/ 163 h 209"/>
                  <a:gd name="T14" fmla="*/ 6 w 179"/>
                  <a:gd name="T15" fmla="*/ 184 h 209"/>
                  <a:gd name="T16" fmla="*/ 45 w 179"/>
                  <a:gd name="T17" fmla="*/ 202 h 209"/>
                  <a:gd name="T18" fmla="*/ 42 w 179"/>
                  <a:gd name="T19" fmla="*/ 152 h 209"/>
                  <a:gd name="T20" fmla="*/ 25 w 179"/>
                  <a:gd name="T21" fmla="*/ 134 h 209"/>
                  <a:gd name="T22" fmla="*/ 52 w 179"/>
                  <a:gd name="T23" fmla="*/ 83 h 209"/>
                  <a:gd name="T24" fmla="*/ 58 w 179"/>
                  <a:gd name="T25" fmla="*/ 27 h 209"/>
                  <a:gd name="T26" fmla="*/ 117 w 179"/>
                  <a:gd name="T27" fmla="*/ 18 h 209"/>
                  <a:gd name="T28" fmla="*/ 159 w 179"/>
                  <a:gd name="T29" fmla="*/ 128 h 209"/>
                  <a:gd name="T30" fmla="*/ 153 w 179"/>
                  <a:gd name="T31" fmla="*/ 152 h 209"/>
                  <a:gd name="T32" fmla="*/ 128 w 179"/>
                  <a:gd name="T33" fmla="*/ 151 h 209"/>
                  <a:gd name="T34" fmla="*/ 122 w 179"/>
                  <a:gd name="T35" fmla="*/ 186 h 209"/>
                  <a:gd name="T36" fmla="*/ 165 w 179"/>
                  <a:gd name="T37" fmla="*/ 186 h 209"/>
                  <a:gd name="T38" fmla="*/ 171 w 179"/>
                  <a:gd name="T39" fmla="*/ 174 h 209"/>
                  <a:gd name="T40" fmla="*/ 161 w 179"/>
                  <a:gd name="T41" fmla="*/ 153 h 209"/>
                  <a:gd name="T42" fmla="*/ 88 w 179"/>
                  <a:gd name="T43" fmla="*/ 72 h 209"/>
                  <a:gd name="T44" fmla="*/ 101 w 179"/>
                  <a:gd name="T45" fmla="*/ 68 h 209"/>
                  <a:gd name="T46" fmla="*/ 73 w 179"/>
                  <a:gd name="T47" fmla="*/ 80 h 209"/>
                  <a:gd name="T48" fmla="*/ 63 w 179"/>
                  <a:gd name="T49" fmla="*/ 77 h 209"/>
                  <a:gd name="T50" fmla="*/ 56 w 179"/>
                  <a:gd name="T51" fmla="*/ 101 h 209"/>
                  <a:gd name="T52" fmla="*/ 45 w 179"/>
                  <a:gd name="T53" fmla="*/ 140 h 209"/>
                  <a:gd name="T54" fmla="*/ 38 w 179"/>
                  <a:gd name="T55" fmla="*/ 121 h 209"/>
                  <a:gd name="T56" fmla="*/ 40 w 179"/>
                  <a:gd name="T57" fmla="*/ 143 h 209"/>
                  <a:gd name="T58" fmla="*/ 64 w 179"/>
                  <a:gd name="T59" fmla="*/ 178 h 209"/>
                  <a:gd name="T60" fmla="*/ 70 w 179"/>
                  <a:gd name="T61" fmla="*/ 198 h 209"/>
                  <a:gd name="T62" fmla="*/ 68 w 179"/>
                  <a:gd name="T63" fmla="*/ 183 h 209"/>
                  <a:gd name="T64" fmla="*/ 109 w 179"/>
                  <a:gd name="T65" fmla="*/ 179 h 209"/>
                  <a:gd name="T66" fmla="*/ 115 w 179"/>
                  <a:gd name="T67" fmla="*/ 186 h 209"/>
                  <a:gd name="T68" fmla="*/ 119 w 179"/>
                  <a:gd name="T69" fmla="*/ 171 h 209"/>
                  <a:gd name="T70" fmla="*/ 126 w 179"/>
                  <a:gd name="T71" fmla="*/ 146 h 209"/>
                  <a:gd name="T72" fmla="*/ 126 w 179"/>
                  <a:gd name="T73" fmla="*/ 92 h 209"/>
                  <a:gd name="T74" fmla="*/ 128 w 179"/>
                  <a:gd name="T75" fmla="*/ 135 h 209"/>
                  <a:gd name="T76" fmla="*/ 117 w 179"/>
                  <a:gd name="T77" fmla="*/ 94 h 209"/>
                  <a:gd name="T78" fmla="*/ 104 w 179"/>
                  <a:gd name="T79" fmla="*/ 54 h 209"/>
                  <a:gd name="T80" fmla="*/ 98 w 179"/>
                  <a:gd name="T81" fmla="*/ 37 h 209"/>
                  <a:gd name="T82" fmla="*/ 107 w 179"/>
                  <a:gd name="T83" fmla="*/ 49 h 209"/>
                  <a:gd name="T84" fmla="*/ 86 w 179"/>
                  <a:gd name="T85" fmla="*/ 42 h 209"/>
                  <a:gd name="T86" fmla="*/ 78 w 179"/>
                  <a:gd name="T87" fmla="*/ 44 h 209"/>
                  <a:gd name="T88" fmla="*/ 65 w 179"/>
                  <a:gd name="T89" fmla="*/ 35 h 209"/>
                  <a:gd name="T90" fmla="*/ 67 w 179"/>
                  <a:gd name="T91" fmla="*/ 48 h 209"/>
                  <a:gd name="T92" fmla="*/ 73 w 179"/>
                  <a:gd name="T93" fmla="*/ 48 h 209"/>
                  <a:gd name="T94" fmla="*/ 65 w 179"/>
                  <a:gd name="T95" fmla="*/ 60 h 209"/>
                  <a:gd name="T96" fmla="*/ 101 w 179"/>
                  <a:gd name="T97" fmla="*/ 58 h 209"/>
                  <a:gd name="T98" fmla="*/ 86 w 179"/>
                  <a:gd name="T99" fmla="*/ 68 h 209"/>
                  <a:gd name="T100" fmla="*/ 72 w 179"/>
                  <a:gd name="T101" fmla="*/ 40 h 209"/>
                  <a:gd name="T102" fmla="*/ 73 w 179"/>
                  <a:gd name="T103" fmla="*/ 45 h 209"/>
                  <a:gd name="T104" fmla="*/ 99 w 179"/>
                  <a:gd name="T105" fmla="*/ 40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79" h="209">
                    <a:moveTo>
                      <a:pt x="161" y="153"/>
                    </a:moveTo>
                    <a:cubicBezTo>
                      <a:pt x="161" y="156"/>
                      <a:pt x="162" y="159"/>
                      <a:pt x="163" y="161"/>
                    </a:cubicBezTo>
                    <a:cubicBezTo>
                      <a:pt x="164" y="166"/>
                      <a:pt x="167" y="169"/>
                      <a:pt x="170" y="171"/>
                    </a:cubicBezTo>
                    <a:cubicBezTo>
                      <a:pt x="172" y="172"/>
                      <a:pt x="174" y="173"/>
                      <a:pt x="175" y="174"/>
                    </a:cubicBezTo>
                    <a:cubicBezTo>
                      <a:pt x="179" y="177"/>
                      <a:pt x="179" y="180"/>
                      <a:pt x="176" y="183"/>
                    </a:cubicBezTo>
                    <a:cubicBezTo>
                      <a:pt x="173" y="186"/>
                      <a:pt x="170" y="188"/>
                      <a:pt x="166" y="189"/>
                    </a:cubicBezTo>
                    <a:cubicBezTo>
                      <a:pt x="157" y="193"/>
                      <a:pt x="148" y="199"/>
                      <a:pt x="141" y="206"/>
                    </a:cubicBezTo>
                    <a:cubicBezTo>
                      <a:pt x="139" y="208"/>
                      <a:pt x="137" y="208"/>
                      <a:pt x="134" y="209"/>
                    </a:cubicBezTo>
                    <a:cubicBezTo>
                      <a:pt x="131" y="209"/>
                      <a:pt x="128" y="209"/>
                      <a:pt x="125" y="208"/>
                    </a:cubicBezTo>
                    <a:cubicBezTo>
                      <a:pt x="122" y="207"/>
                      <a:pt x="119" y="206"/>
                      <a:pt x="118" y="203"/>
                    </a:cubicBezTo>
                    <a:cubicBezTo>
                      <a:pt x="116" y="200"/>
                      <a:pt x="113" y="198"/>
                      <a:pt x="109" y="198"/>
                    </a:cubicBezTo>
                    <a:cubicBezTo>
                      <a:pt x="100" y="198"/>
                      <a:pt x="90" y="198"/>
                      <a:pt x="80" y="199"/>
                    </a:cubicBezTo>
                    <a:cubicBezTo>
                      <a:pt x="76" y="199"/>
                      <a:pt x="72" y="199"/>
                      <a:pt x="68" y="202"/>
                    </a:cubicBezTo>
                    <a:cubicBezTo>
                      <a:pt x="66" y="203"/>
                      <a:pt x="64" y="204"/>
                      <a:pt x="63" y="205"/>
                    </a:cubicBezTo>
                    <a:cubicBezTo>
                      <a:pt x="58" y="209"/>
                      <a:pt x="53" y="209"/>
                      <a:pt x="48" y="208"/>
                    </a:cubicBezTo>
                    <a:cubicBezTo>
                      <a:pt x="43" y="206"/>
                      <a:pt x="38" y="204"/>
                      <a:pt x="32" y="202"/>
                    </a:cubicBezTo>
                    <a:cubicBezTo>
                      <a:pt x="25" y="200"/>
                      <a:pt x="18" y="199"/>
                      <a:pt x="11" y="197"/>
                    </a:cubicBezTo>
                    <a:cubicBezTo>
                      <a:pt x="9" y="197"/>
                      <a:pt x="7" y="196"/>
                      <a:pt x="5" y="196"/>
                    </a:cubicBezTo>
                    <a:cubicBezTo>
                      <a:pt x="1" y="194"/>
                      <a:pt x="0" y="192"/>
                      <a:pt x="1" y="188"/>
                    </a:cubicBezTo>
                    <a:cubicBezTo>
                      <a:pt x="1" y="187"/>
                      <a:pt x="2" y="185"/>
                      <a:pt x="2" y="184"/>
                    </a:cubicBezTo>
                    <a:cubicBezTo>
                      <a:pt x="4" y="180"/>
                      <a:pt x="4" y="176"/>
                      <a:pt x="3" y="172"/>
                    </a:cubicBezTo>
                    <a:cubicBezTo>
                      <a:pt x="3" y="170"/>
                      <a:pt x="2" y="169"/>
                      <a:pt x="2" y="167"/>
                    </a:cubicBezTo>
                    <a:cubicBezTo>
                      <a:pt x="1" y="163"/>
                      <a:pt x="3" y="160"/>
                      <a:pt x="7" y="160"/>
                    </a:cubicBezTo>
                    <a:cubicBezTo>
                      <a:pt x="9" y="160"/>
                      <a:pt x="12" y="160"/>
                      <a:pt x="14" y="159"/>
                    </a:cubicBezTo>
                    <a:cubicBezTo>
                      <a:pt x="19" y="158"/>
                      <a:pt x="22" y="155"/>
                      <a:pt x="23" y="150"/>
                    </a:cubicBezTo>
                    <a:cubicBezTo>
                      <a:pt x="23" y="150"/>
                      <a:pt x="23" y="150"/>
                      <a:pt x="23" y="150"/>
                    </a:cubicBezTo>
                    <a:cubicBezTo>
                      <a:pt x="25" y="153"/>
                      <a:pt x="23" y="160"/>
                      <a:pt x="17" y="162"/>
                    </a:cubicBezTo>
                    <a:cubicBezTo>
                      <a:pt x="15" y="163"/>
                      <a:pt x="12" y="163"/>
                      <a:pt x="9" y="163"/>
                    </a:cubicBezTo>
                    <a:cubicBezTo>
                      <a:pt x="9" y="163"/>
                      <a:pt x="9" y="162"/>
                      <a:pt x="9" y="162"/>
                    </a:cubicBezTo>
                    <a:cubicBezTo>
                      <a:pt x="5" y="162"/>
                      <a:pt x="3" y="164"/>
                      <a:pt x="4" y="168"/>
                    </a:cubicBezTo>
                    <a:cubicBezTo>
                      <a:pt x="5" y="169"/>
                      <a:pt x="5" y="171"/>
                      <a:pt x="6" y="173"/>
                    </a:cubicBezTo>
                    <a:cubicBezTo>
                      <a:pt x="8" y="176"/>
                      <a:pt x="8" y="180"/>
                      <a:pt x="6" y="184"/>
                    </a:cubicBezTo>
                    <a:cubicBezTo>
                      <a:pt x="6" y="185"/>
                      <a:pt x="5" y="186"/>
                      <a:pt x="4" y="188"/>
                    </a:cubicBezTo>
                    <a:cubicBezTo>
                      <a:pt x="4" y="190"/>
                      <a:pt x="4" y="192"/>
                      <a:pt x="6" y="193"/>
                    </a:cubicBezTo>
                    <a:cubicBezTo>
                      <a:pt x="9" y="193"/>
                      <a:pt x="11" y="194"/>
                      <a:pt x="13" y="194"/>
                    </a:cubicBezTo>
                    <a:cubicBezTo>
                      <a:pt x="24" y="196"/>
                      <a:pt x="35" y="199"/>
                      <a:pt x="45" y="202"/>
                    </a:cubicBezTo>
                    <a:cubicBezTo>
                      <a:pt x="49" y="203"/>
                      <a:pt x="52" y="204"/>
                      <a:pt x="55" y="204"/>
                    </a:cubicBezTo>
                    <a:cubicBezTo>
                      <a:pt x="63" y="202"/>
                      <a:pt x="66" y="198"/>
                      <a:pt x="64" y="190"/>
                    </a:cubicBezTo>
                    <a:cubicBezTo>
                      <a:pt x="64" y="186"/>
                      <a:pt x="62" y="182"/>
                      <a:pt x="60" y="179"/>
                    </a:cubicBezTo>
                    <a:cubicBezTo>
                      <a:pt x="54" y="170"/>
                      <a:pt x="49" y="161"/>
                      <a:pt x="42" y="152"/>
                    </a:cubicBezTo>
                    <a:cubicBezTo>
                      <a:pt x="40" y="150"/>
                      <a:pt x="37" y="147"/>
                      <a:pt x="35" y="145"/>
                    </a:cubicBezTo>
                    <a:cubicBezTo>
                      <a:pt x="32" y="143"/>
                      <a:pt x="29" y="143"/>
                      <a:pt x="27" y="145"/>
                    </a:cubicBezTo>
                    <a:cubicBezTo>
                      <a:pt x="26" y="145"/>
                      <a:pt x="25" y="145"/>
                      <a:pt x="25" y="144"/>
                    </a:cubicBezTo>
                    <a:cubicBezTo>
                      <a:pt x="24" y="140"/>
                      <a:pt x="24" y="137"/>
                      <a:pt x="25" y="134"/>
                    </a:cubicBezTo>
                    <a:cubicBezTo>
                      <a:pt x="26" y="133"/>
                      <a:pt x="26" y="131"/>
                      <a:pt x="27" y="130"/>
                    </a:cubicBezTo>
                    <a:cubicBezTo>
                      <a:pt x="30" y="125"/>
                      <a:pt x="32" y="119"/>
                      <a:pt x="35" y="113"/>
                    </a:cubicBezTo>
                    <a:cubicBezTo>
                      <a:pt x="37" y="106"/>
                      <a:pt x="39" y="100"/>
                      <a:pt x="43" y="94"/>
                    </a:cubicBezTo>
                    <a:cubicBezTo>
                      <a:pt x="46" y="91"/>
                      <a:pt x="49" y="87"/>
                      <a:pt x="52" y="83"/>
                    </a:cubicBezTo>
                    <a:cubicBezTo>
                      <a:pt x="54" y="80"/>
                      <a:pt x="56" y="77"/>
                      <a:pt x="58" y="73"/>
                    </a:cubicBezTo>
                    <a:cubicBezTo>
                      <a:pt x="60" y="71"/>
                      <a:pt x="60" y="68"/>
                      <a:pt x="60" y="65"/>
                    </a:cubicBezTo>
                    <a:cubicBezTo>
                      <a:pt x="59" y="58"/>
                      <a:pt x="59" y="51"/>
                      <a:pt x="59" y="44"/>
                    </a:cubicBezTo>
                    <a:cubicBezTo>
                      <a:pt x="58" y="39"/>
                      <a:pt x="58" y="33"/>
                      <a:pt x="58" y="27"/>
                    </a:cubicBezTo>
                    <a:cubicBezTo>
                      <a:pt x="59" y="17"/>
                      <a:pt x="63" y="8"/>
                      <a:pt x="73" y="3"/>
                    </a:cubicBezTo>
                    <a:cubicBezTo>
                      <a:pt x="77" y="1"/>
                      <a:pt x="81" y="0"/>
                      <a:pt x="85" y="0"/>
                    </a:cubicBezTo>
                    <a:cubicBezTo>
                      <a:pt x="91" y="0"/>
                      <a:pt x="97" y="1"/>
                      <a:pt x="102" y="3"/>
                    </a:cubicBezTo>
                    <a:cubicBezTo>
                      <a:pt x="109" y="6"/>
                      <a:pt x="114" y="11"/>
                      <a:pt x="117" y="18"/>
                    </a:cubicBezTo>
                    <a:cubicBezTo>
                      <a:pt x="120" y="24"/>
                      <a:pt x="122" y="30"/>
                      <a:pt x="122" y="37"/>
                    </a:cubicBezTo>
                    <a:cubicBezTo>
                      <a:pt x="122" y="40"/>
                      <a:pt x="122" y="44"/>
                      <a:pt x="123" y="47"/>
                    </a:cubicBezTo>
                    <a:cubicBezTo>
                      <a:pt x="124" y="61"/>
                      <a:pt x="128" y="75"/>
                      <a:pt x="138" y="85"/>
                    </a:cubicBezTo>
                    <a:cubicBezTo>
                      <a:pt x="150" y="97"/>
                      <a:pt x="156" y="112"/>
                      <a:pt x="159" y="128"/>
                    </a:cubicBezTo>
                    <a:cubicBezTo>
                      <a:pt x="160" y="133"/>
                      <a:pt x="161" y="138"/>
                      <a:pt x="160" y="143"/>
                    </a:cubicBezTo>
                    <a:cubicBezTo>
                      <a:pt x="159" y="145"/>
                      <a:pt x="159" y="146"/>
                      <a:pt x="159" y="147"/>
                    </a:cubicBezTo>
                    <a:cubicBezTo>
                      <a:pt x="158" y="147"/>
                      <a:pt x="158" y="148"/>
                      <a:pt x="157" y="148"/>
                    </a:cubicBezTo>
                    <a:cubicBezTo>
                      <a:pt x="155" y="149"/>
                      <a:pt x="154" y="151"/>
                      <a:pt x="153" y="152"/>
                    </a:cubicBezTo>
                    <a:cubicBezTo>
                      <a:pt x="151" y="154"/>
                      <a:pt x="149" y="157"/>
                      <a:pt x="147" y="158"/>
                    </a:cubicBezTo>
                    <a:cubicBezTo>
                      <a:pt x="143" y="161"/>
                      <a:pt x="139" y="161"/>
                      <a:pt x="135" y="160"/>
                    </a:cubicBezTo>
                    <a:cubicBezTo>
                      <a:pt x="133" y="159"/>
                      <a:pt x="132" y="158"/>
                      <a:pt x="131" y="156"/>
                    </a:cubicBezTo>
                    <a:cubicBezTo>
                      <a:pt x="130" y="154"/>
                      <a:pt x="129" y="152"/>
                      <a:pt x="128" y="151"/>
                    </a:cubicBezTo>
                    <a:cubicBezTo>
                      <a:pt x="127" y="149"/>
                      <a:pt x="126" y="148"/>
                      <a:pt x="124" y="148"/>
                    </a:cubicBezTo>
                    <a:cubicBezTo>
                      <a:pt x="123" y="148"/>
                      <a:pt x="122" y="150"/>
                      <a:pt x="121" y="151"/>
                    </a:cubicBezTo>
                    <a:cubicBezTo>
                      <a:pt x="120" y="155"/>
                      <a:pt x="120" y="159"/>
                      <a:pt x="121" y="163"/>
                    </a:cubicBezTo>
                    <a:cubicBezTo>
                      <a:pt x="123" y="171"/>
                      <a:pt x="123" y="179"/>
                      <a:pt x="122" y="186"/>
                    </a:cubicBezTo>
                    <a:cubicBezTo>
                      <a:pt x="121" y="189"/>
                      <a:pt x="121" y="192"/>
                      <a:pt x="122" y="194"/>
                    </a:cubicBezTo>
                    <a:cubicBezTo>
                      <a:pt x="123" y="202"/>
                      <a:pt x="129" y="205"/>
                      <a:pt x="136" y="203"/>
                    </a:cubicBezTo>
                    <a:cubicBezTo>
                      <a:pt x="139" y="202"/>
                      <a:pt x="142" y="200"/>
                      <a:pt x="144" y="197"/>
                    </a:cubicBezTo>
                    <a:cubicBezTo>
                      <a:pt x="150" y="192"/>
                      <a:pt x="158" y="189"/>
                      <a:pt x="165" y="186"/>
                    </a:cubicBezTo>
                    <a:cubicBezTo>
                      <a:pt x="168" y="185"/>
                      <a:pt x="170" y="184"/>
                      <a:pt x="173" y="183"/>
                    </a:cubicBezTo>
                    <a:cubicBezTo>
                      <a:pt x="174" y="182"/>
                      <a:pt x="174" y="182"/>
                      <a:pt x="175" y="181"/>
                    </a:cubicBezTo>
                    <a:cubicBezTo>
                      <a:pt x="176" y="180"/>
                      <a:pt x="176" y="178"/>
                      <a:pt x="175" y="177"/>
                    </a:cubicBezTo>
                    <a:cubicBezTo>
                      <a:pt x="174" y="176"/>
                      <a:pt x="172" y="175"/>
                      <a:pt x="171" y="174"/>
                    </a:cubicBezTo>
                    <a:cubicBezTo>
                      <a:pt x="170" y="173"/>
                      <a:pt x="169" y="173"/>
                      <a:pt x="168" y="173"/>
                    </a:cubicBezTo>
                    <a:cubicBezTo>
                      <a:pt x="163" y="171"/>
                      <a:pt x="161" y="168"/>
                      <a:pt x="160" y="163"/>
                    </a:cubicBezTo>
                    <a:cubicBezTo>
                      <a:pt x="159" y="161"/>
                      <a:pt x="160" y="158"/>
                      <a:pt x="160" y="155"/>
                    </a:cubicBezTo>
                    <a:cubicBezTo>
                      <a:pt x="160" y="155"/>
                      <a:pt x="160" y="154"/>
                      <a:pt x="161" y="153"/>
                    </a:cubicBezTo>
                    <a:close/>
                    <a:moveTo>
                      <a:pt x="71" y="69"/>
                    </a:moveTo>
                    <a:cubicBezTo>
                      <a:pt x="71" y="69"/>
                      <a:pt x="71" y="69"/>
                      <a:pt x="71" y="69"/>
                    </a:cubicBezTo>
                    <a:cubicBezTo>
                      <a:pt x="72" y="71"/>
                      <a:pt x="74" y="73"/>
                      <a:pt x="77" y="74"/>
                    </a:cubicBezTo>
                    <a:cubicBezTo>
                      <a:pt x="81" y="74"/>
                      <a:pt x="85" y="73"/>
                      <a:pt x="88" y="72"/>
                    </a:cubicBezTo>
                    <a:cubicBezTo>
                      <a:pt x="91" y="70"/>
                      <a:pt x="94" y="68"/>
                      <a:pt x="97" y="67"/>
                    </a:cubicBezTo>
                    <a:cubicBezTo>
                      <a:pt x="98" y="66"/>
                      <a:pt x="100" y="66"/>
                      <a:pt x="101" y="66"/>
                    </a:cubicBezTo>
                    <a:cubicBezTo>
                      <a:pt x="101" y="66"/>
                      <a:pt x="102" y="66"/>
                      <a:pt x="102" y="67"/>
                    </a:cubicBezTo>
                    <a:cubicBezTo>
                      <a:pt x="102" y="67"/>
                      <a:pt x="102" y="68"/>
                      <a:pt x="101" y="68"/>
                    </a:cubicBezTo>
                    <a:cubicBezTo>
                      <a:pt x="101" y="69"/>
                      <a:pt x="100" y="69"/>
                      <a:pt x="99" y="70"/>
                    </a:cubicBezTo>
                    <a:cubicBezTo>
                      <a:pt x="94" y="72"/>
                      <a:pt x="90" y="75"/>
                      <a:pt x="86" y="77"/>
                    </a:cubicBezTo>
                    <a:cubicBezTo>
                      <a:pt x="85" y="79"/>
                      <a:pt x="83" y="80"/>
                      <a:pt x="81" y="81"/>
                    </a:cubicBezTo>
                    <a:cubicBezTo>
                      <a:pt x="78" y="82"/>
                      <a:pt x="75" y="82"/>
                      <a:pt x="73" y="80"/>
                    </a:cubicBezTo>
                    <a:cubicBezTo>
                      <a:pt x="71" y="77"/>
                      <a:pt x="69" y="74"/>
                      <a:pt x="67" y="72"/>
                    </a:cubicBezTo>
                    <a:cubicBezTo>
                      <a:pt x="67" y="71"/>
                      <a:pt x="66" y="70"/>
                      <a:pt x="65" y="69"/>
                    </a:cubicBezTo>
                    <a:cubicBezTo>
                      <a:pt x="65" y="70"/>
                      <a:pt x="65" y="71"/>
                      <a:pt x="65" y="71"/>
                    </a:cubicBezTo>
                    <a:cubicBezTo>
                      <a:pt x="64" y="73"/>
                      <a:pt x="64" y="75"/>
                      <a:pt x="63" y="77"/>
                    </a:cubicBezTo>
                    <a:cubicBezTo>
                      <a:pt x="63" y="79"/>
                      <a:pt x="61" y="81"/>
                      <a:pt x="60" y="83"/>
                    </a:cubicBezTo>
                    <a:cubicBezTo>
                      <a:pt x="59" y="86"/>
                      <a:pt x="57" y="89"/>
                      <a:pt x="57" y="92"/>
                    </a:cubicBezTo>
                    <a:cubicBezTo>
                      <a:pt x="57" y="94"/>
                      <a:pt x="58" y="96"/>
                      <a:pt x="58" y="98"/>
                    </a:cubicBezTo>
                    <a:cubicBezTo>
                      <a:pt x="57" y="99"/>
                      <a:pt x="57" y="100"/>
                      <a:pt x="56" y="101"/>
                    </a:cubicBezTo>
                    <a:cubicBezTo>
                      <a:pt x="54" y="105"/>
                      <a:pt x="51" y="109"/>
                      <a:pt x="50" y="113"/>
                    </a:cubicBezTo>
                    <a:cubicBezTo>
                      <a:pt x="47" y="117"/>
                      <a:pt x="46" y="122"/>
                      <a:pt x="46" y="127"/>
                    </a:cubicBezTo>
                    <a:cubicBezTo>
                      <a:pt x="45" y="130"/>
                      <a:pt x="46" y="133"/>
                      <a:pt x="46" y="136"/>
                    </a:cubicBezTo>
                    <a:cubicBezTo>
                      <a:pt x="45" y="138"/>
                      <a:pt x="45" y="139"/>
                      <a:pt x="45" y="140"/>
                    </a:cubicBezTo>
                    <a:cubicBezTo>
                      <a:pt x="44" y="142"/>
                      <a:pt x="43" y="142"/>
                      <a:pt x="42" y="141"/>
                    </a:cubicBezTo>
                    <a:cubicBezTo>
                      <a:pt x="42" y="140"/>
                      <a:pt x="41" y="139"/>
                      <a:pt x="40" y="138"/>
                    </a:cubicBezTo>
                    <a:cubicBezTo>
                      <a:pt x="38" y="134"/>
                      <a:pt x="37" y="130"/>
                      <a:pt x="37" y="125"/>
                    </a:cubicBezTo>
                    <a:cubicBezTo>
                      <a:pt x="38" y="124"/>
                      <a:pt x="38" y="122"/>
                      <a:pt x="38" y="121"/>
                    </a:cubicBezTo>
                    <a:cubicBezTo>
                      <a:pt x="38" y="121"/>
                      <a:pt x="38" y="121"/>
                      <a:pt x="38" y="121"/>
                    </a:cubicBezTo>
                    <a:cubicBezTo>
                      <a:pt x="37" y="122"/>
                      <a:pt x="37" y="123"/>
                      <a:pt x="36" y="123"/>
                    </a:cubicBezTo>
                    <a:cubicBezTo>
                      <a:pt x="35" y="127"/>
                      <a:pt x="35" y="131"/>
                      <a:pt x="36" y="135"/>
                    </a:cubicBezTo>
                    <a:cubicBezTo>
                      <a:pt x="37" y="138"/>
                      <a:pt x="38" y="141"/>
                      <a:pt x="40" y="143"/>
                    </a:cubicBezTo>
                    <a:cubicBezTo>
                      <a:pt x="44" y="146"/>
                      <a:pt x="48" y="150"/>
                      <a:pt x="52" y="153"/>
                    </a:cubicBezTo>
                    <a:cubicBezTo>
                      <a:pt x="57" y="157"/>
                      <a:pt x="62" y="161"/>
                      <a:pt x="67" y="165"/>
                    </a:cubicBezTo>
                    <a:cubicBezTo>
                      <a:pt x="69" y="167"/>
                      <a:pt x="69" y="170"/>
                      <a:pt x="69" y="172"/>
                    </a:cubicBezTo>
                    <a:cubicBezTo>
                      <a:pt x="68" y="175"/>
                      <a:pt x="67" y="177"/>
                      <a:pt x="64" y="178"/>
                    </a:cubicBezTo>
                    <a:cubicBezTo>
                      <a:pt x="64" y="178"/>
                      <a:pt x="63" y="178"/>
                      <a:pt x="62" y="178"/>
                    </a:cubicBezTo>
                    <a:cubicBezTo>
                      <a:pt x="63" y="180"/>
                      <a:pt x="64" y="182"/>
                      <a:pt x="66" y="183"/>
                    </a:cubicBezTo>
                    <a:cubicBezTo>
                      <a:pt x="68" y="186"/>
                      <a:pt x="69" y="189"/>
                      <a:pt x="69" y="192"/>
                    </a:cubicBezTo>
                    <a:cubicBezTo>
                      <a:pt x="70" y="194"/>
                      <a:pt x="70" y="196"/>
                      <a:pt x="70" y="198"/>
                    </a:cubicBezTo>
                    <a:cubicBezTo>
                      <a:pt x="70" y="197"/>
                      <a:pt x="70" y="197"/>
                      <a:pt x="70" y="197"/>
                    </a:cubicBezTo>
                    <a:cubicBezTo>
                      <a:pt x="73" y="196"/>
                      <a:pt x="73" y="193"/>
                      <a:pt x="72" y="191"/>
                    </a:cubicBezTo>
                    <a:cubicBezTo>
                      <a:pt x="72" y="189"/>
                      <a:pt x="70" y="186"/>
                      <a:pt x="69" y="184"/>
                    </a:cubicBezTo>
                    <a:cubicBezTo>
                      <a:pt x="68" y="184"/>
                      <a:pt x="68" y="183"/>
                      <a:pt x="68" y="183"/>
                    </a:cubicBezTo>
                    <a:cubicBezTo>
                      <a:pt x="69" y="182"/>
                      <a:pt x="71" y="181"/>
                      <a:pt x="72" y="182"/>
                    </a:cubicBezTo>
                    <a:cubicBezTo>
                      <a:pt x="74" y="184"/>
                      <a:pt x="76" y="186"/>
                      <a:pt x="79" y="186"/>
                    </a:cubicBezTo>
                    <a:cubicBezTo>
                      <a:pt x="85" y="187"/>
                      <a:pt x="91" y="187"/>
                      <a:pt x="97" y="185"/>
                    </a:cubicBezTo>
                    <a:cubicBezTo>
                      <a:pt x="101" y="184"/>
                      <a:pt x="106" y="183"/>
                      <a:pt x="109" y="179"/>
                    </a:cubicBezTo>
                    <a:cubicBezTo>
                      <a:pt x="111" y="178"/>
                      <a:pt x="112" y="176"/>
                      <a:pt x="113" y="174"/>
                    </a:cubicBezTo>
                    <a:cubicBezTo>
                      <a:pt x="114" y="173"/>
                      <a:pt x="115" y="173"/>
                      <a:pt x="115" y="173"/>
                    </a:cubicBezTo>
                    <a:cubicBezTo>
                      <a:pt x="116" y="173"/>
                      <a:pt x="116" y="174"/>
                      <a:pt x="117" y="175"/>
                    </a:cubicBezTo>
                    <a:cubicBezTo>
                      <a:pt x="117" y="179"/>
                      <a:pt x="116" y="182"/>
                      <a:pt x="115" y="186"/>
                    </a:cubicBezTo>
                    <a:cubicBezTo>
                      <a:pt x="115" y="188"/>
                      <a:pt x="114" y="191"/>
                      <a:pt x="113" y="193"/>
                    </a:cubicBezTo>
                    <a:cubicBezTo>
                      <a:pt x="113" y="195"/>
                      <a:pt x="114" y="196"/>
                      <a:pt x="116" y="196"/>
                    </a:cubicBezTo>
                    <a:cubicBezTo>
                      <a:pt x="117" y="191"/>
                      <a:pt x="118" y="187"/>
                      <a:pt x="119" y="183"/>
                    </a:cubicBezTo>
                    <a:cubicBezTo>
                      <a:pt x="119" y="179"/>
                      <a:pt x="120" y="175"/>
                      <a:pt x="119" y="171"/>
                    </a:cubicBezTo>
                    <a:cubicBezTo>
                      <a:pt x="119" y="167"/>
                      <a:pt x="118" y="164"/>
                      <a:pt x="118" y="160"/>
                    </a:cubicBezTo>
                    <a:cubicBezTo>
                      <a:pt x="118" y="157"/>
                      <a:pt x="118" y="153"/>
                      <a:pt x="119" y="150"/>
                    </a:cubicBezTo>
                    <a:cubicBezTo>
                      <a:pt x="120" y="148"/>
                      <a:pt x="122" y="146"/>
                      <a:pt x="125" y="146"/>
                    </a:cubicBezTo>
                    <a:cubicBezTo>
                      <a:pt x="126" y="146"/>
                      <a:pt x="126" y="146"/>
                      <a:pt x="126" y="146"/>
                    </a:cubicBezTo>
                    <a:cubicBezTo>
                      <a:pt x="127" y="142"/>
                      <a:pt x="129" y="140"/>
                      <a:pt x="132" y="139"/>
                    </a:cubicBezTo>
                    <a:cubicBezTo>
                      <a:pt x="137" y="138"/>
                      <a:pt x="141" y="139"/>
                      <a:pt x="146" y="141"/>
                    </a:cubicBezTo>
                    <a:cubicBezTo>
                      <a:pt x="145" y="138"/>
                      <a:pt x="142" y="138"/>
                      <a:pt x="140" y="136"/>
                    </a:cubicBezTo>
                    <a:cubicBezTo>
                      <a:pt x="145" y="119"/>
                      <a:pt x="135" y="97"/>
                      <a:pt x="126" y="92"/>
                    </a:cubicBezTo>
                    <a:cubicBezTo>
                      <a:pt x="131" y="98"/>
                      <a:pt x="134" y="104"/>
                      <a:pt x="136" y="110"/>
                    </a:cubicBezTo>
                    <a:cubicBezTo>
                      <a:pt x="139" y="117"/>
                      <a:pt x="140" y="124"/>
                      <a:pt x="139" y="131"/>
                    </a:cubicBezTo>
                    <a:cubicBezTo>
                      <a:pt x="138" y="136"/>
                      <a:pt x="136" y="138"/>
                      <a:pt x="132" y="138"/>
                    </a:cubicBezTo>
                    <a:cubicBezTo>
                      <a:pt x="130" y="138"/>
                      <a:pt x="128" y="137"/>
                      <a:pt x="128" y="135"/>
                    </a:cubicBezTo>
                    <a:cubicBezTo>
                      <a:pt x="127" y="133"/>
                      <a:pt x="127" y="131"/>
                      <a:pt x="127" y="129"/>
                    </a:cubicBezTo>
                    <a:cubicBezTo>
                      <a:pt x="127" y="122"/>
                      <a:pt x="126" y="114"/>
                      <a:pt x="124" y="107"/>
                    </a:cubicBezTo>
                    <a:cubicBezTo>
                      <a:pt x="122" y="103"/>
                      <a:pt x="121" y="99"/>
                      <a:pt x="117" y="95"/>
                    </a:cubicBezTo>
                    <a:cubicBezTo>
                      <a:pt x="117" y="95"/>
                      <a:pt x="117" y="95"/>
                      <a:pt x="117" y="94"/>
                    </a:cubicBezTo>
                    <a:cubicBezTo>
                      <a:pt x="115" y="86"/>
                      <a:pt x="112" y="79"/>
                      <a:pt x="107" y="73"/>
                    </a:cubicBezTo>
                    <a:cubicBezTo>
                      <a:pt x="105" y="70"/>
                      <a:pt x="105" y="67"/>
                      <a:pt x="105" y="64"/>
                    </a:cubicBezTo>
                    <a:cubicBezTo>
                      <a:pt x="106" y="62"/>
                      <a:pt x="106" y="61"/>
                      <a:pt x="107" y="59"/>
                    </a:cubicBezTo>
                    <a:cubicBezTo>
                      <a:pt x="107" y="56"/>
                      <a:pt x="106" y="54"/>
                      <a:pt x="104" y="54"/>
                    </a:cubicBezTo>
                    <a:cubicBezTo>
                      <a:pt x="100" y="53"/>
                      <a:pt x="97" y="51"/>
                      <a:pt x="94" y="50"/>
                    </a:cubicBezTo>
                    <a:cubicBezTo>
                      <a:pt x="91" y="49"/>
                      <a:pt x="91" y="47"/>
                      <a:pt x="91" y="45"/>
                    </a:cubicBezTo>
                    <a:cubicBezTo>
                      <a:pt x="91" y="43"/>
                      <a:pt x="91" y="42"/>
                      <a:pt x="92" y="41"/>
                    </a:cubicBezTo>
                    <a:cubicBezTo>
                      <a:pt x="93" y="38"/>
                      <a:pt x="95" y="37"/>
                      <a:pt x="98" y="37"/>
                    </a:cubicBezTo>
                    <a:cubicBezTo>
                      <a:pt x="99" y="37"/>
                      <a:pt x="101" y="38"/>
                      <a:pt x="102" y="40"/>
                    </a:cubicBezTo>
                    <a:cubicBezTo>
                      <a:pt x="103" y="43"/>
                      <a:pt x="103" y="45"/>
                      <a:pt x="102" y="48"/>
                    </a:cubicBezTo>
                    <a:cubicBezTo>
                      <a:pt x="102" y="49"/>
                      <a:pt x="101" y="50"/>
                      <a:pt x="102" y="50"/>
                    </a:cubicBezTo>
                    <a:cubicBezTo>
                      <a:pt x="104" y="51"/>
                      <a:pt x="107" y="50"/>
                      <a:pt x="107" y="49"/>
                    </a:cubicBezTo>
                    <a:cubicBezTo>
                      <a:pt x="107" y="44"/>
                      <a:pt x="107" y="40"/>
                      <a:pt x="105" y="36"/>
                    </a:cubicBezTo>
                    <a:cubicBezTo>
                      <a:pt x="103" y="32"/>
                      <a:pt x="100" y="30"/>
                      <a:pt x="96" y="30"/>
                    </a:cubicBezTo>
                    <a:cubicBezTo>
                      <a:pt x="91" y="31"/>
                      <a:pt x="88" y="33"/>
                      <a:pt x="87" y="38"/>
                    </a:cubicBezTo>
                    <a:cubicBezTo>
                      <a:pt x="87" y="39"/>
                      <a:pt x="86" y="41"/>
                      <a:pt x="86" y="42"/>
                    </a:cubicBezTo>
                    <a:cubicBezTo>
                      <a:pt x="87" y="44"/>
                      <a:pt x="87" y="45"/>
                      <a:pt x="87" y="47"/>
                    </a:cubicBezTo>
                    <a:cubicBezTo>
                      <a:pt x="85" y="46"/>
                      <a:pt x="83" y="46"/>
                      <a:pt x="80" y="46"/>
                    </a:cubicBezTo>
                    <a:cubicBezTo>
                      <a:pt x="80" y="46"/>
                      <a:pt x="80" y="46"/>
                      <a:pt x="79" y="46"/>
                    </a:cubicBezTo>
                    <a:cubicBezTo>
                      <a:pt x="78" y="46"/>
                      <a:pt x="78" y="46"/>
                      <a:pt x="78" y="44"/>
                    </a:cubicBezTo>
                    <a:cubicBezTo>
                      <a:pt x="77" y="42"/>
                      <a:pt x="77" y="39"/>
                      <a:pt x="76" y="36"/>
                    </a:cubicBezTo>
                    <a:cubicBezTo>
                      <a:pt x="76" y="36"/>
                      <a:pt x="76" y="35"/>
                      <a:pt x="76" y="35"/>
                    </a:cubicBezTo>
                    <a:cubicBezTo>
                      <a:pt x="74" y="33"/>
                      <a:pt x="73" y="31"/>
                      <a:pt x="70" y="31"/>
                    </a:cubicBezTo>
                    <a:cubicBezTo>
                      <a:pt x="68" y="31"/>
                      <a:pt x="66" y="33"/>
                      <a:pt x="65" y="35"/>
                    </a:cubicBezTo>
                    <a:cubicBezTo>
                      <a:pt x="63" y="40"/>
                      <a:pt x="63" y="45"/>
                      <a:pt x="66" y="50"/>
                    </a:cubicBezTo>
                    <a:cubicBezTo>
                      <a:pt x="66" y="51"/>
                      <a:pt x="67" y="51"/>
                      <a:pt x="68" y="51"/>
                    </a:cubicBezTo>
                    <a:cubicBezTo>
                      <a:pt x="69" y="51"/>
                      <a:pt x="69" y="50"/>
                      <a:pt x="69" y="49"/>
                    </a:cubicBezTo>
                    <a:cubicBezTo>
                      <a:pt x="68" y="49"/>
                      <a:pt x="68" y="48"/>
                      <a:pt x="67" y="48"/>
                    </a:cubicBezTo>
                    <a:cubicBezTo>
                      <a:pt x="66" y="45"/>
                      <a:pt x="65" y="43"/>
                      <a:pt x="66" y="40"/>
                    </a:cubicBezTo>
                    <a:cubicBezTo>
                      <a:pt x="67" y="37"/>
                      <a:pt x="71" y="36"/>
                      <a:pt x="73" y="38"/>
                    </a:cubicBezTo>
                    <a:cubicBezTo>
                      <a:pt x="74" y="40"/>
                      <a:pt x="75" y="42"/>
                      <a:pt x="75" y="44"/>
                    </a:cubicBezTo>
                    <a:cubicBezTo>
                      <a:pt x="75" y="46"/>
                      <a:pt x="74" y="47"/>
                      <a:pt x="73" y="48"/>
                    </a:cubicBezTo>
                    <a:cubicBezTo>
                      <a:pt x="73" y="49"/>
                      <a:pt x="72" y="49"/>
                      <a:pt x="72" y="49"/>
                    </a:cubicBezTo>
                    <a:cubicBezTo>
                      <a:pt x="71" y="51"/>
                      <a:pt x="69" y="53"/>
                      <a:pt x="66" y="54"/>
                    </a:cubicBezTo>
                    <a:cubicBezTo>
                      <a:pt x="65" y="55"/>
                      <a:pt x="65" y="56"/>
                      <a:pt x="64" y="57"/>
                    </a:cubicBezTo>
                    <a:cubicBezTo>
                      <a:pt x="63" y="58"/>
                      <a:pt x="64" y="59"/>
                      <a:pt x="65" y="60"/>
                    </a:cubicBezTo>
                    <a:cubicBezTo>
                      <a:pt x="66" y="61"/>
                      <a:pt x="67" y="62"/>
                      <a:pt x="68" y="63"/>
                    </a:cubicBezTo>
                    <a:cubicBezTo>
                      <a:pt x="70" y="66"/>
                      <a:pt x="74" y="67"/>
                      <a:pt x="78" y="67"/>
                    </a:cubicBezTo>
                    <a:cubicBezTo>
                      <a:pt x="82" y="66"/>
                      <a:pt x="86" y="65"/>
                      <a:pt x="91" y="64"/>
                    </a:cubicBezTo>
                    <a:cubicBezTo>
                      <a:pt x="94" y="63"/>
                      <a:pt x="98" y="62"/>
                      <a:pt x="101" y="58"/>
                    </a:cubicBezTo>
                    <a:cubicBezTo>
                      <a:pt x="101" y="58"/>
                      <a:pt x="102" y="58"/>
                      <a:pt x="103" y="58"/>
                    </a:cubicBezTo>
                    <a:cubicBezTo>
                      <a:pt x="103" y="59"/>
                      <a:pt x="103" y="60"/>
                      <a:pt x="103" y="60"/>
                    </a:cubicBezTo>
                    <a:cubicBezTo>
                      <a:pt x="103" y="61"/>
                      <a:pt x="102" y="61"/>
                      <a:pt x="102" y="62"/>
                    </a:cubicBezTo>
                    <a:cubicBezTo>
                      <a:pt x="96" y="64"/>
                      <a:pt x="91" y="66"/>
                      <a:pt x="86" y="68"/>
                    </a:cubicBezTo>
                    <a:cubicBezTo>
                      <a:pt x="82" y="69"/>
                      <a:pt x="78" y="70"/>
                      <a:pt x="74" y="69"/>
                    </a:cubicBezTo>
                    <a:cubicBezTo>
                      <a:pt x="73" y="69"/>
                      <a:pt x="72" y="69"/>
                      <a:pt x="71" y="69"/>
                    </a:cubicBezTo>
                    <a:close/>
                    <a:moveTo>
                      <a:pt x="73" y="45"/>
                    </a:moveTo>
                    <a:cubicBezTo>
                      <a:pt x="73" y="43"/>
                      <a:pt x="73" y="42"/>
                      <a:pt x="72" y="40"/>
                    </a:cubicBezTo>
                    <a:cubicBezTo>
                      <a:pt x="71" y="40"/>
                      <a:pt x="71" y="40"/>
                      <a:pt x="70" y="40"/>
                    </a:cubicBezTo>
                    <a:cubicBezTo>
                      <a:pt x="70" y="40"/>
                      <a:pt x="70" y="41"/>
                      <a:pt x="70" y="41"/>
                    </a:cubicBezTo>
                    <a:cubicBezTo>
                      <a:pt x="72" y="42"/>
                      <a:pt x="71" y="43"/>
                      <a:pt x="71" y="44"/>
                    </a:cubicBezTo>
                    <a:cubicBezTo>
                      <a:pt x="71" y="45"/>
                      <a:pt x="72" y="45"/>
                      <a:pt x="73" y="45"/>
                    </a:cubicBezTo>
                    <a:close/>
                    <a:moveTo>
                      <a:pt x="97" y="40"/>
                    </a:moveTo>
                    <a:cubicBezTo>
                      <a:pt x="99" y="40"/>
                      <a:pt x="99" y="42"/>
                      <a:pt x="100" y="44"/>
                    </a:cubicBezTo>
                    <a:cubicBezTo>
                      <a:pt x="100" y="44"/>
                      <a:pt x="101" y="43"/>
                      <a:pt x="101" y="43"/>
                    </a:cubicBezTo>
                    <a:cubicBezTo>
                      <a:pt x="101" y="42"/>
                      <a:pt x="100" y="40"/>
                      <a:pt x="99" y="40"/>
                    </a:cubicBezTo>
                    <a:cubicBezTo>
                      <a:pt x="98" y="39"/>
                      <a:pt x="98" y="39"/>
                      <a:pt x="97" y="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9" name="Freeform 267"/>
              <p:cNvSpPr>
                <a:spLocks/>
              </p:cNvSpPr>
              <p:nvPr userDrawn="1"/>
            </p:nvSpPr>
            <p:spPr bwMode="auto">
              <a:xfrm>
                <a:off x="4077" y="59"/>
                <a:ext cx="2" cy="2"/>
              </a:xfrm>
              <a:custGeom>
                <a:avLst/>
                <a:gdLst>
                  <a:gd name="T0" fmla="*/ 2 w 2"/>
                  <a:gd name="T1" fmla="*/ 0 h 2"/>
                  <a:gd name="T2" fmla="*/ 1 w 2"/>
                  <a:gd name="T3" fmla="*/ 2 h 2"/>
                  <a:gd name="T4" fmla="*/ 0 w 2"/>
                  <a:gd name="T5" fmla="*/ 2 h 2"/>
                  <a:gd name="T6" fmla="*/ 0 w 2"/>
                  <a:gd name="T7" fmla="*/ 1 h 2"/>
                  <a:gd name="T8" fmla="*/ 2 w 2"/>
                  <a:gd name="T9" fmla="*/ 0 h 2"/>
                  <a:gd name="T10" fmla="*/ 2 w 2"/>
                  <a:gd name="T11" fmla="*/ 0 h 2"/>
                </a:gdLst>
                <a:ahLst/>
                <a:cxnLst>
                  <a:cxn ang="0">
                    <a:pos x="T0" y="T1"/>
                  </a:cxn>
                  <a:cxn ang="0">
                    <a:pos x="T2" y="T3"/>
                  </a:cxn>
                  <a:cxn ang="0">
                    <a:pos x="T4" y="T5"/>
                  </a:cxn>
                  <a:cxn ang="0">
                    <a:pos x="T6" y="T7"/>
                  </a:cxn>
                  <a:cxn ang="0">
                    <a:pos x="T8" y="T9"/>
                  </a:cxn>
                  <a:cxn ang="0">
                    <a:pos x="T10" y="T11"/>
                  </a:cxn>
                </a:cxnLst>
                <a:rect l="0" t="0" r="r" b="b"/>
                <a:pathLst>
                  <a:path w="2" h="2">
                    <a:moveTo>
                      <a:pt x="2" y="0"/>
                    </a:moveTo>
                    <a:cubicBezTo>
                      <a:pt x="2" y="1"/>
                      <a:pt x="1" y="1"/>
                      <a:pt x="1" y="2"/>
                    </a:cubicBezTo>
                    <a:cubicBezTo>
                      <a:pt x="1" y="2"/>
                      <a:pt x="0" y="2"/>
                      <a:pt x="0" y="2"/>
                    </a:cubicBezTo>
                    <a:cubicBezTo>
                      <a:pt x="0" y="2"/>
                      <a:pt x="0" y="1"/>
                      <a:pt x="0" y="1"/>
                    </a:cubicBezTo>
                    <a:cubicBezTo>
                      <a:pt x="1" y="1"/>
                      <a:pt x="1" y="0"/>
                      <a:pt x="2" y="0"/>
                    </a:cubicBezTo>
                    <a:cubicBezTo>
                      <a:pt x="2" y="0"/>
                      <a:pt x="2" y="0"/>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0" name="Freeform 268"/>
              <p:cNvSpPr>
                <a:spLocks/>
              </p:cNvSpPr>
              <p:nvPr userDrawn="1"/>
            </p:nvSpPr>
            <p:spPr bwMode="auto">
              <a:xfrm>
                <a:off x="4089" y="59"/>
                <a:ext cx="4" cy="2"/>
              </a:xfrm>
              <a:custGeom>
                <a:avLst/>
                <a:gdLst>
                  <a:gd name="T0" fmla="*/ 0 w 3"/>
                  <a:gd name="T1" fmla="*/ 0 h 2"/>
                  <a:gd name="T2" fmla="*/ 3 w 3"/>
                  <a:gd name="T3" fmla="*/ 0 h 2"/>
                  <a:gd name="T4" fmla="*/ 3 w 3"/>
                  <a:gd name="T5" fmla="*/ 1 h 2"/>
                  <a:gd name="T6" fmla="*/ 2 w 3"/>
                  <a:gd name="T7" fmla="*/ 1 h 2"/>
                  <a:gd name="T8" fmla="*/ 0 w 3"/>
                  <a:gd name="T9" fmla="*/ 0 h 2"/>
                </a:gdLst>
                <a:ahLst/>
                <a:cxnLst>
                  <a:cxn ang="0">
                    <a:pos x="T0" y="T1"/>
                  </a:cxn>
                  <a:cxn ang="0">
                    <a:pos x="T2" y="T3"/>
                  </a:cxn>
                  <a:cxn ang="0">
                    <a:pos x="T4" y="T5"/>
                  </a:cxn>
                  <a:cxn ang="0">
                    <a:pos x="T6" y="T7"/>
                  </a:cxn>
                  <a:cxn ang="0">
                    <a:pos x="T8" y="T9"/>
                  </a:cxn>
                </a:cxnLst>
                <a:rect l="0" t="0" r="r" b="b"/>
                <a:pathLst>
                  <a:path w="3" h="2">
                    <a:moveTo>
                      <a:pt x="0" y="0"/>
                    </a:moveTo>
                    <a:cubicBezTo>
                      <a:pt x="1" y="0"/>
                      <a:pt x="2" y="0"/>
                      <a:pt x="3" y="0"/>
                    </a:cubicBezTo>
                    <a:cubicBezTo>
                      <a:pt x="3" y="0"/>
                      <a:pt x="3" y="1"/>
                      <a:pt x="3" y="1"/>
                    </a:cubicBezTo>
                    <a:cubicBezTo>
                      <a:pt x="3" y="1"/>
                      <a:pt x="3" y="2"/>
                      <a:pt x="2" y="1"/>
                    </a:cubicBezTo>
                    <a:cubicBezTo>
                      <a:pt x="2" y="1"/>
                      <a:pt x="1" y="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1" name="Freeform 269"/>
              <p:cNvSpPr>
                <a:spLocks noEditPoints="1"/>
              </p:cNvSpPr>
              <p:nvPr userDrawn="1"/>
            </p:nvSpPr>
            <p:spPr bwMode="auto">
              <a:xfrm>
                <a:off x="2033" y="739"/>
                <a:ext cx="156" cy="248"/>
              </a:xfrm>
              <a:custGeom>
                <a:avLst/>
                <a:gdLst>
                  <a:gd name="T0" fmla="*/ 128 w 128"/>
                  <a:gd name="T1" fmla="*/ 101 h 203"/>
                  <a:gd name="T2" fmla="*/ 123 w 128"/>
                  <a:gd name="T3" fmla="*/ 144 h 203"/>
                  <a:gd name="T4" fmla="*/ 111 w 128"/>
                  <a:gd name="T5" fmla="*/ 176 h 203"/>
                  <a:gd name="T6" fmla="*/ 90 w 128"/>
                  <a:gd name="T7" fmla="*/ 196 h 203"/>
                  <a:gd name="T8" fmla="*/ 62 w 128"/>
                  <a:gd name="T9" fmla="*/ 203 h 203"/>
                  <a:gd name="T10" fmla="*/ 36 w 128"/>
                  <a:gd name="T11" fmla="*/ 196 h 203"/>
                  <a:gd name="T12" fmla="*/ 16 w 128"/>
                  <a:gd name="T13" fmla="*/ 177 h 203"/>
                  <a:gd name="T14" fmla="*/ 4 w 128"/>
                  <a:gd name="T15" fmla="*/ 147 h 203"/>
                  <a:gd name="T16" fmla="*/ 0 w 128"/>
                  <a:gd name="T17" fmla="*/ 105 h 203"/>
                  <a:gd name="T18" fmla="*/ 4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4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6" y="131"/>
                      <a:pt x="123" y="144"/>
                    </a:cubicBezTo>
                    <a:cubicBezTo>
                      <a:pt x="120" y="157"/>
                      <a:pt x="116" y="167"/>
                      <a:pt x="111" y="176"/>
                    </a:cubicBezTo>
                    <a:cubicBezTo>
                      <a:pt x="105" y="185"/>
                      <a:pt x="98" y="191"/>
                      <a:pt x="90" y="196"/>
                    </a:cubicBezTo>
                    <a:cubicBezTo>
                      <a:pt x="82" y="201"/>
                      <a:pt x="72" y="203"/>
                      <a:pt x="62" y="203"/>
                    </a:cubicBezTo>
                    <a:cubicBezTo>
                      <a:pt x="52" y="203"/>
                      <a:pt x="43" y="201"/>
                      <a:pt x="36" y="196"/>
                    </a:cubicBezTo>
                    <a:cubicBezTo>
                      <a:pt x="28" y="192"/>
                      <a:pt x="22" y="186"/>
                      <a:pt x="16" y="177"/>
                    </a:cubicBezTo>
                    <a:cubicBezTo>
                      <a:pt x="11" y="169"/>
                      <a:pt x="7" y="159"/>
                      <a:pt x="4" y="147"/>
                    </a:cubicBezTo>
                    <a:cubicBezTo>
                      <a:pt x="2" y="135"/>
                      <a:pt x="0" y="121"/>
                      <a:pt x="0" y="105"/>
                    </a:cubicBezTo>
                    <a:cubicBezTo>
                      <a:pt x="0" y="88"/>
                      <a:pt x="2" y="73"/>
                      <a:pt x="4" y="60"/>
                    </a:cubicBezTo>
                    <a:cubicBezTo>
                      <a:pt x="7" y="47"/>
                      <a:pt x="12" y="36"/>
                      <a:pt x="17" y="27"/>
                    </a:cubicBezTo>
                    <a:cubicBezTo>
                      <a:pt x="23" y="18"/>
                      <a:pt x="30" y="11"/>
                      <a:pt x="38" y="7"/>
                    </a:cubicBezTo>
                    <a:cubicBezTo>
                      <a:pt x="46" y="2"/>
                      <a:pt x="56" y="0"/>
                      <a:pt x="66" y="0"/>
                    </a:cubicBezTo>
                    <a:cubicBezTo>
                      <a:pt x="107" y="0"/>
                      <a:pt x="128" y="34"/>
                      <a:pt x="128" y="101"/>
                    </a:cubicBezTo>
                    <a:close/>
                    <a:moveTo>
                      <a:pt x="105" y="103"/>
                    </a:moveTo>
                    <a:cubicBezTo>
                      <a:pt x="105" y="47"/>
                      <a:pt x="92" y="19"/>
                      <a:pt x="65" y="19"/>
                    </a:cubicBezTo>
                    <a:cubicBezTo>
                      <a:pt x="37" y="19"/>
                      <a:pt x="23" y="47"/>
                      <a:pt x="23" y="104"/>
                    </a:cubicBezTo>
                    <a:cubicBezTo>
                      <a:pt x="23" y="157"/>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2" name="Freeform 270"/>
              <p:cNvSpPr>
                <a:spLocks noEditPoints="1"/>
              </p:cNvSpPr>
              <p:nvPr userDrawn="1"/>
            </p:nvSpPr>
            <p:spPr bwMode="auto">
              <a:xfrm>
                <a:off x="2228" y="739"/>
                <a:ext cx="156" cy="248"/>
              </a:xfrm>
              <a:custGeom>
                <a:avLst/>
                <a:gdLst>
                  <a:gd name="T0" fmla="*/ 128 w 128"/>
                  <a:gd name="T1" fmla="*/ 101 h 203"/>
                  <a:gd name="T2" fmla="*/ 123 w 128"/>
                  <a:gd name="T3" fmla="*/ 144 h 203"/>
                  <a:gd name="T4" fmla="*/ 111 w 128"/>
                  <a:gd name="T5" fmla="*/ 176 h 203"/>
                  <a:gd name="T6" fmla="*/ 90 w 128"/>
                  <a:gd name="T7" fmla="*/ 196 h 203"/>
                  <a:gd name="T8" fmla="*/ 62 w 128"/>
                  <a:gd name="T9" fmla="*/ 203 h 203"/>
                  <a:gd name="T10" fmla="*/ 36 w 128"/>
                  <a:gd name="T11" fmla="*/ 196 h 203"/>
                  <a:gd name="T12" fmla="*/ 16 w 128"/>
                  <a:gd name="T13" fmla="*/ 177 h 203"/>
                  <a:gd name="T14" fmla="*/ 4 w 128"/>
                  <a:gd name="T15" fmla="*/ 147 h 203"/>
                  <a:gd name="T16" fmla="*/ 0 w 128"/>
                  <a:gd name="T17" fmla="*/ 105 h 203"/>
                  <a:gd name="T18" fmla="*/ 4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4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6" y="131"/>
                      <a:pt x="123" y="144"/>
                    </a:cubicBezTo>
                    <a:cubicBezTo>
                      <a:pt x="120" y="157"/>
                      <a:pt x="116" y="167"/>
                      <a:pt x="111" y="176"/>
                    </a:cubicBezTo>
                    <a:cubicBezTo>
                      <a:pt x="105" y="185"/>
                      <a:pt x="98" y="191"/>
                      <a:pt x="90" y="196"/>
                    </a:cubicBezTo>
                    <a:cubicBezTo>
                      <a:pt x="82" y="201"/>
                      <a:pt x="72" y="203"/>
                      <a:pt x="62" y="203"/>
                    </a:cubicBezTo>
                    <a:cubicBezTo>
                      <a:pt x="52" y="203"/>
                      <a:pt x="43" y="201"/>
                      <a:pt x="36" y="196"/>
                    </a:cubicBezTo>
                    <a:cubicBezTo>
                      <a:pt x="28" y="192"/>
                      <a:pt x="22" y="186"/>
                      <a:pt x="16" y="177"/>
                    </a:cubicBezTo>
                    <a:cubicBezTo>
                      <a:pt x="11" y="169"/>
                      <a:pt x="7" y="159"/>
                      <a:pt x="4" y="147"/>
                    </a:cubicBezTo>
                    <a:cubicBezTo>
                      <a:pt x="2" y="135"/>
                      <a:pt x="0" y="121"/>
                      <a:pt x="0" y="105"/>
                    </a:cubicBezTo>
                    <a:cubicBezTo>
                      <a:pt x="0" y="88"/>
                      <a:pt x="2" y="73"/>
                      <a:pt x="4" y="60"/>
                    </a:cubicBezTo>
                    <a:cubicBezTo>
                      <a:pt x="7" y="47"/>
                      <a:pt x="12" y="36"/>
                      <a:pt x="17" y="27"/>
                    </a:cubicBezTo>
                    <a:cubicBezTo>
                      <a:pt x="23" y="18"/>
                      <a:pt x="30" y="11"/>
                      <a:pt x="38" y="7"/>
                    </a:cubicBezTo>
                    <a:cubicBezTo>
                      <a:pt x="46" y="2"/>
                      <a:pt x="56" y="0"/>
                      <a:pt x="66" y="0"/>
                    </a:cubicBezTo>
                    <a:cubicBezTo>
                      <a:pt x="107" y="0"/>
                      <a:pt x="128" y="34"/>
                      <a:pt x="128" y="101"/>
                    </a:cubicBezTo>
                    <a:close/>
                    <a:moveTo>
                      <a:pt x="105" y="103"/>
                    </a:moveTo>
                    <a:cubicBezTo>
                      <a:pt x="105" y="47"/>
                      <a:pt x="92" y="19"/>
                      <a:pt x="65" y="19"/>
                    </a:cubicBezTo>
                    <a:cubicBezTo>
                      <a:pt x="37" y="19"/>
                      <a:pt x="23" y="47"/>
                      <a:pt x="23" y="104"/>
                    </a:cubicBezTo>
                    <a:cubicBezTo>
                      <a:pt x="23" y="157"/>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3" name="Freeform 271"/>
              <p:cNvSpPr>
                <a:spLocks noEditPoints="1"/>
              </p:cNvSpPr>
              <p:nvPr userDrawn="1"/>
            </p:nvSpPr>
            <p:spPr bwMode="auto">
              <a:xfrm>
                <a:off x="2423" y="739"/>
                <a:ext cx="156" cy="248"/>
              </a:xfrm>
              <a:custGeom>
                <a:avLst/>
                <a:gdLst>
                  <a:gd name="T0" fmla="*/ 128 w 128"/>
                  <a:gd name="T1" fmla="*/ 101 h 203"/>
                  <a:gd name="T2" fmla="*/ 123 w 128"/>
                  <a:gd name="T3" fmla="*/ 144 h 203"/>
                  <a:gd name="T4" fmla="*/ 111 w 128"/>
                  <a:gd name="T5" fmla="*/ 176 h 203"/>
                  <a:gd name="T6" fmla="*/ 90 w 128"/>
                  <a:gd name="T7" fmla="*/ 196 h 203"/>
                  <a:gd name="T8" fmla="*/ 62 w 128"/>
                  <a:gd name="T9" fmla="*/ 203 h 203"/>
                  <a:gd name="T10" fmla="*/ 36 w 128"/>
                  <a:gd name="T11" fmla="*/ 196 h 203"/>
                  <a:gd name="T12" fmla="*/ 16 w 128"/>
                  <a:gd name="T13" fmla="*/ 177 h 203"/>
                  <a:gd name="T14" fmla="*/ 4 w 128"/>
                  <a:gd name="T15" fmla="*/ 147 h 203"/>
                  <a:gd name="T16" fmla="*/ 0 w 128"/>
                  <a:gd name="T17" fmla="*/ 105 h 203"/>
                  <a:gd name="T18" fmla="*/ 4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4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6" y="131"/>
                      <a:pt x="123" y="144"/>
                    </a:cubicBezTo>
                    <a:cubicBezTo>
                      <a:pt x="120" y="157"/>
                      <a:pt x="116" y="167"/>
                      <a:pt x="111" y="176"/>
                    </a:cubicBezTo>
                    <a:cubicBezTo>
                      <a:pt x="105" y="185"/>
                      <a:pt x="98" y="191"/>
                      <a:pt x="90" y="196"/>
                    </a:cubicBezTo>
                    <a:cubicBezTo>
                      <a:pt x="82" y="201"/>
                      <a:pt x="72" y="203"/>
                      <a:pt x="62" y="203"/>
                    </a:cubicBezTo>
                    <a:cubicBezTo>
                      <a:pt x="52" y="203"/>
                      <a:pt x="43" y="201"/>
                      <a:pt x="36" y="196"/>
                    </a:cubicBezTo>
                    <a:cubicBezTo>
                      <a:pt x="28" y="192"/>
                      <a:pt x="22" y="186"/>
                      <a:pt x="16" y="177"/>
                    </a:cubicBezTo>
                    <a:cubicBezTo>
                      <a:pt x="11" y="169"/>
                      <a:pt x="7" y="159"/>
                      <a:pt x="4" y="147"/>
                    </a:cubicBezTo>
                    <a:cubicBezTo>
                      <a:pt x="2" y="135"/>
                      <a:pt x="0" y="121"/>
                      <a:pt x="0" y="105"/>
                    </a:cubicBezTo>
                    <a:cubicBezTo>
                      <a:pt x="0" y="88"/>
                      <a:pt x="2" y="73"/>
                      <a:pt x="4" y="60"/>
                    </a:cubicBezTo>
                    <a:cubicBezTo>
                      <a:pt x="7" y="47"/>
                      <a:pt x="12" y="36"/>
                      <a:pt x="17" y="27"/>
                    </a:cubicBezTo>
                    <a:cubicBezTo>
                      <a:pt x="23" y="18"/>
                      <a:pt x="30" y="11"/>
                      <a:pt x="38" y="7"/>
                    </a:cubicBezTo>
                    <a:cubicBezTo>
                      <a:pt x="46" y="2"/>
                      <a:pt x="56" y="0"/>
                      <a:pt x="66" y="0"/>
                    </a:cubicBezTo>
                    <a:cubicBezTo>
                      <a:pt x="107" y="0"/>
                      <a:pt x="128" y="34"/>
                      <a:pt x="128" y="101"/>
                    </a:cubicBezTo>
                    <a:close/>
                    <a:moveTo>
                      <a:pt x="105" y="103"/>
                    </a:moveTo>
                    <a:cubicBezTo>
                      <a:pt x="105" y="47"/>
                      <a:pt x="92" y="19"/>
                      <a:pt x="65" y="19"/>
                    </a:cubicBezTo>
                    <a:cubicBezTo>
                      <a:pt x="37" y="19"/>
                      <a:pt x="23" y="47"/>
                      <a:pt x="23" y="104"/>
                    </a:cubicBezTo>
                    <a:cubicBezTo>
                      <a:pt x="23" y="157"/>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4" name="Freeform 272"/>
              <p:cNvSpPr>
                <a:spLocks/>
              </p:cNvSpPr>
              <p:nvPr userDrawn="1"/>
            </p:nvSpPr>
            <p:spPr bwMode="auto">
              <a:xfrm>
                <a:off x="2620" y="738"/>
                <a:ext cx="83" cy="244"/>
              </a:xfrm>
              <a:custGeom>
                <a:avLst/>
                <a:gdLst>
                  <a:gd name="T0" fmla="*/ 68 w 68"/>
                  <a:gd name="T1" fmla="*/ 200 h 200"/>
                  <a:gd name="T2" fmla="*/ 46 w 68"/>
                  <a:gd name="T3" fmla="*/ 200 h 200"/>
                  <a:gd name="T4" fmla="*/ 46 w 68"/>
                  <a:gd name="T5" fmla="*/ 31 h 200"/>
                  <a:gd name="T6" fmla="*/ 38 w 68"/>
                  <a:gd name="T7" fmla="*/ 37 h 200"/>
                  <a:gd name="T8" fmla="*/ 27 w 68"/>
                  <a:gd name="T9" fmla="*/ 44 h 200"/>
                  <a:gd name="T10" fmla="*/ 14 w 68"/>
                  <a:gd name="T11" fmla="*/ 50 h 200"/>
                  <a:gd name="T12" fmla="*/ 0 w 68"/>
                  <a:gd name="T13" fmla="*/ 54 h 200"/>
                  <a:gd name="T14" fmla="*/ 0 w 68"/>
                  <a:gd name="T15" fmla="*/ 32 h 200"/>
                  <a:gd name="T16" fmla="*/ 16 w 68"/>
                  <a:gd name="T17" fmla="*/ 26 h 200"/>
                  <a:gd name="T18" fmla="*/ 32 w 68"/>
                  <a:gd name="T19" fmla="*/ 18 h 200"/>
                  <a:gd name="T20" fmla="*/ 47 w 68"/>
                  <a:gd name="T21" fmla="*/ 9 h 200"/>
                  <a:gd name="T22" fmla="*/ 60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6" y="200"/>
                      <a:pt x="46" y="200"/>
                      <a:pt x="46" y="200"/>
                    </a:cubicBezTo>
                    <a:cubicBezTo>
                      <a:pt x="46" y="31"/>
                      <a:pt x="46" y="31"/>
                      <a:pt x="46" y="31"/>
                    </a:cubicBezTo>
                    <a:cubicBezTo>
                      <a:pt x="44" y="33"/>
                      <a:pt x="41" y="35"/>
                      <a:pt x="38" y="37"/>
                    </a:cubicBezTo>
                    <a:cubicBezTo>
                      <a:pt x="35" y="39"/>
                      <a:pt x="31" y="41"/>
                      <a:pt x="27" y="44"/>
                    </a:cubicBezTo>
                    <a:cubicBezTo>
                      <a:pt x="23" y="46"/>
                      <a:pt x="18" y="48"/>
                      <a:pt x="14" y="50"/>
                    </a:cubicBezTo>
                    <a:cubicBezTo>
                      <a:pt x="9" y="52"/>
                      <a:pt x="5" y="53"/>
                      <a:pt x="0" y="54"/>
                    </a:cubicBezTo>
                    <a:cubicBezTo>
                      <a:pt x="0" y="32"/>
                      <a:pt x="0" y="32"/>
                      <a:pt x="0" y="32"/>
                    </a:cubicBezTo>
                    <a:cubicBezTo>
                      <a:pt x="5" y="30"/>
                      <a:pt x="10" y="28"/>
                      <a:pt x="16" y="26"/>
                    </a:cubicBezTo>
                    <a:cubicBezTo>
                      <a:pt x="21" y="24"/>
                      <a:pt x="27" y="21"/>
                      <a:pt x="32" y="18"/>
                    </a:cubicBezTo>
                    <a:cubicBezTo>
                      <a:pt x="37" y="15"/>
                      <a:pt x="43" y="12"/>
                      <a:pt x="47" y="9"/>
                    </a:cubicBezTo>
                    <a:cubicBezTo>
                      <a:pt x="52" y="6"/>
                      <a:pt x="56" y="3"/>
                      <a:pt x="60"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5" name="Freeform 273"/>
              <p:cNvSpPr>
                <a:spLocks/>
              </p:cNvSpPr>
              <p:nvPr userDrawn="1"/>
            </p:nvSpPr>
            <p:spPr bwMode="auto">
              <a:xfrm>
                <a:off x="2770" y="738"/>
                <a:ext cx="83" cy="244"/>
              </a:xfrm>
              <a:custGeom>
                <a:avLst/>
                <a:gdLst>
                  <a:gd name="T0" fmla="*/ 68 w 68"/>
                  <a:gd name="T1" fmla="*/ 200 h 200"/>
                  <a:gd name="T2" fmla="*/ 45 w 68"/>
                  <a:gd name="T3" fmla="*/ 200 h 200"/>
                  <a:gd name="T4" fmla="*/ 45 w 68"/>
                  <a:gd name="T5" fmla="*/ 31 h 200"/>
                  <a:gd name="T6" fmla="*/ 38 w 68"/>
                  <a:gd name="T7" fmla="*/ 37 h 200"/>
                  <a:gd name="T8" fmla="*/ 26 w 68"/>
                  <a:gd name="T9" fmla="*/ 44 h 200"/>
                  <a:gd name="T10" fmla="*/ 13 w 68"/>
                  <a:gd name="T11" fmla="*/ 50 h 200"/>
                  <a:gd name="T12" fmla="*/ 0 w 68"/>
                  <a:gd name="T13" fmla="*/ 54 h 200"/>
                  <a:gd name="T14" fmla="*/ 0 w 68"/>
                  <a:gd name="T15" fmla="*/ 32 h 200"/>
                  <a:gd name="T16" fmla="*/ 15 w 68"/>
                  <a:gd name="T17" fmla="*/ 26 h 200"/>
                  <a:gd name="T18" fmla="*/ 32 w 68"/>
                  <a:gd name="T19" fmla="*/ 18 h 200"/>
                  <a:gd name="T20" fmla="*/ 47 w 68"/>
                  <a:gd name="T21" fmla="*/ 9 h 200"/>
                  <a:gd name="T22" fmla="*/ 59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5" y="200"/>
                      <a:pt x="45" y="200"/>
                      <a:pt x="45" y="200"/>
                    </a:cubicBezTo>
                    <a:cubicBezTo>
                      <a:pt x="45" y="31"/>
                      <a:pt x="45" y="31"/>
                      <a:pt x="45" y="31"/>
                    </a:cubicBezTo>
                    <a:cubicBezTo>
                      <a:pt x="43" y="33"/>
                      <a:pt x="41" y="35"/>
                      <a:pt x="38" y="37"/>
                    </a:cubicBezTo>
                    <a:cubicBezTo>
                      <a:pt x="34" y="39"/>
                      <a:pt x="31" y="41"/>
                      <a:pt x="26" y="44"/>
                    </a:cubicBezTo>
                    <a:cubicBezTo>
                      <a:pt x="22" y="46"/>
                      <a:pt x="18" y="48"/>
                      <a:pt x="13" y="50"/>
                    </a:cubicBezTo>
                    <a:cubicBezTo>
                      <a:pt x="9" y="52"/>
                      <a:pt x="4" y="53"/>
                      <a:pt x="0" y="54"/>
                    </a:cubicBezTo>
                    <a:cubicBezTo>
                      <a:pt x="0" y="32"/>
                      <a:pt x="0" y="32"/>
                      <a:pt x="0" y="32"/>
                    </a:cubicBezTo>
                    <a:cubicBezTo>
                      <a:pt x="5" y="30"/>
                      <a:pt x="10" y="28"/>
                      <a:pt x="15" y="26"/>
                    </a:cubicBezTo>
                    <a:cubicBezTo>
                      <a:pt x="21" y="24"/>
                      <a:pt x="26" y="21"/>
                      <a:pt x="32" y="18"/>
                    </a:cubicBezTo>
                    <a:cubicBezTo>
                      <a:pt x="37" y="15"/>
                      <a:pt x="42" y="12"/>
                      <a:pt x="47" y="9"/>
                    </a:cubicBezTo>
                    <a:cubicBezTo>
                      <a:pt x="52" y="6"/>
                      <a:pt x="56" y="3"/>
                      <a:pt x="59"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6" name="Freeform 274"/>
              <p:cNvSpPr>
                <a:spLocks noEditPoints="1"/>
              </p:cNvSpPr>
              <p:nvPr userDrawn="1"/>
            </p:nvSpPr>
            <p:spPr bwMode="auto">
              <a:xfrm>
                <a:off x="2918" y="739"/>
                <a:ext cx="156" cy="248"/>
              </a:xfrm>
              <a:custGeom>
                <a:avLst/>
                <a:gdLst>
                  <a:gd name="T0" fmla="*/ 128 w 128"/>
                  <a:gd name="T1" fmla="*/ 101 h 203"/>
                  <a:gd name="T2" fmla="*/ 124 w 128"/>
                  <a:gd name="T3" fmla="*/ 144 h 203"/>
                  <a:gd name="T4" fmla="*/ 111 w 128"/>
                  <a:gd name="T5" fmla="*/ 176 h 203"/>
                  <a:gd name="T6" fmla="*/ 90 w 128"/>
                  <a:gd name="T7" fmla="*/ 196 h 203"/>
                  <a:gd name="T8" fmla="*/ 62 w 128"/>
                  <a:gd name="T9" fmla="*/ 203 h 203"/>
                  <a:gd name="T10" fmla="*/ 36 w 128"/>
                  <a:gd name="T11" fmla="*/ 196 h 203"/>
                  <a:gd name="T12" fmla="*/ 17 w 128"/>
                  <a:gd name="T13" fmla="*/ 177 h 203"/>
                  <a:gd name="T14" fmla="*/ 4 w 128"/>
                  <a:gd name="T15" fmla="*/ 147 h 203"/>
                  <a:gd name="T16" fmla="*/ 0 w 128"/>
                  <a:gd name="T17" fmla="*/ 105 h 203"/>
                  <a:gd name="T18" fmla="*/ 5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4 h 203"/>
                  <a:gd name="T34" fmla="*/ 65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7" y="131"/>
                      <a:pt x="124" y="144"/>
                    </a:cubicBezTo>
                    <a:cubicBezTo>
                      <a:pt x="121" y="157"/>
                      <a:pt x="116" y="167"/>
                      <a:pt x="111" y="176"/>
                    </a:cubicBezTo>
                    <a:cubicBezTo>
                      <a:pt x="105" y="185"/>
                      <a:pt x="98" y="191"/>
                      <a:pt x="90" y="196"/>
                    </a:cubicBezTo>
                    <a:cubicBezTo>
                      <a:pt x="82" y="201"/>
                      <a:pt x="73" y="203"/>
                      <a:pt x="62" y="203"/>
                    </a:cubicBezTo>
                    <a:cubicBezTo>
                      <a:pt x="52" y="203"/>
                      <a:pt x="44" y="201"/>
                      <a:pt x="36" y="196"/>
                    </a:cubicBezTo>
                    <a:cubicBezTo>
                      <a:pt x="28" y="192"/>
                      <a:pt x="22" y="186"/>
                      <a:pt x="17" y="177"/>
                    </a:cubicBezTo>
                    <a:cubicBezTo>
                      <a:pt x="11" y="169"/>
                      <a:pt x="7" y="159"/>
                      <a:pt x="4" y="147"/>
                    </a:cubicBezTo>
                    <a:cubicBezTo>
                      <a:pt x="2" y="135"/>
                      <a:pt x="0" y="121"/>
                      <a:pt x="0" y="105"/>
                    </a:cubicBezTo>
                    <a:cubicBezTo>
                      <a:pt x="0" y="88"/>
                      <a:pt x="2" y="73"/>
                      <a:pt x="5" y="60"/>
                    </a:cubicBezTo>
                    <a:cubicBezTo>
                      <a:pt x="8" y="47"/>
                      <a:pt x="12" y="36"/>
                      <a:pt x="17" y="27"/>
                    </a:cubicBezTo>
                    <a:cubicBezTo>
                      <a:pt x="23" y="18"/>
                      <a:pt x="30" y="11"/>
                      <a:pt x="38" y="7"/>
                    </a:cubicBezTo>
                    <a:cubicBezTo>
                      <a:pt x="46" y="2"/>
                      <a:pt x="56" y="0"/>
                      <a:pt x="66" y="0"/>
                    </a:cubicBezTo>
                    <a:cubicBezTo>
                      <a:pt x="108" y="0"/>
                      <a:pt x="128" y="34"/>
                      <a:pt x="128" y="101"/>
                    </a:cubicBezTo>
                    <a:close/>
                    <a:moveTo>
                      <a:pt x="105" y="103"/>
                    </a:moveTo>
                    <a:cubicBezTo>
                      <a:pt x="105" y="47"/>
                      <a:pt x="92" y="19"/>
                      <a:pt x="65" y="19"/>
                    </a:cubicBezTo>
                    <a:cubicBezTo>
                      <a:pt x="37" y="19"/>
                      <a:pt x="23" y="47"/>
                      <a:pt x="23" y="104"/>
                    </a:cubicBezTo>
                    <a:cubicBezTo>
                      <a:pt x="23" y="157"/>
                      <a:pt x="37" y="184"/>
                      <a:pt x="65" y="184"/>
                    </a:cubicBezTo>
                    <a:cubicBezTo>
                      <a:pt x="92"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7" name="Freeform 275"/>
              <p:cNvSpPr>
                <a:spLocks/>
              </p:cNvSpPr>
              <p:nvPr userDrawn="1"/>
            </p:nvSpPr>
            <p:spPr bwMode="auto">
              <a:xfrm>
                <a:off x="3115" y="738"/>
                <a:ext cx="83" cy="244"/>
              </a:xfrm>
              <a:custGeom>
                <a:avLst/>
                <a:gdLst>
                  <a:gd name="T0" fmla="*/ 68 w 68"/>
                  <a:gd name="T1" fmla="*/ 200 h 200"/>
                  <a:gd name="T2" fmla="*/ 46 w 68"/>
                  <a:gd name="T3" fmla="*/ 200 h 200"/>
                  <a:gd name="T4" fmla="*/ 46 w 68"/>
                  <a:gd name="T5" fmla="*/ 31 h 200"/>
                  <a:gd name="T6" fmla="*/ 38 w 68"/>
                  <a:gd name="T7" fmla="*/ 37 h 200"/>
                  <a:gd name="T8" fmla="*/ 27 w 68"/>
                  <a:gd name="T9" fmla="*/ 44 h 200"/>
                  <a:gd name="T10" fmla="*/ 14 w 68"/>
                  <a:gd name="T11" fmla="*/ 50 h 200"/>
                  <a:gd name="T12" fmla="*/ 0 w 68"/>
                  <a:gd name="T13" fmla="*/ 54 h 200"/>
                  <a:gd name="T14" fmla="*/ 0 w 68"/>
                  <a:gd name="T15" fmla="*/ 32 h 200"/>
                  <a:gd name="T16" fmla="*/ 16 w 68"/>
                  <a:gd name="T17" fmla="*/ 26 h 200"/>
                  <a:gd name="T18" fmla="*/ 32 w 68"/>
                  <a:gd name="T19" fmla="*/ 18 h 200"/>
                  <a:gd name="T20" fmla="*/ 48 w 68"/>
                  <a:gd name="T21" fmla="*/ 9 h 200"/>
                  <a:gd name="T22" fmla="*/ 60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6" y="200"/>
                      <a:pt x="46" y="200"/>
                      <a:pt x="46" y="200"/>
                    </a:cubicBezTo>
                    <a:cubicBezTo>
                      <a:pt x="46" y="31"/>
                      <a:pt x="46" y="31"/>
                      <a:pt x="46" y="31"/>
                    </a:cubicBezTo>
                    <a:cubicBezTo>
                      <a:pt x="44" y="33"/>
                      <a:pt x="42" y="35"/>
                      <a:pt x="38" y="37"/>
                    </a:cubicBezTo>
                    <a:cubicBezTo>
                      <a:pt x="35" y="39"/>
                      <a:pt x="31" y="41"/>
                      <a:pt x="27" y="44"/>
                    </a:cubicBezTo>
                    <a:cubicBezTo>
                      <a:pt x="23" y="46"/>
                      <a:pt x="19" y="48"/>
                      <a:pt x="14" y="50"/>
                    </a:cubicBezTo>
                    <a:cubicBezTo>
                      <a:pt x="9" y="52"/>
                      <a:pt x="5" y="53"/>
                      <a:pt x="0" y="54"/>
                    </a:cubicBezTo>
                    <a:cubicBezTo>
                      <a:pt x="0" y="32"/>
                      <a:pt x="0" y="32"/>
                      <a:pt x="0" y="32"/>
                    </a:cubicBezTo>
                    <a:cubicBezTo>
                      <a:pt x="5" y="30"/>
                      <a:pt x="11" y="28"/>
                      <a:pt x="16" y="26"/>
                    </a:cubicBezTo>
                    <a:cubicBezTo>
                      <a:pt x="22" y="24"/>
                      <a:pt x="27" y="21"/>
                      <a:pt x="32" y="18"/>
                    </a:cubicBezTo>
                    <a:cubicBezTo>
                      <a:pt x="38" y="15"/>
                      <a:pt x="43" y="12"/>
                      <a:pt x="48" y="9"/>
                    </a:cubicBezTo>
                    <a:cubicBezTo>
                      <a:pt x="52" y="6"/>
                      <a:pt x="56" y="3"/>
                      <a:pt x="60"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8" name="Freeform 276"/>
              <p:cNvSpPr>
                <a:spLocks noEditPoints="1"/>
              </p:cNvSpPr>
              <p:nvPr userDrawn="1"/>
            </p:nvSpPr>
            <p:spPr bwMode="auto">
              <a:xfrm>
                <a:off x="3264" y="739"/>
                <a:ext cx="156" cy="248"/>
              </a:xfrm>
              <a:custGeom>
                <a:avLst/>
                <a:gdLst>
                  <a:gd name="T0" fmla="*/ 128 w 128"/>
                  <a:gd name="T1" fmla="*/ 101 h 203"/>
                  <a:gd name="T2" fmla="*/ 123 w 128"/>
                  <a:gd name="T3" fmla="*/ 144 h 203"/>
                  <a:gd name="T4" fmla="*/ 110 w 128"/>
                  <a:gd name="T5" fmla="*/ 176 h 203"/>
                  <a:gd name="T6" fmla="*/ 90 w 128"/>
                  <a:gd name="T7" fmla="*/ 196 h 203"/>
                  <a:gd name="T8" fmla="*/ 62 w 128"/>
                  <a:gd name="T9" fmla="*/ 203 h 203"/>
                  <a:gd name="T10" fmla="*/ 36 w 128"/>
                  <a:gd name="T11" fmla="*/ 196 h 203"/>
                  <a:gd name="T12" fmla="*/ 16 w 128"/>
                  <a:gd name="T13" fmla="*/ 177 h 203"/>
                  <a:gd name="T14" fmla="*/ 4 w 128"/>
                  <a:gd name="T15" fmla="*/ 147 h 203"/>
                  <a:gd name="T16" fmla="*/ 0 w 128"/>
                  <a:gd name="T17" fmla="*/ 105 h 203"/>
                  <a:gd name="T18" fmla="*/ 4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4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6" y="131"/>
                      <a:pt x="123" y="144"/>
                    </a:cubicBezTo>
                    <a:cubicBezTo>
                      <a:pt x="120" y="157"/>
                      <a:pt x="116" y="167"/>
                      <a:pt x="110" y="176"/>
                    </a:cubicBezTo>
                    <a:cubicBezTo>
                      <a:pt x="105" y="185"/>
                      <a:pt x="98" y="191"/>
                      <a:pt x="90" y="196"/>
                    </a:cubicBezTo>
                    <a:cubicBezTo>
                      <a:pt x="82" y="201"/>
                      <a:pt x="72" y="203"/>
                      <a:pt x="62" y="203"/>
                    </a:cubicBezTo>
                    <a:cubicBezTo>
                      <a:pt x="52" y="203"/>
                      <a:pt x="43" y="201"/>
                      <a:pt x="36" y="196"/>
                    </a:cubicBezTo>
                    <a:cubicBezTo>
                      <a:pt x="28" y="192"/>
                      <a:pt x="22" y="186"/>
                      <a:pt x="16" y="177"/>
                    </a:cubicBezTo>
                    <a:cubicBezTo>
                      <a:pt x="11" y="169"/>
                      <a:pt x="7" y="159"/>
                      <a:pt x="4" y="147"/>
                    </a:cubicBezTo>
                    <a:cubicBezTo>
                      <a:pt x="1" y="135"/>
                      <a:pt x="0" y="121"/>
                      <a:pt x="0" y="105"/>
                    </a:cubicBezTo>
                    <a:cubicBezTo>
                      <a:pt x="0" y="88"/>
                      <a:pt x="2" y="73"/>
                      <a:pt x="4" y="60"/>
                    </a:cubicBezTo>
                    <a:cubicBezTo>
                      <a:pt x="7" y="47"/>
                      <a:pt x="11" y="36"/>
                      <a:pt x="17" y="27"/>
                    </a:cubicBezTo>
                    <a:cubicBezTo>
                      <a:pt x="23" y="18"/>
                      <a:pt x="30" y="11"/>
                      <a:pt x="38" y="7"/>
                    </a:cubicBezTo>
                    <a:cubicBezTo>
                      <a:pt x="46" y="2"/>
                      <a:pt x="55" y="0"/>
                      <a:pt x="66" y="0"/>
                    </a:cubicBezTo>
                    <a:cubicBezTo>
                      <a:pt x="107" y="0"/>
                      <a:pt x="128" y="34"/>
                      <a:pt x="128" y="101"/>
                    </a:cubicBezTo>
                    <a:close/>
                    <a:moveTo>
                      <a:pt x="105" y="103"/>
                    </a:moveTo>
                    <a:cubicBezTo>
                      <a:pt x="105" y="47"/>
                      <a:pt x="92" y="19"/>
                      <a:pt x="65" y="19"/>
                    </a:cubicBezTo>
                    <a:cubicBezTo>
                      <a:pt x="37" y="19"/>
                      <a:pt x="23" y="47"/>
                      <a:pt x="23" y="104"/>
                    </a:cubicBezTo>
                    <a:cubicBezTo>
                      <a:pt x="23" y="157"/>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9" name="Freeform 277"/>
              <p:cNvSpPr>
                <a:spLocks noEditPoints="1"/>
              </p:cNvSpPr>
              <p:nvPr userDrawn="1"/>
            </p:nvSpPr>
            <p:spPr bwMode="auto">
              <a:xfrm>
                <a:off x="3459" y="739"/>
                <a:ext cx="156" cy="248"/>
              </a:xfrm>
              <a:custGeom>
                <a:avLst/>
                <a:gdLst>
                  <a:gd name="T0" fmla="*/ 128 w 128"/>
                  <a:gd name="T1" fmla="*/ 101 h 203"/>
                  <a:gd name="T2" fmla="*/ 123 w 128"/>
                  <a:gd name="T3" fmla="*/ 144 h 203"/>
                  <a:gd name="T4" fmla="*/ 110 w 128"/>
                  <a:gd name="T5" fmla="*/ 176 h 203"/>
                  <a:gd name="T6" fmla="*/ 90 w 128"/>
                  <a:gd name="T7" fmla="*/ 196 h 203"/>
                  <a:gd name="T8" fmla="*/ 62 w 128"/>
                  <a:gd name="T9" fmla="*/ 203 h 203"/>
                  <a:gd name="T10" fmla="*/ 36 w 128"/>
                  <a:gd name="T11" fmla="*/ 196 h 203"/>
                  <a:gd name="T12" fmla="*/ 16 w 128"/>
                  <a:gd name="T13" fmla="*/ 177 h 203"/>
                  <a:gd name="T14" fmla="*/ 4 w 128"/>
                  <a:gd name="T15" fmla="*/ 147 h 203"/>
                  <a:gd name="T16" fmla="*/ 0 w 128"/>
                  <a:gd name="T17" fmla="*/ 105 h 203"/>
                  <a:gd name="T18" fmla="*/ 4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4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6" y="131"/>
                      <a:pt x="123" y="144"/>
                    </a:cubicBezTo>
                    <a:cubicBezTo>
                      <a:pt x="120" y="157"/>
                      <a:pt x="116" y="167"/>
                      <a:pt x="110" y="176"/>
                    </a:cubicBezTo>
                    <a:cubicBezTo>
                      <a:pt x="105" y="185"/>
                      <a:pt x="98" y="191"/>
                      <a:pt x="90" y="196"/>
                    </a:cubicBezTo>
                    <a:cubicBezTo>
                      <a:pt x="82" y="201"/>
                      <a:pt x="72" y="203"/>
                      <a:pt x="62" y="203"/>
                    </a:cubicBezTo>
                    <a:cubicBezTo>
                      <a:pt x="52" y="203"/>
                      <a:pt x="43" y="201"/>
                      <a:pt x="36" y="196"/>
                    </a:cubicBezTo>
                    <a:cubicBezTo>
                      <a:pt x="28" y="192"/>
                      <a:pt x="21" y="186"/>
                      <a:pt x="16" y="177"/>
                    </a:cubicBezTo>
                    <a:cubicBezTo>
                      <a:pt x="11" y="169"/>
                      <a:pt x="7" y="159"/>
                      <a:pt x="4" y="147"/>
                    </a:cubicBezTo>
                    <a:cubicBezTo>
                      <a:pt x="1" y="135"/>
                      <a:pt x="0" y="121"/>
                      <a:pt x="0" y="105"/>
                    </a:cubicBezTo>
                    <a:cubicBezTo>
                      <a:pt x="0" y="88"/>
                      <a:pt x="2" y="73"/>
                      <a:pt x="4" y="60"/>
                    </a:cubicBezTo>
                    <a:cubicBezTo>
                      <a:pt x="7" y="47"/>
                      <a:pt x="11" y="36"/>
                      <a:pt x="17" y="27"/>
                    </a:cubicBezTo>
                    <a:cubicBezTo>
                      <a:pt x="23" y="18"/>
                      <a:pt x="29" y="11"/>
                      <a:pt x="38" y="7"/>
                    </a:cubicBezTo>
                    <a:cubicBezTo>
                      <a:pt x="46" y="2"/>
                      <a:pt x="55" y="0"/>
                      <a:pt x="66" y="0"/>
                    </a:cubicBezTo>
                    <a:cubicBezTo>
                      <a:pt x="107" y="0"/>
                      <a:pt x="128" y="34"/>
                      <a:pt x="128" y="101"/>
                    </a:cubicBezTo>
                    <a:close/>
                    <a:moveTo>
                      <a:pt x="105" y="103"/>
                    </a:moveTo>
                    <a:cubicBezTo>
                      <a:pt x="105" y="47"/>
                      <a:pt x="92" y="19"/>
                      <a:pt x="65" y="19"/>
                    </a:cubicBezTo>
                    <a:cubicBezTo>
                      <a:pt x="37" y="19"/>
                      <a:pt x="23" y="47"/>
                      <a:pt x="23" y="104"/>
                    </a:cubicBezTo>
                    <a:cubicBezTo>
                      <a:pt x="23" y="157"/>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20" name="Freeform 278"/>
              <p:cNvSpPr>
                <a:spLocks/>
              </p:cNvSpPr>
              <p:nvPr userDrawn="1"/>
            </p:nvSpPr>
            <p:spPr bwMode="auto">
              <a:xfrm>
                <a:off x="3656" y="738"/>
                <a:ext cx="83" cy="244"/>
              </a:xfrm>
              <a:custGeom>
                <a:avLst/>
                <a:gdLst>
                  <a:gd name="T0" fmla="*/ 68 w 68"/>
                  <a:gd name="T1" fmla="*/ 200 h 200"/>
                  <a:gd name="T2" fmla="*/ 46 w 68"/>
                  <a:gd name="T3" fmla="*/ 200 h 200"/>
                  <a:gd name="T4" fmla="*/ 46 w 68"/>
                  <a:gd name="T5" fmla="*/ 31 h 200"/>
                  <a:gd name="T6" fmla="*/ 38 w 68"/>
                  <a:gd name="T7" fmla="*/ 37 h 200"/>
                  <a:gd name="T8" fmla="*/ 27 w 68"/>
                  <a:gd name="T9" fmla="*/ 44 h 200"/>
                  <a:gd name="T10" fmla="*/ 14 w 68"/>
                  <a:gd name="T11" fmla="*/ 50 h 200"/>
                  <a:gd name="T12" fmla="*/ 0 w 68"/>
                  <a:gd name="T13" fmla="*/ 54 h 200"/>
                  <a:gd name="T14" fmla="*/ 0 w 68"/>
                  <a:gd name="T15" fmla="*/ 32 h 200"/>
                  <a:gd name="T16" fmla="*/ 16 w 68"/>
                  <a:gd name="T17" fmla="*/ 26 h 200"/>
                  <a:gd name="T18" fmla="*/ 32 w 68"/>
                  <a:gd name="T19" fmla="*/ 18 h 200"/>
                  <a:gd name="T20" fmla="*/ 47 w 68"/>
                  <a:gd name="T21" fmla="*/ 9 h 200"/>
                  <a:gd name="T22" fmla="*/ 59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6" y="200"/>
                      <a:pt x="46" y="200"/>
                      <a:pt x="46" y="200"/>
                    </a:cubicBezTo>
                    <a:cubicBezTo>
                      <a:pt x="46" y="31"/>
                      <a:pt x="46" y="31"/>
                      <a:pt x="46" y="31"/>
                    </a:cubicBezTo>
                    <a:cubicBezTo>
                      <a:pt x="44" y="33"/>
                      <a:pt x="41" y="35"/>
                      <a:pt x="38" y="37"/>
                    </a:cubicBezTo>
                    <a:cubicBezTo>
                      <a:pt x="35" y="39"/>
                      <a:pt x="31" y="41"/>
                      <a:pt x="27" y="44"/>
                    </a:cubicBezTo>
                    <a:cubicBezTo>
                      <a:pt x="23" y="46"/>
                      <a:pt x="18" y="48"/>
                      <a:pt x="14" y="50"/>
                    </a:cubicBezTo>
                    <a:cubicBezTo>
                      <a:pt x="9" y="52"/>
                      <a:pt x="5" y="53"/>
                      <a:pt x="0" y="54"/>
                    </a:cubicBezTo>
                    <a:cubicBezTo>
                      <a:pt x="0" y="32"/>
                      <a:pt x="0" y="32"/>
                      <a:pt x="0" y="32"/>
                    </a:cubicBezTo>
                    <a:cubicBezTo>
                      <a:pt x="5" y="30"/>
                      <a:pt x="10" y="28"/>
                      <a:pt x="16" y="26"/>
                    </a:cubicBezTo>
                    <a:cubicBezTo>
                      <a:pt x="21" y="24"/>
                      <a:pt x="27" y="21"/>
                      <a:pt x="32" y="18"/>
                    </a:cubicBezTo>
                    <a:cubicBezTo>
                      <a:pt x="37" y="15"/>
                      <a:pt x="42" y="12"/>
                      <a:pt x="47" y="9"/>
                    </a:cubicBezTo>
                    <a:cubicBezTo>
                      <a:pt x="52" y="6"/>
                      <a:pt x="56" y="3"/>
                      <a:pt x="59"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21" name="Freeform 279"/>
              <p:cNvSpPr>
                <a:spLocks noEditPoints="1"/>
              </p:cNvSpPr>
              <p:nvPr userDrawn="1"/>
            </p:nvSpPr>
            <p:spPr bwMode="auto">
              <a:xfrm>
                <a:off x="3805" y="739"/>
                <a:ext cx="155" cy="248"/>
              </a:xfrm>
              <a:custGeom>
                <a:avLst/>
                <a:gdLst>
                  <a:gd name="T0" fmla="*/ 127 w 127"/>
                  <a:gd name="T1" fmla="*/ 101 h 203"/>
                  <a:gd name="T2" fmla="*/ 123 w 127"/>
                  <a:gd name="T3" fmla="*/ 144 h 203"/>
                  <a:gd name="T4" fmla="*/ 110 w 127"/>
                  <a:gd name="T5" fmla="*/ 176 h 203"/>
                  <a:gd name="T6" fmla="*/ 90 w 127"/>
                  <a:gd name="T7" fmla="*/ 196 h 203"/>
                  <a:gd name="T8" fmla="*/ 62 w 127"/>
                  <a:gd name="T9" fmla="*/ 203 h 203"/>
                  <a:gd name="T10" fmla="*/ 35 w 127"/>
                  <a:gd name="T11" fmla="*/ 196 h 203"/>
                  <a:gd name="T12" fmla="*/ 16 w 127"/>
                  <a:gd name="T13" fmla="*/ 177 h 203"/>
                  <a:gd name="T14" fmla="*/ 4 w 127"/>
                  <a:gd name="T15" fmla="*/ 147 h 203"/>
                  <a:gd name="T16" fmla="*/ 0 w 127"/>
                  <a:gd name="T17" fmla="*/ 105 h 203"/>
                  <a:gd name="T18" fmla="*/ 4 w 127"/>
                  <a:gd name="T19" fmla="*/ 60 h 203"/>
                  <a:gd name="T20" fmla="*/ 17 w 127"/>
                  <a:gd name="T21" fmla="*/ 27 h 203"/>
                  <a:gd name="T22" fmla="*/ 37 w 127"/>
                  <a:gd name="T23" fmla="*/ 7 h 203"/>
                  <a:gd name="T24" fmla="*/ 66 w 127"/>
                  <a:gd name="T25" fmla="*/ 0 h 203"/>
                  <a:gd name="T26" fmla="*/ 127 w 127"/>
                  <a:gd name="T27" fmla="*/ 101 h 203"/>
                  <a:gd name="T28" fmla="*/ 104 w 127"/>
                  <a:gd name="T29" fmla="*/ 103 h 203"/>
                  <a:gd name="T30" fmla="*/ 65 w 127"/>
                  <a:gd name="T31" fmla="*/ 19 h 203"/>
                  <a:gd name="T32" fmla="*/ 23 w 127"/>
                  <a:gd name="T33" fmla="*/ 104 h 203"/>
                  <a:gd name="T34" fmla="*/ 64 w 127"/>
                  <a:gd name="T35" fmla="*/ 184 h 203"/>
                  <a:gd name="T36" fmla="*/ 104 w 127"/>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7" h="203">
                    <a:moveTo>
                      <a:pt x="127" y="101"/>
                    </a:moveTo>
                    <a:cubicBezTo>
                      <a:pt x="127" y="117"/>
                      <a:pt x="126" y="131"/>
                      <a:pt x="123" y="144"/>
                    </a:cubicBezTo>
                    <a:cubicBezTo>
                      <a:pt x="120" y="157"/>
                      <a:pt x="116" y="167"/>
                      <a:pt x="110" y="176"/>
                    </a:cubicBezTo>
                    <a:cubicBezTo>
                      <a:pt x="105" y="185"/>
                      <a:pt x="98" y="191"/>
                      <a:pt x="90" y="196"/>
                    </a:cubicBezTo>
                    <a:cubicBezTo>
                      <a:pt x="81" y="201"/>
                      <a:pt x="72" y="203"/>
                      <a:pt x="62" y="203"/>
                    </a:cubicBezTo>
                    <a:cubicBezTo>
                      <a:pt x="52" y="203"/>
                      <a:pt x="43" y="201"/>
                      <a:pt x="35" y="196"/>
                    </a:cubicBezTo>
                    <a:cubicBezTo>
                      <a:pt x="28" y="192"/>
                      <a:pt x="21" y="186"/>
                      <a:pt x="16" y="177"/>
                    </a:cubicBezTo>
                    <a:cubicBezTo>
                      <a:pt x="11" y="169"/>
                      <a:pt x="7" y="159"/>
                      <a:pt x="4" y="147"/>
                    </a:cubicBezTo>
                    <a:cubicBezTo>
                      <a:pt x="1" y="135"/>
                      <a:pt x="0" y="121"/>
                      <a:pt x="0" y="105"/>
                    </a:cubicBezTo>
                    <a:cubicBezTo>
                      <a:pt x="0" y="88"/>
                      <a:pt x="1" y="73"/>
                      <a:pt x="4" y="60"/>
                    </a:cubicBezTo>
                    <a:cubicBezTo>
                      <a:pt x="7" y="47"/>
                      <a:pt x="11" y="36"/>
                      <a:pt x="17" y="27"/>
                    </a:cubicBezTo>
                    <a:cubicBezTo>
                      <a:pt x="22" y="18"/>
                      <a:pt x="29" y="11"/>
                      <a:pt x="37" y="7"/>
                    </a:cubicBezTo>
                    <a:cubicBezTo>
                      <a:pt x="46" y="2"/>
                      <a:pt x="55" y="0"/>
                      <a:pt x="66" y="0"/>
                    </a:cubicBezTo>
                    <a:cubicBezTo>
                      <a:pt x="107" y="0"/>
                      <a:pt x="127" y="34"/>
                      <a:pt x="127" y="101"/>
                    </a:cubicBezTo>
                    <a:close/>
                    <a:moveTo>
                      <a:pt x="104" y="103"/>
                    </a:moveTo>
                    <a:cubicBezTo>
                      <a:pt x="104" y="47"/>
                      <a:pt x="91" y="19"/>
                      <a:pt x="65" y="19"/>
                    </a:cubicBezTo>
                    <a:cubicBezTo>
                      <a:pt x="37" y="19"/>
                      <a:pt x="23" y="47"/>
                      <a:pt x="23" y="104"/>
                    </a:cubicBezTo>
                    <a:cubicBezTo>
                      <a:pt x="23" y="157"/>
                      <a:pt x="36" y="184"/>
                      <a:pt x="64" y="184"/>
                    </a:cubicBezTo>
                    <a:cubicBezTo>
                      <a:pt x="91" y="184"/>
                      <a:pt x="104" y="157"/>
                      <a:pt x="104"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22" name="Freeform 280"/>
              <p:cNvSpPr>
                <a:spLocks noEditPoints="1"/>
              </p:cNvSpPr>
              <p:nvPr userDrawn="1"/>
            </p:nvSpPr>
            <p:spPr bwMode="auto">
              <a:xfrm>
                <a:off x="3989" y="743"/>
                <a:ext cx="189" cy="219"/>
              </a:xfrm>
              <a:custGeom>
                <a:avLst/>
                <a:gdLst>
                  <a:gd name="T0" fmla="*/ 189 w 189"/>
                  <a:gd name="T1" fmla="*/ 67 h 219"/>
                  <a:gd name="T2" fmla="*/ 185 w 189"/>
                  <a:gd name="T3" fmla="*/ 85 h 219"/>
                  <a:gd name="T4" fmla="*/ 141 w 189"/>
                  <a:gd name="T5" fmla="*/ 85 h 219"/>
                  <a:gd name="T6" fmla="*/ 132 w 189"/>
                  <a:gd name="T7" fmla="*/ 135 h 219"/>
                  <a:gd name="T8" fmla="*/ 178 w 189"/>
                  <a:gd name="T9" fmla="*/ 135 h 219"/>
                  <a:gd name="T10" fmla="*/ 173 w 189"/>
                  <a:gd name="T11" fmla="*/ 152 h 219"/>
                  <a:gd name="T12" fmla="*/ 128 w 189"/>
                  <a:gd name="T13" fmla="*/ 152 h 219"/>
                  <a:gd name="T14" fmla="*/ 113 w 189"/>
                  <a:gd name="T15" fmla="*/ 219 h 219"/>
                  <a:gd name="T16" fmla="*/ 93 w 189"/>
                  <a:gd name="T17" fmla="*/ 219 h 219"/>
                  <a:gd name="T18" fmla="*/ 106 w 189"/>
                  <a:gd name="T19" fmla="*/ 152 h 219"/>
                  <a:gd name="T20" fmla="*/ 65 w 189"/>
                  <a:gd name="T21" fmla="*/ 152 h 219"/>
                  <a:gd name="T22" fmla="*/ 51 w 189"/>
                  <a:gd name="T23" fmla="*/ 219 h 219"/>
                  <a:gd name="T24" fmla="*/ 30 w 189"/>
                  <a:gd name="T25" fmla="*/ 219 h 219"/>
                  <a:gd name="T26" fmla="*/ 44 w 189"/>
                  <a:gd name="T27" fmla="*/ 152 h 219"/>
                  <a:gd name="T28" fmla="*/ 0 w 189"/>
                  <a:gd name="T29" fmla="*/ 152 h 219"/>
                  <a:gd name="T30" fmla="*/ 4 w 189"/>
                  <a:gd name="T31" fmla="*/ 135 h 219"/>
                  <a:gd name="T32" fmla="*/ 47 w 189"/>
                  <a:gd name="T33" fmla="*/ 135 h 219"/>
                  <a:gd name="T34" fmla="*/ 58 w 189"/>
                  <a:gd name="T35" fmla="*/ 85 h 219"/>
                  <a:gd name="T36" fmla="*/ 12 w 189"/>
                  <a:gd name="T37" fmla="*/ 85 h 219"/>
                  <a:gd name="T38" fmla="*/ 16 w 189"/>
                  <a:gd name="T39" fmla="*/ 67 h 219"/>
                  <a:gd name="T40" fmla="*/ 61 w 189"/>
                  <a:gd name="T41" fmla="*/ 67 h 219"/>
                  <a:gd name="T42" fmla="*/ 75 w 189"/>
                  <a:gd name="T43" fmla="*/ 0 h 219"/>
                  <a:gd name="T44" fmla="*/ 96 w 189"/>
                  <a:gd name="T45" fmla="*/ 0 h 219"/>
                  <a:gd name="T46" fmla="*/ 83 w 189"/>
                  <a:gd name="T47" fmla="*/ 67 h 219"/>
                  <a:gd name="T48" fmla="*/ 124 w 189"/>
                  <a:gd name="T49" fmla="*/ 67 h 219"/>
                  <a:gd name="T50" fmla="*/ 139 w 189"/>
                  <a:gd name="T51" fmla="*/ 0 h 219"/>
                  <a:gd name="T52" fmla="*/ 160 w 189"/>
                  <a:gd name="T53" fmla="*/ 0 h 219"/>
                  <a:gd name="T54" fmla="*/ 145 w 189"/>
                  <a:gd name="T55" fmla="*/ 67 h 219"/>
                  <a:gd name="T56" fmla="*/ 189 w 189"/>
                  <a:gd name="T57" fmla="*/ 67 h 219"/>
                  <a:gd name="T58" fmla="*/ 121 w 189"/>
                  <a:gd name="T59" fmla="*/ 85 h 219"/>
                  <a:gd name="T60" fmla="*/ 79 w 189"/>
                  <a:gd name="T61" fmla="*/ 85 h 219"/>
                  <a:gd name="T62" fmla="*/ 68 w 189"/>
                  <a:gd name="T63" fmla="*/ 135 h 219"/>
                  <a:gd name="T64" fmla="*/ 111 w 189"/>
                  <a:gd name="T65" fmla="*/ 135 h 219"/>
                  <a:gd name="T66" fmla="*/ 121 w 189"/>
                  <a:gd name="T67" fmla="*/ 85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9" h="219">
                    <a:moveTo>
                      <a:pt x="189" y="67"/>
                    </a:moveTo>
                    <a:lnTo>
                      <a:pt x="185" y="85"/>
                    </a:lnTo>
                    <a:lnTo>
                      <a:pt x="141" y="85"/>
                    </a:lnTo>
                    <a:lnTo>
                      <a:pt x="132" y="135"/>
                    </a:lnTo>
                    <a:lnTo>
                      <a:pt x="178" y="135"/>
                    </a:lnTo>
                    <a:lnTo>
                      <a:pt x="173" y="152"/>
                    </a:lnTo>
                    <a:lnTo>
                      <a:pt x="128" y="152"/>
                    </a:lnTo>
                    <a:lnTo>
                      <a:pt x="113" y="219"/>
                    </a:lnTo>
                    <a:lnTo>
                      <a:pt x="93" y="219"/>
                    </a:lnTo>
                    <a:lnTo>
                      <a:pt x="106" y="152"/>
                    </a:lnTo>
                    <a:lnTo>
                      <a:pt x="65" y="152"/>
                    </a:lnTo>
                    <a:lnTo>
                      <a:pt x="51" y="219"/>
                    </a:lnTo>
                    <a:lnTo>
                      <a:pt x="30" y="219"/>
                    </a:lnTo>
                    <a:lnTo>
                      <a:pt x="44" y="152"/>
                    </a:lnTo>
                    <a:lnTo>
                      <a:pt x="0" y="152"/>
                    </a:lnTo>
                    <a:lnTo>
                      <a:pt x="4" y="135"/>
                    </a:lnTo>
                    <a:lnTo>
                      <a:pt x="47" y="135"/>
                    </a:lnTo>
                    <a:lnTo>
                      <a:pt x="58" y="85"/>
                    </a:lnTo>
                    <a:lnTo>
                      <a:pt x="12" y="85"/>
                    </a:lnTo>
                    <a:lnTo>
                      <a:pt x="16" y="67"/>
                    </a:lnTo>
                    <a:lnTo>
                      <a:pt x="61" y="67"/>
                    </a:lnTo>
                    <a:lnTo>
                      <a:pt x="75" y="0"/>
                    </a:lnTo>
                    <a:lnTo>
                      <a:pt x="96" y="0"/>
                    </a:lnTo>
                    <a:lnTo>
                      <a:pt x="83" y="67"/>
                    </a:lnTo>
                    <a:lnTo>
                      <a:pt x="124" y="67"/>
                    </a:lnTo>
                    <a:lnTo>
                      <a:pt x="139" y="0"/>
                    </a:lnTo>
                    <a:lnTo>
                      <a:pt x="160" y="0"/>
                    </a:lnTo>
                    <a:lnTo>
                      <a:pt x="145" y="67"/>
                    </a:lnTo>
                    <a:lnTo>
                      <a:pt x="189" y="67"/>
                    </a:lnTo>
                    <a:close/>
                    <a:moveTo>
                      <a:pt x="121" y="85"/>
                    </a:moveTo>
                    <a:lnTo>
                      <a:pt x="79" y="85"/>
                    </a:lnTo>
                    <a:lnTo>
                      <a:pt x="68" y="135"/>
                    </a:lnTo>
                    <a:lnTo>
                      <a:pt x="111" y="135"/>
                    </a:lnTo>
                    <a:lnTo>
                      <a:pt x="121" y="8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23" name="Freeform 281"/>
              <p:cNvSpPr>
                <a:spLocks noEditPoints="1"/>
              </p:cNvSpPr>
              <p:nvPr userDrawn="1"/>
            </p:nvSpPr>
            <p:spPr bwMode="auto">
              <a:xfrm>
                <a:off x="4207" y="739"/>
                <a:ext cx="155" cy="248"/>
              </a:xfrm>
              <a:custGeom>
                <a:avLst/>
                <a:gdLst>
                  <a:gd name="T0" fmla="*/ 127 w 127"/>
                  <a:gd name="T1" fmla="*/ 101 h 203"/>
                  <a:gd name="T2" fmla="*/ 123 w 127"/>
                  <a:gd name="T3" fmla="*/ 144 h 203"/>
                  <a:gd name="T4" fmla="*/ 110 w 127"/>
                  <a:gd name="T5" fmla="*/ 176 h 203"/>
                  <a:gd name="T6" fmla="*/ 89 w 127"/>
                  <a:gd name="T7" fmla="*/ 196 h 203"/>
                  <a:gd name="T8" fmla="*/ 62 w 127"/>
                  <a:gd name="T9" fmla="*/ 203 h 203"/>
                  <a:gd name="T10" fmla="*/ 35 w 127"/>
                  <a:gd name="T11" fmla="*/ 196 h 203"/>
                  <a:gd name="T12" fmla="*/ 16 w 127"/>
                  <a:gd name="T13" fmla="*/ 177 h 203"/>
                  <a:gd name="T14" fmla="*/ 4 w 127"/>
                  <a:gd name="T15" fmla="*/ 147 h 203"/>
                  <a:gd name="T16" fmla="*/ 0 w 127"/>
                  <a:gd name="T17" fmla="*/ 105 h 203"/>
                  <a:gd name="T18" fmla="*/ 4 w 127"/>
                  <a:gd name="T19" fmla="*/ 60 h 203"/>
                  <a:gd name="T20" fmla="*/ 17 w 127"/>
                  <a:gd name="T21" fmla="*/ 27 h 203"/>
                  <a:gd name="T22" fmla="*/ 37 w 127"/>
                  <a:gd name="T23" fmla="*/ 7 h 203"/>
                  <a:gd name="T24" fmla="*/ 66 w 127"/>
                  <a:gd name="T25" fmla="*/ 0 h 203"/>
                  <a:gd name="T26" fmla="*/ 127 w 127"/>
                  <a:gd name="T27" fmla="*/ 101 h 203"/>
                  <a:gd name="T28" fmla="*/ 104 w 127"/>
                  <a:gd name="T29" fmla="*/ 103 h 203"/>
                  <a:gd name="T30" fmla="*/ 65 w 127"/>
                  <a:gd name="T31" fmla="*/ 19 h 203"/>
                  <a:gd name="T32" fmla="*/ 23 w 127"/>
                  <a:gd name="T33" fmla="*/ 104 h 203"/>
                  <a:gd name="T34" fmla="*/ 64 w 127"/>
                  <a:gd name="T35" fmla="*/ 184 h 203"/>
                  <a:gd name="T36" fmla="*/ 104 w 127"/>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7" h="203">
                    <a:moveTo>
                      <a:pt x="127" y="101"/>
                    </a:moveTo>
                    <a:cubicBezTo>
                      <a:pt x="127" y="117"/>
                      <a:pt x="126" y="131"/>
                      <a:pt x="123" y="144"/>
                    </a:cubicBezTo>
                    <a:cubicBezTo>
                      <a:pt x="120" y="157"/>
                      <a:pt x="116" y="167"/>
                      <a:pt x="110" y="176"/>
                    </a:cubicBezTo>
                    <a:cubicBezTo>
                      <a:pt x="104" y="185"/>
                      <a:pt x="97" y="191"/>
                      <a:pt x="89" y="196"/>
                    </a:cubicBezTo>
                    <a:cubicBezTo>
                      <a:pt x="81" y="201"/>
                      <a:pt x="72" y="203"/>
                      <a:pt x="62" y="203"/>
                    </a:cubicBezTo>
                    <a:cubicBezTo>
                      <a:pt x="52" y="203"/>
                      <a:pt x="43" y="201"/>
                      <a:pt x="35" y="196"/>
                    </a:cubicBezTo>
                    <a:cubicBezTo>
                      <a:pt x="27" y="192"/>
                      <a:pt x="21" y="186"/>
                      <a:pt x="16" y="177"/>
                    </a:cubicBezTo>
                    <a:cubicBezTo>
                      <a:pt x="10" y="169"/>
                      <a:pt x="6" y="159"/>
                      <a:pt x="4" y="147"/>
                    </a:cubicBezTo>
                    <a:cubicBezTo>
                      <a:pt x="1" y="135"/>
                      <a:pt x="0" y="121"/>
                      <a:pt x="0" y="105"/>
                    </a:cubicBezTo>
                    <a:cubicBezTo>
                      <a:pt x="0" y="88"/>
                      <a:pt x="1" y="73"/>
                      <a:pt x="4" y="60"/>
                    </a:cubicBezTo>
                    <a:cubicBezTo>
                      <a:pt x="7" y="47"/>
                      <a:pt x="11" y="36"/>
                      <a:pt x="17" y="27"/>
                    </a:cubicBezTo>
                    <a:cubicBezTo>
                      <a:pt x="22" y="18"/>
                      <a:pt x="29" y="11"/>
                      <a:pt x="37" y="7"/>
                    </a:cubicBezTo>
                    <a:cubicBezTo>
                      <a:pt x="45" y="2"/>
                      <a:pt x="55" y="0"/>
                      <a:pt x="66" y="0"/>
                    </a:cubicBezTo>
                    <a:cubicBezTo>
                      <a:pt x="107" y="0"/>
                      <a:pt x="127" y="34"/>
                      <a:pt x="127" y="101"/>
                    </a:cubicBezTo>
                    <a:close/>
                    <a:moveTo>
                      <a:pt x="104" y="103"/>
                    </a:moveTo>
                    <a:cubicBezTo>
                      <a:pt x="104" y="47"/>
                      <a:pt x="91" y="19"/>
                      <a:pt x="65" y="19"/>
                    </a:cubicBezTo>
                    <a:cubicBezTo>
                      <a:pt x="37" y="19"/>
                      <a:pt x="23" y="47"/>
                      <a:pt x="23" y="104"/>
                    </a:cubicBezTo>
                    <a:cubicBezTo>
                      <a:pt x="23" y="157"/>
                      <a:pt x="36" y="184"/>
                      <a:pt x="64" y="184"/>
                    </a:cubicBezTo>
                    <a:cubicBezTo>
                      <a:pt x="91" y="184"/>
                      <a:pt x="104" y="157"/>
                      <a:pt x="104"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24" name="Freeform 282"/>
              <p:cNvSpPr>
                <a:spLocks noEditPoints="1"/>
              </p:cNvSpPr>
              <p:nvPr userDrawn="1"/>
            </p:nvSpPr>
            <p:spPr bwMode="auto">
              <a:xfrm>
                <a:off x="4402" y="739"/>
                <a:ext cx="155" cy="248"/>
              </a:xfrm>
              <a:custGeom>
                <a:avLst/>
                <a:gdLst>
                  <a:gd name="T0" fmla="*/ 127 w 127"/>
                  <a:gd name="T1" fmla="*/ 101 h 203"/>
                  <a:gd name="T2" fmla="*/ 123 w 127"/>
                  <a:gd name="T3" fmla="*/ 144 h 203"/>
                  <a:gd name="T4" fmla="*/ 110 w 127"/>
                  <a:gd name="T5" fmla="*/ 176 h 203"/>
                  <a:gd name="T6" fmla="*/ 89 w 127"/>
                  <a:gd name="T7" fmla="*/ 196 h 203"/>
                  <a:gd name="T8" fmla="*/ 61 w 127"/>
                  <a:gd name="T9" fmla="*/ 203 h 203"/>
                  <a:gd name="T10" fmla="*/ 35 w 127"/>
                  <a:gd name="T11" fmla="*/ 196 h 203"/>
                  <a:gd name="T12" fmla="*/ 16 w 127"/>
                  <a:gd name="T13" fmla="*/ 177 h 203"/>
                  <a:gd name="T14" fmla="*/ 4 w 127"/>
                  <a:gd name="T15" fmla="*/ 147 h 203"/>
                  <a:gd name="T16" fmla="*/ 0 w 127"/>
                  <a:gd name="T17" fmla="*/ 105 h 203"/>
                  <a:gd name="T18" fmla="*/ 4 w 127"/>
                  <a:gd name="T19" fmla="*/ 60 h 203"/>
                  <a:gd name="T20" fmla="*/ 17 w 127"/>
                  <a:gd name="T21" fmla="*/ 27 h 203"/>
                  <a:gd name="T22" fmla="*/ 37 w 127"/>
                  <a:gd name="T23" fmla="*/ 7 h 203"/>
                  <a:gd name="T24" fmla="*/ 66 w 127"/>
                  <a:gd name="T25" fmla="*/ 0 h 203"/>
                  <a:gd name="T26" fmla="*/ 127 w 127"/>
                  <a:gd name="T27" fmla="*/ 101 h 203"/>
                  <a:gd name="T28" fmla="*/ 104 w 127"/>
                  <a:gd name="T29" fmla="*/ 103 h 203"/>
                  <a:gd name="T30" fmla="*/ 65 w 127"/>
                  <a:gd name="T31" fmla="*/ 19 h 203"/>
                  <a:gd name="T32" fmla="*/ 23 w 127"/>
                  <a:gd name="T33" fmla="*/ 104 h 203"/>
                  <a:gd name="T34" fmla="*/ 64 w 127"/>
                  <a:gd name="T35" fmla="*/ 184 h 203"/>
                  <a:gd name="T36" fmla="*/ 104 w 127"/>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7" h="203">
                    <a:moveTo>
                      <a:pt x="127" y="101"/>
                    </a:moveTo>
                    <a:cubicBezTo>
                      <a:pt x="127" y="117"/>
                      <a:pt x="126" y="131"/>
                      <a:pt x="123" y="144"/>
                    </a:cubicBezTo>
                    <a:cubicBezTo>
                      <a:pt x="120" y="157"/>
                      <a:pt x="116" y="167"/>
                      <a:pt x="110" y="176"/>
                    </a:cubicBezTo>
                    <a:cubicBezTo>
                      <a:pt x="104" y="185"/>
                      <a:pt x="97" y="191"/>
                      <a:pt x="89" y="196"/>
                    </a:cubicBezTo>
                    <a:cubicBezTo>
                      <a:pt x="81" y="201"/>
                      <a:pt x="72" y="203"/>
                      <a:pt x="61" y="203"/>
                    </a:cubicBezTo>
                    <a:cubicBezTo>
                      <a:pt x="52" y="203"/>
                      <a:pt x="43" y="201"/>
                      <a:pt x="35" y="196"/>
                    </a:cubicBezTo>
                    <a:cubicBezTo>
                      <a:pt x="27" y="192"/>
                      <a:pt x="21" y="186"/>
                      <a:pt x="16" y="177"/>
                    </a:cubicBezTo>
                    <a:cubicBezTo>
                      <a:pt x="10" y="169"/>
                      <a:pt x="6" y="159"/>
                      <a:pt x="4" y="147"/>
                    </a:cubicBezTo>
                    <a:cubicBezTo>
                      <a:pt x="1" y="135"/>
                      <a:pt x="0" y="121"/>
                      <a:pt x="0" y="105"/>
                    </a:cubicBezTo>
                    <a:cubicBezTo>
                      <a:pt x="0" y="88"/>
                      <a:pt x="1" y="73"/>
                      <a:pt x="4" y="60"/>
                    </a:cubicBezTo>
                    <a:cubicBezTo>
                      <a:pt x="7" y="47"/>
                      <a:pt x="11" y="36"/>
                      <a:pt x="17" y="27"/>
                    </a:cubicBezTo>
                    <a:cubicBezTo>
                      <a:pt x="22" y="18"/>
                      <a:pt x="29" y="11"/>
                      <a:pt x="37" y="7"/>
                    </a:cubicBezTo>
                    <a:cubicBezTo>
                      <a:pt x="45" y="2"/>
                      <a:pt x="55" y="0"/>
                      <a:pt x="66" y="0"/>
                    </a:cubicBezTo>
                    <a:cubicBezTo>
                      <a:pt x="107" y="0"/>
                      <a:pt x="127" y="34"/>
                      <a:pt x="127" y="101"/>
                    </a:cubicBezTo>
                    <a:close/>
                    <a:moveTo>
                      <a:pt x="104" y="103"/>
                    </a:moveTo>
                    <a:cubicBezTo>
                      <a:pt x="104" y="47"/>
                      <a:pt x="91" y="19"/>
                      <a:pt x="65" y="19"/>
                    </a:cubicBezTo>
                    <a:cubicBezTo>
                      <a:pt x="37" y="19"/>
                      <a:pt x="23" y="47"/>
                      <a:pt x="23" y="104"/>
                    </a:cubicBezTo>
                    <a:cubicBezTo>
                      <a:pt x="23" y="157"/>
                      <a:pt x="36" y="184"/>
                      <a:pt x="64" y="184"/>
                    </a:cubicBezTo>
                    <a:cubicBezTo>
                      <a:pt x="91" y="184"/>
                      <a:pt x="104" y="157"/>
                      <a:pt x="104"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25" name="Freeform 283"/>
              <p:cNvSpPr>
                <a:spLocks/>
              </p:cNvSpPr>
              <p:nvPr userDrawn="1"/>
            </p:nvSpPr>
            <p:spPr bwMode="auto">
              <a:xfrm>
                <a:off x="4600" y="738"/>
                <a:ext cx="81" cy="244"/>
              </a:xfrm>
              <a:custGeom>
                <a:avLst/>
                <a:gdLst>
                  <a:gd name="T0" fmla="*/ 67 w 67"/>
                  <a:gd name="T1" fmla="*/ 200 h 200"/>
                  <a:gd name="T2" fmla="*/ 45 w 67"/>
                  <a:gd name="T3" fmla="*/ 200 h 200"/>
                  <a:gd name="T4" fmla="*/ 45 w 67"/>
                  <a:gd name="T5" fmla="*/ 31 h 200"/>
                  <a:gd name="T6" fmla="*/ 37 w 67"/>
                  <a:gd name="T7" fmla="*/ 37 h 200"/>
                  <a:gd name="T8" fmla="*/ 26 w 67"/>
                  <a:gd name="T9" fmla="*/ 44 h 200"/>
                  <a:gd name="T10" fmla="*/ 13 w 67"/>
                  <a:gd name="T11" fmla="*/ 50 h 200"/>
                  <a:gd name="T12" fmla="*/ 0 w 67"/>
                  <a:gd name="T13" fmla="*/ 54 h 200"/>
                  <a:gd name="T14" fmla="*/ 0 w 67"/>
                  <a:gd name="T15" fmla="*/ 32 h 200"/>
                  <a:gd name="T16" fmla="*/ 15 w 67"/>
                  <a:gd name="T17" fmla="*/ 26 h 200"/>
                  <a:gd name="T18" fmla="*/ 32 w 67"/>
                  <a:gd name="T19" fmla="*/ 18 h 200"/>
                  <a:gd name="T20" fmla="*/ 47 w 67"/>
                  <a:gd name="T21" fmla="*/ 9 h 200"/>
                  <a:gd name="T22" fmla="*/ 59 w 67"/>
                  <a:gd name="T23" fmla="*/ 0 h 200"/>
                  <a:gd name="T24" fmla="*/ 67 w 67"/>
                  <a:gd name="T25" fmla="*/ 0 h 200"/>
                  <a:gd name="T26" fmla="*/ 67 w 67"/>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7" h="200">
                    <a:moveTo>
                      <a:pt x="67" y="200"/>
                    </a:moveTo>
                    <a:cubicBezTo>
                      <a:pt x="45" y="200"/>
                      <a:pt x="45" y="200"/>
                      <a:pt x="45" y="200"/>
                    </a:cubicBezTo>
                    <a:cubicBezTo>
                      <a:pt x="45" y="31"/>
                      <a:pt x="45" y="31"/>
                      <a:pt x="45" y="31"/>
                    </a:cubicBezTo>
                    <a:cubicBezTo>
                      <a:pt x="43" y="33"/>
                      <a:pt x="41" y="35"/>
                      <a:pt x="37" y="37"/>
                    </a:cubicBezTo>
                    <a:cubicBezTo>
                      <a:pt x="34" y="39"/>
                      <a:pt x="30" y="41"/>
                      <a:pt x="26" y="44"/>
                    </a:cubicBezTo>
                    <a:cubicBezTo>
                      <a:pt x="22" y="46"/>
                      <a:pt x="18" y="48"/>
                      <a:pt x="13" y="50"/>
                    </a:cubicBezTo>
                    <a:cubicBezTo>
                      <a:pt x="9" y="52"/>
                      <a:pt x="4" y="53"/>
                      <a:pt x="0" y="54"/>
                    </a:cubicBezTo>
                    <a:cubicBezTo>
                      <a:pt x="0" y="32"/>
                      <a:pt x="0" y="32"/>
                      <a:pt x="0" y="32"/>
                    </a:cubicBezTo>
                    <a:cubicBezTo>
                      <a:pt x="5" y="30"/>
                      <a:pt x="10" y="28"/>
                      <a:pt x="15" y="26"/>
                    </a:cubicBezTo>
                    <a:cubicBezTo>
                      <a:pt x="21" y="24"/>
                      <a:pt x="26" y="21"/>
                      <a:pt x="32" y="18"/>
                    </a:cubicBezTo>
                    <a:cubicBezTo>
                      <a:pt x="37" y="15"/>
                      <a:pt x="42" y="12"/>
                      <a:pt x="47" y="9"/>
                    </a:cubicBezTo>
                    <a:cubicBezTo>
                      <a:pt x="51" y="6"/>
                      <a:pt x="56" y="3"/>
                      <a:pt x="59" y="0"/>
                    </a:cubicBezTo>
                    <a:cubicBezTo>
                      <a:pt x="67" y="0"/>
                      <a:pt x="67" y="0"/>
                      <a:pt x="67" y="0"/>
                    </a:cubicBezTo>
                    <a:lnTo>
                      <a:pt x="67"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26" name="Freeform 284"/>
              <p:cNvSpPr>
                <a:spLocks noEditPoints="1"/>
              </p:cNvSpPr>
              <p:nvPr userDrawn="1"/>
            </p:nvSpPr>
            <p:spPr bwMode="auto">
              <a:xfrm>
                <a:off x="4747" y="739"/>
                <a:ext cx="156" cy="248"/>
              </a:xfrm>
              <a:custGeom>
                <a:avLst/>
                <a:gdLst>
                  <a:gd name="T0" fmla="*/ 128 w 128"/>
                  <a:gd name="T1" fmla="*/ 101 h 203"/>
                  <a:gd name="T2" fmla="*/ 124 w 128"/>
                  <a:gd name="T3" fmla="*/ 144 h 203"/>
                  <a:gd name="T4" fmla="*/ 111 w 128"/>
                  <a:gd name="T5" fmla="*/ 176 h 203"/>
                  <a:gd name="T6" fmla="*/ 90 w 128"/>
                  <a:gd name="T7" fmla="*/ 196 h 203"/>
                  <a:gd name="T8" fmla="*/ 62 w 128"/>
                  <a:gd name="T9" fmla="*/ 203 h 203"/>
                  <a:gd name="T10" fmla="*/ 36 w 128"/>
                  <a:gd name="T11" fmla="*/ 196 h 203"/>
                  <a:gd name="T12" fmla="*/ 16 w 128"/>
                  <a:gd name="T13" fmla="*/ 177 h 203"/>
                  <a:gd name="T14" fmla="*/ 4 w 128"/>
                  <a:gd name="T15" fmla="*/ 147 h 203"/>
                  <a:gd name="T16" fmla="*/ 0 w 128"/>
                  <a:gd name="T17" fmla="*/ 105 h 203"/>
                  <a:gd name="T18" fmla="*/ 5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4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6" y="131"/>
                      <a:pt x="124" y="144"/>
                    </a:cubicBezTo>
                    <a:cubicBezTo>
                      <a:pt x="121" y="157"/>
                      <a:pt x="116" y="167"/>
                      <a:pt x="111" y="176"/>
                    </a:cubicBezTo>
                    <a:cubicBezTo>
                      <a:pt x="105" y="185"/>
                      <a:pt x="98" y="191"/>
                      <a:pt x="90" y="196"/>
                    </a:cubicBezTo>
                    <a:cubicBezTo>
                      <a:pt x="82" y="201"/>
                      <a:pt x="73" y="203"/>
                      <a:pt x="62" y="203"/>
                    </a:cubicBezTo>
                    <a:cubicBezTo>
                      <a:pt x="52" y="203"/>
                      <a:pt x="44" y="201"/>
                      <a:pt x="36" y="196"/>
                    </a:cubicBezTo>
                    <a:cubicBezTo>
                      <a:pt x="28" y="192"/>
                      <a:pt x="22" y="186"/>
                      <a:pt x="16" y="177"/>
                    </a:cubicBezTo>
                    <a:cubicBezTo>
                      <a:pt x="11" y="169"/>
                      <a:pt x="7" y="159"/>
                      <a:pt x="4" y="147"/>
                    </a:cubicBezTo>
                    <a:cubicBezTo>
                      <a:pt x="2" y="135"/>
                      <a:pt x="0" y="121"/>
                      <a:pt x="0" y="105"/>
                    </a:cubicBezTo>
                    <a:cubicBezTo>
                      <a:pt x="0" y="88"/>
                      <a:pt x="2" y="73"/>
                      <a:pt x="5" y="60"/>
                    </a:cubicBezTo>
                    <a:cubicBezTo>
                      <a:pt x="7" y="47"/>
                      <a:pt x="12" y="36"/>
                      <a:pt x="17" y="27"/>
                    </a:cubicBezTo>
                    <a:cubicBezTo>
                      <a:pt x="23" y="18"/>
                      <a:pt x="30" y="11"/>
                      <a:pt x="38" y="7"/>
                    </a:cubicBezTo>
                    <a:cubicBezTo>
                      <a:pt x="46" y="2"/>
                      <a:pt x="56" y="0"/>
                      <a:pt x="66" y="0"/>
                    </a:cubicBezTo>
                    <a:cubicBezTo>
                      <a:pt x="107" y="0"/>
                      <a:pt x="128" y="34"/>
                      <a:pt x="128" y="101"/>
                    </a:cubicBezTo>
                    <a:close/>
                    <a:moveTo>
                      <a:pt x="105" y="103"/>
                    </a:moveTo>
                    <a:cubicBezTo>
                      <a:pt x="105" y="47"/>
                      <a:pt x="92" y="19"/>
                      <a:pt x="65" y="19"/>
                    </a:cubicBezTo>
                    <a:cubicBezTo>
                      <a:pt x="37" y="19"/>
                      <a:pt x="23" y="47"/>
                      <a:pt x="23" y="104"/>
                    </a:cubicBezTo>
                    <a:cubicBezTo>
                      <a:pt x="23" y="157"/>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27" name="Freeform 285"/>
              <p:cNvSpPr>
                <a:spLocks noEditPoints="1"/>
              </p:cNvSpPr>
              <p:nvPr userDrawn="1"/>
            </p:nvSpPr>
            <p:spPr bwMode="auto">
              <a:xfrm>
                <a:off x="4942" y="739"/>
                <a:ext cx="156" cy="248"/>
              </a:xfrm>
              <a:custGeom>
                <a:avLst/>
                <a:gdLst>
                  <a:gd name="T0" fmla="*/ 128 w 128"/>
                  <a:gd name="T1" fmla="*/ 101 h 203"/>
                  <a:gd name="T2" fmla="*/ 123 w 128"/>
                  <a:gd name="T3" fmla="*/ 144 h 203"/>
                  <a:gd name="T4" fmla="*/ 111 w 128"/>
                  <a:gd name="T5" fmla="*/ 176 h 203"/>
                  <a:gd name="T6" fmla="*/ 90 w 128"/>
                  <a:gd name="T7" fmla="*/ 196 h 203"/>
                  <a:gd name="T8" fmla="*/ 62 w 128"/>
                  <a:gd name="T9" fmla="*/ 203 h 203"/>
                  <a:gd name="T10" fmla="*/ 36 w 128"/>
                  <a:gd name="T11" fmla="*/ 196 h 203"/>
                  <a:gd name="T12" fmla="*/ 16 w 128"/>
                  <a:gd name="T13" fmla="*/ 177 h 203"/>
                  <a:gd name="T14" fmla="*/ 4 w 128"/>
                  <a:gd name="T15" fmla="*/ 147 h 203"/>
                  <a:gd name="T16" fmla="*/ 0 w 128"/>
                  <a:gd name="T17" fmla="*/ 105 h 203"/>
                  <a:gd name="T18" fmla="*/ 5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4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6" y="131"/>
                      <a:pt x="123" y="144"/>
                    </a:cubicBezTo>
                    <a:cubicBezTo>
                      <a:pt x="121" y="157"/>
                      <a:pt x="116" y="167"/>
                      <a:pt x="111" y="176"/>
                    </a:cubicBezTo>
                    <a:cubicBezTo>
                      <a:pt x="105" y="185"/>
                      <a:pt x="98" y="191"/>
                      <a:pt x="90" y="196"/>
                    </a:cubicBezTo>
                    <a:cubicBezTo>
                      <a:pt x="82" y="201"/>
                      <a:pt x="73" y="203"/>
                      <a:pt x="62" y="203"/>
                    </a:cubicBezTo>
                    <a:cubicBezTo>
                      <a:pt x="52" y="203"/>
                      <a:pt x="44" y="201"/>
                      <a:pt x="36" y="196"/>
                    </a:cubicBezTo>
                    <a:cubicBezTo>
                      <a:pt x="28" y="192"/>
                      <a:pt x="22" y="186"/>
                      <a:pt x="16" y="177"/>
                    </a:cubicBezTo>
                    <a:cubicBezTo>
                      <a:pt x="11" y="169"/>
                      <a:pt x="7" y="159"/>
                      <a:pt x="4" y="147"/>
                    </a:cubicBezTo>
                    <a:cubicBezTo>
                      <a:pt x="2" y="135"/>
                      <a:pt x="0" y="121"/>
                      <a:pt x="0" y="105"/>
                    </a:cubicBezTo>
                    <a:cubicBezTo>
                      <a:pt x="0" y="88"/>
                      <a:pt x="2" y="73"/>
                      <a:pt x="5" y="60"/>
                    </a:cubicBezTo>
                    <a:cubicBezTo>
                      <a:pt x="7" y="47"/>
                      <a:pt x="12" y="36"/>
                      <a:pt x="17" y="27"/>
                    </a:cubicBezTo>
                    <a:cubicBezTo>
                      <a:pt x="23" y="18"/>
                      <a:pt x="30" y="11"/>
                      <a:pt x="38" y="7"/>
                    </a:cubicBezTo>
                    <a:cubicBezTo>
                      <a:pt x="46" y="2"/>
                      <a:pt x="56" y="0"/>
                      <a:pt x="66" y="0"/>
                    </a:cubicBezTo>
                    <a:cubicBezTo>
                      <a:pt x="107" y="0"/>
                      <a:pt x="128" y="34"/>
                      <a:pt x="128" y="101"/>
                    </a:cubicBezTo>
                    <a:close/>
                    <a:moveTo>
                      <a:pt x="105" y="103"/>
                    </a:moveTo>
                    <a:cubicBezTo>
                      <a:pt x="105" y="47"/>
                      <a:pt x="92" y="19"/>
                      <a:pt x="65" y="19"/>
                    </a:cubicBezTo>
                    <a:cubicBezTo>
                      <a:pt x="37" y="19"/>
                      <a:pt x="23" y="47"/>
                      <a:pt x="23" y="104"/>
                    </a:cubicBezTo>
                    <a:cubicBezTo>
                      <a:pt x="23" y="157"/>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28" name="Freeform 286"/>
              <p:cNvSpPr>
                <a:spLocks noEditPoints="1"/>
              </p:cNvSpPr>
              <p:nvPr userDrawn="1"/>
            </p:nvSpPr>
            <p:spPr bwMode="auto">
              <a:xfrm>
                <a:off x="5137" y="739"/>
                <a:ext cx="156" cy="248"/>
              </a:xfrm>
              <a:custGeom>
                <a:avLst/>
                <a:gdLst>
                  <a:gd name="T0" fmla="*/ 128 w 128"/>
                  <a:gd name="T1" fmla="*/ 101 h 203"/>
                  <a:gd name="T2" fmla="*/ 123 w 128"/>
                  <a:gd name="T3" fmla="*/ 144 h 203"/>
                  <a:gd name="T4" fmla="*/ 111 w 128"/>
                  <a:gd name="T5" fmla="*/ 176 h 203"/>
                  <a:gd name="T6" fmla="*/ 90 w 128"/>
                  <a:gd name="T7" fmla="*/ 196 h 203"/>
                  <a:gd name="T8" fmla="*/ 62 w 128"/>
                  <a:gd name="T9" fmla="*/ 203 h 203"/>
                  <a:gd name="T10" fmla="*/ 36 w 128"/>
                  <a:gd name="T11" fmla="*/ 196 h 203"/>
                  <a:gd name="T12" fmla="*/ 16 w 128"/>
                  <a:gd name="T13" fmla="*/ 177 h 203"/>
                  <a:gd name="T14" fmla="*/ 4 w 128"/>
                  <a:gd name="T15" fmla="*/ 147 h 203"/>
                  <a:gd name="T16" fmla="*/ 0 w 128"/>
                  <a:gd name="T17" fmla="*/ 105 h 203"/>
                  <a:gd name="T18" fmla="*/ 5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4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6" y="131"/>
                      <a:pt x="123" y="144"/>
                    </a:cubicBezTo>
                    <a:cubicBezTo>
                      <a:pt x="121" y="157"/>
                      <a:pt x="116" y="167"/>
                      <a:pt x="111" y="176"/>
                    </a:cubicBezTo>
                    <a:cubicBezTo>
                      <a:pt x="105" y="185"/>
                      <a:pt x="98" y="191"/>
                      <a:pt x="90" y="196"/>
                    </a:cubicBezTo>
                    <a:cubicBezTo>
                      <a:pt x="82" y="201"/>
                      <a:pt x="73" y="203"/>
                      <a:pt x="62" y="203"/>
                    </a:cubicBezTo>
                    <a:cubicBezTo>
                      <a:pt x="52" y="203"/>
                      <a:pt x="44" y="201"/>
                      <a:pt x="36" y="196"/>
                    </a:cubicBezTo>
                    <a:cubicBezTo>
                      <a:pt x="28" y="192"/>
                      <a:pt x="22" y="186"/>
                      <a:pt x="16" y="177"/>
                    </a:cubicBezTo>
                    <a:cubicBezTo>
                      <a:pt x="11" y="169"/>
                      <a:pt x="7" y="159"/>
                      <a:pt x="4" y="147"/>
                    </a:cubicBezTo>
                    <a:cubicBezTo>
                      <a:pt x="2" y="135"/>
                      <a:pt x="0" y="121"/>
                      <a:pt x="0" y="105"/>
                    </a:cubicBezTo>
                    <a:cubicBezTo>
                      <a:pt x="0" y="88"/>
                      <a:pt x="2" y="73"/>
                      <a:pt x="5" y="60"/>
                    </a:cubicBezTo>
                    <a:cubicBezTo>
                      <a:pt x="7" y="47"/>
                      <a:pt x="12" y="36"/>
                      <a:pt x="17" y="27"/>
                    </a:cubicBezTo>
                    <a:cubicBezTo>
                      <a:pt x="23" y="18"/>
                      <a:pt x="30" y="11"/>
                      <a:pt x="38" y="7"/>
                    </a:cubicBezTo>
                    <a:cubicBezTo>
                      <a:pt x="46" y="2"/>
                      <a:pt x="56" y="0"/>
                      <a:pt x="66" y="0"/>
                    </a:cubicBezTo>
                    <a:cubicBezTo>
                      <a:pt x="107" y="0"/>
                      <a:pt x="128" y="34"/>
                      <a:pt x="128" y="101"/>
                    </a:cubicBezTo>
                    <a:close/>
                    <a:moveTo>
                      <a:pt x="105" y="103"/>
                    </a:moveTo>
                    <a:cubicBezTo>
                      <a:pt x="105" y="47"/>
                      <a:pt x="92" y="19"/>
                      <a:pt x="65" y="19"/>
                    </a:cubicBezTo>
                    <a:cubicBezTo>
                      <a:pt x="37" y="19"/>
                      <a:pt x="23" y="47"/>
                      <a:pt x="23" y="104"/>
                    </a:cubicBezTo>
                    <a:cubicBezTo>
                      <a:pt x="23" y="157"/>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29" name="Freeform 287"/>
              <p:cNvSpPr>
                <a:spLocks/>
              </p:cNvSpPr>
              <p:nvPr userDrawn="1"/>
            </p:nvSpPr>
            <p:spPr bwMode="auto">
              <a:xfrm>
                <a:off x="5334" y="738"/>
                <a:ext cx="83" cy="244"/>
              </a:xfrm>
              <a:custGeom>
                <a:avLst/>
                <a:gdLst>
                  <a:gd name="T0" fmla="*/ 68 w 68"/>
                  <a:gd name="T1" fmla="*/ 200 h 200"/>
                  <a:gd name="T2" fmla="*/ 46 w 68"/>
                  <a:gd name="T3" fmla="*/ 200 h 200"/>
                  <a:gd name="T4" fmla="*/ 46 w 68"/>
                  <a:gd name="T5" fmla="*/ 31 h 200"/>
                  <a:gd name="T6" fmla="*/ 38 w 68"/>
                  <a:gd name="T7" fmla="*/ 37 h 200"/>
                  <a:gd name="T8" fmla="*/ 27 w 68"/>
                  <a:gd name="T9" fmla="*/ 44 h 200"/>
                  <a:gd name="T10" fmla="*/ 14 w 68"/>
                  <a:gd name="T11" fmla="*/ 50 h 200"/>
                  <a:gd name="T12" fmla="*/ 0 w 68"/>
                  <a:gd name="T13" fmla="*/ 54 h 200"/>
                  <a:gd name="T14" fmla="*/ 0 w 68"/>
                  <a:gd name="T15" fmla="*/ 32 h 200"/>
                  <a:gd name="T16" fmla="*/ 16 w 68"/>
                  <a:gd name="T17" fmla="*/ 26 h 200"/>
                  <a:gd name="T18" fmla="*/ 32 w 68"/>
                  <a:gd name="T19" fmla="*/ 18 h 200"/>
                  <a:gd name="T20" fmla="*/ 47 w 68"/>
                  <a:gd name="T21" fmla="*/ 9 h 200"/>
                  <a:gd name="T22" fmla="*/ 60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6" y="200"/>
                      <a:pt x="46" y="200"/>
                      <a:pt x="46" y="200"/>
                    </a:cubicBezTo>
                    <a:cubicBezTo>
                      <a:pt x="46" y="31"/>
                      <a:pt x="46" y="31"/>
                      <a:pt x="46" y="31"/>
                    </a:cubicBezTo>
                    <a:cubicBezTo>
                      <a:pt x="44" y="33"/>
                      <a:pt x="41" y="35"/>
                      <a:pt x="38" y="37"/>
                    </a:cubicBezTo>
                    <a:cubicBezTo>
                      <a:pt x="35" y="39"/>
                      <a:pt x="31" y="41"/>
                      <a:pt x="27" y="44"/>
                    </a:cubicBezTo>
                    <a:cubicBezTo>
                      <a:pt x="23" y="46"/>
                      <a:pt x="18" y="48"/>
                      <a:pt x="14" y="50"/>
                    </a:cubicBezTo>
                    <a:cubicBezTo>
                      <a:pt x="9" y="52"/>
                      <a:pt x="5" y="53"/>
                      <a:pt x="0" y="54"/>
                    </a:cubicBezTo>
                    <a:cubicBezTo>
                      <a:pt x="0" y="32"/>
                      <a:pt x="0" y="32"/>
                      <a:pt x="0" y="32"/>
                    </a:cubicBezTo>
                    <a:cubicBezTo>
                      <a:pt x="5" y="30"/>
                      <a:pt x="10" y="28"/>
                      <a:pt x="16" y="26"/>
                    </a:cubicBezTo>
                    <a:cubicBezTo>
                      <a:pt x="21" y="24"/>
                      <a:pt x="27" y="21"/>
                      <a:pt x="32" y="18"/>
                    </a:cubicBezTo>
                    <a:cubicBezTo>
                      <a:pt x="38" y="15"/>
                      <a:pt x="43" y="12"/>
                      <a:pt x="47" y="9"/>
                    </a:cubicBezTo>
                    <a:cubicBezTo>
                      <a:pt x="52" y="6"/>
                      <a:pt x="56" y="3"/>
                      <a:pt x="60"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0" name="Freeform 288"/>
              <p:cNvSpPr>
                <a:spLocks noEditPoints="1"/>
              </p:cNvSpPr>
              <p:nvPr userDrawn="1"/>
            </p:nvSpPr>
            <p:spPr bwMode="auto">
              <a:xfrm>
                <a:off x="5483" y="739"/>
                <a:ext cx="156" cy="248"/>
              </a:xfrm>
              <a:custGeom>
                <a:avLst/>
                <a:gdLst>
                  <a:gd name="T0" fmla="*/ 128 w 128"/>
                  <a:gd name="T1" fmla="*/ 101 h 203"/>
                  <a:gd name="T2" fmla="*/ 123 w 128"/>
                  <a:gd name="T3" fmla="*/ 144 h 203"/>
                  <a:gd name="T4" fmla="*/ 110 w 128"/>
                  <a:gd name="T5" fmla="*/ 176 h 203"/>
                  <a:gd name="T6" fmla="*/ 90 w 128"/>
                  <a:gd name="T7" fmla="*/ 196 h 203"/>
                  <a:gd name="T8" fmla="*/ 62 w 128"/>
                  <a:gd name="T9" fmla="*/ 203 h 203"/>
                  <a:gd name="T10" fmla="*/ 36 w 128"/>
                  <a:gd name="T11" fmla="*/ 196 h 203"/>
                  <a:gd name="T12" fmla="*/ 16 w 128"/>
                  <a:gd name="T13" fmla="*/ 177 h 203"/>
                  <a:gd name="T14" fmla="*/ 4 w 128"/>
                  <a:gd name="T15" fmla="*/ 147 h 203"/>
                  <a:gd name="T16" fmla="*/ 0 w 128"/>
                  <a:gd name="T17" fmla="*/ 105 h 203"/>
                  <a:gd name="T18" fmla="*/ 4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4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6" y="131"/>
                      <a:pt x="123" y="144"/>
                    </a:cubicBezTo>
                    <a:cubicBezTo>
                      <a:pt x="120" y="157"/>
                      <a:pt x="116" y="167"/>
                      <a:pt x="110" y="176"/>
                    </a:cubicBezTo>
                    <a:cubicBezTo>
                      <a:pt x="105" y="185"/>
                      <a:pt x="98" y="191"/>
                      <a:pt x="90" y="196"/>
                    </a:cubicBezTo>
                    <a:cubicBezTo>
                      <a:pt x="82" y="201"/>
                      <a:pt x="72" y="203"/>
                      <a:pt x="62" y="203"/>
                    </a:cubicBezTo>
                    <a:cubicBezTo>
                      <a:pt x="52" y="203"/>
                      <a:pt x="43" y="201"/>
                      <a:pt x="36" y="196"/>
                    </a:cubicBezTo>
                    <a:cubicBezTo>
                      <a:pt x="28" y="192"/>
                      <a:pt x="21" y="186"/>
                      <a:pt x="16" y="177"/>
                    </a:cubicBezTo>
                    <a:cubicBezTo>
                      <a:pt x="11" y="169"/>
                      <a:pt x="7" y="159"/>
                      <a:pt x="4" y="147"/>
                    </a:cubicBezTo>
                    <a:cubicBezTo>
                      <a:pt x="1" y="135"/>
                      <a:pt x="0" y="121"/>
                      <a:pt x="0" y="105"/>
                    </a:cubicBezTo>
                    <a:cubicBezTo>
                      <a:pt x="0" y="88"/>
                      <a:pt x="1" y="73"/>
                      <a:pt x="4" y="60"/>
                    </a:cubicBezTo>
                    <a:cubicBezTo>
                      <a:pt x="7" y="47"/>
                      <a:pt x="11" y="36"/>
                      <a:pt x="17" y="27"/>
                    </a:cubicBezTo>
                    <a:cubicBezTo>
                      <a:pt x="22" y="18"/>
                      <a:pt x="29" y="11"/>
                      <a:pt x="38" y="7"/>
                    </a:cubicBezTo>
                    <a:cubicBezTo>
                      <a:pt x="46" y="2"/>
                      <a:pt x="55" y="0"/>
                      <a:pt x="66" y="0"/>
                    </a:cubicBezTo>
                    <a:cubicBezTo>
                      <a:pt x="107" y="0"/>
                      <a:pt x="128" y="34"/>
                      <a:pt x="128" y="101"/>
                    </a:cubicBezTo>
                    <a:close/>
                    <a:moveTo>
                      <a:pt x="105" y="103"/>
                    </a:moveTo>
                    <a:cubicBezTo>
                      <a:pt x="105" y="47"/>
                      <a:pt x="91" y="19"/>
                      <a:pt x="65" y="19"/>
                    </a:cubicBezTo>
                    <a:cubicBezTo>
                      <a:pt x="37" y="19"/>
                      <a:pt x="23" y="47"/>
                      <a:pt x="23" y="104"/>
                    </a:cubicBezTo>
                    <a:cubicBezTo>
                      <a:pt x="23" y="157"/>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1" name="Freeform 289"/>
              <p:cNvSpPr>
                <a:spLocks/>
              </p:cNvSpPr>
              <p:nvPr userDrawn="1"/>
            </p:nvSpPr>
            <p:spPr bwMode="auto">
              <a:xfrm>
                <a:off x="5680" y="738"/>
                <a:ext cx="83" cy="244"/>
              </a:xfrm>
              <a:custGeom>
                <a:avLst/>
                <a:gdLst>
                  <a:gd name="T0" fmla="*/ 68 w 68"/>
                  <a:gd name="T1" fmla="*/ 200 h 200"/>
                  <a:gd name="T2" fmla="*/ 45 w 68"/>
                  <a:gd name="T3" fmla="*/ 200 h 200"/>
                  <a:gd name="T4" fmla="*/ 45 w 68"/>
                  <a:gd name="T5" fmla="*/ 31 h 200"/>
                  <a:gd name="T6" fmla="*/ 38 w 68"/>
                  <a:gd name="T7" fmla="*/ 37 h 200"/>
                  <a:gd name="T8" fmla="*/ 27 w 68"/>
                  <a:gd name="T9" fmla="*/ 44 h 200"/>
                  <a:gd name="T10" fmla="*/ 13 w 68"/>
                  <a:gd name="T11" fmla="*/ 50 h 200"/>
                  <a:gd name="T12" fmla="*/ 0 w 68"/>
                  <a:gd name="T13" fmla="*/ 54 h 200"/>
                  <a:gd name="T14" fmla="*/ 0 w 68"/>
                  <a:gd name="T15" fmla="*/ 32 h 200"/>
                  <a:gd name="T16" fmla="*/ 16 w 68"/>
                  <a:gd name="T17" fmla="*/ 26 h 200"/>
                  <a:gd name="T18" fmla="*/ 32 w 68"/>
                  <a:gd name="T19" fmla="*/ 18 h 200"/>
                  <a:gd name="T20" fmla="*/ 47 w 68"/>
                  <a:gd name="T21" fmla="*/ 9 h 200"/>
                  <a:gd name="T22" fmla="*/ 59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5" y="200"/>
                      <a:pt x="45" y="200"/>
                      <a:pt x="45" y="200"/>
                    </a:cubicBezTo>
                    <a:cubicBezTo>
                      <a:pt x="45" y="31"/>
                      <a:pt x="45" y="31"/>
                      <a:pt x="45" y="31"/>
                    </a:cubicBezTo>
                    <a:cubicBezTo>
                      <a:pt x="44" y="33"/>
                      <a:pt x="41" y="35"/>
                      <a:pt x="38" y="37"/>
                    </a:cubicBezTo>
                    <a:cubicBezTo>
                      <a:pt x="34" y="39"/>
                      <a:pt x="31" y="41"/>
                      <a:pt x="27" y="44"/>
                    </a:cubicBezTo>
                    <a:cubicBezTo>
                      <a:pt x="22" y="46"/>
                      <a:pt x="18" y="48"/>
                      <a:pt x="13" y="50"/>
                    </a:cubicBezTo>
                    <a:cubicBezTo>
                      <a:pt x="9" y="52"/>
                      <a:pt x="4" y="53"/>
                      <a:pt x="0" y="54"/>
                    </a:cubicBezTo>
                    <a:cubicBezTo>
                      <a:pt x="0" y="32"/>
                      <a:pt x="0" y="32"/>
                      <a:pt x="0" y="32"/>
                    </a:cubicBezTo>
                    <a:cubicBezTo>
                      <a:pt x="5" y="30"/>
                      <a:pt x="10" y="28"/>
                      <a:pt x="16" y="26"/>
                    </a:cubicBezTo>
                    <a:cubicBezTo>
                      <a:pt x="21" y="24"/>
                      <a:pt x="27" y="21"/>
                      <a:pt x="32" y="18"/>
                    </a:cubicBezTo>
                    <a:cubicBezTo>
                      <a:pt x="37" y="15"/>
                      <a:pt x="42" y="12"/>
                      <a:pt x="47" y="9"/>
                    </a:cubicBezTo>
                    <a:cubicBezTo>
                      <a:pt x="52" y="6"/>
                      <a:pt x="56" y="3"/>
                      <a:pt x="59"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2" name="Freeform 290"/>
              <p:cNvSpPr>
                <a:spLocks/>
              </p:cNvSpPr>
              <p:nvPr userDrawn="1"/>
            </p:nvSpPr>
            <p:spPr bwMode="auto">
              <a:xfrm>
                <a:off x="5830" y="738"/>
                <a:ext cx="82" cy="244"/>
              </a:xfrm>
              <a:custGeom>
                <a:avLst/>
                <a:gdLst>
                  <a:gd name="T0" fmla="*/ 67 w 67"/>
                  <a:gd name="T1" fmla="*/ 200 h 200"/>
                  <a:gd name="T2" fmla="*/ 45 w 67"/>
                  <a:gd name="T3" fmla="*/ 200 h 200"/>
                  <a:gd name="T4" fmla="*/ 45 w 67"/>
                  <a:gd name="T5" fmla="*/ 31 h 200"/>
                  <a:gd name="T6" fmla="*/ 37 w 67"/>
                  <a:gd name="T7" fmla="*/ 37 h 200"/>
                  <a:gd name="T8" fmla="*/ 26 w 67"/>
                  <a:gd name="T9" fmla="*/ 44 h 200"/>
                  <a:gd name="T10" fmla="*/ 13 w 67"/>
                  <a:gd name="T11" fmla="*/ 50 h 200"/>
                  <a:gd name="T12" fmla="*/ 0 w 67"/>
                  <a:gd name="T13" fmla="*/ 54 h 200"/>
                  <a:gd name="T14" fmla="*/ 0 w 67"/>
                  <a:gd name="T15" fmla="*/ 32 h 200"/>
                  <a:gd name="T16" fmla="*/ 15 w 67"/>
                  <a:gd name="T17" fmla="*/ 26 h 200"/>
                  <a:gd name="T18" fmla="*/ 31 w 67"/>
                  <a:gd name="T19" fmla="*/ 18 h 200"/>
                  <a:gd name="T20" fmla="*/ 47 w 67"/>
                  <a:gd name="T21" fmla="*/ 9 h 200"/>
                  <a:gd name="T22" fmla="*/ 59 w 67"/>
                  <a:gd name="T23" fmla="*/ 0 h 200"/>
                  <a:gd name="T24" fmla="*/ 67 w 67"/>
                  <a:gd name="T25" fmla="*/ 0 h 200"/>
                  <a:gd name="T26" fmla="*/ 67 w 67"/>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7" h="200">
                    <a:moveTo>
                      <a:pt x="67" y="200"/>
                    </a:moveTo>
                    <a:cubicBezTo>
                      <a:pt x="45" y="200"/>
                      <a:pt x="45" y="200"/>
                      <a:pt x="45" y="200"/>
                    </a:cubicBezTo>
                    <a:cubicBezTo>
                      <a:pt x="45" y="31"/>
                      <a:pt x="45" y="31"/>
                      <a:pt x="45" y="31"/>
                    </a:cubicBezTo>
                    <a:cubicBezTo>
                      <a:pt x="43" y="33"/>
                      <a:pt x="41" y="35"/>
                      <a:pt x="37" y="37"/>
                    </a:cubicBezTo>
                    <a:cubicBezTo>
                      <a:pt x="34" y="39"/>
                      <a:pt x="30" y="41"/>
                      <a:pt x="26" y="44"/>
                    </a:cubicBezTo>
                    <a:cubicBezTo>
                      <a:pt x="22" y="46"/>
                      <a:pt x="18" y="48"/>
                      <a:pt x="13" y="50"/>
                    </a:cubicBezTo>
                    <a:cubicBezTo>
                      <a:pt x="8" y="52"/>
                      <a:pt x="4" y="53"/>
                      <a:pt x="0" y="54"/>
                    </a:cubicBezTo>
                    <a:cubicBezTo>
                      <a:pt x="0" y="32"/>
                      <a:pt x="0" y="32"/>
                      <a:pt x="0" y="32"/>
                    </a:cubicBezTo>
                    <a:cubicBezTo>
                      <a:pt x="4" y="30"/>
                      <a:pt x="10" y="28"/>
                      <a:pt x="15" y="26"/>
                    </a:cubicBezTo>
                    <a:cubicBezTo>
                      <a:pt x="21" y="24"/>
                      <a:pt x="26" y="21"/>
                      <a:pt x="31" y="18"/>
                    </a:cubicBezTo>
                    <a:cubicBezTo>
                      <a:pt x="37" y="15"/>
                      <a:pt x="42" y="12"/>
                      <a:pt x="47" y="9"/>
                    </a:cubicBezTo>
                    <a:cubicBezTo>
                      <a:pt x="51" y="6"/>
                      <a:pt x="55" y="3"/>
                      <a:pt x="59" y="0"/>
                    </a:cubicBezTo>
                    <a:cubicBezTo>
                      <a:pt x="67" y="0"/>
                      <a:pt x="67" y="0"/>
                      <a:pt x="67" y="0"/>
                    </a:cubicBezTo>
                    <a:lnTo>
                      <a:pt x="67"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3" name="Freeform 291"/>
              <p:cNvSpPr>
                <a:spLocks noEditPoints="1"/>
              </p:cNvSpPr>
              <p:nvPr userDrawn="1"/>
            </p:nvSpPr>
            <p:spPr bwMode="auto">
              <a:xfrm>
                <a:off x="5978" y="739"/>
                <a:ext cx="156" cy="248"/>
              </a:xfrm>
              <a:custGeom>
                <a:avLst/>
                <a:gdLst>
                  <a:gd name="T0" fmla="*/ 128 w 128"/>
                  <a:gd name="T1" fmla="*/ 101 h 203"/>
                  <a:gd name="T2" fmla="*/ 123 w 128"/>
                  <a:gd name="T3" fmla="*/ 144 h 203"/>
                  <a:gd name="T4" fmla="*/ 111 w 128"/>
                  <a:gd name="T5" fmla="*/ 176 h 203"/>
                  <a:gd name="T6" fmla="*/ 90 w 128"/>
                  <a:gd name="T7" fmla="*/ 196 h 203"/>
                  <a:gd name="T8" fmla="*/ 62 w 128"/>
                  <a:gd name="T9" fmla="*/ 203 h 203"/>
                  <a:gd name="T10" fmla="*/ 36 w 128"/>
                  <a:gd name="T11" fmla="*/ 196 h 203"/>
                  <a:gd name="T12" fmla="*/ 16 w 128"/>
                  <a:gd name="T13" fmla="*/ 177 h 203"/>
                  <a:gd name="T14" fmla="*/ 4 w 128"/>
                  <a:gd name="T15" fmla="*/ 147 h 203"/>
                  <a:gd name="T16" fmla="*/ 0 w 128"/>
                  <a:gd name="T17" fmla="*/ 105 h 203"/>
                  <a:gd name="T18" fmla="*/ 4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4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6" y="131"/>
                      <a:pt x="123" y="144"/>
                    </a:cubicBezTo>
                    <a:cubicBezTo>
                      <a:pt x="120" y="157"/>
                      <a:pt x="116" y="167"/>
                      <a:pt x="111" y="176"/>
                    </a:cubicBezTo>
                    <a:cubicBezTo>
                      <a:pt x="105" y="185"/>
                      <a:pt x="98" y="191"/>
                      <a:pt x="90" y="196"/>
                    </a:cubicBezTo>
                    <a:cubicBezTo>
                      <a:pt x="82" y="201"/>
                      <a:pt x="73" y="203"/>
                      <a:pt x="62" y="203"/>
                    </a:cubicBezTo>
                    <a:cubicBezTo>
                      <a:pt x="52" y="203"/>
                      <a:pt x="43" y="201"/>
                      <a:pt x="36" y="196"/>
                    </a:cubicBezTo>
                    <a:cubicBezTo>
                      <a:pt x="28" y="192"/>
                      <a:pt x="22" y="186"/>
                      <a:pt x="16" y="177"/>
                    </a:cubicBezTo>
                    <a:cubicBezTo>
                      <a:pt x="11" y="169"/>
                      <a:pt x="7" y="159"/>
                      <a:pt x="4" y="147"/>
                    </a:cubicBezTo>
                    <a:cubicBezTo>
                      <a:pt x="2" y="135"/>
                      <a:pt x="0" y="121"/>
                      <a:pt x="0" y="105"/>
                    </a:cubicBezTo>
                    <a:cubicBezTo>
                      <a:pt x="0" y="88"/>
                      <a:pt x="2" y="73"/>
                      <a:pt x="4" y="60"/>
                    </a:cubicBezTo>
                    <a:cubicBezTo>
                      <a:pt x="7" y="47"/>
                      <a:pt x="12" y="36"/>
                      <a:pt x="17" y="27"/>
                    </a:cubicBezTo>
                    <a:cubicBezTo>
                      <a:pt x="23" y="18"/>
                      <a:pt x="30" y="11"/>
                      <a:pt x="38" y="7"/>
                    </a:cubicBezTo>
                    <a:cubicBezTo>
                      <a:pt x="46" y="2"/>
                      <a:pt x="56" y="0"/>
                      <a:pt x="66" y="0"/>
                    </a:cubicBezTo>
                    <a:cubicBezTo>
                      <a:pt x="107" y="0"/>
                      <a:pt x="128" y="34"/>
                      <a:pt x="128" y="101"/>
                    </a:cubicBezTo>
                    <a:close/>
                    <a:moveTo>
                      <a:pt x="105" y="103"/>
                    </a:moveTo>
                    <a:cubicBezTo>
                      <a:pt x="105" y="47"/>
                      <a:pt x="92" y="19"/>
                      <a:pt x="65" y="19"/>
                    </a:cubicBezTo>
                    <a:cubicBezTo>
                      <a:pt x="37" y="19"/>
                      <a:pt x="23" y="47"/>
                      <a:pt x="23" y="104"/>
                    </a:cubicBezTo>
                    <a:cubicBezTo>
                      <a:pt x="23" y="157"/>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4" name="Freeform 292"/>
              <p:cNvSpPr>
                <a:spLocks/>
              </p:cNvSpPr>
              <p:nvPr userDrawn="1"/>
            </p:nvSpPr>
            <p:spPr bwMode="auto">
              <a:xfrm>
                <a:off x="6175" y="738"/>
                <a:ext cx="83" cy="244"/>
              </a:xfrm>
              <a:custGeom>
                <a:avLst/>
                <a:gdLst>
                  <a:gd name="T0" fmla="*/ 68 w 68"/>
                  <a:gd name="T1" fmla="*/ 200 h 200"/>
                  <a:gd name="T2" fmla="*/ 46 w 68"/>
                  <a:gd name="T3" fmla="*/ 200 h 200"/>
                  <a:gd name="T4" fmla="*/ 46 w 68"/>
                  <a:gd name="T5" fmla="*/ 31 h 200"/>
                  <a:gd name="T6" fmla="*/ 38 w 68"/>
                  <a:gd name="T7" fmla="*/ 37 h 200"/>
                  <a:gd name="T8" fmla="*/ 27 w 68"/>
                  <a:gd name="T9" fmla="*/ 44 h 200"/>
                  <a:gd name="T10" fmla="*/ 14 w 68"/>
                  <a:gd name="T11" fmla="*/ 50 h 200"/>
                  <a:gd name="T12" fmla="*/ 0 w 68"/>
                  <a:gd name="T13" fmla="*/ 54 h 200"/>
                  <a:gd name="T14" fmla="*/ 0 w 68"/>
                  <a:gd name="T15" fmla="*/ 32 h 200"/>
                  <a:gd name="T16" fmla="*/ 16 w 68"/>
                  <a:gd name="T17" fmla="*/ 26 h 200"/>
                  <a:gd name="T18" fmla="*/ 32 w 68"/>
                  <a:gd name="T19" fmla="*/ 18 h 200"/>
                  <a:gd name="T20" fmla="*/ 47 w 68"/>
                  <a:gd name="T21" fmla="*/ 9 h 200"/>
                  <a:gd name="T22" fmla="*/ 60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6" y="200"/>
                      <a:pt x="46" y="200"/>
                      <a:pt x="46" y="200"/>
                    </a:cubicBezTo>
                    <a:cubicBezTo>
                      <a:pt x="46" y="31"/>
                      <a:pt x="46" y="31"/>
                      <a:pt x="46" y="31"/>
                    </a:cubicBezTo>
                    <a:cubicBezTo>
                      <a:pt x="44" y="33"/>
                      <a:pt x="41" y="35"/>
                      <a:pt x="38" y="37"/>
                    </a:cubicBezTo>
                    <a:cubicBezTo>
                      <a:pt x="35" y="39"/>
                      <a:pt x="31" y="41"/>
                      <a:pt x="27" y="44"/>
                    </a:cubicBezTo>
                    <a:cubicBezTo>
                      <a:pt x="23" y="46"/>
                      <a:pt x="18" y="48"/>
                      <a:pt x="14" y="50"/>
                    </a:cubicBezTo>
                    <a:cubicBezTo>
                      <a:pt x="9" y="52"/>
                      <a:pt x="5" y="53"/>
                      <a:pt x="0" y="54"/>
                    </a:cubicBezTo>
                    <a:cubicBezTo>
                      <a:pt x="0" y="32"/>
                      <a:pt x="0" y="32"/>
                      <a:pt x="0" y="32"/>
                    </a:cubicBezTo>
                    <a:cubicBezTo>
                      <a:pt x="5" y="30"/>
                      <a:pt x="10" y="28"/>
                      <a:pt x="16" y="26"/>
                    </a:cubicBezTo>
                    <a:cubicBezTo>
                      <a:pt x="21" y="24"/>
                      <a:pt x="27" y="21"/>
                      <a:pt x="32" y="18"/>
                    </a:cubicBezTo>
                    <a:cubicBezTo>
                      <a:pt x="38" y="15"/>
                      <a:pt x="43" y="12"/>
                      <a:pt x="47" y="9"/>
                    </a:cubicBezTo>
                    <a:cubicBezTo>
                      <a:pt x="52" y="6"/>
                      <a:pt x="56" y="3"/>
                      <a:pt x="60"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5" name="Freeform 293"/>
              <p:cNvSpPr>
                <a:spLocks noEditPoints="1"/>
              </p:cNvSpPr>
              <p:nvPr userDrawn="1"/>
            </p:nvSpPr>
            <p:spPr bwMode="auto">
              <a:xfrm>
                <a:off x="6324" y="739"/>
                <a:ext cx="156" cy="248"/>
              </a:xfrm>
              <a:custGeom>
                <a:avLst/>
                <a:gdLst>
                  <a:gd name="T0" fmla="*/ 128 w 128"/>
                  <a:gd name="T1" fmla="*/ 101 h 203"/>
                  <a:gd name="T2" fmla="*/ 123 w 128"/>
                  <a:gd name="T3" fmla="*/ 144 h 203"/>
                  <a:gd name="T4" fmla="*/ 110 w 128"/>
                  <a:gd name="T5" fmla="*/ 176 h 203"/>
                  <a:gd name="T6" fmla="*/ 90 w 128"/>
                  <a:gd name="T7" fmla="*/ 196 h 203"/>
                  <a:gd name="T8" fmla="*/ 62 w 128"/>
                  <a:gd name="T9" fmla="*/ 203 h 203"/>
                  <a:gd name="T10" fmla="*/ 35 w 128"/>
                  <a:gd name="T11" fmla="*/ 196 h 203"/>
                  <a:gd name="T12" fmla="*/ 16 w 128"/>
                  <a:gd name="T13" fmla="*/ 177 h 203"/>
                  <a:gd name="T14" fmla="*/ 4 w 128"/>
                  <a:gd name="T15" fmla="*/ 147 h 203"/>
                  <a:gd name="T16" fmla="*/ 0 w 128"/>
                  <a:gd name="T17" fmla="*/ 105 h 203"/>
                  <a:gd name="T18" fmla="*/ 4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4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6" y="131"/>
                      <a:pt x="123" y="144"/>
                    </a:cubicBezTo>
                    <a:cubicBezTo>
                      <a:pt x="120" y="157"/>
                      <a:pt x="116" y="167"/>
                      <a:pt x="110" y="176"/>
                    </a:cubicBezTo>
                    <a:cubicBezTo>
                      <a:pt x="105" y="185"/>
                      <a:pt x="98" y="191"/>
                      <a:pt x="90" y="196"/>
                    </a:cubicBezTo>
                    <a:cubicBezTo>
                      <a:pt x="81" y="201"/>
                      <a:pt x="72" y="203"/>
                      <a:pt x="62" y="203"/>
                    </a:cubicBezTo>
                    <a:cubicBezTo>
                      <a:pt x="52" y="203"/>
                      <a:pt x="43" y="201"/>
                      <a:pt x="35" y="196"/>
                    </a:cubicBezTo>
                    <a:cubicBezTo>
                      <a:pt x="28" y="192"/>
                      <a:pt x="21" y="186"/>
                      <a:pt x="16" y="177"/>
                    </a:cubicBezTo>
                    <a:cubicBezTo>
                      <a:pt x="11" y="169"/>
                      <a:pt x="7" y="159"/>
                      <a:pt x="4" y="147"/>
                    </a:cubicBezTo>
                    <a:cubicBezTo>
                      <a:pt x="1" y="135"/>
                      <a:pt x="0" y="121"/>
                      <a:pt x="0" y="105"/>
                    </a:cubicBezTo>
                    <a:cubicBezTo>
                      <a:pt x="0" y="88"/>
                      <a:pt x="1" y="73"/>
                      <a:pt x="4" y="60"/>
                    </a:cubicBezTo>
                    <a:cubicBezTo>
                      <a:pt x="7" y="47"/>
                      <a:pt x="11" y="36"/>
                      <a:pt x="17" y="27"/>
                    </a:cubicBezTo>
                    <a:cubicBezTo>
                      <a:pt x="22" y="18"/>
                      <a:pt x="29" y="11"/>
                      <a:pt x="38" y="7"/>
                    </a:cubicBezTo>
                    <a:cubicBezTo>
                      <a:pt x="46" y="2"/>
                      <a:pt x="55" y="0"/>
                      <a:pt x="66" y="0"/>
                    </a:cubicBezTo>
                    <a:cubicBezTo>
                      <a:pt x="107" y="0"/>
                      <a:pt x="128" y="34"/>
                      <a:pt x="128" y="101"/>
                    </a:cubicBezTo>
                    <a:close/>
                    <a:moveTo>
                      <a:pt x="105" y="103"/>
                    </a:moveTo>
                    <a:cubicBezTo>
                      <a:pt x="105" y="47"/>
                      <a:pt x="91" y="19"/>
                      <a:pt x="65" y="19"/>
                    </a:cubicBezTo>
                    <a:cubicBezTo>
                      <a:pt x="37" y="19"/>
                      <a:pt x="23" y="47"/>
                      <a:pt x="23" y="104"/>
                    </a:cubicBezTo>
                    <a:cubicBezTo>
                      <a:pt x="23" y="157"/>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6" name="Freeform 294"/>
              <p:cNvSpPr>
                <a:spLocks noEditPoints="1"/>
              </p:cNvSpPr>
              <p:nvPr userDrawn="1"/>
            </p:nvSpPr>
            <p:spPr bwMode="auto">
              <a:xfrm>
                <a:off x="6519" y="739"/>
                <a:ext cx="156" cy="248"/>
              </a:xfrm>
              <a:custGeom>
                <a:avLst/>
                <a:gdLst>
                  <a:gd name="T0" fmla="*/ 128 w 128"/>
                  <a:gd name="T1" fmla="*/ 101 h 203"/>
                  <a:gd name="T2" fmla="*/ 123 w 128"/>
                  <a:gd name="T3" fmla="*/ 144 h 203"/>
                  <a:gd name="T4" fmla="*/ 110 w 128"/>
                  <a:gd name="T5" fmla="*/ 176 h 203"/>
                  <a:gd name="T6" fmla="*/ 90 w 128"/>
                  <a:gd name="T7" fmla="*/ 196 h 203"/>
                  <a:gd name="T8" fmla="*/ 62 w 128"/>
                  <a:gd name="T9" fmla="*/ 203 h 203"/>
                  <a:gd name="T10" fmla="*/ 35 w 128"/>
                  <a:gd name="T11" fmla="*/ 196 h 203"/>
                  <a:gd name="T12" fmla="*/ 16 w 128"/>
                  <a:gd name="T13" fmla="*/ 177 h 203"/>
                  <a:gd name="T14" fmla="*/ 4 w 128"/>
                  <a:gd name="T15" fmla="*/ 147 h 203"/>
                  <a:gd name="T16" fmla="*/ 0 w 128"/>
                  <a:gd name="T17" fmla="*/ 105 h 203"/>
                  <a:gd name="T18" fmla="*/ 4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4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6" y="131"/>
                      <a:pt x="123" y="144"/>
                    </a:cubicBezTo>
                    <a:cubicBezTo>
                      <a:pt x="120" y="157"/>
                      <a:pt x="116" y="167"/>
                      <a:pt x="110" y="176"/>
                    </a:cubicBezTo>
                    <a:cubicBezTo>
                      <a:pt x="105" y="185"/>
                      <a:pt x="98" y="191"/>
                      <a:pt x="90" y="196"/>
                    </a:cubicBezTo>
                    <a:cubicBezTo>
                      <a:pt x="81" y="201"/>
                      <a:pt x="72" y="203"/>
                      <a:pt x="62" y="203"/>
                    </a:cubicBezTo>
                    <a:cubicBezTo>
                      <a:pt x="52" y="203"/>
                      <a:pt x="43" y="201"/>
                      <a:pt x="35" y="196"/>
                    </a:cubicBezTo>
                    <a:cubicBezTo>
                      <a:pt x="28" y="192"/>
                      <a:pt x="21" y="186"/>
                      <a:pt x="16" y="177"/>
                    </a:cubicBezTo>
                    <a:cubicBezTo>
                      <a:pt x="11" y="169"/>
                      <a:pt x="7" y="159"/>
                      <a:pt x="4" y="147"/>
                    </a:cubicBezTo>
                    <a:cubicBezTo>
                      <a:pt x="1" y="135"/>
                      <a:pt x="0" y="121"/>
                      <a:pt x="0" y="105"/>
                    </a:cubicBezTo>
                    <a:cubicBezTo>
                      <a:pt x="0" y="88"/>
                      <a:pt x="1" y="73"/>
                      <a:pt x="4" y="60"/>
                    </a:cubicBezTo>
                    <a:cubicBezTo>
                      <a:pt x="7" y="47"/>
                      <a:pt x="11" y="36"/>
                      <a:pt x="17" y="27"/>
                    </a:cubicBezTo>
                    <a:cubicBezTo>
                      <a:pt x="22" y="18"/>
                      <a:pt x="29" y="11"/>
                      <a:pt x="38" y="7"/>
                    </a:cubicBezTo>
                    <a:cubicBezTo>
                      <a:pt x="46" y="2"/>
                      <a:pt x="55" y="0"/>
                      <a:pt x="66" y="0"/>
                    </a:cubicBezTo>
                    <a:cubicBezTo>
                      <a:pt x="107" y="0"/>
                      <a:pt x="128" y="34"/>
                      <a:pt x="128" y="101"/>
                    </a:cubicBezTo>
                    <a:close/>
                    <a:moveTo>
                      <a:pt x="105" y="103"/>
                    </a:moveTo>
                    <a:cubicBezTo>
                      <a:pt x="105" y="47"/>
                      <a:pt x="91" y="19"/>
                      <a:pt x="65" y="19"/>
                    </a:cubicBezTo>
                    <a:cubicBezTo>
                      <a:pt x="37" y="19"/>
                      <a:pt x="23" y="47"/>
                      <a:pt x="23" y="104"/>
                    </a:cubicBezTo>
                    <a:cubicBezTo>
                      <a:pt x="23" y="157"/>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7" name="Freeform 295"/>
              <p:cNvSpPr>
                <a:spLocks/>
              </p:cNvSpPr>
              <p:nvPr userDrawn="1"/>
            </p:nvSpPr>
            <p:spPr bwMode="auto">
              <a:xfrm>
                <a:off x="6944" y="738"/>
                <a:ext cx="83" cy="244"/>
              </a:xfrm>
              <a:custGeom>
                <a:avLst/>
                <a:gdLst>
                  <a:gd name="T0" fmla="*/ 68 w 68"/>
                  <a:gd name="T1" fmla="*/ 200 h 200"/>
                  <a:gd name="T2" fmla="*/ 45 w 68"/>
                  <a:gd name="T3" fmla="*/ 200 h 200"/>
                  <a:gd name="T4" fmla="*/ 45 w 68"/>
                  <a:gd name="T5" fmla="*/ 31 h 200"/>
                  <a:gd name="T6" fmla="*/ 38 w 68"/>
                  <a:gd name="T7" fmla="*/ 37 h 200"/>
                  <a:gd name="T8" fmla="*/ 26 w 68"/>
                  <a:gd name="T9" fmla="*/ 44 h 200"/>
                  <a:gd name="T10" fmla="*/ 13 w 68"/>
                  <a:gd name="T11" fmla="*/ 50 h 200"/>
                  <a:gd name="T12" fmla="*/ 0 w 68"/>
                  <a:gd name="T13" fmla="*/ 54 h 200"/>
                  <a:gd name="T14" fmla="*/ 0 w 68"/>
                  <a:gd name="T15" fmla="*/ 32 h 200"/>
                  <a:gd name="T16" fmla="*/ 15 w 68"/>
                  <a:gd name="T17" fmla="*/ 26 h 200"/>
                  <a:gd name="T18" fmla="*/ 32 w 68"/>
                  <a:gd name="T19" fmla="*/ 18 h 200"/>
                  <a:gd name="T20" fmla="*/ 47 w 68"/>
                  <a:gd name="T21" fmla="*/ 9 h 200"/>
                  <a:gd name="T22" fmla="*/ 59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5" y="200"/>
                      <a:pt x="45" y="200"/>
                      <a:pt x="45" y="200"/>
                    </a:cubicBezTo>
                    <a:cubicBezTo>
                      <a:pt x="45" y="31"/>
                      <a:pt x="45" y="31"/>
                      <a:pt x="45" y="31"/>
                    </a:cubicBezTo>
                    <a:cubicBezTo>
                      <a:pt x="43" y="33"/>
                      <a:pt x="41" y="35"/>
                      <a:pt x="38" y="37"/>
                    </a:cubicBezTo>
                    <a:cubicBezTo>
                      <a:pt x="34" y="39"/>
                      <a:pt x="31" y="41"/>
                      <a:pt x="26" y="44"/>
                    </a:cubicBezTo>
                    <a:cubicBezTo>
                      <a:pt x="22" y="46"/>
                      <a:pt x="18" y="48"/>
                      <a:pt x="13" y="50"/>
                    </a:cubicBezTo>
                    <a:cubicBezTo>
                      <a:pt x="9" y="52"/>
                      <a:pt x="4" y="53"/>
                      <a:pt x="0" y="54"/>
                    </a:cubicBezTo>
                    <a:cubicBezTo>
                      <a:pt x="0" y="32"/>
                      <a:pt x="0" y="32"/>
                      <a:pt x="0" y="32"/>
                    </a:cubicBezTo>
                    <a:cubicBezTo>
                      <a:pt x="5" y="30"/>
                      <a:pt x="10" y="28"/>
                      <a:pt x="15" y="26"/>
                    </a:cubicBezTo>
                    <a:cubicBezTo>
                      <a:pt x="21" y="24"/>
                      <a:pt x="26" y="21"/>
                      <a:pt x="32" y="18"/>
                    </a:cubicBezTo>
                    <a:cubicBezTo>
                      <a:pt x="37" y="15"/>
                      <a:pt x="42" y="12"/>
                      <a:pt x="47" y="9"/>
                    </a:cubicBezTo>
                    <a:cubicBezTo>
                      <a:pt x="52" y="6"/>
                      <a:pt x="56" y="3"/>
                      <a:pt x="59"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8" name="Freeform 296"/>
              <p:cNvSpPr>
                <a:spLocks noEditPoints="1"/>
              </p:cNvSpPr>
              <p:nvPr userDrawn="1"/>
            </p:nvSpPr>
            <p:spPr bwMode="auto">
              <a:xfrm>
                <a:off x="7092" y="739"/>
                <a:ext cx="156" cy="248"/>
              </a:xfrm>
              <a:custGeom>
                <a:avLst/>
                <a:gdLst>
                  <a:gd name="T0" fmla="*/ 128 w 128"/>
                  <a:gd name="T1" fmla="*/ 101 h 203"/>
                  <a:gd name="T2" fmla="*/ 124 w 128"/>
                  <a:gd name="T3" fmla="*/ 144 h 203"/>
                  <a:gd name="T4" fmla="*/ 111 w 128"/>
                  <a:gd name="T5" fmla="*/ 176 h 203"/>
                  <a:gd name="T6" fmla="*/ 90 w 128"/>
                  <a:gd name="T7" fmla="*/ 196 h 203"/>
                  <a:gd name="T8" fmla="*/ 62 w 128"/>
                  <a:gd name="T9" fmla="*/ 203 h 203"/>
                  <a:gd name="T10" fmla="*/ 36 w 128"/>
                  <a:gd name="T11" fmla="*/ 196 h 203"/>
                  <a:gd name="T12" fmla="*/ 17 w 128"/>
                  <a:gd name="T13" fmla="*/ 177 h 203"/>
                  <a:gd name="T14" fmla="*/ 5 w 128"/>
                  <a:gd name="T15" fmla="*/ 147 h 203"/>
                  <a:gd name="T16" fmla="*/ 0 w 128"/>
                  <a:gd name="T17" fmla="*/ 105 h 203"/>
                  <a:gd name="T18" fmla="*/ 5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4 h 203"/>
                  <a:gd name="T34" fmla="*/ 65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7" y="131"/>
                      <a:pt x="124" y="144"/>
                    </a:cubicBezTo>
                    <a:cubicBezTo>
                      <a:pt x="121" y="157"/>
                      <a:pt x="116" y="167"/>
                      <a:pt x="111" y="176"/>
                    </a:cubicBezTo>
                    <a:cubicBezTo>
                      <a:pt x="105" y="185"/>
                      <a:pt x="98" y="191"/>
                      <a:pt x="90" y="196"/>
                    </a:cubicBezTo>
                    <a:cubicBezTo>
                      <a:pt x="82" y="201"/>
                      <a:pt x="73" y="203"/>
                      <a:pt x="62" y="203"/>
                    </a:cubicBezTo>
                    <a:cubicBezTo>
                      <a:pt x="53" y="203"/>
                      <a:pt x="44" y="201"/>
                      <a:pt x="36" y="196"/>
                    </a:cubicBezTo>
                    <a:cubicBezTo>
                      <a:pt x="28" y="192"/>
                      <a:pt x="22" y="186"/>
                      <a:pt x="17" y="177"/>
                    </a:cubicBezTo>
                    <a:cubicBezTo>
                      <a:pt x="11" y="169"/>
                      <a:pt x="7" y="159"/>
                      <a:pt x="5" y="147"/>
                    </a:cubicBezTo>
                    <a:cubicBezTo>
                      <a:pt x="2" y="135"/>
                      <a:pt x="0" y="121"/>
                      <a:pt x="0" y="105"/>
                    </a:cubicBezTo>
                    <a:cubicBezTo>
                      <a:pt x="0" y="88"/>
                      <a:pt x="2" y="73"/>
                      <a:pt x="5" y="60"/>
                    </a:cubicBezTo>
                    <a:cubicBezTo>
                      <a:pt x="8" y="47"/>
                      <a:pt x="12" y="36"/>
                      <a:pt x="17" y="27"/>
                    </a:cubicBezTo>
                    <a:cubicBezTo>
                      <a:pt x="23" y="18"/>
                      <a:pt x="30" y="11"/>
                      <a:pt x="38" y="7"/>
                    </a:cubicBezTo>
                    <a:cubicBezTo>
                      <a:pt x="46" y="2"/>
                      <a:pt x="56" y="0"/>
                      <a:pt x="66" y="0"/>
                    </a:cubicBezTo>
                    <a:cubicBezTo>
                      <a:pt x="108" y="0"/>
                      <a:pt x="128" y="34"/>
                      <a:pt x="128" y="101"/>
                    </a:cubicBezTo>
                    <a:close/>
                    <a:moveTo>
                      <a:pt x="105" y="103"/>
                    </a:moveTo>
                    <a:cubicBezTo>
                      <a:pt x="105" y="47"/>
                      <a:pt x="92" y="19"/>
                      <a:pt x="65" y="19"/>
                    </a:cubicBezTo>
                    <a:cubicBezTo>
                      <a:pt x="37" y="19"/>
                      <a:pt x="23" y="47"/>
                      <a:pt x="23" y="104"/>
                    </a:cubicBezTo>
                    <a:cubicBezTo>
                      <a:pt x="23" y="157"/>
                      <a:pt x="37" y="184"/>
                      <a:pt x="65" y="184"/>
                    </a:cubicBezTo>
                    <a:cubicBezTo>
                      <a:pt x="92"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9" name="Freeform 297"/>
              <p:cNvSpPr>
                <a:spLocks noEditPoints="1"/>
              </p:cNvSpPr>
              <p:nvPr userDrawn="1"/>
            </p:nvSpPr>
            <p:spPr bwMode="auto">
              <a:xfrm>
                <a:off x="7287" y="739"/>
                <a:ext cx="156" cy="248"/>
              </a:xfrm>
              <a:custGeom>
                <a:avLst/>
                <a:gdLst>
                  <a:gd name="T0" fmla="*/ 128 w 128"/>
                  <a:gd name="T1" fmla="*/ 101 h 203"/>
                  <a:gd name="T2" fmla="*/ 124 w 128"/>
                  <a:gd name="T3" fmla="*/ 144 h 203"/>
                  <a:gd name="T4" fmla="*/ 111 w 128"/>
                  <a:gd name="T5" fmla="*/ 176 h 203"/>
                  <a:gd name="T6" fmla="*/ 90 w 128"/>
                  <a:gd name="T7" fmla="*/ 196 h 203"/>
                  <a:gd name="T8" fmla="*/ 62 w 128"/>
                  <a:gd name="T9" fmla="*/ 203 h 203"/>
                  <a:gd name="T10" fmla="*/ 36 w 128"/>
                  <a:gd name="T11" fmla="*/ 196 h 203"/>
                  <a:gd name="T12" fmla="*/ 17 w 128"/>
                  <a:gd name="T13" fmla="*/ 177 h 203"/>
                  <a:gd name="T14" fmla="*/ 5 w 128"/>
                  <a:gd name="T15" fmla="*/ 147 h 203"/>
                  <a:gd name="T16" fmla="*/ 0 w 128"/>
                  <a:gd name="T17" fmla="*/ 105 h 203"/>
                  <a:gd name="T18" fmla="*/ 5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4 h 203"/>
                  <a:gd name="T34" fmla="*/ 65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7" y="131"/>
                      <a:pt x="124" y="144"/>
                    </a:cubicBezTo>
                    <a:cubicBezTo>
                      <a:pt x="121" y="157"/>
                      <a:pt x="116" y="167"/>
                      <a:pt x="111" y="176"/>
                    </a:cubicBezTo>
                    <a:cubicBezTo>
                      <a:pt x="105" y="185"/>
                      <a:pt x="98" y="191"/>
                      <a:pt x="90" y="196"/>
                    </a:cubicBezTo>
                    <a:cubicBezTo>
                      <a:pt x="82" y="201"/>
                      <a:pt x="73" y="203"/>
                      <a:pt x="62" y="203"/>
                    </a:cubicBezTo>
                    <a:cubicBezTo>
                      <a:pt x="52" y="203"/>
                      <a:pt x="44" y="201"/>
                      <a:pt x="36" y="196"/>
                    </a:cubicBezTo>
                    <a:cubicBezTo>
                      <a:pt x="28" y="192"/>
                      <a:pt x="22" y="186"/>
                      <a:pt x="17" y="177"/>
                    </a:cubicBezTo>
                    <a:cubicBezTo>
                      <a:pt x="11" y="169"/>
                      <a:pt x="7" y="159"/>
                      <a:pt x="5" y="147"/>
                    </a:cubicBezTo>
                    <a:cubicBezTo>
                      <a:pt x="2" y="135"/>
                      <a:pt x="0" y="121"/>
                      <a:pt x="0" y="105"/>
                    </a:cubicBezTo>
                    <a:cubicBezTo>
                      <a:pt x="0" y="88"/>
                      <a:pt x="2" y="73"/>
                      <a:pt x="5" y="60"/>
                    </a:cubicBezTo>
                    <a:cubicBezTo>
                      <a:pt x="8" y="47"/>
                      <a:pt x="12" y="36"/>
                      <a:pt x="17" y="27"/>
                    </a:cubicBezTo>
                    <a:cubicBezTo>
                      <a:pt x="23" y="18"/>
                      <a:pt x="30" y="11"/>
                      <a:pt x="38" y="7"/>
                    </a:cubicBezTo>
                    <a:cubicBezTo>
                      <a:pt x="46" y="2"/>
                      <a:pt x="56" y="0"/>
                      <a:pt x="66" y="0"/>
                    </a:cubicBezTo>
                    <a:cubicBezTo>
                      <a:pt x="108" y="0"/>
                      <a:pt x="128" y="34"/>
                      <a:pt x="128" y="101"/>
                    </a:cubicBezTo>
                    <a:close/>
                    <a:moveTo>
                      <a:pt x="105" y="103"/>
                    </a:moveTo>
                    <a:cubicBezTo>
                      <a:pt x="105" y="47"/>
                      <a:pt x="92" y="19"/>
                      <a:pt x="65" y="19"/>
                    </a:cubicBezTo>
                    <a:cubicBezTo>
                      <a:pt x="37" y="19"/>
                      <a:pt x="23" y="47"/>
                      <a:pt x="23" y="104"/>
                    </a:cubicBezTo>
                    <a:cubicBezTo>
                      <a:pt x="23" y="157"/>
                      <a:pt x="37" y="184"/>
                      <a:pt x="65" y="184"/>
                    </a:cubicBezTo>
                    <a:cubicBezTo>
                      <a:pt x="92"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0" name="Freeform 298"/>
              <p:cNvSpPr>
                <a:spLocks/>
              </p:cNvSpPr>
              <p:nvPr userDrawn="1"/>
            </p:nvSpPr>
            <p:spPr bwMode="auto">
              <a:xfrm>
                <a:off x="7484" y="738"/>
                <a:ext cx="83" cy="244"/>
              </a:xfrm>
              <a:custGeom>
                <a:avLst/>
                <a:gdLst>
                  <a:gd name="T0" fmla="*/ 68 w 68"/>
                  <a:gd name="T1" fmla="*/ 200 h 200"/>
                  <a:gd name="T2" fmla="*/ 46 w 68"/>
                  <a:gd name="T3" fmla="*/ 200 h 200"/>
                  <a:gd name="T4" fmla="*/ 46 w 68"/>
                  <a:gd name="T5" fmla="*/ 31 h 200"/>
                  <a:gd name="T6" fmla="*/ 38 w 68"/>
                  <a:gd name="T7" fmla="*/ 37 h 200"/>
                  <a:gd name="T8" fmla="*/ 27 w 68"/>
                  <a:gd name="T9" fmla="*/ 44 h 200"/>
                  <a:gd name="T10" fmla="*/ 14 w 68"/>
                  <a:gd name="T11" fmla="*/ 50 h 200"/>
                  <a:gd name="T12" fmla="*/ 0 w 68"/>
                  <a:gd name="T13" fmla="*/ 54 h 200"/>
                  <a:gd name="T14" fmla="*/ 0 w 68"/>
                  <a:gd name="T15" fmla="*/ 32 h 200"/>
                  <a:gd name="T16" fmla="*/ 16 w 68"/>
                  <a:gd name="T17" fmla="*/ 26 h 200"/>
                  <a:gd name="T18" fmla="*/ 32 w 68"/>
                  <a:gd name="T19" fmla="*/ 18 h 200"/>
                  <a:gd name="T20" fmla="*/ 48 w 68"/>
                  <a:gd name="T21" fmla="*/ 9 h 200"/>
                  <a:gd name="T22" fmla="*/ 60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6" y="200"/>
                      <a:pt x="46" y="200"/>
                      <a:pt x="46" y="200"/>
                    </a:cubicBezTo>
                    <a:cubicBezTo>
                      <a:pt x="46" y="31"/>
                      <a:pt x="46" y="31"/>
                      <a:pt x="46" y="31"/>
                    </a:cubicBezTo>
                    <a:cubicBezTo>
                      <a:pt x="44" y="33"/>
                      <a:pt x="42" y="35"/>
                      <a:pt x="38" y="37"/>
                    </a:cubicBezTo>
                    <a:cubicBezTo>
                      <a:pt x="35" y="39"/>
                      <a:pt x="31" y="41"/>
                      <a:pt x="27" y="44"/>
                    </a:cubicBezTo>
                    <a:cubicBezTo>
                      <a:pt x="23" y="46"/>
                      <a:pt x="19" y="48"/>
                      <a:pt x="14" y="50"/>
                    </a:cubicBezTo>
                    <a:cubicBezTo>
                      <a:pt x="9" y="52"/>
                      <a:pt x="5" y="53"/>
                      <a:pt x="0" y="54"/>
                    </a:cubicBezTo>
                    <a:cubicBezTo>
                      <a:pt x="0" y="32"/>
                      <a:pt x="0" y="32"/>
                      <a:pt x="0" y="32"/>
                    </a:cubicBezTo>
                    <a:cubicBezTo>
                      <a:pt x="5" y="30"/>
                      <a:pt x="11" y="28"/>
                      <a:pt x="16" y="26"/>
                    </a:cubicBezTo>
                    <a:cubicBezTo>
                      <a:pt x="22" y="24"/>
                      <a:pt x="27" y="21"/>
                      <a:pt x="32" y="18"/>
                    </a:cubicBezTo>
                    <a:cubicBezTo>
                      <a:pt x="38" y="15"/>
                      <a:pt x="43" y="12"/>
                      <a:pt x="48" y="9"/>
                    </a:cubicBezTo>
                    <a:cubicBezTo>
                      <a:pt x="52" y="6"/>
                      <a:pt x="56" y="3"/>
                      <a:pt x="60"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1" name="Freeform 299"/>
              <p:cNvSpPr>
                <a:spLocks noEditPoints="1"/>
              </p:cNvSpPr>
              <p:nvPr userDrawn="1"/>
            </p:nvSpPr>
            <p:spPr bwMode="auto">
              <a:xfrm>
                <a:off x="7633" y="739"/>
                <a:ext cx="156" cy="248"/>
              </a:xfrm>
              <a:custGeom>
                <a:avLst/>
                <a:gdLst>
                  <a:gd name="T0" fmla="*/ 128 w 128"/>
                  <a:gd name="T1" fmla="*/ 101 h 203"/>
                  <a:gd name="T2" fmla="*/ 123 w 128"/>
                  <a:gd name="T3" fmla="*/ 144 h 203"/>
                  <a:gd name="T4" fmla="*/ 111 w 128"/>
                  <a:gd name="T5" fmla="*/ 176 h 203"/>
                  <a:gd name="T6" fmla="*/ 90 w 128"/>
                  <a:gd name="T7" fmla="*/ 196 h 203"/>
                  <a:gd name="T8" fmla="*/ 62 w 128"/>
                  <a:gd name="T9" fmla="*/ 203 h 203"/>
                  <a:gd name="T10" fmla="*/ 36 w 128"/>
                  <a:gd name="T11" fmla="*/ 196 h 203"/>
                  <a:gd name="T12" fmla="*/ 16 w 128"/>
                  <a:gd name="T13" fmla="*/ 177 h 203"/>
                  <a:gd name="T14" fmla="*/ 4 w 128"/>
                  <a:gd name="T15" fmla="*/ 147 h 203"/>
                  <a:gd name="T16" fmla="*/ 0 w 128"/>
                  <a:gd name="T17" fmla="*/ 105 h 203"/>
                  <a:gd name="T18" fmla="*/ 4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4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6" y="131"/>
                      <a:pt x="123" y="144"/>
                    </a:cubicBezTo>
                    <a:cubicBezTo>
                      <a:pt x="120" y="157"/>
                      <a:pt x="116" y="167"/>
                      <a:pt x="111" y="176"/>
                    </a:cubicBezTo>
                    <a:cubicBezTo>
                      <a:pt x="105" y="185"/>
                      <a:pt x="98" y="191"/>
                      <a:pt x="90" y="196"/>
                    </a:cubicBezTo>
                    <a:cubicBezTo>
                      <a:pt x="82" y="201"/>
                      <a:pt x="72" y="203"/>
                      <a:pt x="62" y="203"/>
                    </a:cubicBezTo>
                    <a:cubicBezTo>
                      <a:pt x="52" y="203"/>
                      <a:pt x="43" y="201"/>
                      <a:pt x="36" y="196"/>
                    </a:cubicBezTo>
                    <a:cubicBezTo>
                      <a:pt x="28" y="192"/>
                      <a:pt x="22" y="186"/>
                      <a:pt x="16" y="177"/>
                    </a:cubicBezTo>
                    <a:cubicBezTo>
                      <a:pt x="11" y="169"/>
                      <a:pt x="7" y="159"/>
                      <a:pt x="4" y="147"/>
                    </a:cubicBezTo>
                    <a:cubicBezTo>
                      <a:pt x="1" y="135"/>
                      <a:pt x="0" y="121"/>
                      <a:pt x="0" y="105"/>
                    </a:cubicBezTo>
                    <a:cubicBezTo>
                      <a:pt x="0" y="88"/>
                      <a:pt x="2" y="73"/>
                      <a:pt x="4" y="60"/>
                    </a:cubicBezTo>
                    <a:cubicBezTo>
                      <a:pt x="7" y="47"/>
                      <a:pt x="11" y="36"/>
                      <a:pt x="17" y="27"/>
                    </a:cubicBezTo>
                    <a:cubicBezTo>
                      <a:pt x="23" y="18"/>
                      <a:pt x="30" y="11"/>
                      <a:pt x="38" y="7"/>
                    </a:cubicBezTo>
                    <a:cubicBezTo>
                      <a:pt x="46" y="2"/>
                      <a:pt x="55" y="0"/>
                      <a:pt x="66" y="0"/>
                    </a:cubicBezTo>
                    <a:cubicBezTo>
                      <a:pt x="107" y="0"/>
                      <a:pt x="128" y="34"/>
                      <a:pt x="128" y="101"/>
                    </a:cubicBezTo>
                    <a:close/>
                    <a:moveTo>
                      <a:pt x="105" y="103"/>
                    </a:moveTo>
                    <a:cubicBezTo>
                      <a:pt x="105" y="47"/>
                      <a:pt x="92" y="19"/>
                      <a:pt x="65" y="19"/>
                    </a:cubicBezTo>
                    <a:cubicBezTo>
                      <a:pt x="37" y="19"/>
                      <a:pt x="23" y="47"/>
                      <a:pt x="23" y="104"/>
                    </a:cubicBezTo>
                    <a:cubicBezTo>
                      <a:pt x="23" y="157"/>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2" name="Freeform 300"/>
              <p:cNvSpPr>
                <a:spLocks noEditPoints="1"/>
              </p:cNvSpPr>
              <p:nvPr userDrawn="1"/>
            </p:nvSpPr>
            <p:spPr bwMode="auto">
              <a:xfrm>
                <a:off x="6712" y="730"/>
                <a:ext cx="218" cy="256"/>
              </a:xfrm>
              <a:custGeom>
                <a:avLst/>
                <a:gdLst>
                  <a:gd name="T0" fmla="*/ 176 w 179"/>
                  <a:gd name="T1" fmla="*/ 174 h 209"/>
                  <a:gd name="T2" fmla="*/ 135 w 179"/>
                  <a:gd name="T3" fmla="*/ 208 h 209"/>
                  <a:gd name="T4" fmla="*/ 81 w 179"/>
                  <a:gd name="T5" fmla="*/ 198 h 209"/>
                  <a:gd name="T6" fmla="*/ 33 w 179"/>
                  <a:gd name="T7" fmla="*/ 202 h 209"/>
                  <a:gd name="T8" fmla="*/ 3 w 179"/>
                  <a:gd name="T9" fmla="*/ 184 h 209"/>
                  <a:gd name="T10" fmla="*/ 14 w 179"/>
                  <a:gd name="T11" fmla="*/ 159 h 209"/>
                  <a:gd name="T12" fmla="*/ 10 w 179"/>
                  <a:gd name="T13" fmla="*/ 162 h 209"/>
                  <a:gd name="T14" fmla="*/ 7 w 179"/>
                  <a:gd name="T15" fmla="*/ 183 h 209"/>
                  <a:gd name="T16" fmla="*/ 46 w 179"/>
                  <a:gd name="T17" fmla="*/ 202 h 209"/>
                  <a:gd name="T18" fmla="*/ 43 w 179"/>
                  <a:gd name="T19" fmla="*/ 152 h 209"/>
                  <a:gd name="T20" fmla="*/ 26 w 179"/>
                  <a:gd name="T21" fmla="*/ 133 h 209"/>
                  <a:gd name="T22" fmla="*/ 52 w 179"/>
                  <a:gd name="T23" fmla="*/ 83 h 209"/>
                  <a:gd name="T24" fmla="*/ 59 w 179"/>
                  <a:gd name="T25" fmla="*/ 27 h 209"/>
                  <a:gd name="T26" fmla="*/ 118 w 179"/>
                  <a:gd name="T27" fmla="*/ 18 h 209"/>
                  <a:gd name="T28" fmla="*/ 160 w 179"/>
                  <a:gd name="T29" fmla="*/ 128 h 209"/>
                  <a:gd name="T30" fmla="*/ 153 w 179"/>
                  <a:gd name="T31" fmla="*/ 152 h 209"/>
                  <a:gd name="T32" fmla="*/ 128 w 179"/>
                  <a:gd name="T33" fmla="*/ 150 h 209"/>
                  <a:gd name="T34" fmla="*/ 122 w 179"/>
                  <a:gd name="T35" fmla="*/ 186 h 209"/>
                  <a:gd name="T36" fmla="*/ 166 w 179"/>
                  <a:gd name="T37" fmla="*/ 186 h 209"/>
                  <a:gd name="T38" fmla="*/ 171 w 179"/>
                  <a:gd name="T39" fmla="*/ 174 h 209"/>
                  <a:gd name="T40" fmla="*/ 161 w 179"/>
                  <a:gd name="T41" fmla="*/ 152 h 209"/>
                  <a:gd name="T42" fmla="*/ 89 w 179"/>
                  <a:gd name="T43" fmla="*/ 71 h 209"/>
                  <a:gd name="T44" fmla="*/ 102 w 179"/>
                  <a:gd name="T45" fmla="*/ 68 h 209"/>
                  <a:gd name="T46" fmla="*/ 74 w 179"/>
                  <a:gd name="T47" fmla="*/ 79 h 209"/>
                  <a:gd name="T48" fmla="*/ 64 w 179"/>
                  <a:gd name="T49" fmla="*/ 77 h 209"/>
                  <a:gd name="T50" fmla="*/ 56 w 179"/>
                  <a:gd name="T51" fmla="*/ 100 h 209"/>
                  <a:gd name="T52" fmla="*/ 45 w 179"/>
                  <a:gd name="T53" fmla="*/ 140 h 209"/>
                  <a:gd name="T54" fmla="*/ 38 w 179"/>
                  <a:gd name="T55" fmla="*/ 121 h 209"/>
                  <a:gd name="T56" fmla="*/ 40 w 179"/>
                  <a:gd name="T57" fmla="*/ 142 h 209"/>
                  <a:gd name="T58" fmla="*/ 65 w 179"/>
                  <a:gd name="T59" fmla="*/ 177 h 209"/>
                  <a:gd name="T60" fmla="*/ 70 w 179"/>
                  <a:gd name="T61" fmla="*/ 197 h 209"/>
                  <a:gd name="T62" fmla="*/ 69 w 179"/>
                  <a:gd name="T63" fmla="*/ 182 h 209"/>
                  <a:gd name="T64" fmla="*/ 109 w 179"/>
                  <a:gd name="T65" fmla="*/ 179 h 209"/>
                  <a:gd name="T66" fmla="*/ 116 w 179"/>
                  <a:gd name="T67" fmla="*/ 186 h 209"/>
                  <a:gd name="T68" fmla="*/ 120 w 179"/>
                  <a:gd name="T69" fmla="*/ 171 h 209"/>
                  <a:gd name="T70" fmla="*/ 127 w 179"/>
                  <a:gd name="T71" fmla="*/ 146 h 209"/>
                  <a:gd name="T72" fmla="*/ 127 w 179"/>
                  <a:gd name="T73" fmla="*/ 92 h 209"/>
                  <a:gd name="T74" fmla="*/ 128 w 179"/>
                  <a:gd name="T75" fmla="*/ 134 h 209"/>
                  <a:gd name="T76" fmla="*/ 117 w 179"/>
                  <a:gd name="T77" fmla="*/ 94 h 209"/>
                  <a:gd name="T78" fmla="*/ 104 w 179"/>
                  <a:gd name="T79" fmla="*/ 53 h 209"/>
                  <a:gd name="T80" fmla="*/ 98 w 179"/>
                  <a:gd name="T81" fmla="*/ 37 h 209"/>
                  <a:gd name="T82" fmla="*/ 107 w 179"/>
                  <a:gd name="T83" fmla="*/ 48 h 209"/>
                  <a:gd name="T84" fmla="*/ 87 w 179"/>
                  <a:gd name="T85" fmla="*/ 42 h 209"/>
                  <a:gd name="T86" fmla="*/ 78 w 179"/>
                  <a:gd name="T87" fmla="*/ 44 h 209"/>
                  <a:gd name="T88" fmla="*/ 66 w 179"/>
                  <a:gd name="T89" fmla="*/ 34 h 209"/>
                  <a:gd name="T90" fmla="*/ 67 w 179"/>
                  <a:gd name="T91" fmla="*/ 47 h 209"/>
                  <a:gd name="T92" fmla="*/ 73 w 179"/>
                  <a:gd name="T93" fmla="*/ 48 h 209"/>
                  <a:gd name="T94" fmla="*/ 65 w 179"/>
                  <a:gd name="T95" fmla="*/ 60 h 209"/>
                  <a:gd name="T96" fmla="*/ 101 w 179"/>
                  <a:gd name="T97" fmla="*/ 58 h 209"/>
                  <a:gd name="T98" fmla="*/ 87 w 179"/>
                  <a:gd name="T99" fmla="*/ 67 h 209"/>
                  <a:gd name="T100" fmla="*/ 72 w 179"/>
                  <a:gd name="T101" fmla="*/ 40 h 209"/>
                  <a:gd name="T102" fmla="*/ 73 w 179"/>
                  <a:gd name="T103" fmla="*/ 45 h 209"/>
                  <a:gd name="T104" fmla="*/ 100 w 179"/>
                  <a:gd name="T105" fmla="*/ 39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79" h="209">
                    <a:moveTo>
                      <a:pt x="161" y="152"/>
                    </a:moveTo>
                    <a:cubicBezTo>
                      <a:pt x="162" y="155"/>
                      <a:pt x="162" y="158"/>
                      <a:pt x="163" y="161"/>
                    </a:cubicBezTo>
                    <a:cubicBezTo>
                      <a:pt x="164" y="165"/>
                      <a:pt x="167" y="168"/>
                      <a:pt x="171" y="170"/>
                    </a:cubicBezTo>
                    <a:cubicBezTo>
                      <a:pt x="173" y="171"/>
                      <a:pt x="174" y="172"/>
                      <a:pt x="176" y="174"/>
                    </a:cubicBezTo>
                    <a:cubicBezTo>
                      <a:pt x="179" y="176"/>
                      <a:pt x="179" y="180"/>
                      <a:pt x="176" y="183"/>
                    </a:cubicBezTo>
                    <a:cubicBezTo>
                      <a:pt x="173" y="185"/>
                      <a:pt x="170" y="187"/>
                      <a:pt x="166" y="189"/>
                    </a:cubicBezTo>
                    <a:cubicBezTo>
                      <a:pt x="157" y="193"/>
                      <a:pt x="149" y="199"/>
                      <a:pt x="141" y="206"/>
                    </a:cubicBezTo>
                    <a:cubicBezTo>
                      <a:pt x="139" y="208"/>
                      <a:pt x="137" y="208"/>
                      <a:pt x="135" y="208"/>
                    </a:cubicBezTo>
                    <a:cubicBezTo>
                      <a:pt x="131" y="209"/>
                      <a:pt x="128" y="209"/>
                      <a:pt x="125" y="208"/>
                    </a:cubicBezTo>
                    <a:cubicBezTo>
                      <a:pt x="122" y="207"/>
                      <a:pt x="120" y="205"/>
                      <a:pt x="118" y="203"/>
                    </a:cubicBezTo>
                    <a:cubicBezTo>
                      <a:pt x="116" y="199"/>
                      <a:pt x="114" y="198"/>
                      <a:pt x="110" y="198"/>
                    </a:cubicBezTo>
                    <a:cubicBezTo>
                      <a:pt x="100" y="198"/>
                      <a:pt x="91" y="198"/>
                      <a:pt x="81" y="198"/>
                    </a:cubicBezTo>
                    <a:cubicBezTo>
                      <a:pt x="76" y="198"/>
                      <a:pt x="72" y="199"/>
                      <a:pt x="68" y="201"/>
                    </a:cubicBezTo>
                    <a:cubicBezTo>
                      <a:pt x="66" y="202"/>
                      <a:pt x="65" y="204"/>
                      <a:pt x="63" y="205"/>
                    </a:cubicBezTo>
                    <a:cubicBezTo>
                      <a:pt x="59" y="208"/>
                      <a:pt x="54" y="209"/>
                      <a:pt x="49" y="207"/>
                    </a:cubicBezTo>
                    <a:cubicBezTo>
                      <a:pt x="43" y="205"/>
                      <a:pt x="38" y="203"/>
                      <a:pt x="33" y="202"/>
                    </a:cubicBezTo>
                    <a:cubicBezTo>
                      <a:pt x="26" y="200"/>
                      <a:pt x="19" y="199"/>
                      <a:pt x="11" y="197"/>
                    </a:cubicBezTo>
                    <a:cubicBezTo>
                      <a:pt x="9" y="197"/>
                      <a:pt x="7" y="196"/>
                      <a:pt x="5" y="195"/>
                    </a:cubicBezTo>
                    <a:cubicBezTo>
                      <a:pt x="2" y="194"/>
                      <a:pt x="0" y="191"/>
                      <a:pt x="1" y="188"/>
                    </a:cubicBezTo>
                    <a:cubicBezTo>
                      <a:pt x="2" y="186"/>
                      <a:pt x="2" y="185"/>
                      <a:pt x="3" y="184"/>
                    </a:cubicBezTo>
                    <a:cubicBezTo>
                      <a:pt x="5" y="180"/>
                      <a:pt x="5" y="176"/>
                      <a:pt x="4" y="172"/>
                    </a:cubicBezTo>
                    <a:cubicBezTo>
                      <a:pt x="3" y="170"/>
                      <a:pt x="3" y="168"/>
                      <a:pt x="2" y="166"/>
                    </a:cubicBezTo>
                    <a:cubicBezTo>
                      <a:pt x="2" y="162"/>
                      <a:pt x="3" y="160"/>
                      <a:pt x="8" y="160"/>
                    </a:cubicBezTo>
                    <a:cubicBezTo>
                      <a:pt x="10" y="159"/>
                      <a:pt x="12" y="159"/>
                      <a:pt x="14" y="159"/>
                    </a:cubicBezTo>
                    <a:cubicBezTo>
                      <a:pt x="19" y="158"/>
                      <a:pt x="23" y="155"/>
                      <a:pt x="23" y="150"/>
                    </a:cubicBezTo>
                    <a:cubicBezTo>
                      <a:pt x="23" y="149"/>
                      <a:pt x="24" y="149"/>
                      <a:pt x="24" y="149"/>
                    </a:cubicBezTo>
                    <a:cubicBezTo>
                      <a:pt x="25" y="153"/>
                      <a:pt x="24" y="159"/>
                      <a:pt x="18" y="161"/>
                    </a:cubicBezTo>
                    <a:cubicBezTo>
                      <a:pt x="15" y="162"/>
                      <a:pt x="12" y="162"/>
                      <a:pt x="10" y="162"/>
                    </a:cubicBezTo>
                    <a:cubicBezTo>
                      <a:pt x="9" y="162"/>
                      <a:pt x="9" y="162"/>
                      <a:pt x="9" y="162"/>
                    </a:cubicBezTo>
                    <a:cubicBezTo>
                      <a:pt x="5" y="162"/>
                      <a:pt x="4" y="164"/>
                      <a:pt x="5" y="167"/>
                    </a:cubicBezTo>
                    <a:cubicBezTo>
                      <a:pt x="5" y="169"/>
                      <a:pt x="6" y="171"/>
                      <a:pt x="7" y="172"/>
                    </a:cubicBezTo>
                    <a:cubicBezTo>
                      <a:pt x="9" y="176"/>
                      <a:pt x="9" y="179"/>
                      <a:pt x="7" y="183"/>
                    </a:cubicBezTo>
                    <a:cubicBezTo>
                      <a:pt x="6" y="185"/>
                      <a:pt x="5" y="186"/>
                      <a:pt x="5" y="188"/>
                    </a:cubicBezTo>
                    <a:cubicBezTo>
                      <a:pt x="4" y="190"/>
                      <a:pt x="5" y="191"/>
                      <a:pt x="7" y="192"/>
                    </a:cubicBezTo>
                    <a:cubicBezTo>
                      <a:pt x="9" y="193"/>
                      <a:pt x="11" y="194"/>
                      <a:pt x="14" y="194"/>
                    </a:cubicBezTo>
                    <a:cubicBezTo>
                      <a:pt x="25" y="196"/>
                      <a:pt x="35" y="199"/>
                      <a:pt x="46" y="202"/>
                    </a:cubicBezTo>
                    <a:cubicBezTo>
                      <a:pt x="49" y="203"/>
                      <a:pt x="52" y="204"/>
                      <a:pt x="56" y="203"/>
                    </a:cubicBezTo>
                    <a:cubicBezTo>
                      <a:pt x="63" y="202"/>
                      <a:pt x="66" y="197"/>
                      <a:pt x="65" y="190"/>
                    </a:cubicBezTo>
                    <a:cubicBezTo>
                      <a:pt x="64" y="186"/>
                      <a:pt x="63" y="182"/>
                      <a:pt x="61" y="179"/>
                    </a:cubicBezTo>
                    <a:cubicBezTo>
                      <a:pt x="55" y="169"/>
                      <a:pt x="49" y="160"/>
                      <a:pt x="43" y="152"/>
                    </a:cubicBezTo>
                    <a:cubicBezTo>
                      <a:pt x="40" y="149"/>
                      <a:pt x="38" y="147"/>
                      <a:pt x="35" y="145"/>
                    </a:cubicBezTo>
                    <a:cubicBezTo>
                      <a:pt x="33" y="143"/>
                      <a:pt x="30" y="142"/>
                      <a:pt x="27" y="144"/>
                    </a:cubicBezTo>
                    <a:cubicBezTo>
                      <a:pt x="26" y="145"/>
                      <a:pt x="26" y="145"/>
                      <a:pt x="25" y="143"/>
                    </a:cubicBezTo>
                    <a:cubicBezTo>
                      <a:pt x="25" y="140"/>
                      <a:pt x="25" y="137"/>
                      <a:pt x="26" y="133"/>
                    </a:cubicBezTo>
                    <a:cubicBezTo>
                      <a:pt x="26" y="132"/>
                      <a:pt x="27" y="131"/>
                      <a:pt x="27" y="130"/>
                    </a:cubicBezTo>
                    <a:cubicBezTo>
                      <a:pt x="31" y="124"/>
                      <a:pt x="33" y="118"/>
                      <a:pt x="35" y="112"/>
                    </a:cubicBezTo>
                    <a:cubicBezTo>
                      <a:pt x="37" y="106"/>
                      <a:pt x="40" y="99"/>
                      <a:pt x="44" y="94"/>
                    </a:cubicBezTo>
                    <a:cubicBezTo>
                      <a:pt x="46" y="90"/>
                      <a:pt x="49" y="87"/>
                      <a:pt x="52" y="83"/>
                    </a:cubicBezTo>
                    <a:cubicBezTo>
                      <a:pt x="54" y="80"/>
                      <a:pt x="56" y="76"/>
                      <a:pt x="58" y="73"/>
                    </a:cubicBezTo>
                    <a:cubicBezTo>
                      <a:pt x="60" y="70"/>
                      <a:pt x="61" y="68"/>
                      <a:pt x="60" y="65"/>
                    </a:cubicBezTo>
                    <a:cubicBezTo>
                      <a:pt x="60" y="58"/>
                      <a:pt x="59" y="51"/>
                      <a:pt x="59" y="44"/>
                    </a:cubicBezTo>
                    <a:cubicBezTo>
                      <a:pt x="59" y="38"/>
                      <a:pt x="59" y="33"/>
                      <a:pt x="59" y="27"/>
                    </a:cubicBezTo>
                    <a:cubicBezTo>
                      <a:pt x="59" y="16"/>
                      <a:pt x="64" y="8"/>
                      <a:pt x="73" y="3"/>
                    </a:cubicBezTo>
                    <a:cubicBezTo>
                      <a:pt x="77" y="1"/>
                      <a:pt x="81" y="0"/>
                      <a:pt x="85" y="0"/>
                    </a:cubicBezTo>
                    <a:cubicBezTo>
                      <a:pt x="91" y="0"/>
                      <a:pt x="97" y="1"/>
                      <a:pt x="103" y="3"/>
                    </a:cubicBezTo>
                    <a:cubicBezTo>
                      <a:pt x="110" y="6"/>
                      <a:pt x="114" y="11"/>
                      <a:pt x="118" y="18"/>
                    </a:cubicBezTo>
                    <a:cubicBezTo>
                      <a:pt x="121" y="23"/>
                      <a:pt x="123" y="29"/>
                      <a:pt x="123" y="36"/>
                    </a:cubicBezTo>
                    <a:cubicBezTo>
                      <a:pt x="123" y="40"/>
                      <a:pt x="123" y="43"/>
                      <a:pt x="123" y="47"/>
                    </a:cubicBezTo>
                    <a:cubicBezTo>
                      <a:pt x="125" y="61"/>
                      <a:pt x="129" y="74"/>
                      <a:pt x="139" y="85"/>
                    </a:cubicBezTo>
                    <a:cubicBezTo>
                      <a:pt x="150" y="97"/>
                      <a:pt x="156" y="112"/>
                      <a:pt x="160" y="128"/>
                    </a:cubicBezTo>
                    <a:cubicBezTo>
                      <a:pt x="161" y="133"/>
                      <a:pt x="161" y="138"/>
                      <a:pt x="160" y="143"/>
                    </a:cubicBezTo>
                    <a:cubicBezTo>
                      <a:pt x="160" y="144"/>
                      <a:pt x="160" y="145"/>
                      <a:pt x="159" y="146"/>
                    </a:cubicBezTo>
                    <a:cubicBezTo>
                      <a:pt x="159" y="147"/>
                      <a:pt x="158" y="148"/>
                      <a:pt x="158" y="148"/>
                    </a:cubicBezTo>
                    <a:cubicBezTo>
                      <a:pt x="155" y="148"/>
                      <a:pt x="154" y="150"/>
                      <a:pt x="153" y="152"/>
                    </a:cubicBezTo>
                    <a:cubicBezTo>
                      <a:pt x="151" y="154"/>
                      <a:pt x="150" y="156"/>
                      <a:pt x="147" y="158"/>
                    </a:cubicBezTo>
                    <a:cubicBezTo>
                      <a:pt x="144" y="160"/>
                      <a:pt x="140" y="160"/>
                      <a:pt x="136" y="159"/>
                    </a:cubicBezTo>
                    <a:cubicBezTo>
                      <a:pt x="134" y="159"/>
                      <a:pt x="132" y="157"/>
                      <a:pt x="131" y="155"/>
                    </a:cubicBezTo>
                    <a:cubicBezTo>
                      <a:pt x="130" y="154"/>
                      <a:pt x="129" y="152"/>
                      <a:pt x="128" y="150"/>
                    </a:cubicBezTo>
                    <a:cubicBezTo>
                      <a:pt x="128" y="149"/>
                      <a:pt x="127" y="148"/>
                      <a:pt x="125" y="148"/>
                    </a:cubicBezTo>
                    <a:cubicBezTo>
                      <a:pt x="123" y="148"/>
                      <a:pt x="122" y="150"/>
                      <a:pt x="122" y="151"/>
                    </a:cubicBezTo>
                    <a:cubicBezTo>
                      <a:pt x="120" y="155"/>
                      <a:pt x="120" y="159"/>
                      <a:pt x="121" y="163"/>
                    </a:cubicBezTo>
                    <a:cubicBezTo>
                      <a:pt x="124" y="171"/>
                      <a:pt x="123" y="178"/>
                      <a:pt x="122" y="186"/>
                    </a:cubicBezTo>
                    <a:cubicBezTo>
                      <a:pt x="122" y="189"/>
                      <a:pt x="122" y="191"/>
                      <a:pt x="122" y="194"/>
                    </a:cubicBezTo>
                    <a:cubicBezTo>
                      <a:pt x="123" y="201"/>
                      <a:pt x="129" y="205"/>
                      <a:pt x="137" y="202"/>
                    </a:cubicBezTo>
                    <a:cubicBezTo>
                      <a:pt x="140" y="201"/>
                      <a:pt x="142" y="199"/>
                      <a:pt x="145" y="197"/>
                    </a:cubicBezTo>
                    <a:cubicBezTo>
                      <a:pt x="151" y="192"/>
                      <a:pt x="158" y="189"/>
                      <a:pt x="166" y="186"/>
                    </a:cubicBezTo>
                    <a:cubicBezTo>
                      <a:pt x="168" y="185"/>
                      <a:pt x="171" y="184"/>
                      <a:pt x="173" y="182"/>
                    </a:cubicBezTo>
                    <a:cubicBezTo>
                      <a:pt x="174" y="182"/>
                      <a:pt x="175" y="181"/>
                      <a:pt x="175" y="181"/>
                    </a:cubicBezTo>
                    <a:cubicBezTo>
                      <a:pt x="176" y="179"/>
                      <a:pt x="177" y="178"/>
                      <a:pt x="175" y="177"/>
                    </a:cubicBezTo>
                    <a:cubicBezTo>
                      <a:pt x="174" y="175"/>
                      <a:pt x="173" y="174"/>
                      <a:pt x="171" y="174"/>
                    </a:cubicBezTo>
                    <a:cubicBezTo>
                      <a:pt x="170" y="173"/>
                      <a:pt x="169" y="173"/>
                      <a:pt x="168" y="172"/>
                    </a:cubicBezTo>
                    <a:cubicBezTo>
                      <a:pt x="164" y="171"/>
                      <a:pt x="161" y="167"/>
                      <a:pt x="160" y="163"/>
                    </a:cubicBezTo>
                    <a:cubicBezTo>
                      <a:pt x="160" y="160"/>
                      <a:pt x="160" y="158"/>
                      <a:pt x="160" y="155"/>
                    </a:cubicBezTo>
                    <a:cubicBezTo>
                      <a:pt x="160" y="154"/>
                      <a:pt x="161" y="153"/>
                      <a:pt x="161" y="152"/>
                    </a:cubicBezTo>
                    <a:close/>
                    <a:moveTo>
                      <a:pt x="71" y="68"/>
                    </a:moveTo>
                    <a:cubicBezTo>
                      <a:pt x="71" y="69"/>
                      <a:pt x="71" y="69"/>
                      <a:pt x="71" y="69"/>
                    </a:cubicBezTo>
                    <a:cubicBezTo>
                      <a:pt x="73" y="71"/>
                      <a:pt x="75" y="73"/>
                      <a:pt x="78" y="73"/>
                    </a:cubicBezTo>
                    <a:cubicBezTo>
                      <a:pt x="82" y="74"/>
                      <a:pt x="85" y="73"/>
                      <a:pt x="89" y="71"/>
                    </a:cubicBezTo>
                    <a:cubicBezTo>
                      <a:pt x="92" y="70"/>
                      <a:pt x="95" y="68"/>
                      <a:pt x="98" y="66"/>
                    </a:cubicBezTo>
                    <a:cubicBezTo>
                      <a:pt x="99" y="66"/>
                      <a:pt x="100" y="66"/>
                      <a:pt x="101" y="65"/>
                    </a:cubicBezTo>
                    <a:cubicBezTo>
                      <a:pt x="102" y="65"/>
                      <a:pt x="102" y="66"/>
                      <a:pt x="102" y="66"/>
                    </a:cubicBezTo>
                    <a:cubicBezTo>
                      <a:pt x="103" y="67"/>
                      <a:pt x="102" y="67"/>
                      <a:pt x="102" y="68"/>
                    </a:cubicBezTo>
                    <a:cubicBezTo>
                      <a:pt x="101" y="68"/>
                      <a:pt x="100" y="69"/>
                      <a:pt x="99" y="69"/>
                    </a:cubicBezTo>
                    <a:cubicBezTo>
                      <a:pt x="95" y="71"/>
                      <a:pt x="91" y="74"/>
                      <a:pt x="87" y="77"/>
                    </a:cubicBezTo>
                    <a:cubicBezTo>
                      <a:pt x="85" y="78"/>
                      <a:pt x="83" y="80"/>
                      <a:pt x="81" y="80"/>
                    </a:cubicBezTo>
                    <a:cubicBezTo>
                      <a:pt x="78" y="82"/>
                      <a:pt x="76" y="82"/>
                      <a:pt x="74" y="79"/>
                    </a:cubicBezTo>
                    <a:cubicBezTo>
                      <a:pt x="71" y="77"/>
                      <a:pt x="70" y="74"/>
                      <a:pt x="68" y="71"/>
                    </a:cubicBezTo>
                    <a:cubicBezTo>
                      <a:pt x="67" y="71"/>
                      <a:pt x="66" y="70"/>
                      <a:pt x="66" y="69"/>
                    </a:cubicBezTo>
                    <a:cubicBezTo>
                      <a:pt x="65" y="70"/>
                      <a:pt x="65" y="70"/>
                      <a:pt x="65" y="71"/>
                    </a:cubicBezTo>
                    <a:cubicBezTo>
                      <a:pt x="65" y="73"/>
                      <a:pt x="65" y="75"/>
                      <a:pt x="64" y="77"/>
                    </a:cubicBezTo>
                    <a:cubicBezTo>
                      <a:pt x="63" y="79"/>
                      <a:pt x="62" y="81"/>
                      <a:pt x="61" y="83"/>
                    </a:cubicBezTo>
                    <a:cubicBezTo>
                      <a:pt x="59" y="86"/>
                      <a:pt x="58" y="89"/>
                      <a:pt x="58" y="92"/>
                    </a:cubicBezTo>
                    <a:cubicBezTo>
                      <a:pt x="58" y="94"/>
                      <a:pt x="58" y="96"/>
                      <a:pt x="59" y="98"/>
                    </a:cubicBezTo>
                    <a:cubicBezTo>
                      <a:pt x="58" y="99"/>
                      <a:pt x="57" y="99"/>
                      <a:pt x="56" y="100"/>
                    </a:cubicBezTo>
                    <a:cubicBezTo>
                      <a:pt x="54" y="104"/>
                      <a:pt x="52" y="108"/>
                      <a:pt x="50" y="112"/>
                    </a:cubicBezTo>
                    <a:cubicBezTo>
                      <a:pt x="48" y="117"/>
                      <a:pt x="46" y="122"/>
                      <a:pt x="46" y="127"/>
                    </a:cubicBezTo>
                    <a:cubicBezTo>
                      <a:pt x="46" y="130"/>
                      <a:pt x="46" y="133"/>
                      <a:pt x="46" y="136"/>
                    </a:cubicBezTo>
                    <a:cubicBezTo>
                      <a:pt x="46" y="137"/>
                      <a:pt x="46" y="139"/>
                      <a:pt x="45" y="140"/>
                    </a:cubicBezTo>
                    <a:cubicBezTo>
                      <a:pt x="45" y="141"/>
                      <a:pt x="44" y="142"/>
                      <a:pt x="43" y="141"/>
                    </a:cubicBezTo>
                    <a:cubicBezTo>
                      <a:pt x="42" y="140"/>
                      <a:pt x="41" y="139"/>
                      <a:pt x="40" y="138"/>
                    </a:cubicBezTo>
                    <a:cubicBezTo>
                      <a:pt x="38" y="134"/>
                      <a:pt x="37" y="129"/>
                      <a:pt x="38" y="125"/>
                    </a:cubicBezTo>
                    <a:cubicBezTo>
                      <a:pt x="38" y="123"/>
                      <a:pt x="38" y="122"/>
                      <a:pt x="38" y="121"/>
                    </a:cubicBezTo>
                    <a:cubicBezTo>
                      <a:pt x="38" y="121"/>
                      <a:pt x="38" y="121"/>
                      <a:pt x="38" y="121"/>
                    </a:cubicBezTo>
                    <a:cubicBezTo>
                      <a:pt x="38" y="121"/>
                      <a:pt x="37" y="122"/>
                      <a:pt x="37" y="123"/>
                    </a:cubicBezTo>
                    <a:cubicBezTo>
                      <a:pt x="36" y="127"/>
                      <a:pt x="36" y="131"/>
                      <a:pt x="37" y="135"/>
                    </a:cubicBezTo>
                    <a:cubicBezTo>
                      <a:pt x="38" y="138"/>
                      <a:pt x="38" y="140"/>
                      <a:pt x="40" y="142"/>
                    </a:cubicBezTo>
                    <a:cubicBezTo>
                      <a:pt x="44" y="146"/>
                      <a:pt x="48" y="149"/>
                      <a:pt x="52" y="153"/>
                    </a:cubicBezTo>
                    <a:cubicBezTo>
                      <a:pt x="57" y="157"/>
                      <a:pt x="62" y="161"/>
                      <a:pt x="67" y="165"/>
                    </a:cubicBezTo>
                    <a:cubicBezTo>
                      <a:pt x="69" y="167"/>
                      <a:pt x="70" y="169"/>
                      <a:pt x="69" y="172"/>
                    </a:cubicBezTo>
                    <a:cubicBezTo>
                      <a:pt x="69" y="175"/>
                      <a:pt x="67" y="176"/>
                      <a:pt x="65" y="177"/>
                    </a:cubicBezTo>
                    <a:cubicBezTo>
                      <a:pt x="64" y="177"/>
                      <a:pt x="63" y="177"/>
                      <a:pt x="63" y="178"/>
                    </a:cubicBezTo>
                    <a:cubicBezTo>
                      <a:pt x="64" y="180"/>
                      <a:pt x="65" y="181"/>
                      <a:pt x="66" y="183"/>
                    </a:cubicBezTo>
                    <a:cubicBezTo>
                      <a:pt x="68" y="186"/>
                      <a:pt x="69" y="188"/>
                      <a:pt x="70" y="192"/>
                    </a:cubicBezTo>
                    <a:cubicBezTo>
                      <a:pt x="70" y="194"/>
                      <a:pt x="70" y="195"/>
                      <a:pt x="70" y="197"/>
                    </a:cubicBezTo>
                    <a:cubicBezTo>
                      <a:pt x="71" y="197"/>
                      <a:pt x="71" y="197"/>
                      <a:pt x="71" y="197"/>
                    </a:cubicBezTo>
                    <a:cubicBezTo>
                      <a:pt x="73" y="195"/>
                      <a:pt x="73" y="193"/>
                      <a:pt x="73" y="191"/>
                    </a:cubicBezTo>
                    <a:cubicBezTo>
                      <a:pt x="72" y="188"/>
                      <a:pt x="71" y="186"/>
                      <a:pt x="69" y="184"/>
                    </a:cubicBezTo>
                    <a:cubicBezTo>
                      <a:pt x="69" y="183"/>
                      <a:pt x="68" y="183"/>
                      <a:pt x="69" y="182"/>
                    </a:cubicBezTo>
                    <a:cubicBezTo>
                      <a:pt x="69" y="181"/>
                      <a:pt x="71" y="181"/>
                      <a:pt x="72" y="182"/>
                    </a:cubicBezTo>
                    <a:cubicBezTo>
                      <a:pt x="74" y="184"/>
                      <a:pt x="77" y="185"/>
                      <a:pt x="79" y="186"/>
                    </a:cubicBezTo>
                    <a:cubicBezTo>
                      <a:pt x="85" y="187"/>
                      <a:pt x="91" y="186"/>
                      <a:pt x="97" y="185"/>
                    </a:cubicBezTo>
                    <a:cubicBezTo>
                      <a:pt x="102" y="184"/>
                      <a:pt x="106" y="182"/>
                      <a:pt x="109" y="179"/>
                    </a:cubicBezTo>
                    <a:cubicBezTo>
                      <a:pt x="111" y="177"/>
                      <a:pt x="112" y="175"/>
                      <a:pt x="114" y="173"/>
                    </a:cubicBezTo>
                    <a:cubicBezTo>
                      <a:pt x="114" y="173"/>
                      <a:pt x="115" y="172"/>
                      <a:pt x="116" y="172"/>
                    </a:cubicBezTo>
                    <a:cubicBezTo>
                      <a:pt x="116" y="173"/>
                      <a:pt x="117" y="174"/>
                      <a:pt x="117" y="174"/>
                    </a:cubicBezTo>
                    <a:cubicBezTo>
                      <a:pt x="118" y="178"/>
                      <a:pt x="117" y="182"/>
                      <a:pt x="116" y="186"/>
                    </a:cubicBezTo>
                    <a:cubicBezTo>
                      <a:pt x="115" y="188"/>
                      <a:pt x="114" y="190"/>
                      <a:pt x="114" y="193"/>
                    </a:cubicBezTo>
                    <a:cubicBezTo>
                      <a:pt x="114" y="194"/>
                      <a:pt x="114" y="195"/>
                      <a:pt x="117" y="195"/>
                    </a:cubicBezTo>
                    <a:cubicBezTo>
                      <a:pt x="117" y="191"/>
                      <a:pt x="118" y="186"/>
                      <a:pt x="119" y="182"/>
                    </a:cubicBezTo>
                    <a:cubicBezTo>
                      <a:pt x="120" y="178"/>
                      <a:pt x="120" y="175"/>
                      <a:pt x="120" y="171"/>
                    </a:cubicBezTo>
                    <a:cubicBezTo>
                      <a:pt x="119" y="167"/>
                      <a:pt x="119" y="163"/>
                      <a:pt x="118" y="159"/>
                    </a:cubicBezTo>
                    <a:cubicBezTo>
                      <a:pt x="118" y="156"/>
                      <a:pt x="118" y="153"/>
                      <a:pt x="120" y="150"/>
                    </a:cubicBezTo>
                    <a:cubicBezTo>
                      <a:pt x="121" y="147"/>
                      <a:pt x="123" y="146"/>
                      <a:pt x="126" y="146"/>
                    </a:cubicBezTo>
                    <a:cubicBezTo>
                      <a:pt x="126" y="146"/>
                      <a:pt x="127" y="146"/>
                      <a:pt x="127" y="146"/>
                    </a:cubicBezTo>
                    <a:cubicBezTo>
                      <a:pt x="127" y="142"/>
                      <a:pt x="129" y="140"/>
                      <a:pt x="133" y="139"/>
                    </a:cubicBezTo>
                    <a:cubicBezTo>
                      <a:pt x="137" y="138"/>
                      <a:pt x="142" y="138"/>
                      <a:pt x="146" y="141"/>
                    </a:cubicBezTo>
                    <a:cubicBezTo>
                      <a:pt x="145" y="138"/>
                      <a:pt x="142" y="137"/>
                      <a:pt x="140" y="136"/>
                    </a:cubicBezTo>
                    <a:cubicBezTo>
                      <a:pt x="146" y="119"/>
                      <a:pt x="136" y="97"/>
                      <a:pt x="127" y="92"/>
                    </a:cubicBezTo>
                    <a:cubicBezTo>
                      <a:pt x="131" y="97"/>
                      <a:pt x="134" y="103"/>
                      <a:pt x="137" y="110"/>
                    </a:cubicBezTo>
                    <a:cubicBezTo>
                      <a:pt x="139" y="117"/>
                      <a:pt x="140" y="123"/>
                      <a:pt x="139" y="131"/>
                    </a:cubicBezTo>
                    <a:cubicBezTo>
                      <a:pt x="138" y="135"/>
                      <a:pt x="136" y="138"/>
                      <a:pt x="132" y="138"/>
                    </a:cubicBezTo>
                    <a:cubicBezTo>
                      <a:pt x="130" y="138"/>
                      <a:pt x="129" y="137"/>
                      <a:pt x="128" y="134"/>
                    </a:cubicBezTo>
                    <a:cubicBezTo>
                      <a:pt x="128" y="133"/>
                      <a:pt x="128" y="131"/>
                      <a:pt x="128" y="129"/>
                    </a:cubicBezTo>
                    <a:cubicBezTo>
                      <a:pt x="128" y="121"/>
                      <a:pt x="127" y="114"/>
                      <a:pt x="124" y="107"/>
                    </a:cubicBezTo>
                    <a:cubicBezTo>
                      <a:pt x="123" y="103"/>
                      <a:pt x="121" y="98"/>
                      <a:pt x="118" y="95"/>
                    </a:cubicBezTo>
                    <a:cubicBezTo>
                      <a:pt x="117" y="95"/>
                      <a:pt x="117" y="94"/>
                      <a:pt x="117" y="94"/>
                    </a:cubicBezTo>
                    <a:cubicBezTo>
                      <a:pt x="115" y="86"/>
                      <a:pt x="113" y="79"/>
                      <a:pt x="108" y="72"/>
                    </a:cubicBezTo>
                    <a:cubicBezTo>
                      <a:pt x="106" y="70"/>
                      <a:pt x="105" y="67"/>
                      <a:pt x="106" y="64"/>
                    </a:cubicBezTo>
                    <a:cubicBezTo>
                      <a:pt x="106" y="62"/>
                      <a:pt x="107" y="60"/>
                      <a:pt x="107" y="58"/>
                    </a:cubicBezTo>
                    <a:cubicBezTo>
                      <a:pt x="108" y="56"/>
                      <a:pt x="107" y="54"/>
                      <a:pt x="104" y="53"/>
                    </a:cubicBezTo>
                    <a:cubicBezTo>
                      <a:pt x="101" y="52"/>
                      <a:pt x="98" y="51"/>
                      <a:pt x="94" y="49"/>
                    </a:cubicBezTo>
                    <a:cubicBezTo>
                      <a:pt x="92" y="48"/>
                      <a:pt x="91" y="47"/>
                      <a:pt x="91" y="44"/>
                    </a:cubicBezTo>
                    <a:cubicBezTo>
                      <a:pt x="91" y="43"/>
                      <a:pt x="92" y="41"/>
                      <a:pt x="92" y="40"/>
                    </a:cubicBezTo>
                    <a:cubicBezTo>
                      <a:pt x="93" y="37"/>
                      <a:pt x="95" y="36"/>
                      <a:pt x="98" y="37"/>
                    </a:cubicBezTo>
                    <a:cubicBezTo>
                      <a:pt x="100" y="37"/>
                      <a:pt x="101" y="38"/>
                      <a:pt x="102" y="40"/>
                    </a:cubicBezTo>
                    <a:cubicBezTo>
                      <a:pt x="103" y="42"/>
                      <a:pt x="104" y="45"/>
                      <a:pt x="102" y="48"/>
                    </a:cubicBezTo>
                    <a:cubicBezTo>
                      <a:pt x="102" y="48"/>
                      <a:pt x="102" y="49"/>
                      <a:pt x="103" y="50"/>
                    </a:cubicBezTo>
                    <a:cubicBezTo>
                      <a:pt x="104" y="51"/>
                      <a:pt x="107" y="50"/>
                      <a:pt x="107" y="48"/>
                    </a:cubicBezTo>
                    <a:cubicBezTo>
                      <a:pt x="108" y="44"/>
                      <a:pt x="108" y="39"/>
                      <a:pt x="106" y="35"/>
                    </a:cubicBezTo>
                    <a:cubicBezTo>
                      <a:pt x="104" y="31"/>
                      <a:pt x="100" y="29"/>
                      <a:pt x="96" y="30"/>
                    </a:cubicBezTo>
                    <a:cubicBezTo>
                      <a:pt x="92" y="30"/>
                      <a:pt x="88" y="33"/>
                      <a:pt x="87" y="38"/>
                    </a:cubicBezTo>
                    <a:cubicBezTo>
                      <a:pt x="87" y="39"/>
                      <a:pt x="87" y="40"/>
                      <a:pt x="87" y="42"/>
                    </a:cubicBezTo>
                    <a:cubicBezTo>
                      <a:pt x="87" y="43"/>
                      <a:pt x="87" y="45"/>
                      <a:pt x="87" y="47"/>
                    </a:cubicBezTo>
                    <a:cubicBezTo>
                      <a:pt x="85" y="45"/>
                      <a:pt x="83" y="46"/>
                      <a:pt x="81" y="46"/>
                    </a:cubicBezTo>
                    <a:cubicBezTo>
                      <a:pt x="81" y="46"/>
                      <a:pt x="80" y="46"/>
                      <a:pt x="80" y="46"/>
                    </a:cubicBezTo>
                    <a:cubicBezTo>
                      <a:pt x="79" y="46"/>
                      <a:pt x="78" y="45"/>
                      <a:pt x="78" y="44"/>
                    </a:cubicBezTo>
                    <a:cubicBezTo>
                      <a:pt x="78" y="41"/>
                      <a:pt x="77" y="38"/>
                      <a:pt x="77" y="36"/>
                    </a:cubicBezTo>
                    <a:cubicBezTo>
                      <a:pt x="77" y="35"/>
                      <a:pt x="76" y="35"/>
                      <a:pt x="76" y="34"/>
                    </a:cubicBezTo>
                    <a:cubicBezTo>
                      <a:pt x="75" y="32"/>
                      <a:pt x="73" y="31"/>
                      <a:pt x="71" y="31"/>
                    </a:cubicBezTo>
                    <a:cubicBezTo>
                      <a:pt x="68" y="31"/>
                      <a:pt x="67" y="32"/>
                      <a:pt x="66" y="34"/>
                    </a:cubicBezTo>
                    <a:cubicBezTo>
                      <a:pt x="63" y="39"/>
                      <a:pt x="64" y="45"/>
                      <a:pt x="66" y="50"/>
                    </a:cubicBezTo>
                    <a:cubicBezTo>
                      <a:pt x="67" y="50"/>
                      <a:pt x="68" y="51"/>
                      <a:pt x="68" y="51"/>
                    </a:cubicBezTo>
                    <a:cubicBezTo>
                      <a:pt x="69" y="51"/>
                      <a:pt x="70" y="50"/>
                      <a:pt x="70" y="49"/>
                    </a:cubicBezTo>
                    <a:cubicBezTo>
                      <a:pt x="69" y="48"/>
                      <a:pt x="68" y="48"/>
                      <a:pt x="67" y="47"/>
                    </a:cubicBezTo>
                    <a:cubicBezTo>
                      <a:pt x="66" y="45"/>
                      <a:pt x="66" y="42"/>
                      <a:pt x="67" y="40"/>
                    </a:cubicBezTo>
                    <a:cubicBezTo>
                      <a:pt x="68" y="37"/>
                      <a:pt x="71" y="36"/>
                      <a:pt x="73" y="38"/>
                    </a:cubicBezTo>
                    <a:cubicBezTo>
                      <a:pt x="75" y="39"/>
                      <a:pt x="75" y="42"/>
                      <a:pt x="75" y="44"/>
                    </a:cubicBezTo>
                    <a:cubicBezTo>
                      <a:pt x="76" y="46"/>
                      <a:pt x="75" y="47"/>
                      <a:pt x="73" y="48"/>
                    </a:cubicBezTo>
                    <a:cubicBezTo>
                      <a:pt x="73" y="48"/>
                      <a:pt x="73" y="49"/>
                      <a:pt x="73" y="49"/>
                    </a:cubicBezTo>
                    <a:cubicBezTo>
                      <a:pt x="71" y="51"/>
                      <a:pt x="69" y="52"/>
                      <a:pt x="67" y="54"/>
                    </a:cubicBezTo>
                    <a:cubicBezTo>
                      <a:pt x="66" y="54"/>
                      <a:pt x="65" y="55"/>
                      <a:pt x="64" y="56"/>
                    </a:cubicBezTo>
                    <a:cubicBezTo>
                      <a:pt x="64" y="58"/>
                      <a:pt x="64" y="59"/>
                      <a:pt x="65" y="60"/>
                    </a:cubicBezTo>
                    <a:cubicBezTo>
                      <a:pt x="66" y="60"/>
                      <a:pt x="68" y="61"/>
                      <a:pt x="68" y="62"/>
                    </a:cubicBezTo>
                    <a:cubicBezTo>
                      <a:pt x="71" y="66"/>
                      <a:pt x="74" y="66"/>
                      <a:pt x="78" y="66"/>
                    </a:cubicBezTo>
                    <a:cubicBezTo>
                      <a:pt x="83" y="66"/>
                      <a:pt x="87" y="65"/>
                      <a:pt x="91" y="63"/>
                    </a:cubicBezTo>
                    <a:cubicBezTo>
                      <a:pt x="95" y="62"/>
                      <a:pt x="99" y="62"/>
                      <a:pt x="101" y="58"/>
                    </a:cubicBezTo>
                    <a:cubicBezTo>
                      <a:pt x="101" y="58"/>
                      <a:pt x="103" y="58"/>
                      <a:pt x="103" y="58"/>
                    </a:cubicBezTo>
                    <a:cubicBezTo>
                      <a:pt x="104" y="58"/>
                      <a:pt x="104" y="59"/>
                      <a:pt x="103" y="60"/>
                    </a:cubicBezTo>
                    <a:cubicBezTo>
                      <a:pt x="103" y="60"/>
                      <a:pt x="103" y="61"/>
                      <a:pt x="102" y="61"/>
                    </a:cubicBezTo>
                    <a:cubicBezTo>
                      <a:pt x="97" y="63"/>
                      <a:pt x="92" y="65"/>
                      <a:pt x="87" y="67"/>
                    </a:cubicBezTo>
                    <a:cubicBezTo>
                      <a:pt x="83" y="69"/>
                      <a:pt x="79" y="69"/>
                      <a:pt x="75" y="69"/>
                    </a:cubicBezTo>
                    <a:cubicBezTo>
                      <a:pt x="74" y="69"/>
                      <a:pt x="72" y="69"/>
                      <a:pt x="71" y="68"/>
                    </a:cubicBezTo>
                    <a:close/>
                    <a:moveTo>
                      <a:pt x="73" y="45"/>
                    </a:moveTo>
                    <a:cubicBezTo>
                      <a:pt x="73" y="43"/>
                      <a:pt x="73" y="41"/>
                      <a:pt x="72" y="40"/>
                    </a:cubicBezTo>
                    <a:cubicBezTo>
                      <a:pt x="72" y="40"/>
                      <a:pt x="71" y="40"/>
                      <a:pt x="71" y="40"/>
                    </a:cubicBezTo>
                    <a:cubicBezTo>
                      <a:pt x="71" y="40"/>
                      <a:pt x="71" y="41"/>
                      <a:pt x="71" y="41"/>
                    </a:cubicBezTo>
                    <a:cubicBezTo>
                      <a:pt x="72" y="41"/>
                      <a:pt x="72" y="42"/>
                      <a:pt x="72" y="44"/>
                    </a:cubicBezTo>
                    <a:cubicBezTo>
                      <a:pt x="72" y="44"/>
                      <a:pt x="72" y="45"/>
                      <a:pt x="73" y="45"/>
                    </a:cubicBezTo>
                    <a:close/>
                    <a:moveTo>
                      <a:pt x="97" y="39"/>
                    </a:moveTo>
                    <a:cubicBezTo>
                      <a:pt x="99" y="40"/>
                      <a:pt x="100" y="42"/>
                      <a:pt x="100" y="44"/>
                    </a:cubicBezTo>
                    <a:cubicBezTo>
                      <a:pt x="101" y="43"/>
                      <a:pt x="101" y="43"/>
                      <a:pt x="101" y="42"/>
                    </a:cubicBezTo>
                    <a:cubicBezTo>
                      <a:pt x="101" y="41"/>
                      <a:pt x="101" y="40"/>
                      <a:pt x="100" y="39"/>
                    </a:cubicBezTo>
                    <a:cubicBezTo>
                      <a:pt x="99" y="39"/>
                      <a:pt x="98" y="38"/>
                      <a:pt x="97" y="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3" name="Freeform 301"/>
              <p:cNvSpPr>
                <a:spLocks/>
              </p:cNvSpPr>
              <p:nvPr userDrawn="1"/>
            </p:nvSpPr>
            <p:spPr bwMode="auto">
              <a:xfrm>
                <a:off x="6802" y="789"/>
                <a:ext cx="3" cy="2"/>
              </a:xfrm>
              <a:custGeom>
                <a:avLst/>
                <a:gdLst>
                  <a:gd name="T0" fmla="*/ 3 w 3"/>
                  <a:gd name="T1" fmla="*/ 0 h 2"/>
                  <a:gd name="T2" fmla="*/ 2 w 3"/>
                  <a:gd name="T3" fmla="*/ 1 h 2"/>
                  <a:gd name="T4" fmla="*/ 0 w 3"/>
                  <a:gd name="T5" fmla="*/ 2 h 2"/>
                  <a:gd name="T6" fmla="*/ 1 w 3"/>
                  <a:gd name="T7" fmla="*/ 1 h 2"/>
                  <a:gd name="T8" fmla="*/ 2 w 3"/>
                  <a:gd name="T9" fmla="*/ 0 h 2"/>
                  <a:gd name="T10" fmla="*/ 3 w 3"/>
                  <a:gd name="T11" fmla="*/ 0 h 2"/>
                </a:gdLst>
                <a:ahLst/>
                <a:cxnLst>
                  <a:cxn ang="0">
                    <a:pos x="T0" y="T1"/>
                  </a:cxn>
                  <a:cxn ang="0">
                    <a:pos x="T2" y="T3"/>
                  </a:cxn>
                  <a:cxn ang="0">
                    <a:pos x="T4" y="T5"/>
                  </a:cxn>
                  <a:cxn ang="0">
                    <a:pos x="T6" y="T7"/>
                  </a:cxn>
                  <a:cxn ang="0">
                    <a:pos x="T8" y="T9"/>
                  </a:cxn>
                  <a:cxn ang="0">
                    <a:pos x="T10" y="T11"/>
                  </a:cxn>
                </a:cxnLst>
                <a:rect l="0" t="0" r="r" b="b"/>
                <a:pathLst>
                  <a:path w="3" h="2">
                    <a:moveTo>
                      <a:pt x="3" y="0"/>
                    </a:moveTo>
                    <a:cubicBezTo>
                      <a:pt x="2" y="0"/>
                      <a:pt x="2" y="1"/>
                      <a:pt x="2" y="1"/>
                    </a:cubicBezTo>
                    <a:cubicBezTo>
                      <a:pt x="1" y="2"/>
                      <a:pt x="1" y="2"/>
                      <a:pt x="0" y="2"/>
                    </a:cubicBezTo>
                    <a:cubicBezTo>
                      <a:pt x="0" y="2"/>
                      <a:pt x="0" y="1"/>
                      <a:pt x="1" y="1"/>
                    </a:cubicBezTo>
                    <a:cubicBezTo>
                      <a:pt x="1" y="0"/>
                      <a:pt x="2" y="0"/>
                      <a:pt x="2" y="0"/>
                    </a:cubicBezTo>
                    <a:cubicBezTo>
                      <a:pt x="3" y="0"/>
                      <a:pt x="3" y="0"/>
                      <a:pt x="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4" name="Freeform 302"/>
              <p:cNvSpPr>
                <a:spLocks/>
              </p:cNvSpPr>
              <p:nvPr userDrawn="1"/>
            </p:nvSpPr>
            <p:spPr bwMode="auto">
              <a:xfrm>
                <a:off x="6815" y="789"/>
                <a:ext cx="4" cy="1"/>
              </a:xfrm>
              <a:custGeom>
                <a:avLst/>
                <a:gdLst>
                  <a:gd name="T0" fmla="*/ 0 w 3"/>
                  <a:gd name="T1" fmla="*/ 0 h 1"/>
                  <a:gd name="T2" fmla="*/ 2 w 3"/>
                  <a:gd name="T3" fmla="*/ 0 h 1"/>
                  <a:gd name="T4" fmla="*/ 3 w 3"/>
                  <a:gd name="T5" fmla="*/ 1 h 1"/>
                  <a:gd name="T6" fmla="*/ 2 w 3"/>
                  <a:gd name="T7" fmla="*/ 1 h 1"/>
                  <a:gd name="T8" fmla="*/ 0 w 3"/>
                  <a:gd name="T9" fmla="*/ 0 h 1"/>
                </a:gdLst>
                <a:ahLst/>
                <a:cxnLst>
                  <a:cxn ang="0">
                    <a:pos x="T0" y="T1"/>
                  </a:cxn>
                  <a:cxn ang="0">
                    <a:pos x="T2" y="T3"/>
                  </a:cxn>
                  <a:cxn ang="0">
                    <a:pos x="T4" y="T5"/>
                  </a:cxn>
                  <a:cxn ang="0">
                    <a:pos x="T6" y="T7"/>
                  </a:cxn>
                  <a:cxn ang="0">
                    <a:pos x="T8" y="T9"/>
                  </a:cxn>
                </a:cxnLst>
                <a:rect l="0" t="0" r="r" b="b"/>
                <a:pathLst>
                  <a:path w="3" h="1">
                    <a:moveTo>
                      <a:pt x="0" y="0"/>
                    </a:moveTo>
                    <a:cubicBezTo>
                      <a:pt x="1" y="0"/>
                      <a:pt x="2" y="0"/>
                      <a:pt x="2" y="0"/>
                    </a:cubicBezTo>
                    <a:cubicBezTo>
                      <a:pt x="3" y="0"/>
                      <a:pt x="3" y="1"/>
                      <a:pt x="3" y="1"/>
                    </a:cubicBezTo>
                    <a:cubicBezTo>
                      <a:pt x="3" y="1"/>
                      <a:pt x="2" y="1"/>
                      <a:pt x="2" y="1"/>
                    </a:cubicBezTo>
                    <a:cubicBezTo>
                      <a:pt x="1" y="1"/>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5" name="Freeform 303"/>
              <p:cNvSpPr>
                <a:spLocks noEditPoints="1"/>
              </p:cNvSpPr>
              <p:nvPr userDrawn="1"/>
            </p:nvSpPr>
            <p:spPr bwMode="auto">
              <a:xfrm>
                <a:off x="2032" y="1469"/>
                <a:ext cx="156" cy="247"/>
              </a:xfrm>
              <a:custGeom>
                <a:avLst/>
                <a:gdLst>
                  <a:gd name="T0" fmla="*/ 128 w 128"/>
                  <a:gd name="T1" fmla="*/ 100 h 202"/>
                  <a:gd name="T2" fmla="*/ 124 w 128"/>
                  <a:gd name="T3" fmla="*/ 144 h 202"/>
                  <a:gd name="T4" fmla="*/ 111 w 128"/>
                  <a:gd name="T5" fmla="*/ 176 h 202"/>
                  <a:gd name="T6" fmla="*/ 90 w 128"/>
                  <a:gd name="T7" fmla="*/ 196 h 202"/>
                  <a:gd name="T8" fmla="*/ 62 w 128"/>
                  <a:gd name="T9" fmla="*/ 202 h 202"/>
                  <a:gd name="T10" fmla="*/ 36 w 128"/>
                  <a:gd name="T11" fmla="*/ 196 h 202"/>
                  <a:gd name="T12" fmla="*/ 17 w 128"/>
                  <a:gd name="T13" fmla="*/ 177 h 202"/>
                  <a:gd name="T14" fmla="*/ 5 w 128"/>
                  <a:gd name="T15" fmla="*/ 146 h 202"/>
                  <a:gd name="T16" fmla="*/ 0 w 128"/>
                  <a:gd name="T17" fmla="*/ 105 h 202"/>
                  <a:gd name="T18" fmla="*/ 5 w 128"/>
                  <a:gd name="T19" fmla="*/ 59 h 202"/>
                  <a:gd name="T20" fmla="*/ 17 w 128"/>
                  <a:gd name="T21" fmla="*/ 26 h 202"/>
                  <a:gd name="T22" fmla="*/ 38 w 128"/>
                  <a:gd name="T23" fmla="*/ 6 h 202"/>
                  <a:gd name="T24" fmla="*/ 67 w 128"/>
                  <a:gd name="T25" fmla="*/ 0 h 202"/>
                  <a:gd name="T26" fmla="*/ 128 w 128"/>
                  <a:gd name="T27" fmla="*/ 100 h 202"/>
                  <a:gd name="T28" fmla="*/ 105 w 128"/>
                  <a:gd name="T29" fmla="*/ 102 h 202"/>
                  <a:gd name="T30" fmla="*/ 65 w 128"/>
                  <a:gd name="T31" fmla="*/ 19 h 202"/>
                  <a:gd name="T32" fmla="*/ 23 w 128"/>
                  <a:gd name="T33" fmla="*/ 104 h 202"/>
                  <a:gd name="T34" fmla="*/ 65 w 128"/>
                  <a:gd name="T35" fmla="*/ 183 h 202"/>
                  <a:gd name="T36" fmla="*/ 105 w 128"/>
                  <a:gd name="T37" fmla="*/ 102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2">
                    <a:moveTo>
                      <a:pt x="128" y="100"/>
                    </a:moveTo>
                    <a:cubicBezTo>
                      <a:pt x="128" y="116"/>
                      <a:pt x="127" y="131"/>
                      <a:pt x="124" y="144"/>
                    </a:cubicBezTo>
                    <a:cubicBezTo>
                      <a:pt x="121" y="156"/>
                      <a:pt x="116" y="167"/>
                      <a:pt x="111" y="176"/>
                    </a:cubicBezTo>
                    <a:cubicBezTo>
                      <a:pt x="105" y="184"/>
                      <a:pt x="98" y="191"/>
                      <a:pt x="90" y="196"/>
                    </a:cubicBezTo>
                    <a:cubicBezTo>
                      <a:pt x="82" y="200"/>
                      <a:pt x="73" y="202"/>
                      <a:pt x="62" y="202"/>
                    </a:cubicBezTo>
                    <a:cubicBezTo>
                      <a:pt x="53" y="202"/>
                      <a:pt x="44" y="200"/>
                      <a:pt x="36" y="196"/>
                    </a:cubicBezTo>
                    <a:cubicBezTo>
                      <a:pt x="28" y="192"/>
                      <a:pt x="22" y="185"/>
                      <a:pt x="17" y="177"/>
                    </a:cubicBezTo>
                    <a:cubicBezTo>
                      <a:pt x="11" y="169"/>
                      <a:pt x="7" y="158"/>
                      <a:pt x="5" y="146"/>
                    </a:cubicBezTo>
                    <a:cubicBezTo>
                      <a:pt x="2" y="134"/>
                      <a:pt x="0" y="120"/>
                      <a:pt x="0" y="105"/>
                    </a:cubicBezTo>
                    <a:cubicBezTo>
                      <a:pt x="0" y="88"/>
                      <a:pt x="2" y="73"/>
                      <a:pt x="5" y="59"/>
                    </a:cubicBezTo>
                    <a:cubicBezTo>
                      <a:pt x="8" y="46"/>
                      <a:pt x="12" y="35"/>
                      <a:pt x="17" y="26"/>
                    </a:cubicBezTo>
                    <a:cubicBezTo>
                      <a:pt x="23" y="18"/>
                      <a:pt x="30" y="11"/>
                      <a:pt x="38" y="6"/>
                    </a:cubicBezTo>
                    <a:cubicBezTo>
                      <a:pt x="46" y="2"/>
                      <a:pt x="56" y="0"/>
                      <a:pt x="67" y="0"/>
                    </a:cubicBezTo>
                    <a:cubicBezTo>
                      <a:pt x="108" y="0"/>
                      <a:pt x="128" y="33"/>
                      <a:pt x="128" y="100"/>
                    </a:cubicBezTo>
                    <a:close/>
                    <a:moveTo>
                      <a:pt x="105" y="102"/>
                    </a:moveTo>
                    <a:cubicBezTo>
                      <a:pt x="105" y="46"/>
                      <a:pt x="92" y="19"/>
                      <a:pt x="65" y="19"/>
                    </a:cubicBezTo>
                    <a:cubicBezTo>
                      <a:pt x="37" y="19"/>
                      <a:pt x="23" y="47"/>
                      <a:pt x="23" y="104"/>
                    </a:cubicBezTo>
                    <a:cubicBezTo>
                      <a:pt x="23" y="157"/>
                      <a:pt x="37" y="183"/>
                      <a:pt x="65" y="183"/>
                    </a:cubicBezTo>
                    <a:cubicBezTo>
                      <a:pt x="92" y="183"/>
                      <a:pt x="105" y="156"/>
                      <a:pt x="105"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6" name="Freeform 304"/>
              <p:cNvSpPr>
                <a:spLocks noEditPoints="1"/>
              </p:cNvSpPr>
              <p:nvPr userDrawn="1"/>
            </p:nvSpPr>
            <p:spPr bwMode="auto">
              <a:xfrm>
                <a:off x="2227" y="1469"/>
                <a:ext cx="156" cy="247"/>
              </a:xfrm>
              <a:custGeom>
                <a:avLst/>
                <a:gdLst>
                  <a:gd name="T0" fmla="*/ 128 w 128"/>
                  <a:gd name="T1" fmla="*/ 100 h 202"/>
                  <a:gd name="T2" fmla="*/ 124 w 128"/>
                  <a:gd name="T3" fmla="*/ 144 h 202"/>
                  <a:gd name="T4" fmla="*/ 111 w 128"/>
                  <a:gd name="T5" fmla="*/ 176 h 202"/>
                  <a:gd name="T6" fmla="*/ 90 w 128"/>
                  <a:gd name="T7" fmla="*/ 196 h 202"/>
                  <a:gd name="T8" fmla="*/ 62 w 128"/>
                  <a:gd name="T9" fmla="*/ 202 h 202"/>
                  <a:gd name="T10" fmla="*/ 36 w 128"/>
                  <a:gd name="T11" fmla="*/ 196 h 202"/>
                  <a:gd name="T12" fmla="*/ 17 w 128"/>
                  <a:gd name="T13" fmla="*/ 177 h 202"/>
                  <a:gd name="T14" fmla="*/ 5 w 128"/>
                  <a:gd name="T15" fmla="*/ 146 h 202"/>
                  <a:gd name="T16" fmla="*/ 0 w 128"/>
                  <a:gd name="T17" fmla="*/ 105 h 202"/>
                  <a:gd name="T18" fmla="*/ 5 w 128"/>
                  <a:gd name="T19" fmla="*/ 59 h 202"/>
                  <a:gd name="T20" fmla="*/ 17 w 128"/>
                  <a:gd name="T21" fmla="*/ 26 h 202"/>
                  <a:gd name="T22" fmla="*/ 38 w 128"/>
                  <a:gd name="T23" fmla="*/ 6 h 202"/>
                  <a:gd name="T24" fmla="*/ 66 w 128"/>
                  <a:gd name="T25" fmla="*/ 0 h 202"/>
                  <a:gd name="T26" fmla="*/ 128 w 128"/>
                  <a:gd name="T27" fmla="*/ 100 h 202"/>
                  <a:gd name="T28" fmla="*/ 105 w 128"/>
                  <a:gd name="T29" fmla="*/ 102 h 202"/>
                  <a:gd name="T30" fmla="*/ 65 w 128"/>
                  <a:gd name="T31" fmla="*/ 19 h 202"/>
                  <a:gd name="T32" fmla="*/ 23 w 128"/>
                  <a:gd name="T33" fmla="*/ 104 h 202"/>
                  <a:gd name="T34" fmla="*/ 65 w 128"/>
                  <a:gd name="T35" fmla="*/ 183 h 202"/>
                  <a:gd name="T36" fmla="*/ 105 w 128"/>
                  <a:gd name="T37" fmla="*/ 102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2">
                    <a:moveTo>
                      <a:pt x="128" y="100"/>
                    </a:moveTo>
                    <a:cubicBezTo>
                      <a:pt x="128" y="116"/>
                      <a:pt x="127" y="131"/>
                      <a:pt x="124" y="144"/>
                    </a:cubicBezTo>
                    <a:cubicBezTo>
                      <a:pt x="121" y="156"/>
                      <a:pt x="116" y="167"/>
                      <a:pt x="111" y="176"/>
                    </a:cubicBezTo>
                    <a:cubicBezTo>
                      <a:pt x="105" y="184"/>
                      <a:pt x="98" y="191"/>
                      <a:pt x="90" y="196"/>
                    </a:cubicBezTo>
                    <a:cubicBezTo>
                      <a:pt x="82" y="200"/>
                      <a:pt x="73" y="202"/>
                      <a:pt x="62" y="202"/>
                    </a:cubicBezTo>
                    <a:cubicBezTo>
                      <a:pt x="53" y="202"/>
                      <a:pt x="44" y="200"/>
                      <a:pt x="36" y="196"/>
                    </a:cubicBezTo>
                    <a:cubicBezTo>
                      <a:pt x="28" y="192"/>
                      <a:pt x="22" y="185"/>
                      <a:pt x="17" y="177"/>
                    </a:cubicBezTo>
                    <a:cubicBezTo>
                      <a:pt x="11" y="169"/>
                      <a:pt x="7" y="158"/>
                      <a:pt x="5" y="146"/>
                    </a:cubicBezTo>
                    <a:cubicBezTo>
                      <a:pt x="2" y="134"/>
                      <a:pt x="0" y="120"/>
                      <a:pt x="0" y="105"/>
                    </a:cubicBezTo>
                    <a:cubicBezTo>
                      <a:pt x="0" y="88"/>
                      <a:pt x="2" y="73"/>
                      <a:pt x="5" y="59"/>
                    </a:cubicBezTo>
                    <a:cubicBezTo>
                      <a:pt x="8" y="46"/>
                      <a:pt x="12" y="35"/>
                      <a:pt x="17" y="26"/>
                    </a:cubicBezTo>
                    <a:cubicBezTo>
                      <a:pt x="23" y="18"/>
                      <a:pt x="30" y="11"/>
                      <a:pt x="38" y="6"/>
                    </a:cubicBezTo>
                    <a:cubicBezTo>
                      <a:pt x="46" y="2"/>
                      <a:pt x="56" y="0"/>
                      <a:pt x="66" y="0"/>
                    </a:cubicBezTo>
                    <a:cubicBezTo>
                      <a:pt x="108" y="0"/>
                      <a:pt x="128" y="33"/>
                      <a:pt x="128" y="100"/>
                    </a:cubicBezTo>
                    <a:close/>
                    <a:moveTo>
                      <a:pt x="105" y="102"/>
                    </a:moveTo>
                    <a:cubicBezTo>
                      <a:pt x="105" y="46"/>
                      <a:pt x="92" y="19"/>
                      <a:pt x="65" y="19"/>
                    </a:cubicBezTo>
                    <a:cubicBezTo>
                      <a:pt x="37" y="19"/>
                      <a:pt x="23" y="47"/>
                      <a:pt x="23" y="104"/>
                    </a:cubicBezTo>
                    <a:cubicBezTo>
                      <a:pt x="23" y="157"/>
                      <a:pt x="37" y="183"/>
                      <a:pt x="65" y="183"/>
                    </a:cubicBezTo>
                    <a:cubicBezTo>
                      <a:pt x="92" y="183"/>
                      <a:pt x="105" y="156"/>
                      <a:pt x="105"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7" name="Freeform 305"/>
              <p:cNvSpPr>
                <a:spLocks/>
              </p:cNvSpPr>
              <p:nvPr userDrawn="1"/>
            </p:nvSpPr>
            <p:spPr bwMode="auto">
              <a:xfrm>
                <a:off x="2425" y="1468"/>
                <a:ext cx="82" cy="244"/>
              </a:xfrm>
              <a:custGeom>
                <a:avLst/>
                <a:gdLst>
                  <a:gd name="T0" fmla="*/ 67 w 67"/>
                  <a:gd name="T1" fmla="*/ 200 h 200"/>
                  <a:gd name="T2" fmla="*/ 45 w 67"/>
                  <a:gd name="T3" fmla="*/ 200 h 200"/>
                  <a:gd name="T4" fmla="*/ 45 w 67"/>
                  <a:gd name="T5" fmla="*/ 31 h 200"/>
                  <a:gd name="T6" fmla="*/ 37 w 67"/>
                  <a:gd name="T7" fmla="*/ 36 h 200"/>
                  <a:gd name="T8" fmla="*/ 26 w 67"/>
                  <a:gd name="T9" fmla="*/ 43 h 200"/>
                  <a:gd name="T10" fmla="*/ 13 w 67"/>
                  <a:gd name="T11" fmla="*/ 49 h 200"/>
                  <a:gd name="T12" fmla="*/ 0 w 67"/>
                  <a:gd name="T13" fmla="*/ 54 h 200"/>
                  <a:gd name="T14" fmla="*/ 0 w 67"/>
                  <a:gd name="T15" fmla="*/ 31 h 200"/>
                  <a:gd name="T16" fmla="*/ 15 w 67"/>
                  <a:gd name="T17" fmla="*/ 26 h 200"/>
                  <a:gd name="T18" fmla="*/ 31 w 67"/>
                  <a:gd name="T19" fmla="*/ 18 h 200"/>
                  <a:gd name="T20" fmla="*/ 47 w 67"/>
                  <a:gd name="T21" fmla="*/ 9 h 200"/>
                  <a:gd name="T22" fmla="*/ 59 w 67"/>
                  <a:gd name="T23" fmla="*/ 0 h 200"/>
                  <a:gd name="T24" fmla="*/ 67 w 67"/>
                  <a:gd name="T25" fmla="*/ 0 h 200"/>
                  <a:gd name="T26" fmla="*/ 67 w 67"/>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7" h="200">
                    <a:moveTo>
                      <a:pt x="67" y="200"/>
                    </a:moveTo>
                    <a:cubicBezTo>
                      <a:pt x="45" y="200"/>
                      <a:pt x="45" y="200"/>
                      <a:pt x="45" y="200"/>
                    </a:cubicBezTo>
                    <a:cubicBezTo>
                      <a:pt x="45" y="31"/>
                      <a:pt x="45" y="31"/>
                      <a:pt x="45" y="31"/>
                    </a:cubicBezTo>
                    <a:cubicBezTo>
                      <a:pt x="43" y="32"/>
                      <a:pt x="41" y="34"/>
                      <a:pt x="37" y="36"/>
                    </a:cubicBezTo>
                    <a:cubicBezTo>
                      <a:pt x="34" y="39"/>
                      <a:pt x="30" y="41"/>
                      <a:pt x="26" y="43"/>
                    </a:cubicBezTo>
                    <a:cubicBezTo>
                      <a:pt x="22" y="45"/>
                      <a:pt x="18" y="47"/>
                      <a:pt x="13" y="49"/>
                    </a:cubicBezTo>
                    <a:cubicBezTo>
                      <a:pt x="8" y="51"/>
                      <a:pt x="4" y="53"/>
                      <a:pt x="0" y="54"/>
                    </a:cubicBezTo>
                    <a:cubicBezTo>
                      <a:pt x="0" y="31"/>
                      <a:pt x="0" y="31"/>
                      <a:pt x="0" y="31"/>
                    </a:cubicBezTo>
                    <a:cubicBezTo>
                      <a:pt x="4" y="30"/>
                      <a:pt x="10" y="28"/>
                      <a:pt x="15" y="26"/>
                    </a:cubicBezTo>
                    <a:cubicBezTo>
                      <a:pt x="21" y="23"/>
                      <a:pt x="26" y="21"/>
                      <a:pt x="31" y="18"/>
                    </a:cubicBezTo>
                    <a:cubicBezTo>
                      <a:pt x="37" y="15"/>
                      <a:pt x="42" y="12"/>
                      <a:pt x="47" y="9"/>
                    </a:cubicBezTo>
                    <a:cubicBezTo>
                      <a:pt x="51" y="6"/>
                      <a:pt x="55" y="3"/>
                      <a:pt x="59" y="0"/>
                    </a:cubicBezTo>
                    <a:cubicBezTo>
                      <a:pt x="67" y="0"/>
                      <a:pt x="67" y="0"/>
                      <a:pt x="67" y="0"/>
                    </a:cubicBezTo>
                    <a:lnTo>
                      <a:pt x="67"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8" name="Freeform 306"/>
              <p:cNvSpPr>
                <a:spLocks noEditPoints="1"/>
              </p:cNvSpPr>
              <p:nvPr userDrawn="1"/>
            </p:nvSpPr>
            <p:spPr bwMode="auto">
              <a:xfrm>
                <a:off x="2573" y="1469"/>
                <a:ext cx="156" cy="247"/>
              </a:xfrm>
              <a:custGeom>
                <a:avLst/>
                <a:gdLst>
                  <a:gd name="T0" fmla="*/ 128 w 128"/>
                  <a:gd name="T1" fmla="*/ 100 h 202"/>
                  <a:gd name="T2" fmla="*/ 123 w 128"/>
                  <a:gd name="T3" fmla="*/ 144 h 202"/>
                  <a:gd name="T4" fmla="*/ 111 w 128"/>
                  <a:gd name="T5" fmla="*/ 176 h 202"/>
                  <a:gd name="T6" fmla="*/ 90 w 128"/>
                  <a:gd name="T7" fmla="*/ 196 h 202"/>
                  <a:gd name="T8" fmla="*/ 62 w 128"/>
                  <a:gd name="T9" fmla="*/ 202 h 202"/>
                  <a:gd name="T10" fmla="*/ 36 w 128"/>
                  <a:gd name="T11" fmla="*/ 196 h 202"/>
                  <a:gd name="T12" fmla="*/ 16 w 128"/>
                  <a:gd name="T13" fmla="*/ 177 h 202"/>
                  <a:gd name="T14" fmla="*/ 4 w 128"/>
                  <a:gd name="T15" fmla="*/ 146 h 202"/>
                  <a:gd name="T16" fmla="*/ 0 w 128"/>
                  <a:gd name="T17" fmla="*/ 105 h 202"/>
                  <a:gd name="T18" fmla="*/ 4 w 128"/>
                  <a:gd name="T19" fmla="*/ 59 h 202"/>
                  <a:gd name="T20" fmla="*/ 17 w 128"/>
                  <a:gd name="T21" fmla="*/ 26 h 202"/>
                  <a:gd name="T22" fmla="*/ 38 w 128"/>
                  <a:gd name="T23" fmla="*/ 6 h 202"/>
                  <a:gd name="T24" fmla="*/ 66 w 128"/>
                  <a:gd name="T25" fmla="*/ 0 h 202"/>
                  <a:gd name="T26" fmla="*/ 128 w 128"/>
                  <a:gd name="T27" fmla="*/ 100 h 202"/>
                  <a:gd name="T28" fmla="*/ 105 w 128"/>
                  <a:gd name="T29" fmla="*/ 102 h 202"/>
                  <a:gd name="T30" fmla="*/ 65 w 128"/>
                  <a:gd name="T31" fmla="*/ 19 h 202"/>
                  <a:gd name="T32" fmla="*/ 23 w 128"/>
                  <a:gd name="T33" fmla="*/ 104 h 202"/>
                  <a:gd name="T34" fmla="*/ 64 w 128"/>
                  <a:gd name="T35" fmla="*/ 183 h 202"/>
                  <a:gd name="T36" fmla="*/ 105 w 128"/>
                  <a:gd name="T37" fmla="*/ 102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2">
                    <a:moveTo>
                      <a:pt x="128" y="100"/>
                    </a:moveTo>
                    <a:cubicBezTo>
                      <a:pt x="128" y="116"/>
                      <a:pt x="126" y="131"/>
                      <a:pt x="123" y="144"/>
                    </a:cubicBezTo>
                    <a:cubicBezTo>
                      <a:pt x="120" y="156"/>
                      <a:pt x="116" y="167"/>
                      <a:pt x="111" y="176"/>
                    </a:cubicBezTo>
                    <a:cubicBezTo>
                      <a:pt x="105" y="184"/>
                      <a:pt x="98" y="191"/>
                      <a:pt x="90" y="196"/>
                    </a:cubicBezTo>
                    <a:cubicBezTo>
                      <a:pt x="82" y="200"/>
                      <a:pt x="72" y="202"/>
                      <a:pt x="62" y="202"/>
                    </a:cubicBezTo>
                    <a:cubicBezTo>
                      <a:pt x="52" y="202"/>
                      <a:pt x="43" y="200"/>
                      <a:pt x="36" y="196"/>
                    </a:cubicBezTo>
                    <a:cubicBezTo>
                      <a:pt x="28" y="192"/>
                      <a:pt x="22" y="185"/>
                      <a:pt x="16" y="177"/>
                    </a:cubicBezTo>
                    <a:cubicBezTo>
                      <a:pt x="11" y="169"/>
                      <a:pt x="7" y="158"/>
                      <a:pt x="4" y="146"/>
                    </a:cubicBezTo>
                    <a:cubicBezTo>
                      <a:pt x="2" y="134"/>
                      <a:pt x="0" y="120"/>
                      <a:pt x="0" y="105"/>
                    </a:cubicBezTo>
                    <a:cubicBezTo>
                      <a:pt x="0" y="88"/>
                      <a:pt x="2" y="73"/>
                      <a:pt x="4" y="59"/>
                    </a:cubicBezTo>
                    <a:cubicBezTo>
                      <a:pt x="7" y="46"/>
                      <a:pt x="12" y="35"/>
                      <a:pt x="17" y="26"/>
                    </a:cubicBezTo>
                    <a:cubicBezTo>
                      <a:pt x="23" y="18"/>
                      <a:pt x="30" y="11"/>
                      <a:pt x="38" y="6"/>
                    </a:cubicBezTo>
                    <a:cubicBezTo>
                      <a:pt x="46" y="2"/>
                      <a:pt x="56" y="0"/>
                      <a:pt x="66" y="0"/>
                    </a:cubicBezTo>
                    <a:cubicBezTo>
                      <a:pt x="107" y="0"/>
                      <a:pt x="128" y="33"/>
                      <a:pt x="128" y="100"/>
                    </a:cubicBezTo>
                    <a:close/>
                    <a:moveTo>
                      <a:pt x="105" y="102"/>
                    </a:moveTo>
                    <a:cubicBezTo>
                      <a:pt x="105" y="46"/>
                      <a:pt x="92" y="19"/>
                      <a:pt x="65" y="19"/>
                    </a:cubicBezTo>
                    <a:cubicBezTo>
                      <a:pt x="37" y="19"/>
                      <a:pt x="23" y="47"/>
                      <a:pt x="23" y="104"/>
                    </a:cubicBezTo>
                    <a:cubicBezTo>
                      <a:pt x="23" y="157"/>
                      <a:pt x="37" y="183"/>
                      <a:pt x="64" y="183"/>
                    </a:cubicBezTo>
                    <a:cubicBezTo>
                      <a:pt x="91" y="183"/>
                      <a:pt x="105" y="156"/>
                      <a:pt x="105"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9" name="Freeform 307"/>
              <p:cNvSpPr>
                <a:spLocks noEditPoints="1"/>
              </p:cNvSpPr>
              <p:nvPr userDrawn="1"/>
            </p:nvSpPr>
            <p:spPr bwMode="auto">
              <a:xfrm>
                <a:off x="2768" y="1469"/>
                <a:ext cx="156" cy="247"/>
              </a:xfrm>
              <a:custGeom>
                <a:avLst/>
                <a:gdLst>
                  <a:gd name="T0" fmla="*/ 128 w 128"/>
                  <a:gd name="T1" fmla="*/ 100 h 202"/>
                  <a:gd name="T2" fmla="*/ 123 w 128"/>
                  <a:gd name="T3" fmla="*/ 144 h 202"/>
                  <a:gd name="T4" fmla="*/ 111 w 128"/>
                  <a:gd name="T5" fmla="*/ 176 h 202"/>
                  <a:gd name="T6" fmla="*/ 90 w 128"/>
                  <a:gd name="T7" fmla="*/ 196 h 202"/>
                  <a:gd name="T8" fmla="*/ 62 w 128"/>
                  <a:gd name="T9" fmla="*/ 202 h 202"/>
                  <a:gd name="T10" fmla="*/ 36 w 128"/>
                  <a:gd name="T11" fmla="*/ 196 h 202"/>
                  <a:gd name="T12" fmla="*/ 16 w 128"/>
                  <a:gd name="T13" fmla="*/ 177 h 202"/>
                  <a:gd name="T14" fmla="*/ 4 w 128"/>
                  <a:gd name="T15" fmla="*/ 146 h 202"/>
                  <a:gd name="T16" fmla="*/ 0 w 128"/>
                  <a:gd name="T17" fmla="*/ 105 h 202"/>
                  <a:gd name="T18" fmla="*/ 4 w 128"/>
                  <a:gd name="T19" fmla="*/ 59 h 202"/>
                  <a:gd name="T20" fmla="*/ 17 w 128"/>
                  <a:gd name="T21" fmla="*/ 26 h 202"/>
                  <a:gd name="T22" fmla="*/ 38 w 128"/>
                  <a:gd name="T23" fmla="*/ 6 h 202"/>
                  <a:gd name="T24" fmla="*/ 66 w 128"/>
                  <a:gd name="T25" fmla="*/ 0 h 202"/>
                  <a:gd name="T26" fmla="*/ 128 w 128"/>
                  <a:gd name="T27" fmla="*/ 100 h 202"/>
                  <a:gd name="T28" fmla="*/ 105 w 128"/>
                  <a:gd name="T29" fmla="*/ 102 h 202"/>
                  <a:gd name="T30" fmla="*/ 65 w 128"/>
                  <a:gd name="T31" fmla="*/ 19 h 202"/>
                  <a:gd name="T32" fmla="*/ 23 w 128"/>
                  <a:gd name="T33" fmla="*/ 104 h 202"/>
                  <a:gd name="T34" fmla="*/ 64 w 128"/>
                  <a:gd name="T35" fmla="*/ 183 h 202"/>
                  <a:gd name="T36" fmla="*/ 105 w 128"/>
                  <a:gd name="T37" fmla="*/ 102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2">
                    <a:moveTo>
                      <a:pt x="128" y="100"/>
                    </a:moveTo>
                    <a:cubicBezTo>
                      <a:pt x="128" y="116"/>
                      <a:pt x="126" y="131"/>
                      <a:pt x="123" y="144"/>
                    </a:cubicBezTo>
                    <a:cubicBezTo>
                      <a:pt x="120" y="156"/>
                      <a:pt x="116" y="167"/>
                      <a:pt x="111" y="176"/>
                    </a:cubicBezTo>
                    <a:cubicBezTo>
                      <a:pt x="105" y="184"/>
                      <a:pt x="98" y="191"/>
                      <a:pt x="90" y="196"/>
                    </a:cubicBezTo>
                    <a:cubicBezTo>
                      <a:pt x="82" y="200"/>
                      <a:pt x="72" y="202"/>
                      <a:pt x="62" y="202"/>
                    </a:cubicBezTo>
                    <a:cubicBezTo>
                      <a:pt x="52" y="202"/>
                      <a:pt x="43" y="200"/>
                      <a:pt x="36" y="196"/>
                    </a:cubicBezTo>
                    <a:cubicBezTo>
                      <a:pt x="28" y="192"/>
                      <a:pt x="22" y="185"/>
                      <a:pt x="16" y="177"/>
                    </a:cubicBezTo>
                    <a:cubicBezTo>
                      <a:pt x="11" y="169"/>
                      <a:pt x="7" y="158"/>
                      <a:pt x="4" y="146"/>
                    </a:cubicBezTo>
                    <a:cubicBezTo>
                      <a:pt x="2" y="134"/>
                      <a:pt x="0" y="120"/>
                      <a:pt x="0" y="105"/>
                    </a:cubicBezTo>
                    <a:cubicBezTo>
                      <a:pt x="0" y="88"/>
                      <a:pt x="2" y="73"/>
                      <a:pt x="4" y="59"/>
                    </a:cubicBezTo>
                    <a:cubicBezTo>
                      <a:pt x="7" y="46"/>
                      <a:pt x="12" y="35"/>
                      <a:pt x="17" y="26"/>
                    </a:cubicBezTo>
                    <a:cubicBezTo>
                      <a:pt x="23" y="18"/>
                      <a:pt x="30" y="11"/>
                      <a:pt x="38" y="6"/>
                    </a:cubicBezTo>
                    <a:cubicBezTo>
                      <a:pt x="46" y="2"/>
                      <a:pt x="56" y="0"/>
                      <a:pt x="66" y="0"/>
                    </a:cubicBezTo>
                    <a:cubicBezTo>
                      <a:pt x="107" y="0"/>
                      <a:pt x="128" y="33"/>
                      <a:pt x="128" y="100"/>
                    </a:cubicBezTo>
                    <a:close/>
                    <a:moveTo>
                      <a:pt x="105" y="102"/>
                    </a:moveTo>
                    <a:cubicBezTo>
                      <a:pt x="105" y="46"/>
                      <a:pt x="92" y="19"/>
                      <a:pt x="65" y="19"/>
                    </a:cubicBezTo>
                    <a:cubicBezTo>
                      <a:pt x="37" y="19"/>
                      <a:pt x="23" y="47"/>
                      <a:pt x="23" y="104"/>
                    </a:cubicBezTo>
                    <a:cubicBezTo>
                      <a:pt x="23" y="157"/>
                      <a:pt x="37" y="183"/>
                      <a:pt x="64" y="183"/>
                    </a:cubicBezTo>
                    <a:cubicBezTo>
                      <a:pt x="91" y="183"/>
                      <a:pt x="105" y="156"/>
                      <a:pt x="105"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0" name="Freeform 308"/>
              <p:cNvSpPr>
                <a:spLocks/>
              </p:cNvSpPr>
              <p:nvPr userDrawn="1"/>
            </p:nvSpPr>
            <p:spPr bwMode="auto">
              <a:xfrm>
                <a:off x="2965" y="1468"/>
                <a:ext cx="83" cy="244"/>
              </a:xfrm>
              <a:custGeom>
                <a:avLst/>
                <a:gdLst>
                  <a:gd name="T0" fmla="*/ 68 w 68"/>
                  <a:gd name="T1" fmla="*/ 200 h 200"/>
                  <a:gd name="T2" fmla="*/ 46 w 68"/>
                  <a:gd name="T3" fmla="*/ 200 h 200"/>
                  <a:gd name="T4" fmla="*/ 46 w 68"/>
                  <a:gd name="T5" fmla="*/ 31 h 200"/>
                  <a:gd name="T6" fmla="*/ 38 w 68"/>
                  <a:gd name="T7" fmla="*/ 36 h 200"/>
                  <a:gd name="T8" fmla="*/ 27 w 68"/>
                  <a:gd name="T9" fmla="*/ 43 h 200"/>
                  <a:gd name="T10" fmla="*/ 14 w 68"/>
                  <a:gd name="T11" fmla="*/ 49 h 200"/>
                  <a:gd name="T12" fmla="*/ 0 w 68"/>
                  <a:gd name="T13" fmla="*/ 54 h 200"/>
                  <a:gd name="T14" fmla="*/ 0 w 68"/>
                  <a:gd name="T15" fmla="*/ 31 h 200"/>
                  <a:gd name="T16" fmla="*/ 16 w 68"/>
                  <a:gd name="T17" fmla="*/ 26 h 200"/>
                  <a:gd name="T18" fmla="*/ 32 w 68"/>
                  <a:gd name="T19" fmla="*/ 18 h 200"/>
                  <a:gd name="T20" fmla="*/ 47 w 68"/>
                  <a:gd name="T21" fmla="*/ 9 h 200"/>
                  <a:gd name="T22" fmla="*/ 60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6" y="200"/>
                      <a:pt x="46" y="200"/>
                      <a:pt x="46" y="200"/>
                    </a:cubicBezTo>
                    <a:cubicBezTo>
                      <a:pt x="46" y="31"/>
                      <a:pt x="46" y="31"/>
                      <a:pt x="46" y="31"/>
                    </a:cubicBezTo>
                    <a:cubicBezTo>
                      <a:pt x="44" y="32"/>
                      <a:pt x="41" y="34"/>
                      <a:pt x="38" y="36"/>
                    </a:cubicBezTo>
                    <a:cubicBezTo>
                      <a:pt x="35" y="39"/>
                      <a:pt x="31" y="41"/>
                      <a:pt x="27" y="43"/>
                    </a:cubicBezTo>
                    <a:cubicBezTo>
                      <a:pt x="23" y="45"/>
                      <a:pt x="18" y="47"/>
                      <a:pt x="14" y="49"/>
                    </a:cubicBezTo>
                    <a:cubicBezTo>
                      <a:pt x="9" y="51"/>
                      <a:pt x="5" y="53"/>
                      <a:pt x="0" y="54"/>
                    </a:cubicBezTo>
                    <a:cubicBezTo>
                      <a:pt x="0" y="31"/>
                      <a:pt x="0" y="31"/>
                      <a:pt x="0" y="31"/>
                    </a:cubicBezTo>
                    <a:cubicBezTo>
                      <a:pt x="5" y="30"/>
                      <a:pt x="10" y="28"/>
                      <a:pt x="16" y="26"/>
                    </a:cubicBezTo>
                    <a:cubicBezTo>
                      <a:pt x="21" y="23"/>
                      <a:pt x="27" y="21"/>
                      <a:pt x="32" y="18"/>
                    </a:cubicBezTo>
                    <a:cubicBezTo>
                      <a:pt x="37" y="15"/>
                      <a:pt x="43" y="12"/>
                      <a:pt x="47" y="9"/>
                    </a:cubicBezTo>
                    <a:cubicBezTo>
                      <a:pt x="52" y="6"/>
                      <a:pt x="56" y="3"/>
                      <a:pt x="60"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1" name="Freeform 309"/>
              <p:cNvSpPr>
                <a:spLocks noEditPoints="1"/>
              </p:cNvSpPr>
              <p:nvPr userDrawn="1"/>
            </p:nvSpPr>
            <p:spPr bwMode="auto">
              <a:xfrm>
                <a:off x="3114" y="1469"/>
                <a:ext cx="156" cy="247"/>
              </a:xfrm>
              <a:custGeom>
                <a:avLst/>
                <a:gdLst>
                  <a:gd name="T0" fmla="*/ 128 w 128"/>
                  <a:gd name="T1" fmla="*/ 100 h 202"/>
                  <a:gd name="T2" fmla="*/ 123 w 128"/>
                  <a:gd name="T3" fmla="*/ 144 h 202"/>
                  <a:gd name="T4" fmla="*/ 110 w 128"/>
                  <a:gd name="T5" fmla="*/ 176 h 202"/>
                  <a:gd name="T6" fmla="*/ 90 w 128"/>
                  <a:gd name="T7" fmla="*/ 196 h 202"/>
                  <a:gd name="T8" fmla="*/ 62 w 128"/>
                  <a:gd name="T9" fmla="*/ 202 h 202"/>
                  <a:gd name="T10" fmla="*/ 35 w 128"/>
                  <a:gd name="T11" fmla="*/ 196 h 202"/>
                  <a:gd name="T12" fmla="*/ 16 w 128"/>
                  <a:gd name="T13" fmla="*/ 177 h 202"/>
                  <a:gd name="T14" fmla="*/ 4 w 128"/>
                  <a:gd name="T15" fmla="*/ 146 h 202"/>
                  <a:gd name="T16" fmla="*/ 0 w 128"/>
                  <a:gd name="T17" fmla="*/ 105 h 202"/>
                  <a:gd name="T18" fmla="*/ 4 w 128"/>
                  <a:gd name="T19" fmla="*/ 59 h 202"/>
                  <a:gd name="T20" fmla="*/ 17 w 128"/>
                  <a:gd name="T21" fmla="*/ 26 h 202"/>
                  <a:gd name="T22" fmla="*/ 38 w 128"/>
                  <a:gd name="T23" fmla="*/ 6 h 202"/>
                  <a:gd name="T24" fmla="*/ 66 w 128"/>
                  <a:gd name="T25" fmla="*/ 0 h 202"/>
                  <a:gd name="T26" fmla="*/ 128 w 128"/>
                  <a:gd name="T27" fmla="*/ 100 h 202"/>
                  <a:gd name="T28" fmla="*/ 105 w 128"/>
                  <a:gd name="T29" fmla="*/ 102 h 202"/>
                  <a:gd name="T30" fmla="*/ 65 w 128"/>
                  <a:gd name="T31" fmla="*/ 19 h 202"/>
                  <a:gd name="T32" fmla="*/ 23 w 128"/>
                  <a:gd name="T33" fmla="*/ 104 h 202"/>
                  <a:gd name="T34" fmla="*/ 64 w 128"/>
                  <a:gd name="T35" fmla="*/ 183 h 202"/>
                  <a:gd name="T36" fmla="*/ 105 w 128"/>
                  <a:gd name="T37" fmla="*/ 102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2">
                    <a:moveTo>
                      <a:pt x="128" y="100"/>
                    </a:moveTo>
                    <a:cubicBezTo>
                      <a:pt x="128" y="116"/>
                      <a:pt x="126" y="131"/>
                      <a:pt x="123" y="144"/>
                    </a:cubicBezTo>
                    <a:cubicBezTo>
                      <a:pt x="120" y="156"/>
                      <a:pt x="116" y="167"/>
                      <a:pt x="110" y="176"/>
                    </a:cubicBezTo>
                    <a:cubicBezTo>
                      <a:pt x="105" y="184"/>
                      <a:pt x="98" y="191"/>
                      <a:pt x="90" y="196"/>
                    </a:cubicBezTo>
                    <a:cubicBezTo>
                      <a:pt x="81" y="200"/>
                      <a:pt x="72" y="202"/>
                      <a:pt x="62" y="202"/>
                    </a:cubicBezTo>
                    <a:cubicBezTo>
                      <a:pt x="52" y="202"/>
                      <a:pt x="43" y="200"/>
                      <a:pt x="35" y="196"/>
                    </a:cubicBezTo>
                    <a:cubicBezTo>
                      <a:pt x="28" y="192"/>
                      <a:pt x="21" y="185"/>
                      <a:pt x="16" y="177"/>
                    </a:cubicBezTo>
                    <a:cubicBezTo>
                      <a:pt x="11" y="169"/>
                      <a:pt x="7" y="158"/>
                      <a:pt x="4" y="146"/>
                    </a:cubicBezTo>
                    <a:cubicBezTo>
                      <a:pt x="1" y="134"/>
                      <a:pt x="0" y="120"/>
                      <a:pt x="0" y="105"/>
                    </a:cubicBezTo>
                    <a:cubicBezTo>
                      <a:pt x="0" y="88"/>
                      <a:pt x="1" y="73"/>
                      <a:pt x="4" y="59"/>
                    </a:cubicBezTo>
                    <a:cubicBezTo>
                      <a:pt x="7" y="46"/>
                      <a:pt x="11" y="35"/>
                      <a:pt x="17" y="26"/>
                    </a:cubicBezTo>
                    <a:cubicBezTo>
                      <a:pt x="22" y="18"/>
                      <a:pt x="29" y="11"/>
                      <a:pt x="38" y="6"/>
                    </a:cubicBezTo>
                    <a:cubicBezTo>
                      <a:pt x="46" y="2"/>
                      <a:pt x="55" y="0"/>
                      <a:pt x="66" y="0"/>
                    </a:cubicBezTo>
                    <a:cubicBezTo>
                      <a:pt x="107" y="0"/>
                      <a:pt x="128" y="33"/>
                      <a:pt x="128" y="100"/>
                    </a:cubicBezTo>
                    <a:close/>
                    <a:moveTo>
                      <a:pt x="105" y="102"/>
                    </a:moveTo>
                    <a:cubicBezTo>
                      <a:pt x="105" y="46"/>
                      <a:pt x="91" y="19"/>
                      <a:pt x="65" y="19"/>
                    </a:cubicBezTo>
                    <a:cubicBezTo>
                      <a:pt x="37" y="19"/>
                      <a:pt x="23" y="47"/>
                      <a:pt x="23" y="104"/>
                    </a:cubicBezTo>
                    <a:cubicBezTo>
                      <a:pt x="23" y="157"/>
                      <a:pt x="37" y="183"/>
                      <a:pt x="64" y="183"/>
                    </a:cubicBezTo>
                    <a:cubicBezTo>
                      <a:pt x="91" y="183"/>
                      <a:pt x="105" y="156"/>
                      <a:pt x="105"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2" name="Freeform 310"/>
              <p:cNvSpPr>
                <a:spLocks/>
              </p:cNvSpPr>
              <p:nvPr userDrawn="1"/>
            </p:nvSpPr>
            <p:spPr bwMode="auto">
              <a:xfrm>
                <a:off x="3311" y="1468"/>
                <a:ext cx="83" cy="244"/>
              </a:xfrm>
              <a:custGeom>
                <a:avLst/>
                <a:gdLst>
                  <a:gd name="T0" fmla="*/ 68 w 68"/>
                  <a:gd name="T1" fmla="*/ 200 h 200"/>
                  <a:gd name="T2" fmla="*/ 45 w 68"/>
                  <a:gd name="T3" fmla="*/ 200 h 200"/>
                  <a:gd name="T4" fmla="*/ 45 w 68"/>
                  <a:gd name="T5" fmla="*/ 31 h 200"/>
                  <a:gd name="T6" fmla="*/ 38 w 68"/>
                  <a:gd name="T7" fmla="*/ 36 h 200"/>
                  <a:gd name="T8" fmla="*/ 27 w 68"/>
                  <a:gd name="T9" fmla="*/ 43 h 200"/>
                  <a:gd name="T10" fmla="*/ 13 w 68"/>
                  <a:gd name="T11" fmla="*/ 49 h 200"/>
                  <a:gd name="T12" fmla="*/ 0 w 68"/>
                  <a:gd name="T13" fmla="*/ 54 h 200"/>
                  <a:gd name="T14" fmla="*/ 0 w 68"/>
                  <a:gd name="T15" fmla="*/ 31 h 200"/>
                  <a:gd name="T16" fmla="*/ 16 w 68"/>
                  <a:gd name="T17" fmla="*/ 26 h 200"/>
                  <a:gd name="T18" fmla="*/ 32 w 68"/>
                  <a:gd name="T19" fmla="*/ 18 h 200"/>
                  <a:gd name="T20" fmla="*/ 47 w 68"/>
                  <a:gd name="T21" fmla="*/ 9 h 200"/>
                  <a:gd name="T22" fmla="*/ 59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5" y="200"/>
                      <a:pt x="45" y="200"/>
                      <a:pt x="45" y="200"/>
                    </a:cubicBezTo>
                    <a:cubicBezTo>
                      <a:pt x="45" y="31"/>
                      <a:pt x="45" y="31"/>
                      <a:pt x="45" y="31"/>
                    </a:cubicBezTo>
                    <a:cubicBezTo>
                      <a:pt x="44" y="32"/>
                      <a:pt x="41" y="34"/>
                      <a:pt x="38" y="36"/>
                    </a:cubicBezTo>
                    <a:cubicBezTo>
                      <a:pt x="34" y="39"/>
                      <a:pt x="31" y="41"/>
                      <a:pt x="27" y="43"/>
                    </a:cubicBezTo>
                    <a:cubicBezTo>
                      <a:pt x="22" y="45"/>
                      <a:pt x="18" y="47"/>
                      <a:pt x="13" y="49"/>
                    </a:cubicBezTo>
                    <a:cubicBezTo>
                      <a:pt x="9" y="51"/>
                      <a:pt x="4" y="53"/>
                      <a:pt x="0" y="54"/>
                    </a:cubicBezTo>
                    <a:cubicBezTo>
                      <a:pt x="0" y="31"/>
                      <a:pt x="0" y="31"/>
                      <a:pt x="0" y="31"/>
                    </a:cubicBezTo>
                    <a:cubicBezTo>
                      <a:pt x="5" y="30"/>
                      <a:pt x="10" y="28"/>
                      <a:pt x="16" y="26"/>
                    </a:cubicBezTo>
                    <a:cubicBezTo>
                      <a:pt x="21" y="23"/>
                      <a:pt x="27" y="21"/>
                      <a:pt x="32" y="18"/>
                    </a:cubicBezTo>
                    <a:cubicBezTo>
                      <a:pt x="37" y="15"/>
                      <a:pt x="42" y="12"/>
                      <a:pt x="47" y="9"/>
                    </a:cubicBezTo>
                    <a:cubicBezTo>
                      <a:pt x="52" y="6"/>
                      <a:pt x="56" y="3"/>
                      <a:pt x="59"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3" name="Freeform 311"/>
              <p:cNvSpPr>
                <a:spLocks/>
              </p:cNvSpPr>
              <p:nvPr userDrawn="1"/>
            </p:nvSpPr>
            <p:spPr bwMode="auto">
              <a:xfrm>
                <a:off x="3460" y="1468"/>
                <a:ext cx="83" cy="244"/>
              </a:xfrm>
              <a:custGeom>
                <a:avLst/>
                <a:gdLst>
                  <a:gd name="T0" fmla="*/ 68 w 68"/>
                  <a:gd name="T1" fmla="*/ 200 h 200"/>
                  <a:gd name="T2" fmla="*/ 46 w 68"/>
                  <a:gd name="T3" fmla="*/ 200 h 200"/>
                  <a:gd name="T4" fmla="*/ 46 w 68"/>
                  <a:gd name="T5" fmla="*/ 31 h 200"/>
                  <a:gd name="T6" fmla="*/ 38 w 68"/>
                  <a:gd name="T7" fmla="*/ 36 h 200"/>
                  <a:gd name="T8" fmla="*/ 27 w 68"/>
                  <a:gd name="T9" fmla="*/ 43 h 200"/>
                  <a:gd name="T10" fmla="*/ 14 w 68"/>
                  <a:gd name="T11" fmla="*/ 49 h 200"/>
                  <a:gd name="T12" fmla="*/ 0 w 68"/>
                  <a:gd name="T13" fmla="*/ 54 h 200"/>
                  <a:gd name="T14" fmla="*/ 0 w 68"/>
                  <a:gd name="T15" fmla="*/ 31 h 200"/>
                  <a:gd name="T16" fmla="*/ 16 w 68"/>
                  <a:gd name="T17" fmla="*/ 26 h 200"/>
                  <a:gd name="T18" fmla="*/ 32 w 68"/>
                  <a:gd name="T19" fmla="*/ 18 h 200"/>
                  <a:gd name="T20" fmla="*/ 48 w 68"/>
                  <a:gd name="T21" fmla="*/ 9 h 200"/>
                  <a:gd name="T22" fmla="*/ 60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6" y="200"/>
                      <a:pt x="46" y="200"/>
                      <a:pt x="46" y="200"/>
                    </a:cubicBezTo>
                    <a:cubicBezTo>
                      <a:pt x="46" y="31"/>
                      <a:pt x="46" y="31"/>
                      <a:pt x="46" y="31"/>
                    </a:cubicBezTo>
                    <a:cubicBezTo>
                      <a:pt x="44" y="32"/>
                      <a:pt x="42" y="34"/>
                      <a:pt x="38" y="36"/>
                    </a:cubicBezTo>
                    <a:cubicBezTo>
                      <a:pt x="35" y="39"/>
                      <a:pt x="31" y="41"/>
                      <a:pt x="27" y="43"/>
                    </a:cubicBezTo>
                    <a:cubicBezTo>
                      <a:pt x="23" y="45"/>
                      <a:pt x="19" y="47"/>
                      <a:pt x="14" y="49"/>
                    </a:cubicBezTo>
                    <a:cubicBezTo>
                      <a:pt x="9" y="51"/>
                      <a:pt x="5" y="53"/>
                      <a:pt x="0" y="54"/>
                    </a:cubicBezTo>
                    <a:cubicBezTo>
                      <a:pt x="0" y="31"/>
                      <a:pt x="0" y="31"/>
                      <a:pt x="0" y="31"/>
                    </a:cubicBezTo>
                    <a:cubicBezTo>
                      <a:pt x="5" y="30"/>
                      <a:pt x="11" y="28"/>
                      <a:pt x="16" y="26"/>
                    </a:cubicBezTo>
                    <a:cubicBezTo>
                      <a:pt x="22" y="23"/>
                      <a:pt x="27" y="21"/>
                      <a:pt x="32" y="18"/>
                    </a:cubicBezTo>
                    <a:cubicBezTo>
                      <a:pt x="38" y="15"/>
                      <a:pt x="43" y="12"/>
                      <a:pt x="48" y="9"/>
                    </a:cubicBezTo>
                    <a:cubicBezTo>
                      <a:pt x="52" y="6"/>
                      <a:pt x="56" y="3"/>
                      <a:pt x="60"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4" name="Freeform 312"/>
              <p:cNvSpPr>
                <a:spLocks noEditPoints="1"/>
              </p:cNvSpPr>
              <p:nvPr userDrawn="1"/>
            </p:nvSpPr>
            <p:spPr bwMode="auto">
              <a:xfrm>
                <a:off x="3609" y="1469"/>
                <a:ext cx="156" cy="247"/>
              </a:xfrm>
              <a:custGeom>
                <a:avLst/>
                <a:gdLst>
                  <a:gd name="T0" fmla="*/ 128 w 128"/>
                  <a:gd name="T1" fmla="*/ 100 h 202"/>
                  <a:gd name="T2" fmla="*/ 123 w 128"/>
                  <a:gd name="T3" fmla="*/ 144 h 202"/>
                  <a:gd name="T4" fmla="*/ 110 w 128"/>
                  <a:gd name="T5" fmla="*/ 176 h 202"/>
                  <a:gd name="T6" fmla="*/ 90 w 128"/>
                  <a:gd name="T7" fmla="*/ 196 h 202"/>
                  <a:gd name="T8" fmla="*/ 62 w 128"/>
                  <a:gd name="T9" fmla="*/ 202 h 202"/>
                  <a:gd name="T10" fmla="*/ 36 w 128"/>
                  <a:gd name="T11" fmla="*/ 196 h 202"/>
                  <a:gd name="T12" fmla="*/ 16 w 128"/>
                  <a:gd name="T13" fmla="*/ 177 h 202"/>
                  <a:gd name="T14" fmla="*/ 4 w 128"/>
                  <a:gd name="T15" fmla="*/ 146 h 202"/>
                  <a:gd name="T16" fmla="*/ 0 w 128"/>
                  <a:gd name="T17" fmla="*/ 105 h 202"/>
                  <a:gd name="T18" fmla="*/ 4 w 128"/>
                  <a:gd name="T19" fmla="*/ 59 h 202"/>
                  <a:gd name="T20" fmla="*/ 17 w 128"/>
                  <a:gd name="T21" fmla="*/ 26 h 202"/>
                  <a:gd name="T22" fmla="*/ 38 w 128"/>
                  <a:gd name="T23" fmla="*/ 6 h 202"/>
                  <a:gd name="T24" fmla="*/ 66 w 128"/>
                  <a:gd name="T25" fmla="*/ 0 h 202"/>
                  <a:gd name="T26" fmla="*/ 128 w 128"/>
                  <a:gd name="T27" fmla="*/ 100 h 202"/>
                  <a:gd name="T28" fmla="*/ 105 w 128"/>
                  <a:gd name="T29" fmla="*/ 102 h 202"/>
                  <a:gd name="T30" fmla="*/ 65 w 128"/>
                  <a:gd name="T31" fmla="*/ 19 h 202"/>
                  <a:gd name="T32" fmla="*/ 23 w 128"/>
                  <a:gd name="T33" fmla="*/ 104 h 202"/>
                  <a:gd name="T34" fmla="*/ 64 w 128"/>
                  <a:gd name="T35" fmla="*/ 183 h 202"/>
                  <a:gd name="T36" fmla="*/ 105 w 128"/>
                  <a:gd name="T37" fmla="*/ 102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2">
                    <a:moveTo>
                      <a:pt x="128" y="100"/>
                    </a:moveTo>
                    <a:cubicBezTo>
                      <a:pt x="128" y="116"/>
                      <a:pt x="126" y="131"/>
                      <a:pt x="123" y="144"/>
                    </a:cubicBezTo>
                    <a:cubicBezTo>
                      <a:pt x="120" y="156"/>
                      <a:pt x="116" y="167"/>
                      <a:pt x="110" y="176"/>
                    </a:cubicBezTo>
                    <a:cubicBezTo>
                      <a:pt x="105" y="184"/>
                      <a:pt x="98" y="191"/>
                      <a:pt x="90" y="196"/>
                    </a:cubicBezTo>
                    <a:cubicBezTo>
                      <a:pt x="82" y="200"/>
                      <a:pt x="72" y="202"/>
                      <a:pt x="62" y="202"/>
                    </a:cubicBezTo>
                    <a:cubicBezTo>
                      <a:pt x="52" y="202"/>
                      <a:pt x="43" y="200"/>
                      <a:pt x="36" y="196"/>
                    </a:cubicBezTo>
                    <a:cubicBezTo>
                      <a:pt x="28" y="192"/>
                      <a:pt x="22" y="185"/>
                      <a:pt x="16" y="177"/>
                    </a:cubicBezTo>
                    <a:cubicBezTo>
                      <a:pt x="11" y="169"/>
                      <a:pt x="7" y="158"/>
                      <a:pt x="4" y="146"/>
                    </a:cubicBezTo>
                    <a:cubicBezTo>
                      <a:pt x="1" y="134"/>
                      <a:pt x="0" y="120"/>
                      <a:pt x="0" y="105"/>
                    </a:cubicBezTo>
                    <a:cubicBezTo>
                      <a:pt x="0" y="88"/>
                      <a:pt x="2" y="73"/>
                      <a:pt x="4" y="59"/>
                    </a:cubicBezTo>
                    <a:cubicBezTo>
                      <a:pt x="7" y="46"/>
                      <a:pt x="11" y="35"/>
                      <a:pt x="17" y="26"/>
                    </a:cubicBezTo>
                    <a:cubicBezTo>
                      <a:pt x="23" y="18"/>
                      <a:pt x="30" y="11"/>
                      <a:pt x="38" y="6"/>
                    </a:cubicBezTo>
                    <a:cubicBezTo>
                      <a:pt x="46" y="2"/>
                      <a:pt x="55" y="0"/>
                      <a:pt x="66" y="0"/>
                    </a:cubicBezTo>
                    <a:cubicBezTo>
                      <a:pt x="107" y="0"/>
                      <a:pt x="128" y="33"/>
                      <a:pt x="128" y="100"/>
                    </a:cubicBezTo>
                    <a:close/>
                    <a:moveTo>
                      <a:pt x="105" y="102"/>
                    </a:moveTo>
                    <a:cubicBezTo>
                      <a:pt x="105" y="46"/>
                      <a:pt x="92" y="19"/>
                      <a:pt x="65" y="19"/>
                    </a:cubicBezTo>
                    <a:cubicBezTo>
                      <a:pt x="37" y="19"/>
                      <a:pt x="23" y="47"/>
                      <a:pt x="23" y="104"/>
                    </a:cubicBezTo>
                    <a:cubicBezTo>
                      <a:pt x="23" y="157"/>
                      <a:pt x="37" y="183"/>
                      <a:pt x="64" y="183"/>
                    </a:cubicBezTo>
                    <a:cubicBezTo>
                      <a:pt x="91" y="183"/>
                      <a:pt x="105" y="156"/>
                      <a:pt x="105"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5" name="Freeform 313"/>
              <p:cNvSpPr>
                <a:spLocks noEditPoints="1"/>
              </p:cNvSpPr>
              <p:nvPr userDrawn="1"/>
            </p:nvSpPr>
            <p:spPr bwMode="auto">
              <a:xfrm>
                <a:off x="3794" y="1473"/>
                <a:ext cx="189" cy="219"/>
              </a:xfrm>
              <a:custGeom>
                <a:avLst/>
                <a:gdLst>
                  <a:gd name="T0" fmla="*/ 189 w 189"/>
                  <a:gd name="T1" fmla="*/ 67 h 219"/>
                  <a:gd name="T2" fmla="*/ 184 w 189"/>
                  <a:gd name="T3" fmla="*/ 84 h 219"/>
                  <a:gd name="T4" fmla="*/ 141 w 189"/>
                  <a:gd name="T5" fmla="*/ 84 h 219"/>
                  <a:gd name="T6" fmla="*/ 130 w 189"/>
                  <a:gd name="T7" fmla="*/ 134 h 219"/>
                  <a:gd name="T8" fmla="*/ 177 w 189"/>
                  <a:gd name="T9" fmla="*/ 134 h 219"/>
                  <a:gd name="T10" fmla="*/ 173 w 189"/>
                  <a:gd name="T11" fmla="*/ 153 h 219"/>
                  <a:gd name="T12" fmla="*/ 127 w 189"/>
                  <a:gd name="T13" fmla="*/ 153 h 219"/>
                  <a:gd name="T14" fmla="*/ 112 w 189"/>
                  <a:gd name="T15" fmla="*/ 219 h 219"/>
                  <a:gd name="T16" fmla="*/ 91 w 189"/>
                  <a:gd name="T17" fmla="*/ 219 h 219"/>
                  <a:gd name="T18" fmla="*/ 106 w 189"/>
                  <a:gd name="T19" fmla="*/ 153 h 219"/>
                  <a:gd name="T20" fmla="*/ 65 w 189"/>
                  <a:gd name="T21" fmla="*/ 153 h 219"/>
                  <a:gd name="T22" fmla="*/ 50 w 189"/>
                  <a:gd name="T23" fmla="*/ 219 h 219"/>
                  <a:gd name="T24" fmla="*/ 29 w 189"/>
                  <a:gd name="T25" fmla="*/ 219 h 219"/>
                  <a:gd name="T26" fmla="*/ 43 w 189"/>
                  <a:gd name="T27" fmla="*/ 153 h 219"/>
                  <a:gd name="T28" fmla="*/ 0 w 189"/>
                  <a:gd name="T29" fmla="*/ 153 h 219"/>
                  <a:gd name="T30" fmla="*/ 2 w 189"/>
                  <a:gd name="T31" fmla="*/ 134 h 219"/>
                  <a:gd name="T32" fmla="*/ 47 w 189"/>
                  <a:gd name="T33" fmla="*/ 134 h 219"/>
                  <a:gd name="T34" fmla="*/ 57 w 189"/>
                  <a:gd name="T35" fmla="*/ 84 h 219"/>
                  <a:gd name="T36" fmla="*/ 11 w 189"/>
                  <a:gd name="T37" fmla="*/ 84 h 219"/>
                  <a:gd name="T38" fmla="*/ 15 w 189"/>
                  <a:gd name="T39" fmla="*/ 67 h 219"/>
                  <a:gd name="T40" fmla="*/ 61 w 189"/>
                  <a:gd name="T41" fmla="*/ 67 h 219"/>
                  <a:gd name="T42" fmla="*/ 74 w 189"/>
                  <a:gd name="T43" fmla="*/ 0 h 219"/>
                  <a:gd name="T44" fmla="*/ 96 w 189"/>
                  <a:gd name="T45" fmla="*/ 0 h 219"/>
                  <a:gd name="T46" fmla="*/ 82 w 189"/>
                  <a:gd name="T47" fmla="*/ 67 h 219"/>
                  <a:gd name="T48" fmla="*/ 123 w 189"/>
                  <a:gd name="T49" fmla="*/ 67 h 219"/>
                  <a:gd name="T50" fmla="*/ 138 w 189"/>
                  <a:gd name="T51" fmla="*/ 0 h 219"/>
                  <a:gd name="T52" fmla="*/ 158 w 189"/>
                  <a:gd name="T53" fmla="*/ 0 h 219"/>
                  <a:gd name="T54" fmla="*/ 145 w 189"/>
                  <a:gd name="T55" fmla="*/ 67 h 219"/>
                  <a:gd name="T56" fmla="*/ 189 w 189"/>
                  <a:gd name="T57" fmla="*/ 67 h 219"/>
                  <a:gd name="T58" fmla="*/ 121 w 189"/>
                  <a:gd name="T59" fmla="*/ 84 h 219"/>
                  <a:gd name="T60" fmla="*/ 78 w 189"/>
                  <a:gd name="T61" fmla="*/ 84 h 219"/>
                  <a:gd name="T62" fmla="*/ 67 w 189"/>
                  <a:gd name="T63" fmla="*/ 134 h 219"/>
                  <a:gd name="T64" fmla="*/ 110 w 189"/>
                  <a:gd name="T65" fmla="*/ 134 h 219"/>
                  <a:gd name="T66" fmla="*/ 121 w 189"/>
                  <a:gd name="T67" fmla="*/ 84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9" h="219">
                    <a:moveTo>
                      <a:pt x="189" y="67"/>
                    </a:moveTo>
                    <a:lnTo>
                      <a:pt x="184" y="84"/>
                    </a:lnTo>
                    <a:lnTo>
                      <a:pt x="141" y="84"/>
                    </a:lnTo>
                    <a:lnTo>
                      <a:pt x="130" y="134"/>
                    </a:lnTo>
                    <a:lnTo>
                      <a:pt x="177" y="134"/>
                    </a:lnTo>
                    <a:lnTo>
                      <a:pt x="173" y="153"/>
                    </a:lnTo>
                    <a:lnTo>
                      <a:pt x="127" y="153"/>
                    </a:lnTo>
                    <a:lnTo>
                      <a:pt x="112" y="219"/>
                    </a:lnTo>
                    <a:lnTo>
                      <a:pt x="91" y="219"/>
                    </a:lnTo>
                    <a:lnTo>
                      <a:pt x="106" y="153"/>
                    </a:lnTo>
                    <a:lnTo>
                      <a:pt x="65" y="153"/>
                    </a:lnTo>
                    <a:lnTo>
                      <a:pt x="50" y="219"/>
                    </a:lnTo>
                    <a:lnTo>
                      <a:pt x="29" y="219"/>
                    </a:lnTo>
                    <a:lnTo>
                      <a:pt x="43" y="153"/>
                    </a:lnTo>
                    <a:lnTo>
                      <a:pt x="0" y="153"/>
                    </a:lnTo>
                    <a:lnTo>
                      <a:pt x="2" y="134"/>
                    </a:lnTo>
                    <a:lnTo>
                      <a:pt x="47" y="134"/>
                    </a:lnTo>
                    <a:lnTo>
                      <a:pt x="57" y="84"/>
                    </a:lnTo>
                    <a:lnTo>
                      <a:pt x="11" y="84"/>
                    </a:lnTo>
                    <a:lnTo>
                      <a:pt x="15" y="67"/>
                    </a:lnTo>
                    <a:lnTo>
                      <a:pt x="61" y="67"/>
                    </a:lnTo>
                    <a:lnTo>
                      <a:pt x="74" y="0"/>
                    </a:lnTo>
                    <a:lnTo>
                      <a:pt x="96" y="0"/>
                    </a:lnTo>
                    <a:lnTo>
                      <a:pt x="82" y="67"/>
                    </a:lnTo>
                    <a:lnTo>
                      <a:pt x="123" y="67"/>
                    </a:lnTo>
                    <a:lnTo>
                      <a:pt x="138" y="0"/>
                    </a:lnTo>
                    <a:lnTo>
                      <a:pt x="158" y="0"/>
                    </a:lnTo>
                    <a:lnTo>
                      <a:pt x="145" y="67"/>
                    </a:lnTo>
                    <a:lnTo>
                      <a:pt x="189" y="67"/>
                    </a:lnTo>
                    <a:close/>
                    <a:moveTo>
                      <a:pt x="121" y="84"/>
                    </a:moveTo>
                    <a:lnTo>
                      <a:pt x="78" y="84"/>
                    </a:lnTo>
                    <a:lnTo>
                      <a:pt x="67" y="134"/>
                    </a:lnTo>
                    <a:lnTo>
                      <a:pt x="110" y="134"/>
                    </a:lnTo>
                    <a:lnTo>
                      <a:pt x="121"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6" name="Freeform 314"/>
              <p:cNvSpPr>
                <a:spLocks/>
              </p:cNvSpPr>
              <p:nvPr userDrawn="1"/>
            </p:nvSpPr>
            <p:spPr bwMode="auto">
              <a:xfrm>
                <a:off x="4223" y="1473"/>
                <a:ext cx="77" cy="294"/>
              </a:xfrm>
              <a:custGeom>
                <a:avLst/>
                <a:gdLst>
                  <a:gd name="T0" fmla="*/ 63 w 63"/>
                  <a:gd name="T1" fmla="*/ 241 h 241"/>
                  <a:gd name="T2" fmla="*/ 21 w 63"/>
                  <a:gd name="T3" fmla="*/ 198 h 241"/>
                  <a:gd name="T4" fmla="*/ 21 w 63"/>
                  <a:gd name="T5" fmla="*/ 157 h 241"/>
                  <a:gd name="T6" fmla="*/ 0 w 63"/>
                  <a:gd name="T7" fmla="*/ 128 h 241"/>
                  <a:gd name="T8" fmla="*/ 0 w 63"/>
                  <a:gd name="T9" fmla="*/ 112 h 241"/>
                  <a:gd name="T10" fmla="*/ 21 w 63"/>
                  <a:gd name="T11" fmla="*/ 83 h 241"/>
                  <a:gd name="T12" fmla="*/ 21 w 63"/>
                  <a:gd name="T13" fmla="*/ 43 h 241"/>
                  <a:gd name="T14" fmla="*/ 63 w 63"/>
                  <a:gd name="T15" fmla="*/ 0 h 241"/>
                  <a:gd name="T16" fmla="*/ 63 w 63"/>
                  <a:gd name="T17" fmla="*/ 17 h 241"/>
                  <a:gd name="T18" fmla="*/ 41 w 63"/>
                  <a:gd name="T19" fmla="*/ 44 h 241"/>
                  <a:gd name="T20" fmla="*/ 41 w 63"/>
                  <a:gd name="T21" fmla="*/ 85 h 241"/>
                  <a:gd name="T22" fmla="*/ 21 w 63"/>
                  <a:gd name="T23" fmla="*/ 120 h 241"/>
                  <a:gd name="T24" fmla="*/ 21 w 63"/>
                  <a:gd name="T25" fmla="*/ 120 h 241"/>
                  <a:gd name="T26" fmla="*/ 41 w 63"/>
                  <a:gd name="T27" fmla="*/ 155 h 241"/>
                  <a:gd name="T28" fmla="*/ 41 w 63"/>
                  <a:gd name="T29" fmla="*/ 195 h 241"/>
                  <a:gd name="T30" fmla="*/ 46 w 63"/>
                  <a:gd name="T31" fmla="*/ 217 h 241"/>
                  <a:gd name="T32" fmla="*/ 63 w 63"/>
                  <a:gd name="T33" fmla="*/ 223 h 241"/>
                  <a:gd name="T34" fmla="*/ 63 w 63"/>
                  <a:gd name="T35" fmla="*/ 24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3" h="241">
                    <a:moveTo>
                      <a:pt x="63" y="241"/>
                    </a:moveTo>
                    <a:cubicBezTo>
                      <a:pt x="35" y="240"/>
                      <a:pt x="21" y="226"/>
                      <a:pt x="21" y="198"/>
                    </a:cubicBezTo>
                    <a:cubicBezTo>
                      <a:pt x="21" y="157"/>
                      <a:pt x="21" y="157"/>
                      <a:pt x="21" y="157"/>
                    </a:cubicBezTo>
                    <a:cubicBezTo>
                      <a:pt x="21" y="139"/>
                      <a:pt x="14" y="129"/>
                      <a:pt x="0" y="128"/>
                    </a:cubicBezTo>
                    <a:cubicBezTo>
                      <a:pt x="0" y="112"/>
                      <a:pt x="0" y="112"/>
                      <a:pt x="0" y="112"/>
                    </a:cubicBezTo>
                    <a:cubicBezTo>
                      <a:pt x="14" y="111"/>
                      <a:pt x="21" y="102"/>
                      <a:pt x="21" y="83"/>
                    </a:cubicBezTo>
                    <a:cubicBezTo>
                      <a:pt x="21" y="43"/>
                      <a:pt x="21" y="43"/>
                      <a:pt x="21" y="43"/>
                    </a:cubicBezTo>
                    <a:cubicBezTo>
                      <a:pt x="21" y="15"/>
                      <a:pt x="35" y="0"/>
                      <a:pt x="63" y="0"/>
                    </a:cubicBezTo>
                    <a:cubicBezTo>
                      <a:pt x="63" y="17"/>
                      <a:pt x="63" y="17"/>
                      <a:pt x="63" y="17"/>
                    </a:cubicBezTo>
                    <a:cubicBezTo>
                      <a:pt x="49" y="18"/>
                      <a:pt x="41" y="27"/>
                      <a:pt x="41" y="44"/>
                    </a:cubicBezTo>
                    <a:cubicBezTo>
                      <a:pt x="41" y="85"/>
                      <a:pt x="41" y="85"/>
                      <a:pt x="41" y="85"/>
                    </a:cubicBezTo>
                    <a:cubicBezTo>
                      <a:pt x="41" y="104"/>
                      <a:pt x="34" y="115"/>
                      <a:pt x="21" y="120"/>
                    </a:cubicBezTo>
                    <a:cubicBezTo>
                      <a:pt x="21" y="120"/>
                      <a:pt x="21" y="120"/>
                      <a:pt x="21" y="120"/>
                    </a:cubicBezTo>
                    <a:cubicBezTo>
                      <a:pt x="34" y="124"/>
                      <a:pt x="41" y="136"/>
                      <a:pt x="41" y="155"/>
                    </a:cubicBezTo>
                    <a:cubicBezTo>
                      <a:pt x="41" y="195"/>
                      <a:pt x="41" y="195"/>
                      <a:pt x="41" y="195"/>
                    </a:cubicBezTo>
                    <a:cubicBezTo>
                      <a:pt x="41" y="205"/>
                      <a:pt x="43" y="212"/>
                      <a:pt x="46" y="217"/>
                    </a:cubicBezTo>
                    <a:cubicBezTo>
                      <a:pt x="49" y="221"/>
                      <a:pt x="55" y="223"/>
                      <a:pt x="63" y="223"/>
                    </a:cubicBezTo>
                    <a:lnTo>
                      <a:pt x="63" y="2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7" name="Freeform 315"/>
              <p:cNvSpPr>
                <a:spLocks/>
              </p:cNvSpPr>
              <p:nvPr userDrawn="1"/>
            </p:nvSpPr>
            <p:spPr bwMode="auto">
              <a:xfrm>
                <a:off x="4330" y="1473"/>
                <a:ext cx="77" cy="294"/>
              </a:xfrm>
              <a:custGeom>
                <a:avLst/>
                <a:gdLst>
                  <a:gd name="T0" fmla="*/ 63 w 63"/>
                  <a:gd name="T1" fmla="*/ 128 h 241"/>
                  <a:gd name="T2" fmla="*/ 42 w 63"/>
                  <a:gd name="T3" fmla="*/ 157 h 241"/>
                  <a:gd name="T4" fmla="*/ 42 w 63"/>
                  <a:gd name="T5" fmla="*/ 198 h 241"/>
                  <a:gd name="T6" fmla="*/ 0 w 63"/>
                  <a:gd name="T7" fmla="*/ 241 h 241"/>
                  <a:gd name="T8" fmla="*/ 0 w 63"/>
                  <a:gd name="T9" fmla="*/ 223 h 241"/>
                  <a:gd name="T10" fmla="*/ 17 w 63"/>
                  <a:gd name="T11" fmla="*/ 216 h 241"/>
                  <a:gd name="T12" fmla="*/ 22 w 63"/>
                  <a:gd name="T13" fmla="*/ 195 h 241"/>
                  <a:gd name="T14" fmla="*/ 22 w 63"/>
                  <a:gd name="T15" fmla="*/ 155 h 241"/>
                  <a:gd name="T16" fmla="*/ 42 w 63"/>
                  <a:gd name="T17" fmla="*/ 120 h 241"/>
                  <a:gd name="T18" fmla="*/ 42 w 63"/>
                  <a:gd name="T19" fmla="*/ 120 h 241"/>
                  <a:gd name="T20" fmla="*/ 22 w 63"/>
                  <a:gd name="T21" fmla="*/ 85 h 241"/>
                  <a:gd name="T22" fmla="*/ 22 w 63"/>
                  <a:gd name="T23" fmla="*/ 44 h 241"/>
                  <a:gd name="T24" fmla="*/ 0 w 63"/>
                  <a:gd name="T25" fmla="*/ 17 h 241"/>
                  <a:gd name="T26" fmla="*/ 0 w 63"/>
                  <a:gd name="T27" fmla="*/ 0 h 241"/>
                  <a:gd name="T28" fmla="*/ 42 w 63"/>
                  <a:gd name="T29" fmla="*/ 43 h 241"/>
                  <a:gd name="T30" fmla="*/ 42 w 63"/>
                  <a:gd name="T31" fmla="*/ 83 h 241"/>
                  <a:gd name="T32" fmla="*/ 63 w 63"/>
                  <a:gd name="T33" fmla="*/ 112 h 241"/>
                  <a:gd name="T34" fmla="*/ 63 w 63"/>
                  <a:gd name="T35" fmla="*/ 128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3" h="241">
                    <a:moveTo>
                      <a:pt x="63" y="128"/>
                    </a:moveTo>
                    <a:cubicBezTo>
                      <a:pt x="49" y="129"/>
                      <a:pt x="42" y="139"/>
                      <a:pt x="42" y="157"/>
                    </a:cubicBezTo>
                    <a:cubicBezTo>
                      <a:pt x="42" y="198"/>
                      <a:pt x="42" y="198"/>
                      <a:pt x="42" y="198"/>
                    </a:cubicBezTo>
                    <a:cubicBezTo>
                      <a:pt x="42" y="226"/>
                      <a:pt x="28" y="240"/>
                      <a:pt x="0" y="241"/>
                    </a:cubicBezTo>
                    <a:cubicBezTo>
                      <a:pt x="0" y="223"/>
                      <a:pt x="0" y="223"/>
                      <a:pt x="0" y="223"/>
                    </a:cubicBezTo>
                    <a:cubicBezTo>
                      <a:pt x="8" y="223"/>
                      <a:pt x="14" y="221"/>
                      <a:pt x="17" y="216"/>
                    </a:cubicBezTo>
                    <a:cubicBezTo>
                      <a:pt x="20" y="212"/>
                      <a:pt x="22" y="205"/>
                      <a:pt x="22" y="195"/>
                    </a:cubicBezTo>
                    <a:cubicBezTo>
                      <a:pt x="22" y="155"/>
                      <a:pt x="22" y="155"/>
                      <a:pt x="22" y="155"/>
                    </a:cubicBezTo>
                    <a:cubicBezTo>
                      <a:pt x="22" y="136"/>
                      <a:pt x="29" y="124"/>
                      <a:pt x="42" y="120"/>
                    </a:cubicBezTo>
                    <a:cubicBezTo>
                      <a:pt x="42" y="120"/>
                      <a:pt x="42" y="120"/>
                      <a:pt x="42" y="120"/>
                    </a:cubicBezTo>
                    <a:cubicBezTo>
                      <a:pt x="29" y="115"/>
                      <a:pt x="22" y="104"/>
                      <a:pt x="22" y="85"/>
                    </a:cubicBezTo>
                    <a:cubicBezTo>
                      <a:pt x="22" y="44"/>
                      <a:pt x="22" y="44"/>
                      <a:pt x="22" y="44"/>
                    </a:cubicBezTo>
                    <a:cubicBezTo>
                      <a:pt x="22" y="27"/>
                      <a:pt x="15" y="18"/>
                      <a:pt x="0" y="17"/>
                    </a:cubicBezTo>
                    <a:cubicBezTo>
                      <a:pt x="0" y="0"/>
                      <a:pt x="0" y="0"/>
                      <a:pt x="0" y="0"/>
                    </a:cubicBezTo>
                    <a:cubicBezTo>
                      <a:pt x="28" y="0"/>
                      <a:pt x="42" y="15"/>
                      <a:pt x="42" y="43"/>
                    </a:cubicBezTo>
                    <a:cubicBezTo>
                      <a:pt x="42" y="83"/>
                      <a:pt x="42" y="83"/>
                      <a:pt x="42" y="83"/>
                    </a:cubicBezTo>
                    <a:cubicBezTo>
                      <a:pt x="42" y="102"/>
                      <a:pt x="49" y="111"/>
                      <a:pt x="63" y="112"/>
                    </a:cubicBezTo>
                    <a:lnTo>
                      <a:pt x="63" y="1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8" name="Freeform 316"/>
              <p:cNvSpPr>
                <a:spLocks noEditPoints="1"/>
              </p:cNvSpPr>
              <p:nvPr userDrawn="1"/>
            </p:nvSpPr>
            <p:spPr bwMode="auto">
              <a:xfrm>
                <a:off x="4441" y="1469"/>
                <a:ext cx="156" cy="247"/>
              </a:xfrm>
              <a:custGeom>
                <a:avLst/>
                <a:gdLst>
                  <a:gd name="T0" fmla="*/ 128 w 128"/>
                  <a:gd name="T1" fmla="*/ 100 h 202"/>
                  <a:gd name="T2" fmla="*/ 123 w 128"/>
                  <a:gd name="T3" fmla="*/ 144 h 202"/>
                  <a:gd name="T4" fmla="*/ 111 w 128"/>
                  <a:gd name="T5" fmla="*/ 176 h 202"/>
                  <a:gd name="T6" fmla="*/ 90 w 128"/>
                  <a:gd name="T7" fmla="*/ 196 h 202"/>
                  <a:gd name="T8" fmla="*/ 62 w 128"/>
                  <a:gd name="T9" fmla="*/ 202 h 202"/>
                  <a:gd name="T10" fmla="*/ 36 w 128"/>
                  <a:gd name="T11" fmla="*/ 196 h 202"/>
                  <a:gd name="T12" fmla="*/ 16 w 128"/>
                  <a:gd name="T13" fmla="*/ 177 h 202"/>
                  <a:gd name="T14" fmla="*/ 4 w 128"/>
                  <a:gd name="T15" fmla="*/ 146 h 202"/>
                  <a:gd name="T16" fmla="*/ 0 w 128"/>
                  <a:gd name="T17" fmla="*/ 105 h 202"/>
                  <a:gd name="T18" fmla="*/ 5 w 128"/>
                  <a:gd name="T19" fmla="*/ 59 h 202"/>
                  <a:gd name="T20" fmla="*/ 17 w 128"/>
                  <a:gd name="T21" fmla="*/ 26 h 202"/>
                  <a:gd name="T22" fmla="*/ 38 w 128"/>
                  <a:gd name="T23" fmla="*/ 6 h 202"/>
                  <a:gd name="T24" fmla="*/ 66 w 128"/>
                  <a:gd name="T25" fmla="*/ 0 h 202"/>
                  <a:gd name="T26" fmla="*/ 128 w 128"/>
                  <a:gd name="T27" fmla="*/ 100 h 202"/>
                  <a:gd name="T28" fmla="*/ 105 w 128"/>
                  <a:gd name="T29" fmla="*/ 102 h 202"/>
                  <a:gd name="T30" fmla="*/ 65 w 128"/>
                  <a:gd name="T31" fmla="*/ 19 h 202"/>
                  <a:gd name="T32" fmla="*/ 23 w 128"/>
                  <a:gd name="T33" fmla="*/ 104 h 202"/>
                  <a:gd name="T34" fmla="*/ 64 w 128"/>
                  <a:gd name="T35" fmla="*/ 183 h 202"/>
                  <a:gd name="T36" fmla="*/ 105 w 128"/>
                  <a:gd name="T37" fmla="*/ 102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2">
                    <a:moveTo>
                      <a:pt x="128" y="100"/>
                    </a:moveTo>
                    <a:cubicBezTo>
                      <a:pt x="128" y="116"/>
                      <a:pt x="126" y="131"/>
                      <a:pt x="123" y="144"/>
                    </a:cubicBezTo>
                    <a:cubicBezTo>
                      <a:pt x="121" y="156"/>
                      <a:pt x="116" y="167"/>
                      <a:pt x="111" y="176"/>
                    </a:cubicBezTo>
                    <a:cubicBezTo>
                      <a:pt x="105" y="184"/>
                      <a:pt x="98" y="191"/>
                      <a:pt x="90" y="196"/>
                    </a:cubicBezTo>
                    <a:cubicBezTo>
                      <a:pt x="82" y="200"/>
                      <a:pt x="73" y="202"/>
                      <a:pt x="62" y="202"/>
                    </a:cubicBezTo>
                    <a:cubicBezTo>
                      <a:pt x="52" y="202"/>
                      <a:pt x="44" y="200"/>
                      <a:pt x="36" y="196"/>
                    </a:cubicBezTo>
                    <a:cubicBezTo>
                      <a:pt x="28" y="192"/>
                      <a:pt x="22" y="185"/>
                      <a:pt x="16" y="177"/>
                    </a:cubicBezTo>
                    <a:cubicBezTo>
                      <a:pt x="11" y="169"/>
                      <a:pt x="7" y="158"/>
                      <a:pt x="4" y="146"/>
                    </a:cubicBezTo>
                    <a:cubicBezTo>
                      <a:pt x="2" y="134"/>
                      <a:pt x="0" y="120"/>
                      <a:pt x="0" y="105"/>
                    </a:cubicBezTo>
                    <a:cubicBezTo>
                      <a:pt x="0" y="88"/>
                      <a:pt x="2" y="73"/>
                      <a:pt x="5" y="59"/>
                    </a:cubicBezTo>
                    <a:cubicBezTo>
                      <a:pt x="7" y="46"/>
                      <a:pt x="12" y="35"/>
                      <a:pt x="17" y="26"/>
                    </a:cubicBezTo>
                    <a:cubicBezTo>
                      <a:pt x="23" y="18"/>
                      <a:pt x="30" y="11"/>
                      <a:pt x="38" y="6"/>
                    </a:cubicBezTo>
                    <a:cubicBezTo>
                      <a:pt x="46" y="2"/>
                      <a:pt x="56" y="0"/>
                      <a:pt x="66" y="0"/>
                    </a:cubicBezTo>
                    <a:cubicBezTo>
                      <a:pt x="107" y="0"/>
                      <a:pt x="128" y="33"/>
                      <a:pt x="128" y="100"/>
                    </a:cubicBezTo>
                    <a:close/>
                    <a:moveTo>
                      <a:pt x="105" y="102"/>
                    </a:moveTo>
                    <a:cubicBezTo>
                      <a:pt x="105" y="46"/>
                      <a:pt x="92" y="19"/>
                      <a:pt x="65" y="19"/>
                    </a:cubicBezTo>
                    <a:cubicBezTo>
                      <a:pt x="37" y="19"/>
                      <a:pt x="23" y="47"/>
                      <a:pt x="23" y="104"/>
                    </a:cubicBezTo>
                    <a:cubicBezTo>
                      <a:pt x="23" y="157"/>
                      <a:pt x="37" y="183"/>
                      <a:pt x="64" y="183"/>
                    </a:cubicBezTo>
                    <a:cubicBezTo>
                      <a:pt x="91" y="183"/>
                      <a:pt x="105" y="156"/>
                      <a:pt x="105"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9" name="Freeform 317"/>
              <p:cNvSpPr>
                <a:spLocks noEditPoints="1"/>
              </p:cNvSpPr>
              <p:nvPr userDrawn="1"/>
            </p:nvSpPr>
            <p:spPr bwMode="auto">
              <a:xfrm>
                <a:off x="4636" y="1469"/>
                <a:ext cx="156" cy="247"/>
              </a:xfrm>
              <a:custGeom>
                <a:avLst/>
                <a:gdLst>
                  <a:gd name="T0" fmla="*/ 128 w 128"/>
                  <a:gd name="T1" fmla="*/ 100 h 202"/>
                  <a:gd name="T2" fmla="*/ 123 w 128"/>
                  <a:gd name="T3" fmla="*/ 144 h 202"/>
                  <a:gd name="T4" fmla="*/ 111 w 128"/>
                  <a:gd name="T5" fmla="*/ 176 h 202"/>
                  <a:gd name="T6" fmla="*/ 90 w 128"/>
                  <a:gd name="T7" fmla="*/ 196 h 202"/>
                  <a:gd name="T8" fmla="*/ 62 w 128"/>
                  <a:gd name="T9" fmla="*/ 202 h 202"/>
                  <a:gd name="T10" fmla="*/ 36 w 128"/>
                  <a:gd name="T11" fmla="*/ 196 h 202"/>
                  <a:gd name="T12" fmla="*/ 16 w 128"/>
                  <a:gd name="T13" fmla="*/ 177 h 202"/>
                  <a:gd name="T14" fmla="*/ 4 w 128"/>
                  <a:gd name="T15" fmla="*/ 146 h 202"/>
                  <a:gd name="T16" fmla="*/ 0 w 128"/>
                  <a:gd name="T17" fmla="*/ 105 h 202"/>
                  <a:gd name="T18" fmla="*/ 5 w 128"/>
                  <a:gd name="T19" fmla="*/ 59 h 202"/>
                  <a:gd name="T20" fmla="*/ 17 w 128"/>
                  <a:gd name="T21" fmla="*/ 26 h 202"/>
                  <a:gd name="T22" fmla="*/ 38 w 128"/>
                  <a:gd name="T23" fmla="*/ 6 h 202"/>
                  <a:gd name="T24" fmla="*/ 66 w 128"/>
                  <a:gd name="T25" fmla="*/ 0 h 202"/>
                  <a:gd name="T26" fmla="*/ 128 w 128"/>
                  <a:gd name="T27" fmla="*/ 100 h 202"/>
                  <a:gd name="T28" fmla="*/ 105 w 128"/>
                  <a:gd name="T29" fmla="*/ 102 h 202"/>
                  <a:gd name="T30" fmla="*/ 65 w 128"/>
                  <a:gd name="T31" fmla="*/ 19 h 202"/>
                  <a:gd name="T32" fmla="*/ 23 w 128"/>
                  <a:gd name="T33" fmla="*/ 104 h 202"/>
                  <a:gd name="T34" fmla="*/ 64 w 128"/>
                  <a:gd name="T35" fmla="*/ 183 h 202"/>
                  <a:gd name="T36" fmla="*/ 105 w 128"/>
                  <a:gd name="T37" fmla="*/ 102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2">
                    <a:moveTo>
                      <a:pt x="128" y="100"/>
                    </a:moveTo>
                    <a:cubicBezTo>
                      <a:pt x="128" y="116"/>
                      <a:pt x="126" y="131"/>
                      <a:pt x="123" y="144"/>
                    </a:cubicBezTo>
                    <a:cubicBezTo>
                      <a:pt x="121" y="156"/>
                      <a:pt x="116" y="167"/>
                      <a:pt x="111" y="176"/>
                    </a:cubicBezTo>
                    <a:cubicBezTo>
                      <a:pt x="105" y="184"/>
                      <a:pt x="98" y="191"/>
                      <a:pt x="90" y="196"/>
                    </a:cubicBezTo>
                    <a:cubicBezTo>
                      <a:pt x="82" y="200"/>
                      <a:pt x="73" y="202"/>
                      <a:pt x="62" y="202"/>
                    </a:cubicBezTo>
                    <a:cubicBezTo>
                      <a:pt x="52" y="202"/>
                      <a:pt x="44" y="200"/>
                      <a:pt x="36" y="196"/>
                    </a:cubicBezTo>
                    <a:cubicBezTo>
                      <a:pt x="28" y="192"/>
                      <a:pt x="22" y="185"/>
                      <a:pt x="16" y="177"/>
                    </a:cubicBezTo>
                    <a:cubicBezTo>
                      <a:pt x="11" y="169"/>
                      <a:pt x="7" y="158"/>
                      <a:pt x="4" y="146"/>
                    </a:cubicBezTo>
                    <a:cubicBezTo>
                      <a:pt x="2" y="134"/>
                      <a:pt x="0" y="120"/>
                      <a:pt x="0" y="105"/>
                    </a:cubicBezTo>
                    <a:cubicBezTo>
                      <a:pt x="0" y="88"/>
                      <a:pt x="2" y="73"/>
                      <a:pt x="5" y="59"/>
                    </a:cubicBezTo>
                    <a:cubicBezTo>
                      <a:pt x="7" y="46"/>
                      <a:pt x="12" y="35"/>
                      <a:pt x="17" y="26"/>
                    </a:cubicBezTo>
                    <a:cubicBezTo>
                      <a:pt x="23" y="18"/>
                      <a:pt x="30" y="11"/>
                      <a:pt x="38" y="6"/>
                    </a:cubicBezTo>
                    <a:cubicBezTo>
                      <a:pt x="46" y="2"/>
                      <a:pt x="56" y="0"/>
                      <a:pt x="66" y="0"/>
                    </a:cubicBezTo>
                    <a:cubicBezTo>
                      <a:pt x="107" y="0"/>
                      <a:pt x="128" y="33"/>
                      <a:pt x="128" y="100"/>
                    </a:cubicBezTo>
                    <a:close/>
                    <a:moveTo>
                      <a:pt x="105" y="102"/>
                    </a:moveTo>
                    <a:cubicBezTo>
                      <a:pt x="105" y="46"/>
                      <a:pt x="92" y="19"/>
                      <a:pt x="65" y="19"/>
                    </a:cubicBezTo>
                    <a:cubicBezTo>
                      <a:pt x="37" y="19"/>
                      <a:pt x="23" y="47"/>
                      <a:pt x="23" y="104"/>
                    </a:cubicBezTo>
                    <a:cubicBezTo>
                      <a:pt x="23" y="157"/>
                      <a:pt x="37" y="183"/>
                      <a:pt x="64" y="183"/>
                    </a:cubicBezTo>
                    <a:cubicBezTo>
                      <a:pt x="91" y="183"/>
                      <a:pt x="105" y="156"/>
                      <a:pt x="105"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0" name="Freeform 318"/>
              <p:cNvSpPr>
                <a:spLocks/>
              </p:cNvSpPr>
              <p:nvPr userDrawn="1"/>
            </p:nvSpPr>
            <p:spPr bwMode="auto">
              <a:xfrm>
                <a:off x="4833" y="1468"/>
                <a:ext cx="83" cy="244"/>
              </a:xfrm>
              <a:custGeom>
                <a:avLst/>
                <a:gdLst>
                  <a:gd name="T0" fmla="*/ 68 w 68"/>
                  <a:gd name="T1" fmla="*/ 200 h 200"/>
                  <a:gd name="T2" fmla="*/ 46 w 68"/>
                  <a:gd name="T3" fmla="*/ 200 h 200"/>
                  <a:gd name="T4" fmla="*/ 46 w 68"/>
                  <a:gd name="T5" fmla="*/ 31 h 200"/>
                  <a:gd name="T6" fmla="*/ 38 w 68"/>
                  <a:gd name="T7" fmla="*/ 36 h 200"/>
                  <a:gd name="T8" fmla="*/ 27 w 68"/>
                  <a:gd name="T9" fmla="*/ 43 h 200"/>
                  <a:gd name="T10" fmla="*/ 14 w 68"/>
                  <a:gd name="T11" fmla="*/ 49 h 200"/>
                  <a:gd name="T12" fmla="*/ 0 w 68"/>
                  <a:gd name="T13" fmla="*/ 54 h 200"/>
                  <a:gd name="T14" fmla="*/ 0 w 68"/>
                  <a:gd name="T15" fmla="*/ 31 h 200"/>
                  <a:gd name="T16" fmla="*/ 16 w 68"/>
                  <a:gd name="T17" fmla="*/ 26 h 200"/>
                  <a:gd name="T18" fmla="*/ 32 w 68"/>
                  <a:gd name="T19" fmla="*/ 18 h 200"/>
                  <a:gd name="T20" fmla="*/ 47 w 68"/>
                  <a:gd name="T21" fmla="*/ 9 h 200"/>
                  <a:gd name="T22" fmla="*/ 60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6" y="200"/>
                      <a:pt x="46" y="200"/>
                      <a:pt x="46" y="200"/>
                    </a:cubicBezTo>
                    <a:cubicBezTo>
                      <a:pt x="46" y="31"/>
                      <a:pt x="46" y="31"/>
                      <a:pt x="46" y="31"/>
                    </a:cubicBezTo>
                    <a:cubicBezTo>
                      <a:pt x="44" y="32"/>
                      <a:pt x="41" y="34"/>
                      <a:pt x="38" y="36"/>
                    </a:cubicBezTo>
                    <a:cubicBezTo>
                      <a:pt x="35" y="39"/>
                      <a:pt x="31" y="41"/>
                      <a:pt x="27" y="43"/>
                    </a:cubicBezTo>
                    <a:cubicBezTo>
                      <a:pt x="23" y="45"/>
                      <a:pt x="18" y="47"/>
                      <a:pt x="14" y="49"/>
                    </a:cubicBezTo>
                    <a:cubicBezTo>
                      <a:pt x="9" y="51"/>
                      <a:pt x="5" y="53"/>
                      <a:pt x="0" y="54"/>
                    </a:cubicBezTo>
                    <a:cubicBezTo>
                      <a:pt x="0" y="31"/>
                      <a:pt x="0" y="31"/>
                      <a:pt x="0" y="31"/>
                    </a:cubicBezTo>
                    <a:cubicBezTo>
                      <a:pt x="5" y="30"/>
                      <a:pt x="10" y="28"/>
                      <a:pt x="16" y="26"/>
                    </a:cubicBezTo>
                    <a:cubicBezTo>
                      <a:pt x="21" y="23"/>
                      <a:pt x="27" y="21"/>
                      <a:pt x="32" y="18"/>
                    </a:cubicBezTo>
                    <a:cubicBezTo>
                      <a:pt x="38" y="15"/>
                      <a:pt x="43" y="12"/>
                      <a:pt x="47" y="9"/>
                    </a:cubicBezTo>
                    <a:cubicBezTo>
                      <a:pt x="52" y="6"/>
                      <a:pt x="56" y="3"/>
                      <a:pt x="60"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1" name="Freeform 319"/>
              <p:cNvSpPr>
                <a:spLocks noEditPoints="1"/>
              </p:cNvSpPr>
              <p:nvPr userDrawn="1"/>
            </p:nvSpPr>
            <p:spPr bwMode="auto">
              <a:xfrm>
                <a:off x="4982" y="1469"/>
                <a:ext cx="156" cy="247"/>
              </a:xfrm>
              <a:custGeom>
                <a:avLst/>
                <a:gdLst>
                  <a:gd name="T0" fmla="*/ 128 w 128"/>
                  <a:gd name="T1" fmla="*/ 100 h 202"/>
                  <a:gd name="T2" fmla="*/ 123 w 128"/>
                  <a:gd name="T3" fmla="*/ 144 h 202"/>
                  <a:gd name="T4" fmla="*/ 110 w 128"/>
                  <a:gd name="T5" fmla="*/ 176 h 202"/>
                  <a:gd name="T6" fmla="*/ 90 w 128"/>
                  <a:gd name="T7" fmla="*/ 196 h 202"/>
                  <a:gd name="T8" fmla="*/ 62 w 128"/>
                  <a:gd name="T9" fmla="*/ 202 h 202"/>
                  <a:gd name="T10" fmla="*/ 36 w 128"/>
                  <a:gd name="T11" fmla="*/ 196 h 202"/>
                  <a:gd name="T12" fmla="*/ 16 w 128"/>
                  <a:gd name="T13" fmla="*/ 177 h 202"/>
                  <a:gd name="T14" fmla="*/ 4 w 128"/>
                  <a:gd name="T15" fmla="*/ 146 h 202"/>
                  <a:gd name="T16" fmla="*/ 0 w 128"/>
                  <a:gd name="T17" fmla="*/ 105 h 202"/>
                  <a:gd name="T18" fmla="*/ 4 w 128"/>
                  <a:gd name="T19" fmla="*/ 59 h 202"/>
                  <a:gd name="T20" fmla="*/ 17 w 128"/>
                  <a:gd name="T21" fmla="*/ 26 h 202"/>
                  <a:gd name="T22" fmla="*/ 38 w 128"/>
                  <a:gd name="T23" fmla="*/ 6 h 202"/>
                  <a:gd name="T24" fmla="*/ 66 w 128"/>
                  <a:gd name="T25" fmla="*/ 0 h 202"/>
                  <a:gd name="T26" fmla="*/ 128 w 128"/>
                  <a:gd name="T27" fmla="*/ 100 h 202"/>
                  <a:gd name="T28" fmla="*/ 105 w 128"/>
                  <a:gd name="T29" fmla="*/ 102 h 202"/>
                  <a:gd name="T30" fmla="*/ 65 w 128"/>
                  <a:gd name="T31" fmla="*/ 19 h 202"/>
                  <a:gd name="T32" fmla="*/ 23 w 128"/>
                  <a:gd name="T33" fmla="*/ 104 h 202"/>
                  <a:gd name="T34" fmla="*/ 64 w 128"/>
                  <a:gd name="T35" fmla="*/ 183 h 202"/>
                  <a:gd name="T36" fmla="*/ 105 w 128"/>
                  <a:gd name="T37" fmla="*/ 102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2">
                    <a:moveTo>
                      <a:pt x="128" y="100"/>
                    </a:moveTo>
                    <a:cubicBezTo>
                      <a:pt x="128" y="116"/>
                      <a:pt x="126" y="131"/>
                      <a:pt x="123" y="144"/>
                    </a:cubicBezTo>
                    <a:cubicBezTo>
                      <a:pt x="120" y="156"/>
                      <a:pt x="116" y="167"/>
                      <a:pt x="110" y="176"/>
                    </a:cubicBezTo>
                    <a:cubicBezTo>
                      <a:pt x="105" y="184"/>
                      <a:pt x="98" y="191"/>
                      <a:pt x="90" y="196"/>
                    </a:cubicBezTo>
                    <a:cubicBezTo>
                      <a:pt x="82" y="200"/>
                      <a:pt x="72" y="202"/>
                      <a:pt x="62" y="202"/>
                    </a:cubicBezTo>
                    <a:cubicBezTo>
                      <a:pt x="52" y="202"/>
                      <a:pt x="43" y="200"/>
                      <a:pt x="36" y="196"/>
                    </a:cubicBezTo>
                    <a:cubicBezTo>
                      <a:pt x="28" y="192"/>
                      <a:pt x="21" y="185"/>
                      <a:pt x="16" y="177"/>
                    </a:cubicBezTo>
                    <a:cubicBezTo>
                      <a:pt x="11" y="169"/>
                      <a:pt x="7" y="158"/>
                      <a:pt x="4" y="146"/>
                    </a:cubicBezTo>
                    <a:cubicBezTo>
                      <a:pt x="1" y="134"/>
                      <a:pt x="0" y="120"/>
                      <a:pt x="0" y="105"/>
                    </a:cubicBezTo>
                    <a:cubicBezTo>
                      <a:pt x="0" y="88"/>
                      <a:pt x="1" y="73"/>
                      <a:pt x="4" y="59"/>
                    </a:cubicBezTo>
                    <a:cubicBezTo>
                      <a:pt x="7" y="46"/>
                      <a:pt x="11" y="35"/>
                      <a:pt x="17" y="26"/>
                    </a:cubicBezTo>
                    <a:cubicBezTo>
                      <a:pt x="22" y="18"/>
                      <a:pt x="29" y="11"/>
                      <a:pt x="38" y="6"/>
                    </a:cubicBezTo>
                    <a:cubicBezTo>
                      <a:pt x="46" y="2"/>
                      <a:pt x="55" y="0"/>
                      <a:pt x="66" y="0"/>
                    </a:cubicBezTo>
                    <a:cubicBezTo>
                      <a:pt x="107" y="0"/>
                      <a:pt x="128" y="33"/>
                      <a:pt x="128" y="100"/>
                    </a:cubicBezTo>
                    <a:close/>
                    <a:moveTo>
                      <a:pt x="105" y="102"/>
                    </a:moveTo>
                    <a:cubicBezTo>
                      <a:pt x="105" y="46"/>
                      <a:pt x="91" y="19"/>
                      <a:pt x="65" y="19"/>
                    </a:cubicBezTo>
                    <a:cubicBezTo>
                      <a:pt x="37" y="19"/>
                      <a:pt x="23" y="47"/>
                      <a:pt x="23" y="104"/>
                    </a:cubicBezTo>
                    <a:cubicBezTo>
                      <a:pt x="23" y="157"/>
                      <a:pt x="37" y="183"/>
                      <a:pt x="64" y="183"/>
                    </a:cubicBezTo>
                    <a:cubicBezTo>
                      <a:pt x="91" y="183"/>
                      <a:pt x="105" y="156"/>
                      <a:pt x="105"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2" name="Freeform 320"/>
              <p:cNvSpPr>
                <a:spLocks/>
              </p:cNvSpPr>
              <p:nvPr userDrawn="1"/>
            </p:nvSpPr>
            <p:spPr bwMode="auto">
              <a:xfrm>
                <a:off x="5180" y="1468"/>
                <a:ext cx="82" cy="244"/>
              </a:xfrm>
              <a:custGeom>
                <a:avLst/>
                <a:gdLst>
                  <a:gd name="T0" fmla="*/ 68 w 68"/>
                  <a:gd name="T1" fmla="*/ 200 h 200"/>
                  <a:gd name="T2" fmla="*/ 45 w 68"/>
                  <a:gd name="T3" fmla="*/ 200 h 200"/>
                  <a:gd name="T4" fmla="*/ 45 w 68"/>
                  <a:gd name="T5" fmla="*/ 31 h 200"/>
                  <a:gd name="T6" fmla="*/ 38 w 68"/>
                  <a:gd name="T7" fmla="*/ 36 h 200"/>
                  <a:gd name="T8" fmla="*/ 27 w 68"/>
                  <a:gd name="T9" fmla="*/ 43 h 200"/>
                  <a:gd name="T10" fmla="*/ 13 w 68"/>
                  <a:gd name="T11" fmla="*/ 49 h 200"/>
                  <a:gd name="T12" fmla="*/ 0 w 68"/>
                  <a:gd name="T13" fmla="*/ 54 h 200"/>
                  <a:gd name="T14" fmla="*/ 0 w 68"/>
                  <a:gd name="T15" fmla="*/ 31 h 200"/>
                  <a:gd name="T16" fmla="*/ 16 w 68"/>
                  <a:gd name="T17" fmla="*/ 26 h 200"/>
                  <a:gd name="T18" fmla="*/ 32 w 68"/>
                  <a:gd name="T19" fmla="*/ 18 h 200"/>
                  <a:gd name="T20" fmla="*/ 47 w 68"/>
                  <a:gd name="T21" fmla="*/ 9 h 200"/>
                  <a:gd name="T22" fmla="*/ 59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5" y="200"/>
                      <a:pt x="45" y="200"/>
                      <a:pt x="45" y="200"/>
                    </a:cubicBezTo>
                    <a:cubicBezTo>
                      <a:pt x="45" y="31"/>
                      <a:pt x="45" y="31"/>
                      <a:pt x="45" y="31"/>
                    </a:cubicBezTo>
                    <a:cubicBezTo>
                      <a:pt x="44" y="32"/>
                      <a:pt x="41" y="34"/>
                      <a:pt x="38" y="36"/>
                    </a:cubicBezTo>
                    <a:cubicBezTo>
                      <a:pt x="34" y="39"/>
                      <a:pt x="31" y="41"/>
                      <a:pt x="27" y="43"/>
                    </a:cubicBezTo>
                    <a:cubicBezTo>
                      <a:pt x="22" y="45"/>
                      <a:pt x="18" y="47"/>
                      <a:pt x="13" y="49"/>
                    </a:cubicBezTo>
                    <a:cubicBezTo>
                      <a:pt x="9" y="51"/>
                      <a:pt x="4" y="53"/>
                      <a:pt x="0" y="54"/>
                    </a:cubicBezTo>
                    <a:cubicBezTo>
                      <a:pt x="0" y="31"/>
                      <a:pt x="0" y="31"/>
                      <a:pt x="0" y="31"/>
                    </a:cubicBezTo>
                    <a:cubicBezTo>
                      <a:pt x="5" y="30"/>
                      <a:pt x="10" y="28"/>
                      <a:pt x="16" y="26"/>
                    </a:cubicBezTo>
                    <a:cubicBezTo>
                      <a:pt x="21" y="23"/>
                      <a:pt x="27" y="21"/>
                      <a:pt x="32" y="18"/>
                    </a:cubicBezTo>
                    <a:cubicBezTo>
                      <a:pt x="37" y="15"/>
                      <a:pt x="42" y="12"/>
                      <a:pt x="47" y="9"/>
                    </a:cubicBezTo>
                    <a:cubicBezTo>
                      <a:pt x="52" y="6"/>
                      <a:pt x="56" y="3"/>
                      <a:pt x="59"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3" name="Freeform 321"/>
              <p:cNvSpPr>
                <a:spLocks/>
              </p:cNvSpPr>
              <p:nvPr userDrawn="1"/>
            </p:nvSpPr>
            <p:spPr bwMode="auto">
              <a:xfrm>
                <a:off x="5330" y="1468"/>
                <a:ext cx="81" cy="244"/>
              </a:xfrm>
              <a:custGeom>
                <a:avLst/>
                <a:gdLst>
                  <a:gd name="T0" fmla="*/ 67 w 67"/>
                  <a:gd name="T1" fmla="*/ 200 h 200"/>
                  <a:gd name="T2" fmla="*/ 45 w 67"/>
                  <a:gd name="T3" fmla="*/ 200 h 200"/>
                  <a:gd name="T4" fmla="*/ 45 w 67"/>
                  <a:gd name="T5" fmla="*/ 31 h 200"/>
                  <a:gd name="T6" fmla="*/ 37 w 67"/>
                  <a:gd name="T7" fmla="*/ 36 h 200"/>
                  <a:gd name="T8" fmla="*/ 26 w 67"/>
                  <a:gd name="T9" fmla="*/ 43 h 200"/>
                  <a:gd name="T10" fmla="*/ 13 w 67"/>
                  <a:gd name="T11" fmla="*/ 49 h 200"/>
                  <a:gd name="T12" fmla="*/ 0 w 67"/>
                  <a:gd name="T13" fmla="*/ 54 h 200"/>
                  <a:gd name="T14" fmla="*/ 0 w 67"/>
                  <a:gd name="T15" fmla="*/ 31 h 200"/>
                  <a:gd name="T16" fmla="*/ 15 w 67"/>
                  <a:gd name="T17" fmla="*/ 26 h 200"/>
                  <a:gd name="T18" fmla="*/ 31 w 67"/>
                  <a:gd name="T19" fmla="*/ 18 h 200"/>
                  <a:gd name="T20" fmla="*/ 47 w 67"/>
                  <a:gd name="T21" fmla="*/ 9 h 200"/>
                  <a:gd name="T22" fmla="*/ 59 w 67"/>
                  <a:gd name="T23" fmla="*/ 0 h 200"/>
                  <a:gd name="T24" fmla="*/ 67 w 67"/>
                  <a:gd name="T25" fmla="*/ 0 h 200"/>
                  <a:gd name="T26" fmla="*/ 67 w 67"/>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7" h="200">
                    <a:moveTo>
                      <a:pt x="67" y="200"/>
                    </a:moveTo>
                    <a:cubicBezTo>
                      <a:pt x="45" y="200"/>
                      <a:pt x="45" y="200"/>
                      <a:pt x="45" y="200"/>
                    </a:cubicBezTo>
                    <a:cubicBezTo>
                      <a:pt x="45" y="31"/>
                      <a:pt x="45" y="31"/>
                      <a:pt x="45" y="31"/>
                    </a:cubicBezTo>
                    <a:cubicBezTo>
                      <a:pt x="43" y="32"/>
                      <a:pt x="41" y="34"/>
                      <a:pt x="37" y="36"/>
                    </a:cubicBezTo>
                    <a:cubicBezTo>
                      <a:pt x="34" y="39"/>
                      <a:pt x="30" y="41"/>
                      <a:pt x="26" y="43"/>
                    </a:cubicBezTo>
                    <a:cubicBezTo>
                      <a:pt x="22" y="45"/>
                      <a:pt x="18" y="47"/>
                      <a:pt x="13" y="49"/>
                    </a:cubicBezTo>
                    <a:cubicBezTo>
                      <a:pt x="8" y="51"/>
                      <a:pt x="4" y="53"/>
                      <a:pt x="0" y="54"/>
                    </a:cubicBezTo>
                    <a:cubicBezTo>
                      <a:pt x="0" y="31"/>
                      <a:pt x="0" y="31"/>
                      <a:pt x="0" y="31"/>
                    </a:cubicBezTo>
                    <a:cubicBezTo>
                      <a:pt x="4" y="30"/>
                      <a:pt x="10" y="28"/>
                      <a:pt x="15" y="26"/>
                    </a:cubicBezTo>
                    <a:cubicBezTo>
                      <a:pt x="21" y="23"/>
                      <a:pt x="26" y="21"/>
                      <a:pt x="31" y="18"/>
                    </a:cubicBezTo>
                    <a:cubicBezTo>
                      <a:pt x="37" y="15"/>
                      <a:pt x="42" y="12"/>
                      <a:pt x="47" y="9"/>
                    </a:cubicBezTo>
                    <a:cubicBezTo>
                      <a:pt x="51" y="6"/>
                      <a:pt x="55" y="3"/>
                      <a:pt x="59" y="0"/>
                    </a:cubicBezTo>
                    <a:cubicBezTo>
                      <a:pt x="67" y="0"/>
                      <a:pt x="67" y="0"/>
                      <a:pt x="67" y="0"/>
                    </a:cubicBezTo>
                    <a:lnTo>
                      <a:pt x="67"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4" name="Freeform 322"/>
              <p:cNvSpPr>
                <a:spLocks noEditPoints="1"/>
              </p:cNvSpPr>
              <p:nvPr userDrawn="1"/>
            </p:nvSpPr>
            <p:spPr bwMode="auto">
              <a:xfrm>
                <a:off x="5477" y="1469"/>
                <a:ext cx="156" cy="247"/>
              </a:xfrm>
              <a:custGeom>
                <a:avLst/>
                <a:gdLst>
                  <a:gd name="T0" fmla="*/ 128 w 128"/>
                  <a:gd name="T1" fmla="*/ 100 h 202"/>
                  <a:gd name="T2" fmla="*/ 123 w 128"/>
                  <a:gd name="T3" fmla="*/ 144 h 202"/>
                  <a:gd name="T4" fmla="*/ 111 w 128"/>
                  <a:gd name="T5" fmla="*/ 176 h 202"/>
                  <a:gd name="T6" fmla="*/ 90 w 128"/>
                  <a:gd name="T7" fmla="*/ 196 h 202"/>
                  <a:gd name="T8" fmla="*/ 62 w 128"/>
                  <a:gd name="T9" fmla="*/ 202 h 202"/>
                  <a:gd name="T10" fmla="*/ 36 w 128"/>
                  <a:gd name="T11" fmla="*/ 196 h 202"/>
                  <a:gd name="T12" fmla="*/ 16 w 128"/>
                  <a:gd name="T13" fmla="*/ 177 h 202"/>
                  <a:gd name="T14" fmla="*/ 4 w 128"/>
                  <a:gd name="T15" fmla="*/ 146 h 202"/>
                  <a:gd name="T16" fmla="*/ 0 w 128"/>
                  <a:gd name="T17" fmla="*/ 105 h 202"/>
                  <a:gd name="T18" fmla="*/ 4 w 128"/>
                  <a:gd name="T19" fmla="*/ 59 h 202"/>
                  <a:gd name="T20" fmla="*/ 17 w 128"/>
                  <a:gd name="T21" fmla="*/ 26 h 202"/>
                  <a:gd name="T22" fmla="*/ 38 w 128"/>
                  <a:gd name="T23" fmla="*/ 6 h 202"/>
                  <a:gd name="T24" fmla="*/ 66 w 128"/>
                  <a:gd name="T25" fmla="*/ 0 h 202"/>
                  <a:gd name="T26" fmla="*/ 128 w 128"/>
                  <a:gd name="T27" fmla="*/ 100 h 202"/>
                  <a:gd name="T28" fmla="*/ 105 w 128"/>
                  <a:gd name="T29" fmla="*/ 102 h 202"/>
                  <a:gd name="T30" fmla="*/ 65 w 128"/>
                  <a:gd name="T31" fmla="*/ 19 h 202"/>
                  <a:gd name="T32" fmla="*/ 23 w 128"/>
                  <a:gd name="T33" fmla="*/ 104 h 202"/>
                  <a:gd name="T34" fmla="*/ 64 w 128"/>
                  <a:gd name="T35" fmla="*/ 183 h 202"/>
                  <a:gd name="T36" fmla="*/ 105 w 128"/>
                  <a:gd name="T37" fmla="*/ 102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2">
                    <a:moveTo>
                      <a:pt x="128" y="100"/>
                    </a:moveTo>
                    <a:cubicBezTo>
                      <a:pt x="128" y="116"/>
                      <a:pt x="126" y="131"/>
                      <a:pt x="123" y="144"/>
                    </a:cubicBezTo>
                    <a:cubicBezTo>
                      <a:pt x="120" y="156"/>
                      <a:pt x="116" y="167"/>
                      <a:pt x="111" y="176"/>
                    </a:cubicBezTo>
                    <a:cubicBezTo>
                      <a:pt x="105" y="184"/>
                      <a:pt x="98" y="191"/>
                      <a:pt x="90" y="196"/>
                    </a:cubicBezTo>
                    <a:cubicBezTo>
                      <a:pt x="82" y="200"/>
                      <a:pt x="73" y="202"/>
                      <a:pt x="62" y="202"/>
                    </a:cubicBezTo>
                    <a:cubicBezTo>
                      <a:pt x="52" y="202"/>
                      <a:pt x="43" y="200"/>
                      <a:pt x="36" y="196"/>
                    </a:cubicBezTo>
                    <a:cubicBezTo>
                      <a:pt x="28" y="192"/>
                      <a:pt x="22" y="185"/>
                      <a:pt x="16" y="177"/>
                    </a:cubicBezTo>
                    <a:cubicBezTo>
                      <a:pt x="11" y="169"/>
                      <a:pt x="7" y="158"/>
                      <a:pt x="4" y="146"/>
                    </a:cubicBezTo>
                    <a:cubicBezTo>
                      <a:pt x="2" y="134"/>
                      <a:pt x="0" y="120"/>
                      <a:pt x="0" y="105"/>
                    </a:cubicBezTo>
                    <a:cubicBezTo>
                      <a:pt x="0" y="88"/>
                      <a:pt x="2" y="73"/>
                      <a:pt x="4" y="59"/>
                    </a:cubicBezTo>
                    <a:cubicBezTo>
                      <a:pt x="7" y="46"/>
                      <a:pt x="12" y="35"/>
                      <a:pt x="17" y="26"/>
                    </a:cubicBezTo>
                    <a:cubicBezTo>
                      <a:pt x="23" y="18"/>
                      <a:pt x="30" y="11"/>
                      <a:pt x="38" y="6"/>
                    </a:cubicBezTo>
                    <a:cubicBezTo>
                      <a:pt x="46" y="2"/>
                      <a:pt x="56" y="0"/>
                      <a:pt x="66" y="0"/>
                    </a:cubicBezTo>
                    <a:cubicBezTo>
                      <a:pt x="107" y="0"/>
                      <a:pt x="128" y="33"/>
                      <a:pt x="128" y="100"/>
                    </a:cubicBezTo>
                    <a:close/>
                    <a:moveTo>
                      <a:pt x="105" y="102"/>
                    </a:moveTo>
                    <a:cubicBezTo>
                      <a:pt x="105" y="46"/>
                      <a:pt x="92" y="19"/>
                      <a:pt x="65" y="19"/>
                    </a:cubicBezTo>
                    <a:cubicBezTo>
                      <a:pt x="37" y="19"/>
                      <a:pt x="23" y="47"/>
                      <a:pt x="23" y="104"/>
                    </a:cubicBezTo>
                    <a:cubicBezTo>
                      <a:pt x="23" y="157"/>
                      <a:pt x="37" y="183"/>
                      <a:pt x="64" y="183"/>
                    </a:cubicBezTo>
                    <a:cubicBezTo>
                      <a:pt x="91" y="183"/>
                      <a:pt x="105" y="156"/>
                      <a:pt x="105"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5" name="Freeform 323"/>
              <p:cNvSpPr>
                <a:spLocks/>
              </p:cNvSpPr>
              <p:nvPr userDrawn="1"/>
            </p:nvSpPr>
            <p:spPr bwMode="auto">
              <a:xfrm>
                <a:off x="5674" y="1468"/>
                <a:ext cx="83" cy="244"/>
              </a:xfrm>
              <a:custGeom>
                <a:avLst/>
                <a:gdLst>
                  <a:gd name="T0" fmla="*/ 68 w 68"/>
                  <a:gd name="T1" fmla="*/ 200 h 200"/>
                  <a:gd name="T2" fmla="*/ 46 w 68"/>
                  <a:gd name="T3" fmla="*/ 200 h 200"/>
                  <a:gd name="T4" fmla="*/ 46 w 68"/>
                  <a:gd name="T5" fmla="*/ 31 h 200"/>
                  <a:gd name="T6" fmla="*/ 38 w 68"/>
                  <a:gd name="T7" fmla="*/ 36 h 200"/>
                  <a:gd name="T8" fmla="*/ 27 w 68"/>
                  <a:gd name="T9" fmla="*/ 43 h 200"/>
                  <a:gd name="T10" fmla="*/ 14 w 68"/>
                  <a:gd name="T11" fmla="*/ 49 h 200"/>
                  <a:gd name="T12" fmla="*/ 0 w 68"/>
                  <a:gd name="T13" fmla="*/ 54 h 200"/>
                  <a:gd name="T14" fmla="*/ 0 w 68"/>
                  <a:gd name="T15" fmla="*/ 31 h 200"/>
                  <a:gd name="T16" fmla="*/ 16 w 68"/>
                  <a:gd name="T17" fmla="*/ 26 h 200"/>
                  <a:gd name="T18" fmla="*/ 32 w 68"/>
                  <a:gd name="T19" fmla="*/ 18 h 200"/>
                  <a:gd name="T20" fmla="*/ 47 w 68"/>
                  <a:gd name="T21" fmla="*/ 9 h 200"/>
                  <a:gd name="T22" fmla="*/ 60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6" y="200"/>
                      <a:pt x="46" y="200"/>
                      <a:pt x="46" y="200"/>
                    </a:cubicBezTo>
                    <a:cubicBezTo>
                      <a:pt x="46" y="31"/>
                      <a:pt x="46" y="31"/>
                      <a:pt x="46" y="31"/>
                    </a:cubicBezTo>
                    <a:cubicBezTo>
                      <a:pt x="44" y="32"/>
                      <a:pt x="41" y="34"/>
                      <a:pt x="38" y="36"/>
                    </a:cubicBezTo>
                    <a:cubicBezTo>
                      <a:pt x="35" y="39"/>
                      <a:pt x="31" y="41"/>
                      <a:pt x="27" y="43"/>
                    </a:cubicBezTo>
                    <a:cubicBezTo>
                      <a:pt x="23" y="45"/>
                      <a:pt x="18" y="47"/>
                      <a:pt x="14" y="49"/>
                    </a:cubicBezTo>
                    <a:cubicBezTo>
                      <a:pt x="9" y="51"/>
                      <a:pt x="5" y="53"/>
                      <a:pt x="0" y="54"/>
                    </a:cubicBezTo>
                    <a:cubicBezTo>
                      <a:pt x="0" y="31"/>
                      <a:pt x="0" y="31"/>
                      <a:pt x="0" y="31"/>
                    </a:cubicBezTo>
                    <a:cubicBezTo>
                      <a:pt x="5" y="30"/>
                      <a:pt x="10" y="28"/>
                      <a:pt x="16" y="26"/>
                    </a:cubicBezTo>
                    <a:cubicBezTo>
                      <a:pt x="21" y="23"/>
                      <a:pt x="27" y="21"/>
                      <a:pt x="32" y="18"/>
                    </a:cubicBezTo>
                    <a:cubicBezTo>
                      <a:pt x="38" y="15"/>
                      <a:pt x="43" y="12"/>
                      <a:pt x="47" y="9"/>
                    </a:cubicBezTo>
                    <a:cubicBezTo>
                      <a:pt x="52" y="6"/>
                      <a:pt x="56" y="3"/>
                      <a:pt x="60"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6" name="Freeform 324"/>
              <p:cNvSpPr>
                <a:spLocks/>
              </p:cNvSpPr>
              <p:nvPr userDrawn="1"/>
            </p:nvSpPr>
            <p:spPr bwMode="auto">
              <a:xfrm>
                <a:off x="5824" y="1468"/>
                <a:ext cx="83" cy="244"/>
              </a:xfrm>
              <a:custGeom>
                <a:avLst/>
                <a:gdLst>
                  <a:gd name="T0" fmla="*/ 68 w 68"/>
                  <a:gd name="T1" fmla="*/ 200 h 200"/>
                  <a:gd name="T2" fmla="*/ 45 w 68"/>
                  <a:gd name="T3" fmla="*/ 200 h 200"/>
                  <a:gd name="T4" fmla="*/ 45 w 68"/>
                  <a:gd name="T5" fmla="*/ 31 h 200"/>
                  <a:gd name="T6" fmla="*/ 38 w 68"/>
                  <a:gd name="T7" fmla="*/ 36 h 200"/>
                  <a:gd name="T8" fmla="*/ 26 w 68"/>
                  <a:gd name="T9" fmla="*/ 43 h 200"/>
                  <a:gd name="T10" fmla="*/ 13 w 68"/>
                  <a:gd name="T11" fmla="*/ 49 h 200"/>
                  <a:gd name="T12" fmla="*/ 0 w 68"/>
                  <a:gd name="T13" fmla="*/ 54 h 200"/>
                  <a:gd name="T14" fmla="*/ 0 w 68"/>
                  <a:gd name="T15" fmla="*/ 31 h 200"/>
                  <a:gd name="T16" fmla="*/ 15 w 68"/>
                  <a:gd name="T17" fmla="*/ 26 h 200"/>
                  <a:gd name="T18" fmla="*/ 32 w 68"/>
                  <a:gd name="T19" fmla="*/ 18 h 200"/>
                  <a:gd name="T20" fmla="*/ 47 w 68"/>
                  <a:gd name="T21" fmla="*/ 9 h 200"/>
                  <a:gd name="T22" fmla="*/ 59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5" y="200"/>
                      <a:pt x="45" y="200"/>
                      <a:pt x="45" y="200"/>
                    </a:cubicBezTo>
                    <a:cubicBezTo>
                      <a:pt x="45" y="31"/>
                      <a:pt x="45" y="31"/>
                      <a:pt x="45" y="31"/>
                    </a:cubicBezTo>
                    <a:cubicBezTo>
                      <a:pt x="43" y="32"/>
                      <a:pt x="41" y="34"/>
                      <a:pt x="38" y="36"/>
                    </a:cubicBezTo>
                    <a:cubicBezTo>
                      <a:pt x="34" y="39"/>
                      <a:pt x="31" y="41"/>
                      <a:pt x="26" y="43"/>
                    </a:cubicBezTo>
                    <a:cubicBezTo>
                      <a:pt x="22" y="45"/>
                      <a:pt x="18" y="47"/>
                      <a:pt x="13" y="49"/>
                    </a:cubicBezTo>
                    <a:cubicBezTo>
                      <a:pt x="9" y="51"/>
                      <a:pt x="4" y="53"/>
                      <a:pt x="0" y="54"/>
                    </a:cubicBezTo>
                    <a:cubicBezTo>
                      <a:pt x="0" y="31"/>
                      <a:pt x="0" y="31"/>
                      <a:pt x="0" y="31"/>
                    </a:cubicBezTo>
                    <a:cubicBezTo>
                      <a:pt x="5" y="30"/>
                      <a:pt x="10" y="28"/>
                      <a:pt x="15" y="26"/>
                    </a:cubicBezTo>
                    <a:cubicBezTo>
                      <a:pt x="21" y="23"/>
                      <a:pt x="26" y="21"/>
                      <a:pt x="32" y="18"/>
                    </a:cubicBezTo>
                    <a:cubicBezTo>
                      <a:pt x="37" y="15"/>
                      <a:pt x="42" y="12"/>
                      <a:pt x="47" y="9"/>
                    </a:cubicBezTo>
                    <a:cubicBezTo>
                      <a:pt x="52" y="6"/>
                      <a:pt x="56" y="3"/>
                      <a:pt x="59"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7" name="Freeform 325"/>
              <p:cNvSpPr>
                <a:spLocks noEditPoints="1"/>
              </p:cNvSpPr>
              <p:nvPr userDrawn="1"/>
            </p:nvSpPr>
            <p:spPr bwMode="auto">
              <a:xfrm>
                <a:off x="5972" y="1469"/>
                <a:ext cx="156" cy="247"/>
              </a:xfrm>
              <a:custGeom>
                <a:avLst/>
                <a:gdLst>
                  <a:gd name="T0" fmla="*/ 128 w 128"/>
                  <a:gd name="T1" fmla="*/ 100 h 202"/>
                  <a:gd name="T2" fmla="*/ 124 w 128"/>
                  <a:gd name="T3" fmla="*/ 144 h 202"/>
                  <a:gd name="T4" fmla="*/ 111 w 128"/>
                  <a:gd name="T5" fmla="*/ 176 h 202"/>
                  <a:gd name="T6" fmla="*/ 90 w 128"/>
                  <a:gd name="T7" fmla="*/ 196 h 202"/>
                  <a:gd name="T8" fmla="*/ 62 w 128"/>
                  <a:gd name="T9" fmla="*/ 202 h 202"/>
                  <a:gd name="T10" fmla="*/ 36 w 128"/>
                  <a:gd name="T11" fmla="*/ 196 h 202"/>
                  <a:gd name="T12" fmla="*/ 17 w 128"/>
                  <a:gd name="T13" fmla="*/ 177 h 202"/>
                  <a:gd name="T14" fmla="*/ 5 w 128"/>
                  <a:gd name="T15" fmla="*/ 146 h 202"/>
                  <a:gd name="T16" fmla="*/ 0 w 128"/>
                  <a:gd name="T17" fmla="*/ 105 h 202"/>
                  <a:gd name="T18" fmla="*/ 5 w 128"/>
                  <a:gd name="T19" fmla="*/ 59 h 202"/>
                  <a:gd name="T20" fmla="*/ 17 w 128"/>
                  <a:gd name="T21" fmla="*/ 26 h 202"/>
                  <a:gd name="T22" fmla="*/ 38 w 128"/>
                  <a:gd name="T23" fmla="*/ 6 h 202"/>
                  <a:gd name="T24" fmla="*/ 66 w 128"/>
                  <a:gd name="T25" fmla="*/ 0 h 202"/>
                  <a:gd name="T26" fmla="*/ 128 w 128"/>
                  <a:gd name="T27" fmla="*/ 100 h 202"/>
                  <a:gd name="T28" fmla="*/ 105 w 128"/>
                  <a:gd name="T29" fmla="*/ 102 h 202"/>
                  <a:gd name="T30" fmla="*/ 65 w 128"/>
                  <a:gd name="T31" fmla="*/ 19 h 202"/>
                  <a:gd name="T32" fmla="*/ 23 w 128"/>
                  <a:gd name="T33" fmla="*/ 104 h 202"/>
                  <a:gd name="T34" fmla="*/ 65 w 128"/>
                  <a:gd name="T35" fmla="*/ 183 h 202"/>
                  <a:gd name="T36" fmla="*/ 105 w 128"/>
                  <a:gd name="T37" fmla="*/ 102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2">
                    <a:moveTo>
                      <a:pt x="128" y="100"/>
                    </a:moveTo>
                    <a:cubicBezTo>
                      <a:pt x="128" y="116"/>
                      <a:pt x="127" y="131"/>
                      <a:pt x="124" y="144"/>
                    </a:cubicBezTo>
                    <a:cubicBezTo>
                      <a:pt x="121" y="156"/>
                      <a:pt x="116" y="167"/>
                      <a:pt x="111" y="176"/>
                    </a:cubicBezTo>
                    <a:cubicBezTo>
                      <a:pt x="105" y="184"/>
                      <a:pt x="98" y="191"/>
                      <a:pt x="90" y="196"/>
                    </a:cubicBezTo>
                    <a:cubicBezTo>
                      <a:pt x="82" y="200"/>
                      <a:pt x="73" y="202"/>
                      <a:pt x="62" y="202"/>
                    </a:cubicBezTo>
                    <a:cubicBezTo>
                      <a:pt x="53" y="202"/>
                      <a:pt x="44" y="200"/>
                      <a:pt x="36" y="196"/>
                    </a:cubicBezTo>
                    <a:cubicBezTo>
                      <a:pt x="28" y="192"/>
                      <a:pt x="22" y="185"/>
                      <a:pt x="17" y="177"/>
                    </a:cubicBezTo>
                    <a:cubicBezTo>
                      <a:pt x="11" y="169"/>
                      <a:pt x="7" y="158"/>
                      <a:pt x="5" y="146"/>
                    </a:cubicBezTo>
                    <a:cubicBezTo>
                      <a:pt x="2" y="134"/>
                      <a:pt x="0" y="120"/>
                      <a:pt x="0" y="105"/>
                    </a:cubicBezTo>
                    <a:cubicBezTo>
                      <a:pt x="0" y="88"/>
                      <a:pt x="2" y="73"/>
                      <a:pt x="5" y="59"/>
                    </a:cubicBezTo>
                    <a:cubicBezTo>
                      <a:pt x="8" y="46"/>
                      <a:pt x="12" y="35"/>
                      <a:pt x="17" y="26"/>
                    </a:cubicBezTo>
                    <a:cubicBezTo>
                      <a:pt x="23" y="18"/>
                      <a:pt x="30" y="11"/>
                      <a:pt x="38" y="6"/>
                    </a:cubicBezTo>
                    <a:cubicBezTo>
                      <a:pt x="46" y="2"/>
                      <a:pt x="56" y="0"/>
                      <a:pt x="66" y="0"/>
                    </a:cubicBezTo>
                    <a:cubicBezTo>
                      <a:pt x="108" y="0"/>
                      <a:pt x="128" y="33"/>
                      <a:pt x="128" y="100"/>
                    </a:cubicBezTo>
                    <a:close/>
                    <a:moveTo>
                      <a:pt x="105" y="102"/>
                    </a:moveTo>
                    <a:cubicBezTo>
                      <a:pt x="105" y="46"/>
                      <a:pt x="92" y="19"/>
                      <a:pt x="65" y="19"/>
                    </a:cubicBezTo>
                    <a:cubicBezTo>
                      <a:pt x="37" y="19"/>
                      <a:pt x="23" y="47"/>
                      <a:pt x="23" y="104"/>
                    </a:cubicBezTo>
                    <a:cubicBezTo>
                      <a:pt x="23" y="157"/>
                      <a:pt x="37" y="183"/>
                      <a:pt x="65" y="183"/>
                    </a:cubicBezTo>
                    <a:cubicBezTo>
                      <a:pt x="92" y="183"/>
                      <a:pt x="105" y="156"/>
                      <a:pt x="105"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8" name="Freeform 326"/>
              <p:cNvSpPr>
                <a:spLocks noEditPoints="1"/>
              </p:cNvSpPr>
              <p:nvPr userDrawn="1"/>
            </p:nvSpPr>
            <p:spPr bwMode="auto">
              <a:xfrm>
                <a:off x="6167" y="1469"/>
                <a:ext cx="156" cy="247"/>
              </a:xfrm>
              <a:custGeom>
                <a:avLst/>
                <a:gdLst>
                  <a:gd name="T0" fmla="*/ 128 w 128"/>
                  <a:gd name="T1" fmla="*/ 100 h 202"/>
                  <a:gd name="T2" fmla="*/ 124 w 128"/>
                  <a:gd name="T3" fmla="*/ 144 h 202"/>
                  <a:gd name="T4" fmla="*/ 111 w 128"/>
                  <a:gd name="T5" fmla="*/ 176 h 202"/>
                  <a:gd name="T6" fmla="*/ 90 w 128"/>
                  <a:gd name="T7" fmla="*/ 196 h 202"/>
                  <a:gd name="T8" fmla="*/ 62 w 128"/>
                  <a:gd name="T9" fmla="*/ 202 h 202"/>
                  <a:gd name="T10" fmla="*/ 36 w 128"/>
                  <a:gd name="T11" fmla="*/ 196 h 202"/>
                  <a:gd name="T12" fmla="*/ 17 w 128"/>
                  <a:gd name="T13" fmla="*/ 177 h 202"/>
                  <a:gd name="T14" fmla="*/ 5 w 128"/>
                  <a:gd name="T15" fmla="*/ 146 h 202"/>
                  <a:gd name="T16" fmla="*/ 0 w 128"/>
                  <a:gd name="T17" fmla="*/ 105 h 202"/>
                  <a:gd name="T18" fmla="*/ 5 w 128"/>
                  <a:gd name="T19" fmla="*/ 59 h 202"/>
                  <a:gd name="T20" fmla="*/ 17 w 128"/>
                  <a:gd name="T21" fmla="*/ 26 h 202"/>
                  <a:gd name="T22" fmla="*/ 38 w 128"/>
                  <a:gd name="T23" fmla="*/ 6 h 202"/>
                  <a:gd name="T24" fmla="*/ 66 w 128"/>
                  <a:gd name="T25" fmla="*/ 0 h 202"/>
                  <a:gd name="T26" fmla="*/ 128 w 128"/>
                  <a:gd name="T27" fmla="*/ 100 h 202"/>
                  <a:gd name="T28" fmla="*/ 105 w 128"/>
                  <a:gd name="T29" fmla="*/ 102 h 202"/>
                  <a:gd name="T30" fmla="*/ 65 w 128"/>
                  <a:gd name="T31" fmla="*/ 19 h 202"/>
                  <a:gd name="T32" fmla="*/ 23 w 128"/>
                  <a:gd name="T33" fmla="*/ 104 h 202"/>
                  <a:gd name="T34" fmla="*/ 65 w 128"/>
                  <a:gd name="T35" fmla="*/ 183 h 202"/>
                  <a:gd name="T36" fmla="*/ 105 w 128"/>
                  <a:gd name="T37" fmla="*/ 102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2">
                    <a:moveTo>
                      <a:pt x="128" y="100"/>
                    </a:moveTo>
                    <a:cubicBezTo>
                      <a:pt x="128" y="116"/>
                      <a:pt x="127" y="131"/>
                      <a:pt x="124" y="144"/>
                    </a:cubicBezTo>
                    <a:cubicBezTo>
                      <a:pt x="121" y="156"/>
                      <a:pt x="116" y="167"/>
                      <a:pt x="111" y="176"/>
                    </a:cubicBezTo>
                    <a:cubicBezTo>
                      <a:pt x="105" y="184"/>
                      <a:pt x="98" y="191"/>
                      <a:pt x="90" y="196"/>
                    </a:cubicBezTo>
                    <a:cubicBezTo>
                      <a:pt x="82" y="200"/>
                      <a:pt x="73" y="202"/>
                      <a:pt x="62" y="202"/>
                    </a:cubicBezTo>
                    <a:cubicBezTo>
                      <a:pt x="52" y="202"/>
                      <a:pt x="44" y="200"/>
                      <a:pt x="36" y="196"/>
                    </a:cubicBezTo>
                    <a:cubicBezTo>
                      <a:pt x="28" y="192"/>
                      <a:pt x="22" y="185"/>
                      <a:pt x="17" y="177"/>
                    </a:cubicBezTo>
                    <a:cubicBezTo>
                      <a:pt x="11" y="169"/>
                      <a:pt x="7" y="158"/>
                      <a:pt x="5" y="146"/>
                    </a:cubicBezTo>
                    <a:cubicBezTo>
                      <a:pt x="2" y="134"/>
                      <a:pt x="0" y="120"/>
                      <a:pt x="0" y="105"/>
                    </a:cubicBezTo>
                    <a:cubicBezTo>
                      <a:pt x="0" y="88"/>
                      <a:pt x="2" y="73"/>
                      <a:pt x="5" y="59"/>
                    </a:cubicBezTo>
                    <a:cubicBezTo>
                      <a:pt x="8" y="46"/>
                      <a:pt x="12" y="35"/>
                      <a:pt x="17" y="26"/>
                    </a:cubicBezTo>
                    <a:cubicBezTo>
                      <a:pt x="23" y="18"/>
                      <a:pt x="30" y="11"/>
                      <a:pt x="38" y="6"/>
                    </a:cubicBezTo>
                    <a:cubicBezTo>
                      <a:pt x="46" y="2"/>
                      <a:pt x="56" y="0"/>
                      <a:pt x="66" y="0"/>
                    </a:cubicBezTo>
                    <a:cubicBezTo>
                      <a:pt x="108" y="0"/>
                      <a:pt x="128" y="33"/>
                      <a:pt x="128" y="100"/>
                    </a:cubicBezTo>
                    <a:close/>
                    <a:moveTo>
                      <a:pt x="105" y="102"/>
                    </a:moveTo>
                    <a:cubicBezTo>
                      <a:pt x="105" y="46"/>
                      <a:pt x="92" y="19"/>
                      <a:pt x="65" y="19"/>
                    </a:cubicBezTo>
                    <a:cubicBezTo>
                      <a:pt x="37" y="19"/>
                      <a:pt x="23" y="47"/>
                      <a:pt x="23" y="104"/>
                    </a:cubicBezTo>
                    <a:cubicBezTo>
                      <a:pt x="23" y="157"/>
                      <a:pt x="37" y="183"/>
                      <a:pt x="65" y="183"/>
                    </a:cubicBezTo>
                    <a:cubicBezTo>
                      <a:pt x="92" y="183"/>
                      <a:pt x="105" y="156"/>
                      <a:pt x="105"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9" name="Freeform 327"/>
              <p:cNvSpPr>
                <a:spLocks noEditPoints="1"/>
              </p:cNvSpPr>
              <p:nvPr userDrawn="1"/>
            </p:nvSpPr>
            <p:spPr bwMode="auto">
              <a:xfrm>
                <a:off x="6362" y="1469"/>
                <a:ext cx="156" cy="247"/>
              </a:xfrm>
              <a:custGeom>
                <a:avLst/>
                <a:gdLst>
                  <a:gd name="T0" fmla="*/ 128 w 128"/>
                  <a:gd name="T1" fmla="*/ 100 h 202"/>
                  <a:gd name="T2" fmla="*/ 124 w 128"/>
                  <a:gd name="T3" fmla="*/ 144 h 202"/>
                  <a:gd name="T4" fmla="*/ 111 w 128"/>
                  <a:gd name="T5" fmla="*/ 176 h 202"/>
                  <a:gd name="T6" fmla="*/ 90 w 128"/>
                  <a:gd name="T7" fmla="*/ 196 h 202"/>
                  <a:gd name="T8" fmla="*/ 62 w 128"/>
                  <a:gd name="T9" fmla="*/ 202 h 202"/>
                  <a:gd name="T10" fmla="*/ 36 w 128"/>
                  <a:gd name="T11" fmla="*/ 196 h 202"/>
                  <a:gd name="T12" fmla="*/ 17 w 128"/>
                  <a:gd name="T13" fmla="*/ 177 h 202"/>
                  <a:gd name="T14" fmla="*/ 4 w 128"/>
                  <a:gd name="T15" fmla="*/ 146 h 202"/>
                  <a:gd name="T16" fmla="*/ 0 w 128"/>
                  <a:gd name="T17" fmla="*/ 105 h 202"/>
                  <a:gd name="T18" fmla="*/ 5 w 128"/>
                  <a:gd name="T19" fmla="*/ 59 h 202"/>
                  <a:gd name="T20" fmla="*/ 17 w 128"/>
                  <a:gd name="T21" fmla="*/ 26 h 202"/>
                  <a:gd name="T22" fmla="*/ 38 w 128"/>
                  <a:gd name="T23" fmla="*/ 6 h 202"/>
                  <a:gd name="T24" fmla="*/ 66 w 128"/>
                  <a:gd name="T25" fmla="*/ 0 h 202"/>
                  <a:gd name="T26" fmla="*/ 128 w 128"/>
                  <a:gd name="T27" fmla="*/ 100 h 202"/>
                  <a:gd name="T28" fmla="*/ 105 w 128"/>
                  <a:gd name="T29" fmla="*/ 102 h 202"/>
                  <a:gd name="T30" fmla="*/ 65 w 128"/>
                  <a:gd name="T31" fmla="*/ 19 h 202"/>
                  <a:gd name="T32" fmla="*/ 23 w 128"/>
                  <a:gd name="T33" fmla="*/ 104 h 202"/>
                  <a:gd name="T34" fmla="*/ 65 w 128"/>
                  <a:gd name="T35" fmla="*/ 183 h 202"/>
                  <a:gd name="T36" fmla="*/ 105 w 128"/>
                  <a:gd name="T37" fmla="*/ 102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2">
                    <a:moveTo>
                      <a:pt x="128" y="100"/>
                    </a:moveTo>
                    <a:cubicBezTo>
                      <a:pt x="128" y="116"/>
                      <a:pt x="127" y="131"/>
                      <a:pt x="124" y="144"/>
                    </a:cubicBezTo>
                    <a:cubicBezTo>
                      <a:pt x="121" y="156"/>
                      <a:pt x="116" y="167"/>
                      <a:pt x="111" y="176"/>
                    </a:cubicBezTo>
                    <a:cubicBezTo>
                      <a:pt x="105" y="184"/>
                      <a:pt x="98" y="191"/>
                      <a:pt x="90" y="196"/>
                    </a:cubicBezTo>
                    <a:cubicBezTo>
                      <a:pt x="82" y="200"/>
                      <a:pt x="73" y="202"/>
                      <a:pt x="62" y="202"/>
                    </a:cubicBezTo>
                    <a:cubicBezTo>
                      <a:pt x="52" y="202"/>
                      <a:pt x="44" y="200"/>
                      <a:pt x="36" y="196"/>
                    </a:cubicBezTo>
                    <a:cubicBezTo>
                      <a:pt x="28" y="192"/>
                      <a:pt x="22" y="185"/>
                      <a:pt x="17" y="177"/>
                    </a:cubicBezTo>
                    <a:cubicBezTo>
                      <a:pt x="11" y="169"/>
                      <a:pt x="7" y="158"/>
                      <a:pt x="4" y="146"/>
                    </a:cubicBezTo>
                    <a:cubicBezTo>
                      <a:pt x="2" y="134"/>
                      <a:pt x="0" y="120"/>
                      <a:pt x="0" y="105"/>
                    </a:cubicBezTo>
                    <a:cubicBezTo>
                      <a:pt x="0" y="88"/>
                      <a:pt x="2" y="73"/>
                      <a:pt x="5" y="59"/>
                    </a:cubicBezTo>
                    <a:cubicBezTo>
                      <a:pt x="8" y="46"/>
                      <a:pt x="12" y="35"/>
                      <a:pt x="17" y="26"/>
                    </a:cubicBezTo>
                    <a:cubicBezTo>
                      <a:pt x="23" y="18"/>
                      <a:pt x="30" y="11"/>
                      <a:pt x="38" y="6"/>
                    </a:cubicBezTo>
                    <a:cubicBezTo>
                      <a:pt x="46" y="2"/>
                      <a:pt x="56" y="0"/>
                      <a:pt x="66" y="0"/>
                    </a:cubicBezTo>
                    <a:cubicBezTo>
                      <a:pt x="108" y="0"/>
                      <a:pt x="128" y="33"/>
                      <a:pt x="128" y="100"/>
                    </a:cubicBezTo>
                    <a:close/>
                    <a:moveTo>
                      <a:pt x="105" y="102"/>
                    </a:moveTo>
                    <a:cubicBezTo>
                      <a:pt x="105" y="46"/>
                      <a:pt x="92" y="19"/>
                      <a:pt x="65" y="19"/>
                    </a:cubicBezTo>
                    <a:cubicBezTo>
                      <a:pt x="37" y="19"/>
                      <a:pt x="23" y="47"/>
                      <a:pt x="23" y="104"/>
                    </a:cubicBezTo>
                    <a:cubicBezTo>
                      <a:pt x="23" y="157"/>
                      <a:pt x="37" y="183"/>
                      <a:pt x="65" y="183"/>
                    </a:cubicBezTo>
                    <a:cubicBezTo>
                      <a:pt x="92" y="183"/>
                      <a:pt x="105" y="156"/>
                      <a:pt x="105"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0" name="Freeform 328"/>
              <p:cNvSpPr>
                <a:spLocks noEditPoints="1"/>
              </p:cNvSpPr>
              <p:nvPr userDrawn="1"/>
            </p:nvSpPr>
            <p:spPr bwMode="auto">
              <a:xfrm>
                <a:off x="6557" y="1469"/>
                <a:ext cx="156" cy="247"/>
              </a:xfrm>
              <a:custGeom>
                <a:avLst/>
                <a:gdLst>
                  <a:gd name="T0" fmla="*/ 128 w 128"/>
                  <a:gd name="T1" fmla="*/ 100 h 202"/>
                  <a:gd name="T2" fmla="*/ 124 w 128"/>
                  <a:gd name="T3" fmla="*/ 144 h 202"/>
                  <a:gd name="T4" fmla="*/ 111 w 128"/>
                  <a:gd name="T5" fmla="*/ 176 h 202"/>
                  <a:gd name="T6" fmla="*/ 90 w 128"/>
                  <a:gd name="T7" fmla="*/ 196 h 202"/>
                  <a:gd name="T8" fmla="*/ 62 w 128"/>
                  <a:gd name="T9" fmla="*/ 202 h 202"/>
                  <a:gd name="T10" fmla="*/ 36 w 128"/>
                  <a:gd name="T11" fmla="*/ 196 h 202"/>
                  <a:gd name="T12" fmla="*/ 17 w 128"/>
                  <a:gd name="T13" fmla="*/ 177 h 202"/>
                  <a:gd name="T14" fmla="*/ 4 w 128"/>
                  <a:gd name="T15" fmla="*/ 146 h 202"/>
                  <a:gd name="T16" fmla="*/ 0 w 128"/>
                  <a:gd name="T17" fmla="*/ 105 h 202"/>
                  <a:gd name="T18" fmla="*/ 5 w 128"/>
                  <a:gd name="T19" fmla="*/ 59 h 202"/>
                  <a:gd name="T20" fmla="*/ 17 w 128"/>
                  <a:gd name="T21" fmla="*/ 26 h 202"/>
                  <a:gd name="T22" fmla="*/ 38 w 128"/>
                  <a:gd name="T23" fmla="*/ 6 h 202"/>
                  <a:gd name="T24" fmla="*/ 66 w 128"/>
                  <a:gd name="T25" fmla="*/ 0 h 202"/>
                  <a:gd name="T26" fmla="*/ 128 w 128"/>
                  <a:gd name="T27" fmla="*/ 100 h 202"/>
                  <a:gd name="T28" fmla="*/ 105 w 128"/>
                  <a:gd name="T29" fmla="*/ 102 h 202"/>
                  <a:gd name="T30" fmla="*/ 65 w 128"/>
                  <a:gd name="T31" fmla="*/ 19 h 202"/>
                  <a:gd name="T32" fmla="*/ 23 w 128"/>
                  <a:gd name="T33" fmla="*/ 104 h 202"/>
                  <a:gd name="T34" fmla="*/ 64 w 128"/>
                  <a:gd name="T35" fmla="*/ 183 h 202"/>
                  <a:gd name="T36" fmla="*/ 105 w 128"/>
                  <a:gd name="T37" fmla="*/ 102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2">
                    <a:moveTo>
                      <a:pt x="128" y="100"/>
                    </a:moveTo>
                    <a:cubicBezTo>
                      <a:pt x="128" y="116"/>
                      <a:pt x="127" y="131"/>
                      <a:pt x="124" y="144"/>
                    </a:cubicBezTo>
                    <a:cubicBezTo>
                      <a:pt x="121" y="156"/>
                      <a:pt x="116" y="167"/>
                      <a:pt x="111" y="176"/>
                    </a:cubicBezTo>
                    <a:cubicBezTo>
                      <a:pt x="105" y="184"/>
                      <a:pt x="98" y="191"/>
                      <a:pt x="90" y="196"/>
                    </a:cubicBezTo>
                    <a:cubicBezTo>
                      <a:pt x="82" y="200"/>
                      <a:pt x="73" y="202"/>
                      <a:pt x="62" y="202"/>
                    </a:cubicBezTo>
                    <a:cubicBezTo>
                      <a:pt x="52" y="202"/>
                      <a:pt x="44" y="200"/>
                      <a:pt x="36" y="196"/>
                    </a:cubicBezTo>
                    <a:cubicBezTo>
                      <a:pt x="28" y="192"/>
                      <a:pt x="22" y="185"/>
                      <a:pt x="17" y="177"/>
                    </a:cubicBezTo>
                    <a:cubicBezTo>
                      <a:pt x="11" y="169"/>
                      <a:pt x="7" y="158"/>
                      <a:pt x="4" y="146"/>
                    </a:cubicBezTo>
                    <a:cubicBezTo>
                      <a:pt x="2" y="134"/>
                      <a:pt x="0" y="120"/>
                      <a:pt x="0" y="105"/>
                    </a:cubicBezTo>
                    <a:cubicBezTo>
                      <a:pt x="0" y="88"/>
                      <a:pt x="2" y="73"/>
                      <a:pt x="5" y="59"/>
                    </a:cubicBezTo>
                    <a:cubicBezTo>
                      <a:pt x="8" y="46"/>
                      <a:pt x="12" y="35"/>
                      <a:pt x="17" y="26"/>
                    </a:cubicBezTo>
                    <a:cubicBezTo>
                      <a:pt x="23" y="18"/>
                      <a:pt x="30" y="11"/>
                      <a:pt x="38" y="6"/>
                    </a:cubicBezTo>
                    <a:cubicBezTo>
                      <a:pt x="46" y="2"/>
                      <a:pt x="56" y="0"/>
                      <a:pt x="66" y="0"/>
                    </a:cubicBezTo>
                    <a:cubicBezTo>
                      <a:pt x="108" y="0"/>
                      <a:pt x="128" y="33"/>
                      <a:pt x="128" y="100"/>
                    </a:cubicBezTo>
                    <a:close/>
                    <a:moveTo>
                      <a:pt x="105" y="102"/>
                    </a:moveTo>
                    <a:cubicBezTo>
                      <a:pt x="105" y="46"/>
                      <a:pt x="92" y="19"/>
                      <a:pt x="65" y="19"/>
                    </a:cubicBezTo>
                    <a:cubicBezTo>
                      <a:pt x="37" y="19"/>
                      <a:pt x="23" y="47"/>
                      <a:pt x="23" y="104"/>
                    </a:cubicBezTo>
                    <a:cubicBezTo>
                      <a:pt x="23" y="157"/>
                      <a:pt x="37" y="183"/>
                      <a:pt x="64" y="183"/>
                    </a:cubicBezTo>
                    <a:cubicBezTo>
                      <a:pt x="92" y="183"/>
                      <a:pt x="105" y="156"/>
                      <a:pt x="105"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1" name="Freeform 329"/>
              <p:cNvSpPr>
                <a:spLocks/>
              </p:cNvSpPr>
              <p:nvPr userDrawn="1"/>
            </p:nvSpPr>
            <p:spPr bwMode="auto">
              <a:xfrm>
                <a:off x="6754" y="1468"/>
                <a:ext cx="83" cy="244"/>
              </a:xfrm>
              <a:custGeom>
                <a:avLst/>
                <a:gdLst>
                  <a:gd name="T0" fmla="*/ 68 w 68"/>
                  <a:gd name="T1" fmla="*/ 200 h 200"/>
                  <a:gd name="T2" fmla="*/ 46 w 68"/>
                  <a:gd name="T3" fmla="*/ 200 h 200"/>
                  <a:gd name="T4" fmla="*/ 46 w 68"/>
                  <a:gd name="T5" fmla="*/ 31 h 200"/>
                  <a:gd name="T6" fmla="*/ 38 w 68"/>
                  <a:gd name="T7" fmla="*/ 36 h 200"/>
                  <a:gd name="T8" fmla="*/ 27 w 68"/>
                  <a:gd name="T9" fmla="*/ 43 h 200"/>
                  <a:gd name="T10" fmla="*/ 14 w 68"/>
                  <a:gd name="T11" fmla="*/ 49 h 200"/>
                  <a:gd name="T12" fmla="*/ 0 w 68"/>
                  <a:gd name="T13" fmla="*/ 54 h 200"/>
                  <a:gd name="T14" fmla="*/ 0 w 68"/>
                  <a:gd name="T15" fmla="*/ 31 h 200"/>
                  <a:gd name="T16" fmla="*/ 16 w 68"/>
                  <a:gd name="T17" fmla="*/ 26 h 200"/>
                  <a:gd name="T18" fmla="*/ 32 w 68"/>
                  <a:gd name="T19" fmla="*/ 18 h 200"/>
                  <a:gd name="T20" fmla="*/ 47 w 68"/>
                  <a:gd name="T21" fmla="*/ 9 h 200"/>
                  <a:gd name="T22" fmla="*/ 60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6" y="200"/>
                      <a:pt x="46" y="200"/>
                      <a:pt x="46" y="200"/>
                    </a:cubicBezTo>
                    <a:cubicBezTo>
                      <a:pt x="46" y="31"/>
                      <a:pt x="46" y="31"/>
                      <a:pt x="46" y="31"/>
                    </a:cubicBezTo>
                    <a:cubicBezTo>
                      <a:pt x="44" y="32"/>
                      <a:pt x="42" y="34"/>
                      <a:pt x="38" y="36"/>
                    </a:cubicBezTo>
                    <a:cubicBezTo>
                      <a:pt x="35" y="39"/>
                      <a:pt x="31" y="41"/>
                      <a:pt x="27" y="43"/>
                    </a:cubicBezTo>
                    <a:cubicBezTo>
                      <a:pt x="23" y="45"/>
                      <a:pt x="19" y="47"/>
                      <a:pt x="14" y="49"/>
                    </a:cubicBezTo>
                    <a:cubicBezTo>
                      <a:pt x="9" y="51"/>
                      <a:pt x="5" y="53"/>
                      <a:pt x="0" y="54"/>
                    </a:cubicBezTo>
                    <a:cubicBezTo>
                      <a:pt x="0" y="31"/>
                      <a:pt x="0" y="31"/>
                      <a:pt x="0" y="31"/>
                    </a:cubicBezTo>
                    <a:cubicBezTo>
                      <a:pt x="5" y="30"/>
                      <a:pt x="11" y="28"/>
                      <a:pt x="16" y="26"/>
                    </a:cubicBezTo>
                    <a:cubicBezTo>
                      <a:pt x="22" y="23"/>
                      <a:pt x="27" y="21"/>
                      <a:pt x="32" y="18"/>
                    </a:cubicBezTo>
                    <a:cubicBezTo>
                      <a:pt x="38" y="15"/>
                      <a:pt x="43" y="12"/>
                      <a:pt x="47" y="9"/>
                    </a:cubicBezTo>
                    <a:cubicBezTo>
                      <a:pt x="52" y="6"/>
                      <a:pt x="56" y="3"/>
                      <a:pt x="60"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2" name="Freeform 330"/>
              <p:cNvSpPr>
                <a:spLocks/>
              </p:cNvSpPr>
              <p:nvPr userDrawn="1"/>
            </p:nvSpPr>
            <p:spPr bwMode="auto">
              <a:xfrm>
                <a:off x="6897" y="1473"/>
                <a:ext cx="77" cy="294"/>
              </a:xfrm>
              <a:custGeom>
                <a:avLst/>
                <a:gdLst>
                  <a:gd name="T0" fmla="*/ 63 w 63"/>
                  <a:gd name="T1" fmla="*/ 241 h 241"/>
                  <a:gd name="T2" fmla="*/ 21 w 63"/>
                  <a:gd name="T3" fmla="*/ 198 h 241"/>
                  <a:gd name="T4" fmla="*/ 21 w 63"/>
                  <a:gd name="T5" fmla="*/ 157 h 241"/>
                  <a:gd name="T6" fmla="*/ 0 w 63"/>
                  <a:gd name="T7" fmla="*/ 128 h 241"/>
                  <a:gd name="T8" fmla="*/ 0 w 63"/>
                  <a:gd name="T9" fmla="*/ 112 h 241"/>
                  <a:gd name="T10" fmla="*/ 21 w 63"/>
                  <a:gd name="T11" fmla="*/ 83 h 241"/>
                  <a:gd name="T12" fmla="*/ 21 w 63"/>
                  <a:gd name="T13" fmla="*/ 43 h 241"/>
                  <a:gd name="T14" fmla="*/ 63 w 63"/>
                  <a:gd name="T15" fmla="*/ 0 h 241"/>
                  <a:gd name="T16" fmla="*/ 63 w 63"/>
                  <a:gd name="T17" fmla="*/ 17 h 241"/>
                  <a:gd name="T18" fmla="*/ 42 w 63"/>
                  <a:gd name="T19" fmla="*/ 44 h 241"/>
                  <a:gd name="T20" fmla="*/ 42 w 63"/>
                  <a:gd name="T21" fmla="*/ 85 h 241"/>
                  <a:gd name="T22" fmla="*/ 21 w 63"/>
                  <a:gd name="T23" fmla="*/ 120 h 241"/>
                  <a:gd name="T24" fmla="*/ 21 w 63"/>
                  <a:gd name="T25" fmla="*/ 120 h 241"/>
                  <a:gd name="T26" fmla="*/ 42 w 63"/>
                  <a:gd name="T27" fmla="*/ 155 h 241"/>
                  <a:gd name="T28" fmla="*/ 42 w 63"/>
                  <a:gd name="T29" fmla="*/ 195 h 241"/>
                  <a:gd name="T30" fmla="*/ 46 w 63"/>
                  <a:gd name="T31" fmla="*/ 217 h 241"/>
                  <a:gd name="T32" fmla="*/ 63 w 63"/>
                  <a:gd name="T33" fmla="*/ 223 h 241"/>
                  <a:gd name="T34" fmla="*/ 63 w 63"/>
                  <a:gd name="T35" fmla="*/ 24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3" h="241">
                    <a:moveTo>
                      <a:pt x="63" y="241"/>
                    </a:moveTo>
                    <a:cubicBezTo>
                      <a:pt x="35" y="240"/>
                      <a:pt x="21" y="226"/>
                      <a:pt x="21" y="198"/>
                    </a:cubicBezTo>
                    <a:cubicBezTo>
                      <a:pt x="21" y="157"/>
                      <a:pt x="21" y="157"/>
                      <a:pt x="21" y="157"/>
                    </a:cubicBezTo>
                    <a:cubicBezTo>
                      <a:pt x="21" y="139"/>
                      <a:pt x="14" y="129"/>
                      <a:pt x="0" y="128"/>
                    </a:cubicBezTo>
                    <a:cubicBezTo>
                      <a:pt x="0" y="112"/>
                      <a:pt x="0" y="112"/>
                      <a:pt x="0" y="112"/>
                    </a:cubicBezTo>
                    <a:cubicBezTo>
                      <a:pt x="14" y="111"/>
                      <a:pt x="21" y="102"/>
                      <a:pt x="21" y="83"/>
                    </a:cubicBezTo>
                    <a:cubicBezTo>
                      <a:pt x="21" y="43"/>
                      <a:pt x="21" y="43"/>
                      <a:pt x="21" y="43"/>
                    </a:cubicBezTo>
                    <a:cubicBezTo>
                      <a:pt x="21" y="15"/>
                      <a:pt x="35" y="0"/>
                      <a:pt x="63" y="0"/>
                    </a:cubicBezTo>
                    <a:cubicBezTo>
                      <a:pt x="63" y="17"/>
                      <a:pt x="63" y="17"/>
                      <a:pt x="63" y="17"/>
                    </a:cubicBezTo>
                    <a:cubicBezTo>
                      <a:pt x="49" y="18"/>
                      <a:pt x="42" y="27"/>
                      <a:pt x="42" y="44"/>
                    </a:cubicBezTo>
                    <a:cubicBezTo>
                      <a:pt x="42" y="85"/>
                      <a:pt x="42" y="85"/>
                      <a:pt x="42" y="85"/>
                    </a:cubicBezTo>
                    <a:cubicBezTo>
                      <a:pt x="42" y="104"/>
                      <a:pt x="35" y="115"/>
                      <a:pt x="21" y="120"/>
                    </a:cubicBezTo>
                    <a:cubicBezTo>
                      <a:pt x="21" y="120"/>
                      <a:pt x="21" y="120"/>
                      <a:pt x="21" y="120"/>
                    </a:cubicBezTo>
                    <a:cubicBezTo>
                      <a:pt x="35" y="124"/>
                      <a:pt x="42" y="136"/>
                      <a:pt x="42" y="155"/>
                    </a:cubicBezTo>
                    <a:cubicBezTo>
                      <a:pt x="42" y="195"/>
                      <a:pt x="42" y="195"/>
                      <a:pt x="42" y="195"/>
                    </a:cubicBezTo>
                    <a:cubicBezTo>
                      <a:pt x="42" y="205"/>
                      <a:pt x="43" y="212"/>
                      <a:pt x="46" y="217"/>
                    </a:cubicBezTo>
                    <a:cubicBezTo>
                      <a:pt x="50" y="221"/>
                      <a:pt x="55" y="223"/>
                      <a:pt x="63" y="223"/>
                    </a:cubicBezTo>
                    <a:lnTo>
                      <a:pt x="63" y="2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3" name="Freeform 331"/>
              <p:cNvSpPr>
                <a:spLocks/>
              </p:cNvSpPr>
              <p:nvPr userDrawn="1"/>
            </p:nvSpPr>
            <p:spPr bwMode="auto">
              <a:xfrm>
                <a:off x="7004" y="1473"/>
                <a:ext cx="78" cy="294"/>
              </a:xfrm>
              <a:custGeom>
                <a:avLst/>
                <a:gdLst>
                  <a:gd name="T0" fmla="*/ 64 w 64"/>
                  <a:gd name="T1" fmla="*/ 128 h 241"/>
                  <a:gd name="T2" fmla="*/ 42 w 64"/>
                  <a:gd name="T3" fmla="*/ 157 h 241"/>
                  <a:gd name="T4" fmla="*/ 42 w 64"/>
                  <a:gd name="T5" fmla="*/ 198 h 241"/>
                  <a:gd name="T6" fmla="*/ 0 w 64"/>
                  <a:gd name="T7" fmla="*/ 241 h 241"/>
                  <a:gd name="T8" fmla="*/ 0 w 64"/>
                  <a:gd name="T9" fmla="*/ 223 h 241"/>
                  <a:gd name="T10" fmla="*/ 17 w 64"/>
                  <a:gd name="T11" fmla="*/ 216 h 241"/>
                  <a:gd name="T12" fmla="*/ 22 w 64"/>
                  <a:gd name="T13" fmla="*/ 195 h 241"/>
                  <a:gd name="T14" fmla="*/ 22 w 64"/>
                  <a:gd name="T15" fmla="*/ 155 h 241"/>
                  <a:gd name="T16" fmla="*/ 43 w 64"/>
                  <a:gd name="T17" fmla="*/ 120 h 241"/>
                  <a:gd name="T18" fmla="*/ 43 w 64"/>
                  <a:gd name="T19" fmla="*/ 120 h 241"/>
                  <a:gd name="T20" fmla="*/ 22 w 64"/>
                  <a:gd name="T21" fmla="*/ 85 h 241"/>
                  <a:gd name="T22" fmla="*/ 22 w 64"/>
                  <a:gd name="T23" fmla="*/ 44 h 241"/>
                  <a:gd name="T24" fmla="*/ 0 w 64"/>
                  <a:gd name="T25" fmla="*/ 17 h 241"/>
                  <a:gd name="T26" fmla="*/ 0 w 64"/>
                  <a:gd name="T27" fmla="*/ 0 h 241"/>
                  <a:gd name="T28" fmla="*/ 42 w 64"/>
                  <a:gd name="T29" fmla="*/ 43 h 241"/>
                  <a:gd name="T30" fmla="*/ 42 w 64"/>
                  <a:gd name="T31" fmla="*/ 83 h 241"/>
                  <a:gd name="T32" fmla="*/ 64 w 64"/>
                  <a:gd name="T33" fmla="*/ 112 h 241"/>
                  <a:gd name="T34" fmla="*/ 64 w 64"/>
                  <a:gd name="T35" fmla="*/ 128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4" h="241">
                    <a:moveTo>
                      <a:pt x="64" y="128"/>
                    </a:moveTo>
                    <a:cubicBezTo>
                      <a:pt x="49" y="129"/>
                      <a:pt x="42" y="139"/>
                      <a:pt x="42" y="157"/>
                    </a:cubicBezTo>
                    <a:cubicBezTo>
                      <a:pt x="42" y="198"/>
                      <a:pt x="42" y="198"/>
                      <a:pt x="42" y="198"/>
                    </a:cubicBezTo>
                    <a:cubicBezTo>
                      <a:pt x="42" y="226"/>
                      <a:pt x="28" y="240"/>
                      <a:pt x="0" y="241"/>
                    </a:cubicBezTo>
                    <a:cubicBezTo>
                      <a:pt x="0" y="223"/>
                      <a:pt x="0" y="223"/>
                      <a:pt x="0" y="223"/>
                    </a:cubicBezTo>
                    <a:cubicBezTo>
                      <a:pt x="8" y="223"/>
                      <a:pt x="14" y="221"/>
                      <a:pt x="17" y="216"/>
                    </a:cubicBezTo>
                    <a:cubicBezTo>
                      <a:pt x="21" y="212"/>
                      <a:pt x="22" y="205"/>
                      <a:pt x="22" y="195"/>
                    </a:cubicBezTo>
                    <a:cubicBezTo>
                      <a:pt x="22" y="155"/>
                      <a:pt x="22" y="155"/>
                      <a:pt x="22" y="155"/>
                    </a:cubicBezTo>
                    <a:cubicBezTo>
                      <a:pt x="22" y="136"/>
                      <a:pt x="29" y="124"/>
                      <a:pt x="43" y="120"/>
                    </a:cubicBezTo>
                    <a:cubicBezTo>
                      <a:pt x="43" y="120"/>
                      <a:pt x="43" y="120"/>
                      <a:pt x="43" y="120"/>
                    </a:cubicBezTo>
                    <a:cubicBezTo>
                      <a:pt x="29" y="115"/>
                      <a:pt x="22" y="104"/>
                      <a:pt x="22" y="85"/>
                    </a:cubicBezTo>
                    <a:cubicBezTo>
                      <a:pt x="22" y="44"/>
                      <a:pt x="22" y="44"/>
                      <a:pt x="22" y="44"/>
                    </a:cubicBezTo>
                    <a:cubicBezTo>
                      <a:pt x="22" y="27"/>
                      <a:pt x="15" y="18"/>
                      <a:pt x="0" y="17"/>
                    </a:cubicBezTo>
                    <a:cubicBezTo>
                      <a:pt x="0" y="0"/>
                      <a:pt x="0" y="0"/>
                      <a:pt x="0" y="0"/>
                    </a:cubicBezTo>
                    <a:cubicBezTo>
                      <a:pt x="28" y="0"/>
                      <a:pt x="42" y="15"/>
                      <a:pt x="42" y="43"/>
                    </a:cubicBezTo>
                    <a:cubicBezTo>
                      <a:pt x="42" y="83"/>
                      <a:pt x="42" y="83"/>
                      <a:pt x="42" y="83"/>
                    </a:cubicBezTo>
                    <a:cubicBezTo>
                      <a:pt x="42" y="102"/>
                      <a:pt x="49" y="111"/>
                      <a:pt x="64" y="112"/>
                    </a:cubicBezTo>
                    <a:lnTo>
                      <a:pt x="64" y="1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4" name="Freeform 332"/>
              <p:cNvSpPr>
                <a:spLocks noEditPoints="1"/>
              </p:cNvSpPr>
              <p:nvPr userDrawn="1"/>
            </p:nvSpPr>
            <p:spPr bwMode="auto">
              <a:xfrm>
                <a:off x="7116" y="1469"/>
                <a:ext cx="155" cy="247"/>
              </a:xfrm>
              <a:custGeom>
                <a:avLst/>
                <a:gdLst>
                  <a:gd name="T0" fmla="*/ 127 w 127"/>
                  <a:gd name="T1" fmla="*/ 100 h 202"/>
                  <a:gd name="T2" fmla="*/ 123 w 127"/>
                  <a:gd name="T3" fmla="*/ 144 h 202"/>
                  <a:gd name="T4" fmla="*/ 110 w 127"/>
                  <a:gd name="T5" fmla="*/ 176 h 202"/>
                  <a:gd name="T6" fmla="*/ 89 w 127"/>
                  <a:gd name="T7" fmla="*/ 196 h 202"/>
                  <a:gd name="T8" fmla="*/ 62 w 127"/>
                  <a:gd name="T9" fmla="*/ 202 h 202"/>
                  <a:gd name="T10" fmla="*/ 35 w 127"/>
                  <a:gd name="T11" fmla="*/ 196 h 202"/>
                  <a:gd name="T12" fmla="*/ 16 w 127"/>
                  <a:gd name="T13" fmla="*/ 177 h 202"/>
                  <a:gd name="T14" fmla="*/ 4 w 127"/>
                  <a:gd name="T15" fmla="*/ 146 h 202"/>
                  <a:gd name="T16" fmla="*/ 0 w 127"/>
                  <a:gd name="T17" fmla="*/ 105 h 202"/>
                  <a:gd name="T18" fmla="*/ 4 w 127"/>
                  <a:gd name="T19" fmla="*/ 59 h 202"/>
                  <a:gd name="T20" fmla="*/ 17 w 127"/>
                  <a:gd name="T21" fmla="*/ 26 h 202"/>
                  <a:gd name="T22" fmla="*/ 37 w 127"/>
                  <a:gd name="T23" fmla="*/ 6 h 202"/>
                  <a:gd name="T24" fmla="*/ 66 w 127"/>
                  <a:gd name="T25" fmla="*/ 0 h 202"/>
                  <a:gd name="T26" fmla="*/ 127 w 127"/>
                  <a:gd name="T27" fmla="*/ 100 h 202"/>
                  <a:gd name="T28" fmla="*/ 104 w 127"/>
                  <a:gd name="T29" fmla="*/ 102 h 202"/>
                  <a:gd name="T30" fmla="*/ 65 w 127"/>
                  <a:gd name="T31" fmla="*/ 19 h 202"/>
                  <a:gd name="T32" fmla="*/ 23 w 127"/>
                  <a:gd name="T33" fmla="*/ 104 h 202"/>
                  <a:gd name="T34" fmla="*/ 64 w 127"/>
                  <a:gd name="T35" fmla="*/ 183 h 202"/>
                  <a:gd name="T36" fmla="*/ 104 w 127"/>
                  <a:gd name="T37" fmla="*/ 102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7" h="202">
                    <a:moveTo>
                      <a:pt x="127" y="100"/>
                    </a:moveTo>
                    <a:cubicBezTo>
                      <a:pt x="127" y="116"/>
                      <a:pt x="126" y="131"/>
                      <a:pt x="123" y="144"/>
                    </a:cubicBezTo>
                    <a:cubicBezTo>
                      <a:pt x="120" y="156"/>
                      <a:pt x="116" y="167"/>
                      <a:pt x="110" y="176"/>
                    </a:cubicBezTo>
                    <a:cubicBezTo>
                      <a:pt x="104" y="184"/>
                      <a:pt x="98" y="191"/>
                      <a:pt x="89" y="196"/>
                    </a:cubicBezTo>
                    <a:cubicBezTo>
                      <a:pt x="81" y="200"/>
                      <a:pt x="72" y="202"/>
                      <a:pt x="62" y="202"/>
                    </a:cubicBezTo>
                    <a:cubicBezTo>
                      <a:pt x="52" y="202"/>
                      <a:pt x="43" y="200"/>
                      <a:pt x="35" y="196"/>
                    </a:cubicBezTo>
                    <a:cubicBezTo>
                      <a:pt x="28" y="192"/>
                      <a:pt x="21" y="185"/>
                      <a:pt x="16" y="177"/>
                    </a:cubicBezTo>
                    <a:cubicBezTo>
                      <a:pt x="10" y="169"/>
                      <a:pt x="6" y="158"/>
                      <a:pt x="4" y="146"/>
                    </a:cubicBezTo>
                    <a:cubicBezTo>
                      <a:pt x="1" y="134"/>
                      <a:pt x="0" y="120"/>
                      <a:pt x="0" y="105"/>
                    </a:cubicBezTo>
                    <a:cubicBezTo>
                      <a:pt x="0" y="88"/>
                      <a:pt x="1" y="73"/>
                      <a:pt x="4" y="59"/>
                    </a:cubicBezTo>
                    <a:cubicBezTo>
                      <a:pt x="7" y="46"/>
                      <a:pt x="11" y="35"/>
                      <a:pt x="17" y="26"/>
                    </a:cubicBezTo>
                    <a:cubicBezTo>
                      <a:pt x="22" y="18"/>
                      <a:pt x="29" y="11"/>
                      <a:pt x="37" y="6"/>
                    </a:cubicBezTo>
                    <a:cubicBezTo>
                      <a:pt x="46" y="2"/>
                      <a:pt x="55" y="0"/>
                      <a:pt x="66" y="0"/>
                    </a:cubicBezTo>
                    <a:cubicBezTo>
                      <a:pt x="107" y="0"/>
                      <a:pt x="127" y="33"/>
                      <a:pt x="127" y="100"/>
                    </a:cubicBezTo>
                    <a:close/>
                    <a:moveTo>
                      <a:pt x="104" y="102"/>
                    </a:moveTo>
                    <a:cubicBezTo>
                      <a:pt x="104" y="46"/>
                      <a:pt x="91" y="19"/>
                      <a:pt x="65" y="19"/>
                    </a:cubicBezTo>
                    <a:cubicBezTo>
                      <a:pt x="37" y="19"/>
                      <a:pt x="23" y="47"/>
                      <a:pt x="23" y="104"/>
                    </a:cubicBezTo>
                    <a:cubicBezTo>
                      <a:pt x="23" y="157"/>
                      <a:pt x="36" y="183"/>
                      <a:pt x="64" y="183"/>
                    </a:cubicBezTo>
                    <a:cubicBezTo>
                      <a:pt x="91" y="183"/>
                      <a:pt x="104" y="156"/>
                      <a:pt x="104"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5" name="Freeform 333"/>
              <p:cNvSpPr>
                <a:spLocks noEditPoints="1"/>
              </p:cNvSpPr>
              <p:nvPr userDrawn="1"/>
            </p:nvSpPr>
            <p:spPr bwMode="auto">
              <a:xfrm>
                <a:off x="7311" y="1469"/>
                <a:ext cx="155" cy="247"/>
              </a:xfrm>
              <a:custGeom>
                <a:avLst/>
                <a:gdLst>
                  <a:gd name="T0" fmla="*/ 127 w 127"/>
                  <a:gd name="T1" fmla="*/ 100 h 202"/>
                  <a:gd name="T2" fmla="*/ 123 w 127"/>
                  <a:gd name="T3" fmla="*/ 144 h 202"/>
                  <a:gd name="T4" fmla="*/ 110 w 127"/>
                  <a:gd name="T5" fmla="*/ 176 h 202"/>
                  <a:gd name="T6" fmla="*/ 89 w 127"/>
                  <a:gd name="T7" fmla="*/ 196 h 202"/>
                  <a:gd name="T8" fmla="*/ 62 w 127"/>
                  <a:gd name="T9" fmla="*/ 202 h 202"/>
                  <a:gd name="T10" fmla="*/ 35 w 127"/>
                  <a:gd name="T11" fmla="*/ 196 h 202"/>
                  <a:gd name="T12" fmla="*/ 16 w 127"/>
                  <a:gd name="T13" fmla="*/ 177 h 202"/>
                  <a:gd name="T14" fmla="*/ 4 w 127"/>
                  <a:gd name="T15" fmla="*/ 146 h 202"/>
                  <a:gd name="T16" fmla="*/ 0 w 127"/>
                  <a:gd name="T17" fmla="*/ 105 h 202"/>
                  <a:gd name="T18" fmla="*/ 4 w 127"/>
                  <a:gd name="T19" fmla="*/ 59 h 202"/>
                  <a:gd name="T20" fmla="*/ 17 w 127"/>
                  <a:gd name="T21" fmla="*/ 26 h 202"/>
                  <a:gd name="T22" fmla="*/ 37 w 127"/>
                  <a:gd name="T23" fmla="*/ 6 h 202"/>
                  <a:gd name="T24" fmla="*/ 66 w 127"/>
                  <a:gd name="T25" fmla="*/ 0 h 202"/>
                  <a:gd name="T26" fmla="*/ 127 w 127"/>
                  <a:gd name="T27" fmla="*/ 100 h 202"/>
                  <a:gd name="T28" fmla="*/ 104 w 127"/>
                  <a:gd name="T29" fmla="*/ 102 h 202"/>
                  <a:gd name="T30" fmla="*/ 65 w 127"/>
                  <a:gd name="T31" fmla="*/ 19 h 202"/>
                  <a:gd name="T32" fmla="*/ 23 w 127"/>
                  <a:gd name="T33" fmla="*/ 104 h 202"/>
                  <a:gd name="T34" fmla="*/ 64 w 127"/>
                  <a:gd name="T35" fmla="*/ 183 h 202"/>
                  <a:gd name="T36" fmla="*/ 104 w 127"/>
                  <a:gd name="T37" fmla="*/ 102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7" h="202">
                    <a:moveTo>
                      <a:pt x="127" y="100"/>
                    </a:moveTo>
                    <a:cubicBezTo>
                      <a:pt x="127" y="116"/>
                      <a:pt x="126" y="131"/>
                      <a:pt x="123" y="144"/>
                    </a:cubicBezTo>
                    <a:cubicBezTo>
                      <a:pt x="120" y="156"/>
                      <a:pt x="116" y="167"/>
                      <a:pt x="110" y="176"/>
                    </a:cubicBezTo>
                    <a:cubicBezTo>
                      <a:pt x="104" y="184"/>
                      <a:pt x="97" y="191"/>
                      <a:pt x="89" y="196"/>
                    </a:cubicBezTo>
                    <a:cubicBezTo>
                      <a:pt x="81" y="200"/>
                      <a:pt x="72" y="202"/>
                      <a:pt x="62" y="202"/>
                    </a:cubicBezTo>
                    <a:cubicBezTo>
                      <a:pt x="52" y="202"/>
                      <a:pt x="43" y="200"/>
                      <a:pt x="35" y="196"/>
                    </a:cubicBezTo>
                    <a:cubicBezTo>
                      <a:pt x="27" y="192"/>
                      <a:pt x="21" y="185"/>
                      <a:pt x="16" y="177"/>
                    </a:cubicBezTo>
                    <a:cubicBezTo>
                      <a:pt x="10" y="169"/>
                      <a:pt x="6" y="158"/>
                      <a:pt x="4" y="146"/>
                    </a:cubicBezTo>
                    <a:cubicBezTo>
                      <a:pt x="1" y="134"/>
                      <a:pt x="0" y="120"/>
                      <a:pt x="0" y="105"/>
                    </a:cubicBezTo>
                    <a:cubicBezTo>
                      <a:pt x="0" y="88"/>
                      <a:pt x="1" y="73"/>
                      <a:pt x="4" y="59"/>
                    </a:cubicBezTo>
                    <a:cubicBezTo>
                      <a:pt x="7" y="46"/>
                      <a:pt x="11" y="35"/>
                      <a:pt x="17" y="26"/>
                    </a:cubicBezTo>
                    <a:cubicBezTo>
                      <a:pt x="22" y="18"/>
                      <a:pt x="29" y="11"/>
                      <a:pt x="37" y="6"/>
                    </a:cubicBezTo>
                    <a:cubicBezTo>
                      <a:pt x="45" y="2"/>
                      <a:pt x="55" y="0"/>
                      <a:pt x="66" y="0"/>
                    </a:cubicBezTo>
                    <a:cubicBezTo>
                      <a:pt x="107" y="0"/>
                      <a:pt x="127" y="33"/>
                      <a:pt x="127" y="100"/>
                    </a:cubicBezTo>
                    <a:close/>
                    <a:moveTo>
                      <a:pt x="104" y="102"/>
                    </a:moveTo>
                    <a:cubicBezTo>
                      <a:pt x="104" y="46"/>
                      <a:pt x="91" y="19"/>
                      <a:pt x="65" y="19"/>
                    </a:cubicBezTo>
                    <a:cubicBezTo>
                      <a:pt x="37" y="19"/>
                      <a:pt x="23" y="47"/>
                      <a:pt x="23" y="104"/>
                    </a:cubicBezTo>
                    <a:cubicBezTo>
                      <a:pt x="23" y="157"/>
                      <a:pt x="36" y="183"/>
                      <a:pt x="64" y="183"/>
                    </a:cubicBezTo>
                    <a:cubicBezTo>
                      <a:pt x="91" y="183"/>
                      <a:pt x="104" y="156"/>
                      <a:pt x="104"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6" name="Freeform 334"/>
              <p:cNvSpPr>
                <a:spLocks/>
              </p:cNvSpPr>
              <p:nvPr userDrawn="1"/>
            </p:nvSpPr>
            <p:spPr bwMode="auto">
              <a:xfrm>
                <a:off x="7509" y="1468"/>
                <a:ext cx="81" cy="244"/>
              </a:xfrm>
              <a:custGeom>
                <a:avLst/>
                <a:gdLst>
                  <a:gd name="T0" fmla="*/ 67 w 67"/>
                  <a:gd name="T1" fmla="*/ 200 h 200"/>
                  <a:gd name="T2" fmla="*/ 45 w 67"/>
                  <a:gd name="T3" fmla="*/ 200 h 200"/>
                  <a:gd name="T4" fmla="*/ 45 w 67"/>
                  <a:gd name="T5" fmla="*/ 31 h 200"/>
                  <a:gd name="T6" fmla="*/ 37 w 67"/>
                  <a:gd name="T7" fmla="*/ 36 h 200"/>
                  <a:gd name="T8" fmla="*/ 26 w 67"/>
                  <a:gd name="T9" fmla="*/ 43 h 200"/>
                  <a:gd name="T10" fmla="*/ 13 w 67"/>
                  <a:gd name="T11" fmla="*/ 49 h 200"/>
                  <a:gd name="T12" fmla="*/ 0 w 67"/>
                  <a:gd name="T13" fmla="*/ 54 h 200"/>
                  <a:gd name="T14" fmla="*/ 0 w 67"/>
                  <a:gd name="T15" fmla="*/ 31 h 200"/>
                  <a:gd name="T16" fmla="*/ 15 w 67"/>
                  <a:gd name="T17" fmla="*/ 26 h 200"/>
                  <a:gd name="T18" fmla="*/ 32 w 67"/>
                  <a:gd name="T19" fmla="*/ 18 h 200"/>
                  <a:gd name="T20" fmla="*/ 47 w 67"/>
                  <a:gd name="T21" fmla="*/ 9 h 200"/>
                  <a:gd name="T22" fmla="*/ 59 w 67"/>
                  <a:gd name="T23" fmla="*/ 0 h 200"/>
                  <a:gd name="T24" fmla="*/ 67 w 67"/>
                  <a:gd name="T25" fmla="*/ 0 h 200"/>
                  <a:gd name="T26" fmla="*/ 67 w 67"/>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7" h="200">
                    <a:moveTo>
                      <a:pt x="67" y="200"/>
                    </a:moveTo>
                    <a:cubicBezTo>
                      <a:pt x="45" y="200"/>
                      <a:pt x="45" y="200"/>
                      <a:pt x="45" y="200"/>
                    </a:cubicBezTo>
                    <a:cubicBezTo>
                      <a:pt x="45" y="31"/>
                      <a:pt x="45" y="31"/>
                      <a:pt x="45" y="31"/>
                    </a:cubicBezTo>
                    <a:cubicBezTo>
                      <a:pt x="43" y="32"/>
                      <a:pt x="41" y="34"/>
                      <a:pt x="37" y="36"/>
                    </a:cubicBezTo>
                    <a:cubicBezTo>
                      <a:pt x="34" y="39"/>
                      <a:pt x="30" y="41"/>
                      <a:pt x="26" y="43"/>
                    </a:cubicBezTo>
                    <a:cubicBezTo>
                      <a:pt x="22" y="45"/>
                      <a:pt x="18" y="47"/>
                      <a:pt x="13" y="49"/>
                    </a:cubicBezTo>
                    <a:cubicBezTo>
                      <a:pt x="9" y="51"/>
                      <a:pt x="4" y="53"/>
                      <a:pt x="0" y="54"/>
                    </a:cubicBezTo>
                    <a:cubicBezTo>
                      <a:pt x="0" y="31"/>
                      <a:pt x="0" y="31"/>
                      <a:pt x="0" y="31"/>
                    </a:cubicBezTo>
                    <a:cubicBezTo>
                      <a:pt x="5" y="30"/>
                      <a:pt x="10" y="28"/>
                      <a:pt x="15" y="26"/>
                    </a:cubicBezTo>
                    <a:cubicBezTo>
                      <a:pt x="21" y="23"/>
                      <a:pt x="26" y="21"/>
                      <a:pt x="32" y="18"/>
                    </a:cubicBezTo>
                    <a:cubicBezTo>
                      <a:pt x="37" y="15"/>
                      <a:pt x="42" y="12"/>
                      <a:pt x="47" y="9"/>
                    </a:cubicBezTo>
                    <a:cubicBezTo>
                      <a:pt x="51" y="6"/>
                      <a:pt x="56" y="3"/>
                      <a:pt x="59" y="0"/>
                    </a:cubicBezTo>
                    <a:cubicBezTo>
                      <a:pt x="67" y="0"/>
                      <a:pt x="67" y="0"/>
                      <a:pt x="67" y="0"/>
                    </a:cubicBezTo>
                    <a:lnTo>
                      <a:pt x="67"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7" name="Freeform 335"/>
              <p:cNvSpPr>
                <a:spLocks/>
              </p:cNvSpPr>
              <p:nvPr userDrawn="1"/>
            </p:nvSpPr>
            <p:spPr bwMode="auto">
              <a:xfrm>
                <a:off x="7657" y="1468"/>
                <a:ext cx="83" cy="244"/>
              </a:xfrm>
              <a:custGeom>
                <a:avLst/>
                <a:gdLst>
                  <a:gd name="T0" fmla="*/ 68 w 68"/>
                  <a:gd name="T1" fmla="*/ 200 h 200"/>
                  <a:gd name="T2" fmla="*/ 46 w 68"/>
                  <a:gd name="T3" fmla="*/ 200 h 200"/>
                  <a:gd name="T4" fmla="*/ 46 w 68"/>
                  <a:gd name="T5" fmla="*/ 31 h 200"/>
                  <a:gd name="T6" fmla="*/ 38 w 68"/>
                  <a:gd name="T7" fmla="*/ 36 h 200"/>
                  <a:gd name="T8" fmla="*/ 27 w 68"/>
                  <a:gd name="T9" fmla="*/ 43 h 200"/>
                  <a:gd name="T10" fmla="*/ 14 w 68"/>
                  <a:gd name="T11" fmla="*/ 49 h 200"/>
                  <a:gd name="T12" fmla="*/ 0 w 68"/>
                  <a:gd name="T13" fmla="*/ 54 h 200"/>
                  <a:gd name="T14" fmla="*/ 0 w 68"/>
                  <a:gd name="T15" fmla="*/ 31 h 200"/>
                  <a:gd name="T16" fmla="*/ 16 w 68"/>
                  <a:gd name="T17" fmla="*/ 26 h 200"/>
                  <a:gd name="T18" fmla="*/ 32 w 68"/>
                  <a:gd name="T19" fmla="*/ 18 h 200"/>
                  <a:gd name="T20" fmla="*/ 47 w 68"/>
                  <a:gd name="T21" fmla="*/ 9 h 200"/>
                  <a:gd name="T22" fmla="*/ 60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6" y="200"/>
                      <a:pt x="46" y="200"/>
                      <a:pt x="46" y="200"/>
                    </a:cubicBezTo>
                    <a:cubicBezTo>
                      <a:pt x="46" y="31"/>
                      <a:pt x="46" y="31"/>
                      <a:pt x="46" y="31"/>
                    </a:cubicBezTo>
                    <a:cubicBezTo>
                      <a:pt x="44" y="32"/>
                      <a:pt x="41" y="34"/>
                      <a:pt x="38" y="36"/>
                    </a:cubicBezTo>
                    <a:cubicBezTo>
                      <a:pt x="35" y="39"/>
                      <a:pt x="31" y="41"/>
                      <a:pt x="27" y="43"/>
                    </a:cubicBezTo>
                    <a:cubicBezTo>
                      <a:pt x="23" y="45"/>
                      <a:pt x="18" y="47"/>
                      <a:pt x="14" y="49"/>
                    </a:cubicBezTo>
                    <a:cubicBezTo>
                      <a:pt x="9" y="51"/>
                      <a:pt x="5" y="53"/>
                      <a:pt x="0" y="54"/>
                    </a:cubicBezTo>
                    <a:cubicBezTo>
                      <a:pt x="0" y="31"/>
                      <a:pt x="0" y="31"/>
                      <a:pt x="0" y="31"/>
                    </a:cubicBezTo>
                    <a:cubicBezTo>
                      <a:pt x="5" y="30"/>
                      <a:pt x="10" y="28"/>
                      <a:pt x="16" y="26"/>
                    </a:cubicBezTo>
                    <a:cubicBezTo>
                      <a:pt x="21" y="23"/>
                      <a:pt x="27" y="21"/>
                      <a:pt x="32" y="18"/>
                    </a:cubicBezTo>
                    <a:cubicBezTo>
                      <a:pt x="37" y="15"/>
                      <a:pt x="43" y="12"/>
                      <a:pt x="47" y="9"/>
                    </a:cubicBezTo>
                    <a:cubicBezTo>
                      <a:pt x="52" y="6"/>
                      <a:pt x="56" y="3"/>
                      <a:pt x="60"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8" name="Freeform 336"/>
              <p:cNvSpPr>
                <a:spLocks noEditPoints="1"/>
              </p:cNvSpPr>
              <p:nvPr userDrawn="1"/>
            </p:nvSpPr>
            <p:spPr bwMode="auto">
              <a:xfrm>
                <a:off x="3990" y="1460"/>
                <a:ext cx="218" cy="255"/>
              </a:xfrm>
              <a:custGeom>
                <a:avLst/>
                <a:gdLst>
                  <a:gd name="T0" fmla="*/ 175 w 179"/>
                  <a:gd name="T1" fmla="*/ 174 h 209"/>
                  <a:gd name="T2" fmla="*/ 134 w 179"/>
                  <a:gd name="T3" fmla="*/ 209 h 209"/>
                  <a:gd name="T4" fmla="*/ 80 w 179"/>
                  <a:gd name="T5" fmla="*/ 199 h 209"/>
                  <a:gd name="T6" fmla="*/ 32 w 179"/>
                  <a:gd name="T7" fmla="*/ 202 h 209"/>
                  <a:gd name="T8" fmla="*/ 2 w 179"/>
                  <a:gd name="T9" fmla="*/ 184 h 209"/>
                  <a:gd name="T10" fmla="*/ 14 w 179"/>
                  <a:gd name="T11" fmla="*/ 160 h 209"/>
                  <a:gd name="T12" fmla="*/ 9 w 179"/>
                  <a:gd name="T13" fmla="*/ 163 h 209"/>
                  <a:gd name="T14" fmla="*/ 6 w 179"/>
                  <a:gd name="T15" fmla="*/ 184 h 209"/>
                  <a:gd name="T16" fmla="*/ 45 w 179"/>
                  <a:gd name="T17" fmla="*/ 203 h 209"/>
                  <a:gd name="T18" fmla="*/ 42 w 179"/>
                  <a:gd name="T19" fmla="*/ 153 h 209"/>
                  <a:gd name="T20" fmla="*/ 25 w 179"/>
                  <a:gd name="T21" fmla="*/ 134 h 209"/>
                  <a:gd name="T22" fmla="*/ 51 w 179"/>
                  <a:gd name="T23" fmla="*/ 84 h 209"/>
                  <a:gd name="T24" fmla="*/ 58 w 179"/>
                  <a:gd name="T25" fmla="*/ 28 h 209"/>
                  <a:gd name="T26" fmla="*/ 117 w 179"/>
                  <a:gd name="T27" fmla="*/ 18 h 209"/>
                  <a:gd name="T28" fmla="*/ 159 w 179"/>
                  <a:gd name="T29" fmla="*/ 129 h 209"/>
                  <a:gd name="T30" fmla="*/ 152 w 179"/>
                  <a:gd name="T31" fmla="*/ 152 h 209"/>
                  <a:gd name="T32" fmla="*/ 128 w 179"/>
                  <a:gd name="T33" fmla="*/ 151 h 209"/>
                  <a:gd name="T34" fmla="*/ 122 w 179"/>
                  <a:gd name="T35" fmla="*/ 186 h 209"/>
                  <a:gd name="T36" fmla="*/ 165 w 179"/>
                  <a:gd name="T37" fmla="*/ 187 h 209"/>
                  <a:gd name="T38" fmla="*/ 171 w 179"/>
                  <a:gd name="T39" fmla="*/ 174 h 209"/>
                  <a:gd name="T40" fmla="*/ 160 w 179"/>
                  <a:gd name="T41" fmla="*/ 153 h 209"/>
                  <a:gd name="T42" fmla="*/ 88 w 179"/>
                  <a:gd name="T43" fmla="*/ 72 h 209"/>
                  <a:gd name="T44" fmla="*/ 101 w 179"/>
                  <a:gd name="T45" fmla="*/ 68 h 209"/>
                  <a:gd name="T46" fmla="*/ 73 w 179"/>
                  <a:gd name="T47" fmla="*/ 80 h 209"/>
                  <a:gd name="T48" fmla="*/ 63 w 179"/>
                  <a:gd name="T49" fmla="*/ 77 h 209"/>
                  <a:gd name="T50" fmla="*/ 56 w 179"/>
                  <a:gd name="T51" fmla="*/ 101 h 209"/>
                  <a:gd name="T52" fmla="*/ 45 w 179"/>
                  <a:gd name="T53" fmla="*/ 141 h 209"/>
                  <a:gd name="T54" fmla="*/ 38 w 179"/>
                  <a:gd name="T55" fmla="*/ 121 h 209"/>
                  <a:gd name="T56" fmla="*/ 40 w 179"/>
                  <a:gd name="T57" fmla="*/ 143 h 209"/>
                  <a:gd name="T58" fmla="*/ 64 w 179"/>
                  <a:gd name="T59" fmla="*/ 178 h 209"/>
                  <a:gd name="T60" fmla="*/ 70 w 179"/>
                  <a:gd name="T61" fmla="*/ 198 h 209"/>
                  <a:gd name="T62" fmla="*/ 68 w 179"/>
                  <a:gd name="T63" fmla="*/ 183 h 209"/>
                  <a:gd name="T64" fmla="*/ 109 w 179"/>
                  <a:gd name="T65" fmla="*/ 179 h 209"/>
                  <a:gd name="T66" fmla="*/ 115 w 179"/>
                  <a:gd name="T67" fmla="*/ 186 h 209"/>
                  <a:gd name="T68" fmla="*/ 119 w 179"/>
                  <a:gd name="T69" fmla="*/ 171 h 209"/>
                  <a:gd name="T70" fmla="*/ 126 w 179"/>
                  <a:gd name="T71" fmla="*/ 146 h 209"/>
                  <a:gd name="T72" fmla="*/ 126 w 179"/>
                  <a:gd name="T73" fmla="*/ 92 h 209"/>
                  <a:gd name="T74" fmla="*/ 127 w 179"/>
                  <a:gd name="T75" fmla="*/ 135 h 209"/>
                  <a:gd name="T76" fmla="*/ 116 w 179"/>
                  <a:gd name="T77" fmla="*/ 94 h 209"/>
                  <a:gd name="T78" fmla="*/ 103 w 179"/>
                  <a:gd name="T79" fmla="*/ 54 h 209"/>
                  <a:gd name="T80" fmla="*/ 97 w 179"/>
                  <a:gd name="T81" fmla="*/ 37 h 209"/>
                  <a:gd name="T82" fmla="*/ 107 w 179"/>
                  <a:gd name="T83" fmla="*/ 49 h 209"/>
                  <a:gd name="T84" fmla="*/ 86 w 179"/>
                  <a:gd name="T85" fmla="*/ 42 h 209"/>
                  <a:gd name="T86" fmla="*/ 77 w 179"/>
                  <a:gd name="T87" fmla="*/ 45 h 209"/>
                  <a:gd name="T88" fmla="*/ 65 w 179"/>
                  <a:gd name="T89" fmla="*/ 35 h 209"/>
                  <a:gd name="T90" fmla="*/ 67 w 179"/>
                  <a:gd name="T91" fmla="*/ 48 h 209"/>
                  <a:gd name="T92" fmla="*/ 73 w 179"/>
                  <a:gd name="T93" fmla="*/ 49 h 209"/>
                  <a:gd name="T94" fmla="*/ 65 w 179"/>
                  <a:gd name="T95" fmla="*/ 60 h 209"/>
                  <a:gd name="T96" fmla="*/ 101 w 179"/>
                  <a:gd name="T97" fmla="*/ 59 h 209"/>
                  <a:gd name="T98" fmla="*/ 86 w 179"/>
                  <a:gd name="T99" fmla="*/ 68 h 209"/>
                  <a:gd name="T100" fmla="*/ 71 w 179"/>
                  <a:gd name="T101" fmla="*/ 40 h 209"/>
                  <a:gd name="T102" fmla="*/ 73 w 179"/>
                  <a:gd name="T103" fmla="*/ 45 h 209"/>
                  <a:gd name="T104" fmla="*/ 99 w 179"/>
                  <a:gd name="T105" fmla="*/ 40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79" h="209">
                    <a:moveTo>
                      <a:pt x="160" y="153"/>
                    </a:moveTo>
                    <a:cubicBezTo>
                      <a:pt x="161" y="156"/>
                      <a:pt x="162" y="159"/>
                      <a:pt x="162" y="161"/>
                    </a:cubicBezTo>
                    <a:cubicBezTo>
                      <a:pt x="164" y="166"/>
                      <a:pt x="166" y="169"/>
                      <a:pt x="170" y="171"/>
                    </a:cubicBezTo>
                    <a:cubicBezTo>
                      <a:pt x="172" y="172"/>
                      <a:pt x="174" y="173"/>
                      <a:pt x="175" y="174"/>
                    </a:cubicBezTo>
                    <a:cubicBezTo>
                      <a:pt x="179" y="177"/>
                      <a:pt x="179" y="180"/>
                      <a:pt x="175" y="183"/>
                    </a:cubicBezTo>
                    <a:cubicBezTo>
                      <a:pt x="173" y="186"/>
                      <a:pt x="169" y="188"/>
                      <a:pt x="166" y="189"/>
                    </a:cubicBezTo>
                    <a:cubicBezTo>
                      <a:pt x="156" y="194"/>
                      <a:pt x="148" y="199"/>
                      <a:pt x="141" y="206"/>
                    </a:cubicBezTo>
                    <a:cubicBezTo>
                      <a:pt x="139" y="208"/>
                      <a:pt x="136" y="209"/>
                      <a:pt x="134" y="209"/>
                    </a:cubicBezTo>
                    <a:cubicBezTo>
                      <a:pt x="131" y="209"/>
                      <a:pt x="127" y="209"/>
                      <a:pt x="124" y="208"/>
                    </a:cubicBezTo>
                    <a:cubicBezTo>
                      <a:pt x="121" y="208"/>
                      <a:pt x="119" y="206"/>
                      <a:pt x="118" y="203"/>
                    </a:cubicBezTo>
                    <a:cubicBezTo>
                      <a:pt x="116" y="200"/>
                      <a:pt x="113" y="198"/>
                      <a:pt x="109" y="198"/>
                    </a:cubicBezTo>
                    <a:cubicBezTo>
                      <a:pt x="100" y="199"/>
                      <a:pt x="90" y="199"/>
                      <a:pt x="80" y="199"/>
                    </a:cubicBezTo>
                    <a:cubicBezTo>
                      <a:pt x="76" y="199"/>
                      <a:pt x="71" y="200"/>
                      <a:pt x="67" y="202"/>
                    </a:cubicBezTo>
                    <a:cubicBezTo>
                      <a:pt x="66" y="203"/>
                      <a:pt x="64" y="204"/>
                      <a:pt x="62" y="205"/>
                    </a:cubicBezTo>
                    <a:cubicBezTo>
                      <a:pt x="58" y="209"/>
                      <a:pt x="53" y="209"/>
                      <a:pt x="48" y="208"/>
                    </a:cubicBezTo>
                    <a:cubicBezTo>
                      <a:pt x="43" y="206"/>
                      <a:pt x="37" y="204"/>
                      <a:pt x="32" y="202"/>
                    </a:cubicBezTo>
                    <a:cubicBezTo>
                      <a:pt x="25" y="200"/>
                      <a:pt x="18" y="199"/>
                      <a:pt x="11" y="198"/>
                    </a:cubicBezTo>
                    <a:cubicBezTo>
                      <a:pt x="9" y="197"/>
                      <a:pt x="6" y="197"/>
                      <a:pt x="4" y="196"/>
                    </a:cubicBezTo>
                    <a:cubicBezTo>
                      <a:pt x="1" y="194"/>
                      <a:pt x="0" y="192"/>
                      <a:pt x="1" y="188"/>
                    </a:cubicBezTo>
                    <a:cubicBezTo>
                      <a:pt x="1" y="187"/>
                      <a:pt x="1" y="186"/>
                      <a:pt x="2" y="184"/>
                    </a:cubicBezTo>
                    <a:cubicBezTo>
                      <a:pt x="4" y="180"/>
                      <a:pt x="4" y="176"/>
                      <a:pt x="3" y="172"/>
                    </a:cubicBezTo>
                    <a:cubicBezTo>
                      <a:pt x="2" y="170"/>
                      <a:pt x="2" y="169"/>
                      <a:pt x="2" y="167"/>
                    </a:cubicBezTo>
                    <a:cubicBezTo>
                      <a:pt x="1" y="163"/>
                      <a:pt x="3" y="160"/>
                      <a:pt x="7" y="160"/>
                    </a:cubicBezTo>
                    <a:cubicBezTo>
                      <a:pt x="9" y="160"/>
                      <a:pt x="12" y="160"/>
                      <a:pt x="14" y="160"/>
                    </a:cubicBezTo>
                    <a:cubicBezTo>
                      <a:pt x="19" y="159"/>
                      <a:pt x="22" y="155"/>
                      <a:pt x="23" y="150"/>
                    </a:cubicBezTo>
                    <a:cubicBezTo>
                      <a:pt x="23" y="150"/>
                      <a:pt x="23" y="150"/>
                      <a:pt x="23" y="150"/>
                    </a:cubicBezTo>
                    <a:cubicBezTo>
                      <a:pt x="24" y="153"/>
                      <a:pt x="23" y="160"/>
                      <a:pt x="17" y="162"/>
                    </a:cubicBezTo>
                    <a:cubicBezTo>
                      <a:pt x="14" y="163"/>
                      <a:pt x="12" y="163"/>
                      <a:pt x="9" y="163"/>
                    </a:cubicBezTo>
                    <a:cubicBezTo>
                      <a:pt x="9" y="163"/>
                      <a:pt x="9" y="163"/>
                      <a:pt x="8" y="163"/>
                    </a:cubicBezTo>
                    <a:cubicBezTo>
                      <a:pt x="5" y="162"/>
                      <a:pt x="3" y="164"/>
                      <a:pt x="4" y="168"/>
                    </a:cubicBezTo>
                    <a:cubicBezTo>
                      <a:pt x="5" y="170"/>
                      <a:pt x="5" y="171"/>
                      <a:pt x="6" y="173"/>
                    </a:cubicBezTo>
                    <a:cubicBezTo>
                      <a:pt x="8" y="176"/>
                      <a:pt x="8" y="180"/>
                      <a:pt x="6" y="184"/>
                    </a:cubicBezTo>
                    <a:cubicBezTo>
                      <a:pt x="5" y="185"/>
                      <a:pt x="5" y="187"/>
                      <a:pt x="4" y="188"/>
                    </a:cubicBezTo>
                    <a:cubicBezTo>
                      <a:pt x="3" y="190"/>
                      <a:pt x="4" y="192"/>
                      <a:pt x="6" y="193"/>
                    </a:cubicBezTo>
                    <a:cubicBezTo>
                      <a:pt x="8" y="194"/>
                      <a:pt x="11" y="194"/>
                      <a:pt x="13" y="195"/>
                    </a:cubicBezTo>
                    <a:cubicBezTo>
                      <a:pt x="24" y="197"/>
                      <a:pt x="35" y="199"/>
                      <a:pt x="45" y="203"/>
                    </a:cubicBezTo>
                    <a:cubicBezTo>
                      <a:pt x="48" y="204"/>
                      <a:pt x="52" y="204"/>
                      <a:pt x="55" y="204"/>
                    </a:cubicBezTo>
                    <a:cubicBezTo>
                      <a:pt x="63" y="202"/>
                      <a:pt x="66" y="198"/>
                      <a:pt x="64" y="190"/>
                    </a:cubicBezTo>
                    <a:cubicBezTo>
                      <a:pt x="63" y="186"/>
                      <a:pt x="62" y="183"/>
                      <a:pt x="60" y="179"/>
                    </a:cubicBezTo>
                    <a:cubicBezTo>
                      <a:pt x="54" y="170"/>
                      <a:pt x="49" y="161"/>
                      <a:pt x="42" y="153"/>
                    </a:cubicBezTo>
                    <a:cubicBezTo>
                      <a:pt x="40" y="150"/>
                      <a:pt x="37" y="147"/>
                      <a:pt x="34" y="145"/>
                    </a:cubicBezTo>
                    <a:cubicBezTo>
                      <a:pt x="32" y="143"/>
                      <a:pt x="29" y="143"/>
                      <a:pt x="26" y="145"/>
                    </a:cubicBezTo>
                    <a:cubicBezTo>
                      <a:pt x="26" y="146"/>
                      <a:pt x="25" y="145"/>
                      <a:pt x="25" y="144"/>
                    </a:cubicBezTo>
                    <a:cubicBezTo>
                      <a:pt x="24" y="141"/>
                      <a:pt x="24" y="137"/>
                      <a:pt x="25" y="134"/>
                    </a:cubicBezTo>
                    <a:cubicBezTo>
                      <a:pt x="25" y="133"/>
                      <a:pt x="26" y="132"/>
                      <a:pt x="27" y="131"/>
                    </a:cubicBezTo>
                    <a:cubicBezTo>
                      <a:pt x="30" y="125"/>
                      <a:pt x="32" y="119"/>
                      <a:pt x="34" y="113"/>
                    </a:cubicBezTo>
                    <a:cubicBezTo>
                      <a:pt x="37" y="106"/>
                      <a:pt x="39" y="100"/>
                      <a:pt x="43" y="94"/>
                    </a:cubicBezTo>
                    <a:cubicBezTo>
                      <a:pt x="46" y="91"/>
                      <a:pt x="49" y="87"/>
                      <a:pt x="51" y="84"/>
                    </a:cubicBezTo>
                    <a:cubicBezTo>
                      <a:pt x="54" y="80"/>
                      <a:pt x="56" y="77"/>
                      <a:pt x="58" y="74"/>
                    </a:cubicBezTo>
                    <a:cubicBezTo>
                      <a:pt x="59" y="71"/>
                      <a:pt x="60" y="68"/>
                      <a:pt x="60" y="65"/>
                    </a:cubicBezTo>
                    <a:cubicBezTo>
                      <a:pt x="59" y="58"/>
                      <a:pt x="59" y="51"/>
                      <a:pt x="58" y="44"/>
                    </a:cubicBezTo>
                    <a:cubicBezTo>
                      <a:pt x="58" y="39"/>
                      <a:pt x="58" y="33"/>
                      <a:pt x="58" y="28"/>
                    </a:cubicBezTo>
                    <a:cubicBezTo>
                      <a:pt x="58" y="17"/>
                      <a:pt x="63" y="8"/>
                      <a:pt x="73" y="3"/>
                    </a:cubicBezTo>
                    <a:cubicBezTo>
                      <a:pt x="76" y="1"/>
                      <a:pt x="81" y="1"/>
                      <a:pt x="85" y="1"/>
                    </a:cubicBezTo>
                    <a:cubicBezTo>
                      <a:pt x="91" y="0"/>
                      <a:pt x="96" y="1"/>
                      <a:pt x="102" y="4"/>
                    </a:cubicBezTo>
                    <a:cubicBezTo>
                      <a:pt x="109" y="6"/>
                      <a:pt x="114" y="12"/>
                      <a:pt x="117" y="18"/>
                    </a:cubicBezTo>
                    <a:cubicBezTo>
                      <a:pt x="120" y="24"/>
                      <a:pt x="122" y="30"/>
                      <a:pt x="122" y="37"/>
                    </a:cubicBezTo>
                    <a:cubicBezTo>
                      <a:pt x="122" y="40"/>
                      <a:pt x="122" y="44"/>
                      <a:pt x="122" y="47"/>
                    </a:cubicBezTo>
                    <a:cubicBezTo>
                      <a:pt x="124" y="62"/>
                      <a:pt x="128" y="75"/>
                      <a:pt x="138" y="85"/>
                    </a:cubicBezTo>
                    <a:cubicBezTo>
                      <a:pt x="150" y="98"/>
                      <a:pt x="156" y="112"/>
                      <a:pt x="159" y="129"/>
                    </a:cubicBezTo>
                    <a:cubicBezTo>
                      <a:pt x="160" y="134"/>
                      <a:pt x="161" y="139"/>
                      <a:pt x="159" y="144"/>
                    </a:cubicBezTo>
                    <a:cubicBezTo>
                      <a:pt x="159" y="145"/>
                      <a:pt x="159" y="146"/>
                      <a:pt x="158" y="147"/>
                    </a:cubicBezTo>
                    <a:cubicBezTo>
                      <a:pt x="158" y="147"/>
                      <a:pt x="158" y="148"/>
                      <a:pt x="157" y="148"/>
                    </a:cubicBezTo>
                    <a:cubicBezTo>
                      <a:pt x="155" y="149"/>
                      <a:pt x="154" y="151"/>
                      <a:pt x="152" y="152"/>
                    </a:cubicBezTo>
                    <a:cubicBezTo>
                      <a:pt x="151" y="154"/>
                      <a:pt x="149" y="157"/>
                      <a:pt x="147" y="158"/>
                    </a:cubicBezTo>
                    <a:cubicBezTo>
                      <a:pt x="143" y="161"/>
                      <a:pt x="139" y="161"/>
                      <a:pt x="135" y="160"/>
                    </a:cubicBezTo>
                    <a:cubicBezTo>
                      <a:pt x="133" y="159"/>
                      <a:pt x="131" y="158"/>
                      <a:pt x="130" y="156"/>
                    </a:cubicBezTo>
                    <a:cubicBezTo>
                      <a:pt x="130" y="154"/>
                      <a:pt x="129" y="153"/>
                      <a:pt x="128" y="151"/>
                    </a:cubicBezTo>
                    <a:cubicBezTo>
                      <a:pt x="127" y="150"/>
                      <a:pt x="126" y="148"/>
                      <a:pt x="124" y="148"/>
                    </a:cubicBezTo>
                    <a:cubicBezTo>
                      <a:pt x="122" y="148"/>
                      <a:pt x="122" y="150"/>
                      <a:pt x="121" y="152"/>
                    </a:cubicBezTo>
                    <a:cubicBezTo>
                      <a:pt x="120" y="156"/>
                      <a:pt x="120" y="160"/>
                      <a:pt x="121" y="164"/>
                    </a:cubicBezTo>
                    <a:cubicBezTo>
                      <a:pt x="123" y="171"/>
                      <a:pt x="123" y="179"/>
                      <a:pt x="122" y="186"/>
                    </a:cubicBezTo>
                    <a:cubicBezTo>
                      <a:pt x="121" y="189"/>
                      <a:pt x="121" y="192"/>
                      <a:pt x="121" y="195"/>
                    </a:cubicBezTo>
                    <a:cubicBezTo>
                      <a:pt x="123" y="202"/>
                      <a:pt x="129" y="205"/>
                      <a:pt x="136" y="203"/>
                    </a:cubicBezTo>
                    <a:cubicBezTo>
                      <a:pt x="139" y="202"/>
                      <a:pt x="142" y="200"/>
                      <a:pt x="144" y="198"/>
                    </a:cubicBezTo>
                    <a:cubicBezTo>
                      <a:pt x="150" y="192"/>
                      <a:pt x="157" y="189"/>
                      <a:pt x="165" y="187"/>
                    </a:cubicBezTo>
                    <a:cubicBezTo>
                      <a:pt x="168" y="186"/>
                      <a:pt x="170" y="184"/>
                      <a:pt x="173" y="183"/>
                    </a:cubicBezTo>
                    <a:cubicBezTo>
                      <a:pt x="173" y="183"/>
                      <a:pt x="174" y="182"/>
                      <a:pt x="175" y="181"/>
                    </a:cubicBezTo>
                    <a:cubicBezTo>
                      <a:pt x="176" y="180"/>
                      <a:pt x="176" y="178"/>
                      <a:pt x="175" y="177"/>
                    </a:cubicBezTo>
                    <a:cubicBezTo>
                      <a:pt x="173" y="176"/>
                      <a:pt x="172" y="175"/>
                      <a:pt x="171" y="174"/>
                    </a:cubicBezTo>
                    <a:cubicBezTo>
                      <a:pt x="170" y="174"/>
                      <a:pt x="169" y="173"/>
                      <a:pt x="168" y="173"/>
                    </a:cubicBezTo>
                    <a:cubicBezTo>
                      <a:pt x="163" y="172"/>
                      <a:pt x="160" y="168"/>
                      <a:pt x="160" y="163"/>
                    </a:cubicBezTo>
                    <a:cubicBezTo>
                      <a:pt x="159" y="161"/>
                      <a:pt x="159" y="158"/>
                      <a:pt x="160" y="156"/>
                    </a:cubicBezTo>
                    <a:cubicBezTo>
                      <a:pt x="160" y="155"/>
                      <a:pt x="160" y="154"/>
                      <a:pt x="160" y="153"/>
                    </a:cubicBezTo>
                    <a:close/>
                    <a:moveTo>
                      <a:pt x="71" y="69"/>
                    </a:moveTo>
                    <a:cubicBezTo>
                      <a:pt x="71" y="69"/>
                      <a:pt x="71" y="69"/>
                      <a:pt x="71" y="69"/>
                    </a:cubicBezTo>
                    <a:cubicBezTo>
                      <a:pt x="72" y="72"/>
                      <a:pt x="74" y="73"/>
                      <a:pt x="77" y="74"/>
                    </a:cubicBezTo>
                    <a:cubicBezTo>
                      <a:pt x="81" y="75"/>
                      <a:pt x="84" y="74"/>
                      <a:pt x="88" y="72"/>
                    </a:cubicBezTo>
                    <a:cubicBezTo>
                      <a:pt x="91" y="70"/>
                      <a:pt x="94" y="69"/>
                      <a:pt x="97" y="67"/>
                    </a:cubicBezTo>
                    <a:cubicBezTo>
                      <a:pt x="98" y="66"/>
                      <a:pt x="99" y="66"/>
                      <a:pt x="100" y="66"/>
                    </a:cubicBezTo>
                    <a:cubicBezTo>
                      <a:pt x="101" y="66"/>
                      <a:pt x="102" y="66"/>
                      <a:pt x="102" y="67"/>
                    </a:cubicBezTo>
                    <a:cubicBezTo>
                      <a:pt x="102" y="67"/>
                      <a:pt x="102" y="68"/>
                      <a:pt x="101" y="68"/>
                    </a:cubicBezTo>
                    <a:cubicBezTo>
                      <a:pt x="100" y="69"/>
                      <a:pt x="100" y="69"/>
                      <a:pt x="99" y="70"/>
                    </a:cubicBezTo>
                    <a:cubicBezTo>
                      <a:pt x="94" y="72"/>
                      <a:pt x="90" y="75"/>
                      <a:pt x="86" y="78"/>
                    </a:cubicBezTo>
                    <a:cubicBezTo>
                      <a:pt x="85" y="79"/>
                      <a:pt x="83" y="80"/>
                      <a:pt x="81" y="81"/>
                    </a:cubicBezTo>
                    <a:cubicBezTo>
                      <a:pt x="78" y="83"/>
                      <a:pt x="75" y="82"/>
                      <a:pt x="73" y="80"/>
                    </a:cubicBezTo>
                    <a:cubicBezTo>
                      <a:pt x="71" y="77"/>
                      <a:pt x="69" y="74"/>
                      <a:pt x="67" y="72"/>
                    </a:cubicBezTo>
                    <a:cubicBezTo>
                      <a:pt x="66" y="71"/>
                      <a:pt x="66" y="71"/>
                      <a:pt x="65" y="70"/>
                    </a:cubicBezTo>
                    <a:cubicBezTo>
                      <a:pt x="65" y="70"/>
                      <a:pt x="65" y="71"/>
                      <a:pt x="65" y="71"/>
                    </a:cubicBezTo>
                    <a:cubicBezTo>
                      <a:pt x="64" y="73"/>
                      <a:pt x="64" y="75"/>
                      <a:pt x="63" y="77"/>
                    </a:cubicBezTo>
                    <a:cubicBezTo>
                      <a:pt x="62" y="79"/>
                      <a:pt x="61" y="81"/>
                      <a:pt x="60" y="84"/>
                    </a:cubicBezTo>
                    <a:cubicBezTo>
                      <a:pt x="58" y="86"/>
                      <a:pt x="57" y="89"/>
                      <a:pt x="57" y="92"/>
                    </a:cubicBezTo>
                    <a:cubicBezTo>
                      <a:pt x="57" y="94"/>
                      <a:pt x="58" y="96"/>
                      <a:pt x="58" y="99"/>
                    </a:cubicBezTo>
                    <a:cubicBezTo>
                      <a:pt x="57" y="99"/>
                      <a:pt x="56" y="100"/>
                      <a:pt x="56" y="101"/>
                    </a:cubicBezTo>
                    <a:cubicBezTo>
                      <a:pt x="54" y="105"/>
                      <a:pt x="51" y="109"/>
                      <a:pt x="49" y="113"/>
                    </a:cubicBezTo>
                    <a:cubicBezTo>
                      <a:pt x="47" y="118"/>
                      <a:pt x="45" y="122"/>
                      <a:pt x="45" y="128"/>
                    </a:cubicBezTo>
                    <a:cubicBezTo>
                      <a:pt x="45" y="131"/>
                      <a:pt x="45" y="133"/>
                      <a:pt x="45" y="136"/>
                    </a:cubicBezTo>
                    <a:cubicBezTo>
                      <a:pt x="45" y="138"/>
                      <a:pt x="45" y="139"/>
                      <a:pt x="45" y="141"/>
                    </a:cubicBezTo>
                    <a:cubicBezTo>
                      <a:pt x="44" y="142"/>
                      <a:pt x="43" y="142"/>
                      <a:pt x="42" y="141"/>
                    </a:cubicBezTo>
                    <a:cubicBezTo>
                      <a:pt x="41" y="141"/>
                      <a:pt x="40" y="140"/>
                      <a:pt x="40" y="139"/>
                    </a:cubicBezTo>
                    <a:cubicBezTo>
                      <a:pt x="37" y="134"/>
                      <a:pt x="37" y="130"/>
                      <a:pt x="37" y="125"/>
                    </a:cubicBezTo>
                    <a:cubicBezTo>
                      <a:pt x="37" y="124"/>
                      <a:pt x="38" y="123"/>
                      <a:pt x="38" y="121"/>
                    </a:cubicBezTo>
                    <a:cubicBezTo>
                      <a:pt x="38" y="121"/>
                      <a:pt x="37" y="121"/>
                      <a:pt x="37" y="121"/>
                    </a:cubicBezTo>
                    <a:cubicBezTo>
                      <a:pt x="37" y="122"/>
                      <a:pt x="37" y="123"/>
                      <a:pt x="36" y="124"/>
                    </a:cubicBezTo>
                    <a:cubicBezTo>
                      <a:pt x="35" y="127"/>
                      <a:pt x="35" y="131"/>
                      <a:pt x="36" y="135"/>
                    </a:cubicBezTo>
                    <a:cubicBezTo>
                      <a:pt x="37" y="138"/>
                      <a:pt x="37" y="141"/>
                      <a:pt x="40" y="143"/>
                    </a:cubicBezTo>
                    <a:cubicBezTo>
                      <a:pt x="44" y="147"/>
                      <a:pt x="47" y="150"/>
                      <a:pt x="51" y="153"/>
                    </a:cubicBezTo>
                    <a:cubicBezTo>
                      <a:pt x="56" y="158"/>
                      <a:pt x="61" y="161"/>
                      <a:pt x="66" y="165"/>
                    </a:cubicBezTo>
                    <a:cubicBezTo>
                      <a:pt x="69" y="167"/>
                      <a:pt x="69" y="170"/>
                      <a:pt x="69" y="173"/>
                    </a:cubicBezTo>
                    <a:cubicBezTo>
                      <a:pt x="68" y="175"/>
                      <a:pt x="66" y="177"/>
                      <a:pt x="64" y="178"/>
                    </a:cubicBezTo>
                    <a:cubicBezTo>
                      <a:pt x="63" y="178"/>
                      <a:pt x="63" y="178"/>
                      <a:pt x="62" y="178"/>
                    </a:cubicBezTo>
                    <a:cubicBezTo>
                      <a:pt x="63" y="180"/>
                      <a:pt x="64" y="182"/>
                      <a:pt x="65" y="184"/>
                    </a:cubicBezTo>
                    <a:cubicBezTo>
                      <a:pt x="67" y="186"/>
                      <a:pt x="69" y="189"/>
                      <a:pt x="69" y="192"/>
                    </a:cubicBezTo>
                    <a:cubicBezTo>
                      <a:pt x="69" y="194"/>
                      <a:pt x="69" y="196"/>
                      <a:pt x="70" y="198"/>
                    </a:cubicBezTo>
                    <a:cubicBezTo>
                      <a:pt x="70" y="198"/>
                      <a:pt x="70" y="197"/>
                      <a:pt x="70" y="197"/>
                    </a:cubicBezTo>
                    <a:cubicBezTo>
                      <a:pt x="72" y="196"/>
                      <a:pt x="72" y="194"/>
                      <a:pt x="72" y="191"/>
                    </a:cubicBezTo>
                    <a:cubicBezTo>
                      <a:pt x="71" y="189"/>
                      <a:pt x="70" y="186"/>
                      <a:pt x="68" y="184"/>
                    </a:cubicBezTo>
                    <a:cubicBezTo>
                      <a:pt x="68" y="184"/>
                      <a:pt x="68" y="183"/>
                      <a:pt x="68" y="183"/>
                    </a:cubicBezTo>
                    <a:cubicBezTo>
                      <a:pt x="69" y="182"/>
                      <a:pt x="71" y="182"/>
                      <a:pt x="72" y="183"/>
                    </a:cubicBezTo>
                    <a:cubicBezTo>
                      <a:pt x="74" y="185"/>
                      <a:pt x="76" y="186"/>
                      <a:pt x="79" y="186"/>
                    </a:cubicBezTo>
                    <a:cubicBezTo>
                      <a:pt x="85" y="188"/>
                      <a:pt x="91" y="187"/>
                      <a:pt x="96" y="186"/>
                    </a:cubicBezTo>
                    <a:cubicBezTo>
                      <a:pt x="101" y="184"/>
                      <a:pt x="105" y="183"/>
                      <a:pt x="109" y="179"/>
                    </a:cubicBezTo>
                    <a:cubicBezTo>
                      <a:pt x="110" y="178"/>
                      <a:pt x="112" y="176"/>
                      <a:pt x="113" y="174"/>
                    </a:cubicBezTo>
                    <a:cubicBezTo>
                      <a:pt x="114" y="173"/>
                      <a:pt x="115" y="173"/>
                      <a:pt x="115" y="173"/>
                    </a:cubicBezTo>
                    <a:cubicBezTo>
                      <a:pt x="116" y="173"/>
                      <a:pt x="116" y="174"/>
                      <a:pt x="116" y="175"/>
                    </a:cubicBezTo>
                    <a:cubicBezTo>
                      <a:pt x="117" y="179"/>
                      <a:pt x="116" y="182"/>
                      <a:pt x="115" y="186"/>
                    </a:cubicBezTo>
                    <a:cubicBezTo>
                      <a:pt x="114" y="188"/>
                      <a:pt x="114" y="191"/>
                      <a:pt x="113" y="193"/>
                    </a:cubicBezTo>
                    <a:cubicBezTo>
                      <a:pt x="113" y="195"/>
                      <a:pt x="114" y="196"/>
                      <a:pt x="116" y="196"/>
                    </a:cubicBezTo>
                    <a:cubicBezTo>
                      <a:pt x="117" y="191"/>
                      <a:pt x="118" y="187"/>
                      <a:pt x="118" y="183"/>
                    </a:cubicBezTo>
                    <a:cubicBezTo>
                      <a:pt x="119" y="179"/>
                      <a:pt x="120" y="175"/>
                      <a:pt x="119" y="171"/>
                    </a:cubicBezTo>
                    <a:cubicBezTo>
                      <a:pt x="119" y="168"/>
                      <a:pt x="118" y="164"/>
                      <a:pt x="118" y="160"/>
                    </a:cubicBezTo>
                    <a:cubicBezTo>
                      <a:pt x="117" y="157"/>
                      <a:pt x="118" y="154"/>
                      <a:pt x="119" y="151"/>
                    </a:cubicBezTo>
                    <a:cubicBezTo>
                      <a:pt x="120" y="148"/>
                      <a:pt x="122" y="146"/>
                      <a:pt x="125" y="146"/>
                    </a:cubicBezTo>
                    <a:cubicBezTo>
                      <a:pt x="126" y="146"/>
                      <a:pt x="126" y="146"/>
                      <a:pt x="126" y="146"/>
                    </a:cubicBezTo>
                    <a:cubicBezTo>
                      <a:pt x="127" y="143"/>
                      <a:pt x="128" y="140"/>
                      <a:pt x="132" y="139"/>
                    </a:cubicBezTo>
                    <a:cubicBezTo>
                      <a:pt x="137" y="138"/>
                      <a:pt x="141" y="139"/>
                      <a:pt x="146" y="141"/>
                    </a:cubicBezTo>
                    <a:cubicBezTo>
                      <a:pt x="144" y="139"/>
                      <a:pt x="142" y="138"/>
                      <a:pt x="139" y="137"/>
                    </a:cubicBezTo>
                    <a:cubicBezTo>
                      <a:pt x="145" y="120"/>
                      <a:pt x="135" y="98"/>
                      <a:pt x="126" y="92"/>
                    </a:cubicBezTo>
                    <a:cubicBezTo>
                      <a:pt x="130" y="98"/>
                      <a:pt x="134" y="104"/>
                      <a:pt x="136" y="111"/>
                    </a:cubicBezTo>
                    <a:cubicBezTo>
                      <a:pt x="138" y="117"/>
                      <a:pt x="140" y="124"/>
                      <a:pt x="138" y="131"/>
                    </a:cubicBezTo>
                    <a:cubicBezTo>
                      <a:pt x="138" y="136"/>
                      <a:pt x="136" y="138"/>
                      <a:pt x="132" y="138"/>
                    </a:cubicBezTo>
                    <a:cubicBezTo>
                      <a:pt x="129" y="138"/>
                      <a:pt x="128" y="137"/>
                      <a:pt x="127" y="135"/>
                    </a:cubicBezTo>
                    <a:cubicBezTo>
                      <a:pt x="127" y="133"/>
                      <a:pt x="127" y="131"/>
                      <a:pt x="127" y="129"/>
                    </a:cubicBezTo>
                    <a:cubicBezTo>
                      <a:pt x="127" y="122"/>
                      <a:pt x="126" y="115"/>
                      <a:pt x="124" y="108"/>
                    </a:cubicBezTo>
                    <a:cubicBezTo>
                      <a:pt x="122" y="103"/>
                      <a:pt x="121" y="99"/>
                      <a:pt x="117" y="95"/>
                    </a:cubicBezTo>
                    <a:cubicBezTo>
                      <a:pt x="117" y="95"/>
                      <a:pt x="117" y="95"/>
                      <a:pt x="116" y="94"/>
                    </a:cubicBezTo>
                    <a:cubicBezTo>
                      <a:pt x="115" y="87"/>
                      <a:pt x="112" y="79"/>
                      <a:pt x="107" y="73"/>
                    </a:cubicBezTo>
                    <a:cubicBezTo>
                      <a:pt x="105" y="71"/>
                      <a:pt x="105" y="67"/>
                      <a:pt x="105" y="64"/>
                    </a:cubicBezTo>
                    <a:cubicBezTo>
                      <a:pt x="106" y="63"/>
                      <a:pt x="106" y="61"/>
                      <a:pt x="106" y="59"/>
                    </a:cubicBezTo>
                    <a:cubicBezTo>
                      <a:pt x="107" y="56"/>
                      <a:pt x="106" y="55"/>
                      <a:pt x="103" y="54"/>
                    </a:cubicBezTo>
                    <a:cubicBezTo>
                      <a:pt x="100" y="53"/>
                      <a:pt x="97" y="51"/>
                      <a:pt x="94" y="50"/>
                    </a:cubicBezTo>
                    <a:cubicBezTo>
                      <a:pt x="91" y="49"/>
                      <a:pt x="90" y="47"/>
                      <a:pt x="91" y="45"/>
                    </a:cubicBezTo>
                    <a:cubicBezTo>
                      <a:pt x="91" y="44"/>
                      <a:pt x="91" y="42"/>
                      <a:pt x="91" y="41"/>
                    </a:cubicBezTo>
                    <a:cubicBezTo>
                      <a:pt x="92" y="38"/>
                      <a:pt x="94" y="37"/>
                      <a:pt x="97" y="37"/>
                    </a:cubicBezTo>
                    <a:cubicBezTo>
                      <a:pt x="99" y="38"/>
                      <a:pt x="100" y="39"/>
                      <a:pt x="101" y="40"/>
                    </a:cubicBezTo>
                    <a:cubicBezTo>
                      <a:pt x="103" y="43"/>
                      <a:pt x="103" y="45"/>
                      <a:pt x="102" y="48"/>
                    </a:cubicBezTo>
                    <a:cubicBezTo>
                      <a:pt x="101" y="49"/>
                      <a:pt x="101" y="50"/>
                      <a:pt x="102" y="51"/>
                    </a:cubicBezTo>
                    <a:cubicBezTo>
                      <a:pt x="104" y="52"/>
                      <a:pt x="106" y="51"/>
                      <a:pt x="107" y="49"/>
                    </a:cubicBezTo>
                    <a:cubicBezTo>
                      <a:pt x="107" y="44"/>
                      <a:pt x="107" y="40"/>
                      <a:pt x="105" y="36"/>
                    </a:cubicBezTo>
                    <a:cubicBezTo>
                      <a:pt x="103" y="32"/>
                      <a:pt x="99" y="30"/>
                      <a:pt x="96" y="30"/>
                    </a:cubicBezTo>
                    <a:cubicBezTo>
                      <a:pt x="91" y="31"/>
                      <a:pt x="87" y="34"/>
                      <a:pt x="87" y="38"/>
                    </a:cubicBezTo>
                    <a:cubicBezTo>
                      <a:pt x="86" y="39"/>
                      <a:pt x="86" y="41"/>
                      <a:pt x="86" y="42"/>
                    </a:cubicBezTo>
                    <a:cubicBezTo>
                      <a:pt x="86" y="44"/>
                      <a:pt x="87" y="46"/>
                      <a:pt x="87" y="47"/>
                    </a:cubicBezTo>
                    <a:cubicBezTo>
                      <a:pt x="85" y="46"/>
                      <a:pt x="82" y="46"/>
                      <a:pt x="80" y="46"/>
                    </a:cubicBezTo>
                    <a:cubicBezTo>
                      <a:pt x="80" y="46"/>
                      <a:pt x="80" y="46"/>
                      <a:pt x="79" y="46"/>
                    </a:cubicBezTo>
                    <a:cubicBezTo>
                      <a:pt x="78" y="46"/>
                      <a:pt x="77" y="46"/>
                      <a:pt x="77" y="45"/>
                    </a:cubicBezTo>
                    <a:cubicBezTo>
                      <a:pt x="77" y="42"/>
                      <a:pt x="77" y="39"/>
                      <a:pt x="76" y="36"/>
                    </a:cubicBezTo>
                    <a:cubicBezTo>
                      <a:pt x="76" y="36"/>
                      <a:pt x="76" y="35"/>
                      <a:pt x="75" y="35"/>
                    </a:cubicBezTo>
                    <a:cubicBezTo>
                      <a:pt x="74" y="33"/>
                      <a:pt x="73" y="31"/>
                      <a:pt x="70" y="31"/>
                    </a:cubicBezTo>
                    <a:cubicBezTo>
                      <a:pt x="68" y="31"/>
                      <a:pt x="66" y="33"/>
                      <a:pt x="65" y="35"/>
                    </a:cubicBezTo>
                    <a:cubicBezTo>
                      <a:pt x="63" y="40"/>
                      <a:pt x="63" y="45"/>
                      <a:pt x="66" y="50"/>
                    </a:cubicBezTo>
                    <a:cubicBezTo>
                      <a:pt x="66" y="51"/>
                      <a:pt x="67" y="52"/>
                      <a:pt x="67" y="52"/>
                    </a:cubicBezTo>
                    <a:cubicBezTo>
                      <a:pt x="68" y="51"/>
                      <a:pt x="69" y="51"/>
                      <a:pt x="69" y="50"/>
                    </a:cubicBezTo>
                    <a:cubicBezTo>
                      <a:pt x="68" y="49"/>
                      <a:pt x="67" y="48"/>
                      <a:pt x="67" y="48"/>
                    </a:cubicBezTo>
                    <a:cubicBezTo>
                      <a:pt x="65" y="45"/>
                      <a:pt x="65" y="43"/>
                      <a:pt x="66" y="40"/>
                    </a:cubicBezTo>
                    <a:cubicBezTo>
                      <a:pt x="67" y="38"/>
                      <a:pt x="70" y="37"/>
                      <a:pt x="72" y="38"/>
                    </a:cubicBezTo>
                    <a:cubicBezTo>
                      <a:pt x="74" y="40"/>
                      <a:pt x="74" y="42"/>
                      <a:pt x="75" y="45"/>
                    </a:cubicBezTo>
                    <a:cubicBezTo>
                      <a:pt x="75" y="46"/>
                      <a:pt x="74" y="48"/>
                      <a:pt x="73" y="49"/>
                    </a:cubicBezTo>
                    <a:cubicBezTo>
                      <a:pt x="72" y="49"/>
                      <a:pt x="72" y="49"/>
                      <a:pt x="72" y="49"/>
                    </a:cubicBezTo>
                    <a:cubicBezTo>
                      <a:pt x="70" y="51"/>
                      <a:pt x="68" y="53"/>
                      <a:pt x="66" y="54"/>
                    </a:cubicBezTo>
                    <a:cubicBezTo>
                      <a:pt x="65" y="55"/>
                      <a:pt x="64" y="56"/>
                      <a:pt x="64" y="57"/>
                    </a:cubicBezTo>
                    <a:cubicBezTo>
                      <a:pt x="63" y="58"/>
                      <a:pt x="64" y="59"/>
                      <a:pt x="65" y="60"/>
                    </a:cubicBezTo>
                    <a:cubicBezTo>
                      <a:pt x="66" y="61"/>
                      <a:pt x="67" y="62"/>
                      <a:pt x="68" y="63"/>
                    </a:cubicBezTo>
                    <a:cubicBezTo>
                      <a:pt x="70" y="66"/>
                      <a:pt x="74" y="67"/>
                      <a:pt x="77" y="67"/>
                    </a:cubicBezTo>
                    <a:cubicBezTo>
                      <a:pt x="82" y="67"/>
                      <a:pt x="86" y="65"/>
                      <a:pt x="90" y="64"/>
                    </a:cubicBezTo>
                    <a:cubicBezTo>
                      <a:pt x="94" y="63"/>
                      <a:pt x="98" y="62"/>
                      <a:pt x="101" y="59"/>
                    </a:cubicBezTo>
                    <a:cubicBezTo>
                      <a:pt x="101" y="58"/>
                      <a:pt x="102" y="58"/>
                      <a:pt x="102" y="59"/>
                    </a:cubicBezTo>
                    <a:cubicBezTo>
                      <a:pt x="103" y="59"/>
                      <a:pt x="103" y="60"/>
                      <a:pt x="103" y="61"/>
                    </a:cubicBezTo>
                    <a:cubicBezTo>
                      <a:pt x="103" y="61"/>
                      <a:pt x="102" y="61"/>
                      <a:pt x="101" y="62"/>
                    </a:cubicBezTo>
                    <a:cubicBezTo>
                      <a:pt x="96" y="64"/>
                      <a:pt x="91" y="66"/>
                      <a:pt x="86" y="68"/>
                    </a:cubicBezTo>
                    <a:cubicBezTo>
                      <a:pt x="82" y="69"/>
                      <a:pt x="78" y="70"/>
                      <a:pt x="74" y="69"/>
                    </a:cubicBezTo>
                    <a:cubicBezTo>
                      <a:pt x="73" y="69"/>
                      <a:pt x="72" y="69"/>
                      <a:pt x="71" y="69"/>
                    </a:cubicBezTo>
                    <a:close/>
                    <a:moveTo>
                      <a:pt x="73" y="45"/>
                    </a:moveTo>
                    <a:cubicBezTo>
                      <a:pt x="73" y="44"/>
                      <a:pt x="73" y="42"/>
                      <a:pt x="71" y="40"/>
                    </a:cubicBezTo>
                    <a:cubicBezTo>
                      <a:pt x="71" y="40"/>
                      <a:pt x="71" y="40"/>
                      <a:pt x="70" y="40"/>
                    </a:cubicBezTo>
                    <a:cubicBezTo>
                      <a:pt x="70" y="41"/>
                      <a:pt x="70" y="41"/>
                      <a:pt x="70" y="41"/>
                    </a:cubicBezTo>
                    <a:cubicBezTo>
                      <a:pt x="72" y="42"/>
                      <a:pt x="71" y="43"/>
                      <a:pt x="71" y="44"/>
                    </a:cubicBezTo>
                    <a:cubicBezTo>
                      <a:pt x="71" y="45"/>
                      <a:pt x="71" y="46"/>
                      <a:pt x="73" y="45"/>
                    </a:cubicBezTo>
                    <a:close/>
                    <a:moveTo>
                      <a:pt x="97" y="40"/>
                    </a:moveTo>
                    <a:cubicBezTo>
                      <a:pt x="99" y="41"/>
                      <a:pt x="99" y="42"/>
                      <a:pt x="100" y="44"/>
                    </a:cubicBezTo>
                    <a:cubicBezTo>
                      <a:pt x="100" y="44"/>
                      <a:pt x="101" y="43"/>
                      <a:pt x="101" y="43"/>
                    </a:cubicBezTo>
                    <a:cubicBezTo>
                      <a:pt x="101" y="42"/>
                      <a:pt x="100" y="41"/>
                      <a:pt x="99" y="40"/>
                    </a:cubicBezTo>
                    <a:cubicBezTo>
                      <a:pt x="98" y="39"/>
                      <a:pt x="97" y="39"/>
                      <a:pt x="97" y="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9" name="Freeform 337"/>
              <p:cNvSpPr>
                <a:spLocks/>
              </p:cNvSpPr>
              <p:nvPr userDrawn="1"/>
            </p:nvSpPr>
            <p:spPr bwMode="auto">
              <a:xfrm>
                <a:off x="4080" y="1518"/>
                <a:ext cx="3" cy="4"/>
              </a:xfrm>
              <a:custGeom>
                <a:avLst/>
                <a:gdLst>
                  <a:gd name="T0" fmla="*/ 2 w 2"/>
                  <a:gd name="T1" fmla="*/ 0 h 3"/>
                  <a:gd name="T2" fmla="*/ 1 w 2"/>
                  <a:gd name="T3" fmla="*/ 2 h 3"/>
                  <a:gd name="T4" fmla="*/ 0 w 2"/>
                  <a:gd name="T5" fmla="*/ 3 h 3"/>
                  <a:gd name="T6" fmla="*/ 0 w 2"/>
                  <a:gd name="T7" fmla="*/ 1 h 3"/>
                  <a:gd name="T8" fmla="*/ 2 w 2"/>
                  <a:gd name="T9" fmla="*/ 0 h 3"/>
                  <a:gd name="T10" fmla="*/ 2 w 2"/>
                  <a:gd name="T11" fmla="*/ 0 h 3"/>
                </a:gdLst>
                <a:ahLst/>
                <a:cxnLst>
                  <a:cxn ang="0">
                    <a:pos x="T0" y="T1"/>
                  </a:cxn>
                  <a:cxn ang="0">
                    <a:pos x="T2" y="T3"/>
                  </a:cxn>
                  <a:cxn ang="0">
                    <a:pos x="T4" y="T5"/>
                  </a:cxn>
                  <a:cxn ang="0">
                    <a:pos x="T6" y="T7"/>
                  </a:cxn>
                  <a:cxn ang="0">
                    <a:pos x="T8" y="T9"/>
                  </a:cxn>
                  <a:cxn ang="0">
                    <a:pos x="T10" y="T11"/>
                  </a:cxn>
                </a:cxnLst>
                <a:rect l="0" t="0" r="r" b="b"/>
                <a:pathLst>
                  <a:path w="2" h="3">
                    <a:moveTo>
                      <a:pt x="2" y="0"/>
                    </a:moveTo>
                    <a:cubicBezTo>
                      <a:pt x="2" y="1"/>
                      <a:pt x="1" y="2"/>
                      <a:pt x="1" y="2"/>
                    </a:cubicBezTo>
                    <a:cubicBezTo>
                      <a:pt x="1" y="2"/>
                      <a:pt x="0" y="2"/>
                      <a:pt x="0" y="3"/>
                    </a:cubicBezTo>
                    <a:cubicBezTo>
                      <a:pt x="0" y="2"/>
                      <a:pt x="0" y="1"/>
                      <a:pt x="0" y="1"/>
                    </a:cubicBezTo>
                    <a:cubicBezTo>
                      <a:pt x="0" y="1"/>
                      <a:pt x="1" y="0"/>
                      <a:pt x="2" y="0"/>
                    </a:cubicBezTo>
                    <a:cubicBezTo>
                      <a:pt x="2" y="0"/>
                      <a:pt x="2" y="0"/>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0" name="Freeform 338"/>
              <p:cNvSpPr>
                <a:spLocks/>
              </p:cNvSpPr>
              <p:nvPr userDrawn="1"/>
            </p:nvSpPr>
            <p:spPr bwMode="auto">
              <a:xfrm>
                <a:off x="4093" y="1518"/>
                <a:ext cx="3" cy="3"/>
              </a:xfrm>
              <a:custGeom>
                <a:avLst/>
                <a:gdLst>
                  <a:gd name="T0" fmla="*/ 0 w 3"/>
                  <a:gd name="T1" fmla="*/ 0 h 2"/>
                  <a:gd name="T2" fmla="*/ 3 w 3"/>
                  <a:gd name="T3" fmla="*/ 1 h 2"/>
                  <a:gd name="T4" fmla="*/ 3 w 3"/>
                  <a:gd name="T5" fmla="*/ 2 h 2"/>
                  <a:gd name="T6" fmla="*/ 2 w 3"/>
                  <a:gd name="T7" fmla="*/ 2 h 2"/>
                  <a:gd name="T8" fmla="*/ 0 w 3"/>
                  <a:gd name="T9" fmla="*/ 0 h 2"/>
                </a:gdLst>
                <a:ahLst/>
                <a:cxnLst>
                  <a:cxn ang="0">
                    <a:pos x="T0" y="T1"/>
                  </a:cxn>
                  <a:cxn ang="0">
                    <a:pos x="T2" y="T3"/>
                  </a:cxn>
                  <a:cxn ang="0">
                    <a:pos x="T4" y="T5"/>
                  </a:cxn>
                  <a:cxn ang="0">
                    <a:pos x="T6" y="T7"/>
                  </a:cxn>
                  <a:cxn ang="0">
                    <a:pos x="T8" y="T9"/>
                  </a:cxn>
                </a:cxnLst>
                <a:rect l="0" t="0" r="r" b="b"/>
                <a:pathLst>
                  <a:path w="3" h="2">
                    <a:moveTo>
                      <a:pt x="0" y="0"/>
                    </a:moveTo>
                    <a:cubicBezTo>
                      <a:pt x="1" y="0"/>
                      <a:pt x="2" y="0"/>
                      <a:pt x="3" y="1"/>
                    </a:cubicBezTo>
                    <a:cubicBezTo>
                      <a:pt x="3" y="1"/>
                      <a:pt x="3" y="1"/>
                      <a:pt x="3" y="2"/>
                    </a:cubicBezTo>
                    <a:cubicBezTo>
                      <a:pt x="3" y="2"/>
                      <a:pt x="2" y="2"/>
                      <a:pt x="2" y="2"/>
                    </a:cubicBezTo>
                    <a:cubicBezTo>
                      <a:pt x="1" y="1"/>
                      <a:pt x="1" y="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1" name="Freeform 339"/>
              <p:cNvSpPr>
                <a:spLocks/>
              </p:cNvSpPr>
              <p:nvPr userDrawn="1"/>
            </p:nvSpPr>
            <p:spPr bwMode="auto">
              <a:xfrm>
                <a:off x="2044" y="1832"/>
                <a:ext cx="83" cy="246"/>
              </a:xfrm>
              <a:custGeom>
                <a:avLst/>
                <a:gdLst>
                  <a:gd name="T0" fmla="*/ 68 w 68"/>
                  <a:gd name="T1" fmla="*/ 201 h 201"/>
                  <a:gd name="T2" fmla="*/ 46 w 68"/>
                  <a:gd name="T3" fmla="*/ 201 h 201"/>
                  <a:gd name="T4" fmla="*/ 46 w 68"/>
                  <a:gd name="T5" fmla="*/ 31 h 201"/>
                  <a:gd name="T6" fmla="*/ 38 w 68"/>
                  <a:gd name="T7" fmla="*/ 37 h 201"/>
                  <a:gd name="T8" fmla="*/ 27 w 68"/>
                  <a:gd name="T9" fmla="*/ 44 h 201"/>
                  <a:gd name="T10" fmla="*/ 14 w 68"/>
                  <a:gd name="T11" fmla="*/ 50 h 201"/>
                  <a:gd name="T12" fmla="*/ 0 w 68"/>
                  <a:gd name="T13" fmla="*/ 55 h 201"/>
                  <a:gd name="T14" fmla="*/ 0 w 68"/>
                  <a:gd name="T15" fmla="*/ 32 h 201"/>
                  <a:gd name="T16" fmla="*/ 16 w 68"/>
                  <a:gd name="T17" fmla="*/ 26 h 201"/>
                  <a:gd name="T18" fmla="*/ 32 w 68"/>
                  <a:gd name="T19" fmla="*/ 19 h 201"/>
                  <a:gd name="T20" fmla="*/ 47 w 68"/>
                  <a:gd name="T21" fmla="*/ 10 h 201"/>
                  <a:gd name="T22" fmla="*/ 60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6" y="201"/>
                      <a:pt x="46" y="201"/>
                      <a:pt x="46" y="201"/>
                    </a:cubicBezTo>
                    <a:cubicBezTo>
                      <a:pt x="46" y="31"/>
                      <a:pt x="46" y="31"/>
                      <a:pt x="46" y="31"/>
                    </a:cubicBezTo>
                    <a:cubicBezTo>
                      <a:pt x="44" y="33"/>
                      <a:pt x="41" y="35"/>
                      <a:pt x="38" y="37"/>
                    </a:cubicBezTo>
                    <a:cubicBezTo>
                      <a:pt x="35" y="40"/>
                      <a:pt x="31" y="42"/>
                      <a:pt x="27" y="44"/>
                    </a:cubicBezTo>
                    <a:cubicBezTo>
                      <a:pt x="23" y="46"/>
                      <a:pt x="18" y="48"/>
                      <a:pt x="14" y="50"/>
                    </a:cubicBezTo>
                    <a:cubicBezTo>
                      <a:pt x="9" y="52"/>
                      <a:pt x="5" y="53"/>
                      <a:pt x="0" y="55"/>
                    </a:cubicBezTo>
                    <a:cubicBezTo>
                      <a:pt x="0" y="32"/>
                      <a:pt x="0" y="32"/>
                      <a:pt x="0" y="32"/>
                    </a:cubicBezTo>
                    <a:cubicBezTo>
                      <a:pt x="5" y="31"/>
                      <a:pt x="10" y="29"/>
                      <a:pt x="16" y="26"/>
                    </a:cubicBezTo>
                    <a:cubicBezTo>
                      <a:pt x="21" y="24"/>
                      <a:pt x="27" y="21"/>
                      <a:pt x="32" y="19"/>
                    </a:cubicBezTo>
                    <a:cubicBezTo>
                      <a:pt x="38" y="16"/>
                      <a:pt x="43" y="13"/>
                      <a:pt x="47" y="10"/>
                    </a:cubicBezTo>
                    <a:cubicBezTo>
                      <a:pt x="52" y="6"/>
                      <a:pt x="56" y="3"/>
                      <a:pt x="60"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2" name="Freeform 340"/>
              <p:cNvSpPr>
                <a:spLocks noEditPoints="1"/>
              </p:cNvSpPr>
              <p:nvPr userDrawn="1"/>
            </p:nvSpPr>
            <p:spPr bwMode="auto">
              <a:xfrm>
                <a:off x="2193" y="1833"/>
                <a:ext cx="156" cy="248"/>
              </a:xfrm>
              <a:custGeom>
                <a:avLst/>
                <a:gdLst>
                  <a:gd name="T0" fmla="*/ 128 w 128"/>
                  <a:gd name="T1" fmla="*/ 101 h 203"/>
                  <a:gd name="T2" fmla="*/ 123 w 128"/>
                  <a:gd name="T3" fmla="*/ 144 h 203"/>
                  <a:gd name="T4" fmla="*/ 110 w 128"/>
                  <a:gd name="T5" fmla="*/ 177 h 203"/>
                  <a:gd name="T6" fmla="*/ 90 w 128"/>
                  <a:gd name="T7" fmla="*/ 196 h 203"/>
                  <a:gd name="T8" fmla="*/ 62 w 128"/>
                  <a:gd name="T9" fmla="*/ 203 h 203"/>
                  <a:gd name="T10" fmla="*/ 36 w 128"/>
                  <a:gd name="T11" fmla="*/ 197 h 203"/>
                  <a:gd name="T12" fmla="*/ 16 w 128"/>
                  <a:gd name="T13" fmla="*/ 178 h 203"/>
                  <a:gd name="T14" fmla="*/ 4 w 128"/>
                  <a:gd name="T15" fmla="*/ 147 h 203"/>
                  <a:gd name="T16" fmla="*/ 0 w 128"/>
                  <a:gd name="T17" fmla="*/ 106 h 203"/>
                  <a:gd name="T18" fmla="*/ 4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5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6" y="132"/>
                      <a:pt x="123" y="144"/>
                    </a:cubicBezTo>
                    <a:cubicBezTo>
                      <a:pt x="120" y="157"/>
                      <a:pt x="116" y="168"/>
                      <a:pt x="110" y="177"/>
                    </a:cubicBezTo>
                    <a:cubicBezTo>
                      <a:pt x="105" y="185"/>
                      <a:pt x="98" y="192"/>
                      <a:pt x="90" y="196"/>
                    </a:cubicBezTo>
                    <a:cubicBezTo>
                      <a:pt x="82" y="201"/>
                      <a:pt x="72" y="203"/>
                      <a:pt x="62" y="203"/>
                    </a:cubicBezTo>
                    <a:cubicBezTo>
                      <a:pt x="52" y="203"/>
                      <a:pt x="43" y="201"/>
                      <a:pt x="36" y="197"/>
                    </a:cubicBezTo>
                    <a:cubicBezTo>
                      <a:pt x="28" y="192"/>
                      <a:pt x="21" y="186"/>
                      <a:pt x="16" y="178"/>
                    </a:cubicBezTo>
                    <a:cubicBezTo>
                      <a:pt x="11" y="169"/>
                      <a:pt x="7" y="159"/>
                      <a:pt x="4" y="147"/>
                    </a:cubicBezTo>
                    <a:cubicBezTo>
                      <a:pt x="1" y="135"/>
                      <a:pt x="0" y="121"/>
                      <a:pt x="0" y="106"/>
                    </a:cubicBezTo>
                    <a:cubicBezTo>
                      <a:pt x="0" y="89"/>
                      <a:pt x="1" y="73"/>
                      <a:pt x="4" y="60"/>
                    </a:cubicBezTo>
                    <a:cubicBezTo>
                      <a:pt x="7" y="47"/>
                      <a:pt x="11" y="36"/>
                      <a:pt x="17" y="27"/>
                    </a:cubicBezTo>
                    <a:cubicBezTo>
                      <a:pt x="22" y="18"/>
                      <a:pt x="29" y="12"/>
                      <a:pt x="38" y="7"/>
                    </a:cubicBezTo>
                    <a:cubicBezTo>
                      <a:pt x="46" y="3"/>
                      <a:pt x="55" y="0"/>
                      <a:pt x="66" y="0"/>
                    </a:cubicBezTo>
                    <a:cubicBezTo>
                      <a:pt x="107" y="0"/>
                      <a:pt x="128" y="34"/>
                      <a:pt x="128" y="101"/>
                    </a:cubicBezTo>
                    <a:close/>
                    <a:moveTo>
                      <a:pt x="105" y="103"/>
                    </a:moveTo>
                    <a:cubicBezTo>
                      <a:pt x="105" y="47"/>
                      <a:pt x="91" y="19"/>
                      <a:pt x="65" y="19"/>
                    </a:cubicBezTo>
                    <a:cubicBezTo>
                      <a:pt x="37" y="19"/>
                      <a:pt x="23" y="48"/>
                      <a:pt x="23" y="105"/>
                    </a:cubicBezTo>
                    <a:cubicBezTo>
                      <a:pt x="23" y="158"/>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3" name="Freeform 341"/>
              <p:cNvSpPr>
                <a:spLocks noEditPoints="1"/>
              </p:cNvSpPr>
              <p:nvPr userDrawn="1"/>
            </p:nvSpPr>
            <p:spPr bwMode="auto">
              <a:xfrm>
                <a:off x="2388" y="1833"/>
                <a:ext cx="156" cy="248"/>
              </a:xfrm>
              <a:custGeom>
                <a:avLst/>
                <a:gdLst>
                  <a:gd name="T0" fmla="*/ 128 w 128"/>
                  <a:gd name="T1" fmla="*/ 101 h 203"/>
                  <a:gd name="T2" fmla="*/ 123 w 128"/>
                  <a:gd name="T3" fmla="*/ 144 h 203"/>
                  <a:gd name="T4" fmla="*/ 110 w 128"/>
                  <a:gd name="T5" fmla="*/ 177 h 203"/>
                  <a:gd name="T6" fmla="*/ 90 w 128"/>
                  <a:gd name="T7" fmla="*/ 196 h 203"/>
                  <a:gd name="T8" fmla="*/ 62 w 128"/>
                  <a:gd name="T9" fmla="*/ 203 h 203"/>
                  <a:gd name="T10" fmla="*/ 36 w 128"/>
                  <a:gd name="T11" fmla="*/ 197 h 203"/>
                  <a:gd name="T12" fmla="*/ 16 w 128"/>
                  <a:gd name="T13" fmla="*/ 178 h 203"/>
                  <a:gd name="T14" fmla="*/ 4 w 128"/>
                  <a:gd name="T15" fmla="*/ 147 h 203"/>
                  <a:gd name="T16" fmla="*/ 0 w 128"/>
                  <a:gd name="T17" fmla="*/ 106 h 203"/>
                  <a:gd name="T18" fmla="*/ 4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5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6" y="132"/>
                      <a:pt x="123" y="144"/>
                    </a:cubicBezTo>
                    <a:cubicBezTo>
                      <a:pt x="120" y="157"/>
                      <a:pt x="116" y="168"/>
                      <a:pt x="110" y="177"/>
                    </a:cubicBezTo>
                    <a:cubicBezTo>
                      <a:pt x="105" y="185"/>
                      <a:pt x="98" y="192"/>
                      <a:pt x="90" y="196"/>
                    </a:cubicBezTo>
                    <a:cubicBezTo>
                      <a:pt x="81" y="201"/>
                      <a:pt x="72" y="203"/>
                      <a:pt x="62" y="203"/>
                    </a:cubicBezTo>
                    <a:cubicBezTo>
                      <a:pt x="52" y="203"/>
                      <a:pt x="43" y="201"/>
                      <a:pt x="36" y="197"/>
                    </a:cubicBezTo>
                    <a:cubicBezTo>
                      <a:pt x="28" y="192"/>
                      <a:pt x="21" y="186"/>
                      <a:pt x="16" y="178"/>
                    </a:cubicBezTo>
                    <a:cubicBezTo>
                      <a:pt x="11" y="169"/>
                      <a:pt x="7" y="159"/>
                      <a:pt x="4" y="147"/>
                    </a:cubicBezTo>
                    <a:cubicBezTo>
                      <a:pt x="1" y="135"/>
                      <a:pt x="0" y="121"/>
                      <a:pt x="0" y="106"/>
                    </a:cubicBezTo>
                    <a:cubicBezTo>
                      <a:pt x="0" y="89"/>
                      <a:pt x="1" y="73"/>
                      <a:pt x="4" y="60"/>
                    </a:cubicBezTo>
                    <a:cubicBezTo>
                      <a:pt x="7" y="47"/>
                      <a:pt x="11" y="36"/>
                      <a:pt x="17" y="27"/>
                    </a:cubicBezTo>
                    <a:cubicBezTo>
                      <a:pt x="22" y="18"/>
                      <a:pt x="29" y="12"/>
                      <a:pt x="38" y="7"/>
                    </a:cubicBezTo>
                    <a:cubicBezTo>
                      <a:pt x="46" y="3"/>
                      <a:pt x="55" y="0"/>
                      <a:pt x="66" y="0"/>
                    </a:cubicBezTo>
                    <a:cubicBezTo>
                      <a:pt x="107" y="0"/>
                      <a:pt x="128" y="34"/>
                      <a:pt x="128" y="101"/>
                    </a:cubicBezTo>
                    <a:close/>
                    <a:moveTo>
                      <a:pt x="105" y="103"/>
                    </a:moveTo>
                    <a:cubicBezTo>
                      <a:pt x="105" y="47"/>
                      <a:pt x="91" y="19"/>
                      <a:pt x="65" y="19"/>
                    </a:cubicBezTo>
                    <a:cubicBezTo>
                      <a:pt x="37" y="19"/>
                      <a:pt x="23" y="48"/>
                      <a:pt x="23" y="105"/>
                    </a:cubicBezTo>
                    <a:cubicBezTo>
                      <a:pt x="23" y="158"/>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4" name="Freeform 342"/>
              <p:cNvSpPr>
                <a:spLocks/>
              </p:cNvSpPr>
              <p:nvPr userDrawn="1"/>
            </p:nvSpPr>
            <p:spPr bwMode="auto">
              <a:xfrm>
                <a:off x="2813" y="1832"/>
                <a:ext cx="83" cy="246"/>
              </a:xfrm>
              <a:custGeom>
                <a:avLst/>
                <a:gdLst>
                  <a:gd name="T0" fmla="*/ 68 w 68"/>
                  <a:gd name="T1" fmla="*/ 201 h 201"/>
                  <a:gd name="T2" fmla="*/ 45 w 68"/>
                  <a:gd name="T3" fmla="*/ 201 h 201"/>
                  <a:gd name="T4" fmla="*/ 45 w 68"/>
                  <a:gd name="T5" fmla="*/ 31 h 201"/>
                  <a:gd name="T6" fmla="*/ 38 w 68"/>
                  <a:gd name="T7" fmla="*/ 37 h 201"/>
                  <a:gd name="T8" fmla="*/ 26 w 68"/>
                  <a:gd name="T9" fmla="*/ 44 h 201"/>
                  <a:gd name="T10" fmla="*/ 13 w 68"/>
                  <a:gd name="T11" fmla="*/ 50 h 201"/>
                  <a:gd name="T12" fmla="*/ 0 w 68"/>
                  <a:gd name="T13" fmla="*/ 55 h 201"/>
                  <a:gd name="T14" fmla="*/ 0 w 68"/>
                  <a:gd name="T15" fmla="*/ 32 h 201"/>
                  <a:gd name="T16" fmla="*/ 15 w 68"/>
                  <a:gd name="T17" fmla="*/ 26 h 201"/>
                  <a:gd name="T18" fmla="*/ 32 w 68"/>
                  <a:gd name="T19" fmla="*/ 19 h 201"/>
                  <a:gd name="T20" fmla="*/ 47 w 68"/>
                  <a:gd name="T21" fmla="*/ 10 h 201"/>
                  <a:gd name="T22" fmla="*/ 59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5" y="201"/>
                      <a:pt x="45" y="201"/>
                      <a:pt x="45" y="201"/>
                    </a:cubicBezTo>
                    <a:cubicBezTo>
                      <a:pt x="45" y="31"/>
                      <a:pt x="45" y="31"/>
                      <a:pt x="45" y="31"/>
                    </a:cubicBezTo>
                    <a:cubicBezTo>
                      <a:pt x="43" y="33"/>
                      <a:pt x="41" y="35"/>
                      <a:pt x="38" y="37"/>
                    </a:cubicBezTo>
                    <a:cubicBezTo>
                      <a:pt x="34" y="40"/>
                      <a:pt x="31" y="42"/>
                      <a:pt x="26" y="44"/>
                    </a:cubicBezTo>
                    <a:cubicBezTo>
                      <a:pt x="22" y="46"/>
                      <a:pt x="18" y="48"/>
                      <a:pt x="13" y="50"/>
                    </a:cubicBezTo>
                    <a:cubicBezTo>
                      <a:pt x="9" y="52"/>
                      <a:pt x="4" y="53"/>
                      <a:pt x="0" y="55"/>
                    </a:cubicBezTo>
                    <a:cubicBezTo>
                      <a:pt x="0" y="32"/>
                      <a:pt x="0" y="32"/>
                      <a:pt x="0" y="32"/>
                    </a:cubicBezTo>
                    <a:cubicBezTo>
                      <a:pt x="5" y="31"/>
                      <a:pt x="10" y="29"/>
                      <a:pt x="15" y="26"/>
                    </a:cubicBezTo>
                    <a:cubicBezTo>
                      <a:pt x="21" y="24"/>
                      <a:pt x="26" y="21"/>
                      <a:pt x="32" y="19"/>
                    </a:cubicBezTo>
                    <a:cubicBezTo>
                      <a:pt x="37" y="16"/>
                      <a:pt x="42" y="13"/>
                      <a:pt x="47" y="10"/>
                    </a:cubicBezTo>
                    <a:cubicBezTo>
                      <a:pt x="52" y="6"/>
                      <a:pt x="56" y="3"/>
                      <a:pt x="59"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5" name="Freeform 343"/>
              <p:cNvSpPr>
                <a:spLocks noEditPoints="1"/>
              </p:cNvSpPr>
              <p:nvPr userDrawn="1"/>
            </p:nvSpPr>
            <p:spPr bwMode="auto">
              <a:xfrm>
                <a:off x="2960" y="1833"/>
                <a:ext cx="156" cy="248"/>
              </a:xfrm>
              <a:custGeom>
                <a:avLst/>
                <a:gdLst>
                  <a:gd name="T0" fmla="*/ 128 w 128"/>
                  <a:gd name="T1" fmla="*/ 101 h 203"/>
                  <a:gd name="T2" fmla="*/ 124 w 128"/>
                  <a:gd name="T3" fmla="*/ 144 h 203"/>
                  <a:gd name="T4" fmla="*/ 111 w 128"/>
                  <a:gd name="T5" fmla="*/ 177 h 203"/>
                  <a:gd name="T6" fmla="*/ 90 w 128"/>
                  <a:gd name="T7" fmla="*/ 196 h 203"/>
                  <a:gd name="T8" fmla="*/ 62 w 128"/>
                  <a:gd name="T9" fmla="*/ 203 h 203"/>
                  <a:gd name="T10" fmla="*/ 36 w 128"/>
                  <a:gd name="T11" fmla="*/ 197 h 203"/>
                  <a:gd name="T12" fmla="*/ 17 w 128"/>
                  <a:gd name="T13" fmla="*/ 178 h 203"/>
                  <a:gd name="T14" fmla="*/ 5 w 128"/>
                  <a:gd name="T15" fmla="*/ 147 h 203"/>
                  <a:gd name="T16" fmla="*/ 0 w 128"/>
                  <a:gd name="T17" fmla="*/ 106 h 203"/>
                  <a:gd name="T18" fmla="*/ 5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5 h 203"/>
                  <a:gd name="T34" fmla="*/ 65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7" y="132"/>
                      <a:pt x="124" y="144"/>
                    </a:cubicBezTo>
                    <a:cubicBezTo>
                      <a:pt x="121" y="157"/>
                      <a:pt x="116" y="168"/>
                      <a:pt x="111" y="177"/>
                    </a:cubicBezTo>
                    <a:cubicBezTo>
                      <a:pt x="105" y="185"/>
                      <a:pt x="98" y="192"/>
                      <a:pt x="90" y="196"/>
                    </a:cubicBezTo>
                    <a:cubicBezTo>
                      <a:pt x="82" y="201"/>
                      <a:pt x="73" y="203"/>
                      <a:pt x="62" y="203"/>
                    </a:cubicBezTo>
                    <a:cubicBezTo>
                      <a:pt x="53" y="203"/>
                      <a:pt x="44" y="201"/>
                      <a:pt x="36" y="197"/>
                    </a:cubicBezTo>
                    <a:cubicBezTo>
                      <a:pt x="28" y="192"/>
                      <a:pt x="22" y="186"/>
                      <a:pt x="17" y="178"/>
                    </a:cubicBezTo>
                    <a:cubicBezTo>
                      <a:pt x="11" y="169"/>
                      <a:pt x="7" y="159"/>
                      <a:pt x="5" y="147"/>
                    </a:cubicBezTo>
                    <a:cubicBezTo>
                      <a:pt x="2" y="135"/>
                      <a:pt x="0" y="121"/>
                      <a:pt x="0" y="106"/>
                    </a:cubicBezTo>
                    <a:cubicBezTo>
                      <a:pt x="0" y="89"/>
                      <a:pt x="2" y="73"/>
                      <a:pt x="5" y="60"/>
                    </a:cubicBezTo>
                    <a:cubicBezTo>
                      <a:pt x="8" y="47"/>
                      <a:pt x="12" y="36"/>
                      <a:pt x="17" y="27"/>
                    </a:cubicBezTo>
                    <a:cubicBezTo>
                      <a:pt x="23" y="18"/>
                      <a:pt x="30" y="12"/>
                      <a:pt x="38" y="7"/>
                    </a:cubicBezTo>
                    <a:cubicBezTo>
                      <a:pt x="46" y="3"/>
                      <a:pt x="56" y="0"/>
                      <a:pt x="66" y="0"/>
                    </a:cubicBezTo>
                    <a:cubicBezTo>
                      <a:pt x="108" y="0"/>
                      <a:pt x="128" y="34"/>
                      <a:pt x="128" y="101"/>
                    </a:cubicBezTo>
                    <a:close/>
                    <a:moveTo>
                      <a:pt x="105" y="103"/>
                    </a:moveTo>
                    <a:cubicBezTo>
                      <a:pt x="105" y="47"/>
                      <a:pt x="92" y="19"/>
                      <a:pt x="65" y="19"/>
                    </a:cubicBezTo>
                    <a:cubicBezTo>
                      <a:pt x="37" y="19"/>
                      <a:pt x="23" y="48"/>
                      <a:pt x="23" y="105"/>
                    </a:cubicBezTo>
                    <a:cubicBezTo>
                      <a:pt x="23" y="158"/>
                      <a:pt x="37" y="184"/>
                      <a:pt x="65" y="184"/>
                    </a:cubicBezTo>
                    <a:cubicBezTo>
                      <a:pt x="92"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6" name="Freeform 344"/>
              <p:cNvSpPr>
                <a:spLocks/>
              </p:cNvSpPr>
              <p:nvPr userDrawn="1"/>
            </p:nvSpPr>
            <p:spPr bwMode="auto">
              <a:xfrm>
                <a:off x="3159" y="1832"/>
                <a:ext cx="82" cy="246"/>
              </a:xfrm>
              <a:custGeom>
                <a:avLst/>
                <a:gdLst>
                  <a:gd name="T0" fmla="*/ 67 w 67"/>
                  <a:gd name="T1" fmla="*/ 201 h 201"/>
                  <a:gd name="T2" fmla="*/ 45 w 67"/>
                  <a:gd name="T3" fmla="*/ 201 h 201"/>
                  <a:gd name="T4" fmla="*/ 45 w 67"/>
                  <a:gd name="T5" fmla="*/ 31 h 201"/>
                  <a:gd name="T6" fmla="*/ 37 w 67"/>
                  <a:gd name="T7" fmla="*/ 37 h 201"/>
                  <a:gd name="T8" fmla="*/ 26 w 67"/>
                  <a:gd name="T9" fmla="*/ 44 h 201"/>
                  <a:gd name="T10" fmla="*/ 13 w 67"/>
                  <a:gd name="T11" fmla="*/ 50 h 201"/>
                  <a:gd name="T12" fmla="*/ 0 w 67"/>
                  <a:gd name="T13" fmla="*/ 55 h 201"/>
                  <a:gd name="T14" fmla="*/ 0 w 67"/>
                  <a:gd name="T15" fmla="*/ 32 h 201"/>
                  <a:gd name="T16" fmla="*/ 15 w 67"/>
                  <a:gd name="T17" fmla="*/ 26 h 201"/>
                  <a:gd name="T18" fmla="*/ 31 w 67"/>
                  <a:gd name="T19" fmla="*/ 19 h 201"/>
                  <a:gd name="T20" fmla="*/ 47 w 67"/>
                  <a:gd name="T21" fmla="*/ 10 h 201"/>
                  <a:gd name="T22" fmla="*/ 59 w 67"/>
                  <a:gd name="T23" fmla="*/ 0 h 201"/>
                  <a:gd name="T24" fmla="*/ 67 w 67"/>
                  <a:gd name="T25" fmla="*/ 0 h 201"/>
                  <a:gd name="T26" fmla="*/ 67 w 67"/>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7" h="201">
                    <a:moveTo>
                      <a:pt x="67" y="201"/>
                    </a:moveTo>
                    <a:cubicBezTo>
                      <a:pt x="45" y="201"/>
                      <a:pt x="45" y="201"/>
                      <a:pt x="45" y="201"/>
                    </a:cubicBezTo>
                    <a:cubicBezTo>
                      <a:pt x="45" y="31"/>
                      <a:pt x="45" y="31"/>
                      <a:pt x="45" y="31"/>
                    </a:cubicBezTo>
                    <a:cubicBezTo>
                      <a:pt x="43" y="33"/>
                      <a:pt x="41" y="35"/>
                      <a:pt x="37" y="37"/>
                    </a:cubicBezTo>
                    <a:cubicBezTo>
                      <a:pt x="34" y="40"/>
                      <a:pt x="30" y="42"/>
                      <a:pt x="26" y="44"/>
                    </a:cubicBezTo>
                    <a:cubicBezTo>
                      <a:pt x="22" y="46"/>
                      <a:pt x="18" y="48"/>
                      <a:pt x="13" y="50"/>
                    </a:cubicBezTo>
                    <a:cubicBezTo>
                      <a:pt x="8" y="52"/>
                      <a:pt x="4" y="53"/>
                      <a:pt x="0" y="55"/>
                    </a:cubicBezTo>
                    <a:cubicBezTo>
                      <a:pt x="0" y="32"/>
                      <a:pt x="0" y="32"/>
                      <a:pt x="0" y="32"/>
                    </a:cubicBezTo>
                    <a:cubicBezTo>
                      <a:pt x="4" y="31"/>
                      <a:pt x="10" y="29"/>
                      <a:pt x="15" y="26"/>
                    </a:cubicBezTo>
                    <a:cubicBezTo>
                      <a:pt x="21" y="24"/>
                      <a:pt x="26" y="21"/>
                      <a:pt x="31" y="19"/>
                    </a:cubicBezTo>
                    <a:cubicBezTo>
                      <a:pt x="37" y="16"/>
                      <a:pt x="42" y="13"/>
                      <a:pt x="47" y="10"/>
                    </a:cubicBezTo>
                    <a:cubicBezTo>
                      <a:pt x="51" y="6"/>
                      <a:pt x="55" y="3"/>
                      <a:pt x="59" y="0"/>
                    </a:cubicBezTo>
                    <a:cubicBezTo>
                      <a:pt x="67" y="0"/>
                      <a:pt x="67" y="0"/>
                      <a:pt x="67" y="0"/>
                    </a:cubicBezTo>
                    <a:lnTo>
                      <a:pt x="67"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7" name="Freeform 345"/>
              <p:cNvSpPr>
                <a:spLocks/>
              </p:cNvSpPr>
              <p:nvPr userDrawn="1"/>
            </p:nvSpPr>
            <p:spPr bwMode="auto">
              <a:xfrm>
                <a:off x="3308" y="1832"/>
                <a:ext cx="83" cy="246"/>
              </a:xfrm>
              <a:custGeom>
                <a:avLst/>
                <a:gdLst>
                  <a:gd name="T0" fmla="*/ 68 w 68"/>
                  <a:gd name="T1" fmla="*/ 201 h 201"/>
                  <a:gd name="T2" fmla="*/ 45 w 68"/>
                  <a:gd name="T3" fmla="*/ 201 h 201"/>
                  <a:gd name="T4" fmla="*/ 45 w 68"/>
                  <a:gd name="T5" fmla="*/ 31 h 201"/>
                  <a:gd name="T6" fmla="*/ 38 w 68"/>
                  <a:gd name="T7" fmla="*/ 37 h 201"/>
                  <a:gd name="T8" fmla="*/ 27 w 68"/>
                  <a:gd name="T9" fmla="*/ 44 h 201"/>
                  <a:gd name="T10" fmla="*/ 14 w 68"/>
                  <a:gd name="T11" fmla="*/ 50 h 201"/>
                  <a:gd name="T12" fmla="*/ 0 w 68"/>
                  <a:gd name="T13" fmla="*/ 55 h 201"/>
                  <a:gd name="T14" fmla="*/ 0 w 68"/>
                  <a:gd name="T15" fmla="*/ 32 h 201"/>
                  <a:gd name="T16" fmla="*/ 16 w 68"/>
                  <a:gd name="T17" fmla="*/ 26 h 201"/>
                  <a:gd name="T18" fmla="*/ 32 w 68"/>
                  <a:gd name="T19" fmla="*/ 19 h 201"/>
                  <a:gd name="T20" fmla="*/ 47 w 68"/>
                  <a:gd name="T21" fmla="*/ 10 h 201"/>
                  <a:gd name="T22" fmla="*/ 59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5" y="201"/>
                      <a:pt x="45" y="201"/>
                      <a:pt x="45" y="201"/>
                    </a:cubicBezTo>
                    <a:cubicBezTo>
                      <a:pt x="45" y="31"/>
                      <a:pt x="45" y="31"/>
                      <a:pt x="45" y="31"/>
                    </a:cubicBezTo>
                    <a:cubicBezTo>
                      <a:pt x="44" y="33"/>
                      <a:pt x="41" y="35"/>
                      <a:pt x="38" y="37"/>
                    </a:cubicBezTo>
                    <a:cubicBezTo>
                      <a:pt x="35" y="40"/>
                      <a:pt x="31" y="42"/>
                      <a:pt x="27" y="44"/>
                    </a:cubicBezTo>
                    <a:cubicBezTo>
                      <a:pt x="23" y="46"/>
                      <a:pt x="18" y="48"/>
                      <a:pt x="14" y="50"/>
                    </a:cubicBezTo>
                    <a:cubicBezTo>
                      <a:pt x="9" y="52"/>
                      <a:pt x="4" y="53"/>
                      <a:pt x="0" y="55"/>
                    </a:cubicBezTo>
                    <a:cubicBezTo>
                      <a:pt x="0" y="32"/>
                      <a:pt x="0" y="32"/>
                      <a:pt x="0" y="32"/>
                    </a:cubicBezTo>
                    <a:cubicBezTo>
                      <a:pt x="5" y="31"/>
                      <a:pt x="10" y="29"/>
                      <a:pt x="16" y="26"/>
                    </a:cubicBezTo>
                    <a:cubicBezTo>
                      <a:pt x="21" y="24"/>
                      <a:pt x="27" y="21"/>
                      <a:pt x="32" y="19"/>
                    </a:cubicBezTo>
                    <a:cubicBezTo>
                      <a:pt x="37" y="16"/>
                      <a:pt x="42" y="13"/>
                      <a:pt x="47" y="10"/>
                    </a:cubicBezTo>
                    <a:cubicBezTo>
                      <a:pt x="52" y="6"/>
                      <a:pt x="56" y="3"/>
                      <a:pt x="59"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8" name="Freeform 346"/>
              <p:cNvSpPr>
                <a:spLocks noEditPoints="1"/>
              </p:cNvSpPr>
              <p:nvPr userDrawn="1"/>
            </p:nvSpPr>
            <p:spPr bwMode="auto">
              <a:xfrm>
                <a:off x="3456" y="1833"/>
                <a:ext cx="155" cy="248"/>
              </a:xfrm>
              <a:custGeom>
                <a:avLst/>
                <a:gdLst>
                  <a:gd name="T0" fmla="*/ 127 w 127"/>
                  <a:gd name="T1" fmla="*/ 101 h 203"/>
                  <a:gd name="T2" fmla="*/ 123 w 127"/>
                  <a:gd name="T3" fmla="*/ 144 h 203"/>
                  <a:gd name="T4" fmla="*/ 110 w 127"/>
                  <a:gd name="T5" fmla="*/ 177 h 203"/>
                  <a:gd name="T6" fmla="*/ 89 w 127"/>
                  <a:gd name="T7" fmla="*/ 196 h 203"/>
                  <a:gd name="T8" fmla="*/ 62 w 127"/>
                  <a:gd name="T9" fmla="*/ 203 h 203"/>
                  <a:gd name="T10" fmla="*/ 35 w 127"/>
                  <a:gd name="T11" fmla="*/ 197 h 203"/>
                  <a:gd name="T12" fmla="*/ 16 w 127"/>
                  <a:gd name="T13" fmla="*/ 178 h 203"/>
                  <a:gd name="T14" fmla="*/ 4 w 127"/>
                  <a:gd name="T15" fmla="*/ 147 h 203"/>
                  <a:gd name="T16" fmla="*/ 0 w 127"/>
                  <a:gd name="T17" fmla="*/ 106 h 203"/>
                  <a:gd name="T18" fmla="*/ 4 w 127"/>
                  <a:gd name="T19" fmla="*/ 60 h 203"/>
                  <a:gd name="T20" fmla="*/ 17 w 127"/>
                  <a:gd name="T21" fmla="*/ 27 h 203"/>
                  <a:gd name="T22" fmla="*/ 37 w 127"/>
                  <a:gd name="T23" fmla="*/ 7 h 203"/>
                  <a:gd name="T24" fmla="*/ 66 w 127"/>
                  <a:gd name="T25" fmla="*/ 0 h 203"/>
                  <a:gd name="T26" fmla="*/ 127 w 127"/>
                  <a:gd name="T27" fmla="*/ 101 h 203"/>
                  <a:gd name="T28" fmla="*/ 104 w 127"/>
                  <a:gd name="T29" fmla="*/ 103 h 203"/>
                  <a:gd name="T30" fmla="*/ 65 w 127"/>
                  <a:gd name="T31" fmla="*/ 19 h 203"/>
                  <a:gd name="T32" fmla="*/ 23 w 127"/>
                  <a:gd name="T33" fmla="*/ 105 h 203"/>
                  <a:gd name="T34" fmla="*/ 64 w 127"/>
                  <a:gd name="T35" fmla="*/ 184 h 203"/>
                  <a:gd name="T36" fmla="*/ 104 w 127"/>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7" h="203">
                    <a:moveTo>
                      <a:pt x="127" y="101"/>
                    </a:moveTo>
                    <a:cubicBezTo>
                      <a:pt x="127" y="117"/>
                      <a:pt x="126" y="132"/>
                      <a:pt x="123" y="144"/>
                    </a:cubicBezTo>
                    <a:cubicBezTo>
                      <a:pt x="120" y="157"/>
                      <a:pt x="116" y="168"/>
                      <a:pt x="110" y="177"/>
                    </a:cubicBezTo>
                    <a:cubicBezTo>
                      <a:pt x="104" y="185"/>
                      <a:pt x="98" y="192"/>
                      <a:pt x="89" y="196"/>
                    </a:cubicBezTo>
                    <a:cubicBezTo>
                      <a:pt x="81" y="201"/>
                      <a:pt x="72" y="203"/>
                      <a:pt x="62" y="203"/>
                    </a:cubicBezTo>
                    <a:cubicBezTo>
                      <a:pt x="52" y="203"/>
                      <a:pt x="43" y="201"/>
                      <a:pt x="35" y="197"/>
                    </a:cubicBezTo>
                    <a:cubicBezTo>
                      <a:pt x="28" y="192"/>
                      <a:pt x="21" y="186"/>
                      <a:pt x="16" y="178"/>
                    </a:cubicBezTo>
                    <a:cubicBezTo>
                      <a:pt x="11" y="169"/>
                      <a:pt x="7" y="159"/>
                      <a:pt x="4" y="147"/>
                    </a:cubicBezTo>
                    <a:cubicBezTo>
                      <a:pt x="1" y="135"/>
                      <a:pt x="0" y="121"/>
                      <a:pt x="0" y="106"/>
                    </a:cubicBezTo>
                    <a:cubicBezTo>
                      <a:pt x="0" y="89"/>
                      <a:pt x="1" y="73"/>
                      <a:pt x="4" y="60"/>
                    </a:cubicBezTo>
                    <a:cubicBezTo>
                      <a:pt x="7" y="47"/>
                      <a:pt x="11" y="36"/>
                      <a:pt x="17" y="27"/>
                    </a:cubicBezTo>
                    <a:cubicBezTo>
                      <a:pt x="22" y="18"/>
                      <a:pt x="29" y="12"/>
                      <a:pt x="37" y="7"/>
                    </a:cubicBezTo>
                    <a:cubicBezTo>
                      <a:pt x="46" y="3"/>
                      <a:pt x="55" y="0"/>
                      <a:pt x="66" y="0"/>
                    </a:cubicBezTo>
                    <a:cubicBezTo>
                      <a:pt x="107" y="0"/>
                      <a:pt x="127" y="34"/>
                      <a:pt x="127" y="101"/>
                    </a:cubicBezTo>
                    <a:close/>
                    <a:moveTo>
                      <a:pt x="104" y="103"/>
                    </a:moveTo>
                    <a:cubicBezTo>
                      <a:pt x="104" y="47"/>
                      <a:pt x="91" y="19"/>
                      <a:pt x="65" y="19"/>
                    </a:cubicBezTo>
                    <a:cubicBezTo>
                      <a:pt x="37" y="19"/>
                      <a:pt x="23" y="48"/>
                      <a:pt x="23" y="105"/>
                    </a:cubicBezTo>
                    <a:cubicBezTo>
                      <a:pt x="23" y="158"/>
                      <a:pt x="36" y="184"/>
                      <a:pt x="64" y="184"/>
                    </a:cubicBezTo>
                    <a:cubicBezTo>
                      <a:pt x="91" y="184"/>
                      <a:pt x="104" y="157"/>
                      <a:pt x="104"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9" name="Freeform 347"/>
              <p:cNvSpPr>
                <a:spLocks/>
              </p:cNvSpPr>
              <p:nvPr userDrawn="1"/>
            </p:nvSpPr>
            <p:spPr bwMode="auto">
              <a:xfrm>
                <a:off x="3654" y="1832"/>
                <a:ext cx="83" cy="246"/>
              </a:xfrm>
              <a:custGeom>
                <a:avLst/>
                <a:gdLst>
                  <a:gd name="T0" fmla="*/ 68 w 68"/>
                  <a:gd name="T1" fmla="*/ 201 h 201"/>
                  <a:gd name="T2" fmla="*/ 45 w 68"/>
                  <a:gd name="T3" fmla="*/ 201 h 201"/>
                  <a:gd name="T4" fmla="*/ 45 w 68"/>
                  <a:gd name="T5" fmla="*/ 31 h 201"/>
                  <a:gd name="T6" fmla="*/ 38 w 68"/>
                  <a:gd name="T7" fmla="*/ 37 h 201"/>
                  <a:gd name="T8" fmla="*/ 26 w 68"/>
                  <a:gd name="T9" fmla="*/ 44 h 201"/>
                  <a:gd name="T10" fmla="*/ 13 w 68"/>
                  <a:gd name="T11" fmla="*/ 50 h 201"/>
                  <a:gd name="T12" fmla="*/ 0 w 68"/>
                  <a:gd name="T13" fmla="*/ 55 h 201"/>
                  <a:gd name="T14" fmla="*/ 0 w 68"/>
                  <a:gd name="T15" fmla="*/ 32 h 201"/>
                  <a:gd name="T16" fmla="*/ 15 w 68"/>
                  <a:gd name="T17" fmla="*/ 26 h 201"/>
                  <a:gd name="T18" fmla="*/ 32 w 68"/>
                  <a:gd name="T19" fmla="*/ 19 h 201"/>
                  <a:gd name="T20" fmla="*/ 47 w 68"/>
                  <a:gd name="T21" fmla="*/ 10 h 201"/>
                  <a:gd name="T22" fmla="*/ 59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5" y="201"/>
                      <a:pt x="45" y="201"/>
                      <a:pt x="45" y="201"/>
                    </a:cubicBezTo>
                    <a:cubicBezTo>
                      <a:pt x="45" y="31"/>
                      <a:pt x="45" y="31"/>
                      <a:pt x="45" y="31"/>
                    </a:cubicBezTo>
                    <a:cubicBezTo>
                      <a:pt x="43" y="33"/>
                      <a:pt x="41" y="35"/>
                      <a:pt x="38" y="37"/>
                    </a:cubicBezTo>
                    <a:cubicBezTo>
                      <a:pt x="34" y="40"/>
                      <a:pt x="31" y="42"/>
                      <a:pt x="26" y="44"/>
                    </a:cubicBezTo>
                    <a:cubicBezTo>
                      <a:pt x="22" y="46"/>
                      <a:pt x="18" y="48"/>
                      <a:pt x="13" y="50"/>
                    </a:cubicBezTo>
                    <a:cubicBezTo>
                      <a:pt x="9" y="52"/>
                      <a:pt x="4" y="53"/>
                      <a:pt x="0" y="55"/>
                    </a:cubicBezTo>
                    <a:cubicBezTo>
                      <a:pt x="0" y="32"/>
                      <a:pt x="0" y="32"/>
                      <a:pt x="0" y="32"/>
                    </a:cubicBezTo>
                    <a:cubicBezTo>
                      <a:pt x="5" y="31"/>
                      <a:pt x="10" y="29"/>
                      <a:pt x="15" y="26"/>
                    </a:cubicBezTo>
                    <a:cubicBezTo>
                      <a:pt x="21" y="24"/>
                      <a:pt x="26" y="21"/>
                      <a:pt x="32" y="19"/>
                    </a:cubicBezTo>
                    <a:cubicBezTo>
                      <a:pt x="37" y="16"/>
                      <a:pt x="42" y="13"/>
                      <a:pt x="47" y="10"/>
                    </a:cubicBezTo>
                    <a:cubicBezTo>
                      <a:pt x="52" y="6"/>
                      <a:pt x="56" y="3"/>
                      <a:pt x="59"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0" name="Freeform 348"/>
              <p:cNvSpPr>
                <a:spLocks noEditPoints="1"/>
              </p:cNvSpPr>
              <p:nvPr userDrawn="1"/>
            </p:nvSpPr>
            <p:spPr bwMode="auto">
              <a:xfrm>
                <a:off x="3801" y="1833"/>
                <a:ext cx="156" cy="248"/>
              </a:xfrm>
              <a:custGeom>
                <a:avLst/>
                <a:gdLst>
                  <a:gd name="T0" fmla="*/ 128 w 128"/>
                  <a:gd name="T1" fmla="*/ 101 h 203"/>
                  <a:gd name="T2" fmla="*/ 124 w 128"/>
                  <a:gd name="T3" fmla="*/ 144 h 203"/>
                  <a:gd name="T4" fmla="*/ 111 w 128"/>
                  <a:gd name="T5" fmla="*/ 177 h 203"/>
                  <a:gd name="T6" fmla="*/ 90 w 128"/>
                  <a:gd name="T7" fmla="*/ 196 h 203"/>
                  <a:gd name="T8" fmla="*/ 62 w 128"/>
                  <a:gd name="T9" fmla="*/ 203 h 203"/>
                  <a:gd name="T10" fmla="*/ 36 w 128"/>
                  <a:gd name="T11" fmla="*/ 197 h 203"/>
                  <a:gd name="T12" fmla="*/ 17 w 128"/>
                  <a:gd name="T13" fmla="*/ 178 h 203"/>
                  <a:gd name="T14" fmla="*/ 5 w 128"/>
                  <a:gd name="T15" fmla="*/ 147 h 203"/>
                  <a:gd name="T16" fmla="*/ 0 w 128"/>
                  <a:gd name="T17" fmla="*/ 106 h 203"/>
                  <a:gd name="T18" fmla="*/ 5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5 h 203"/>
                  <a:gd name="T34" fmla="*/ 65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7" y="132"/>
                      <a:pt x="124" y="144"/>
                    </a:cubicBezTo>
                    <a:cubicBezTo>
                      <a:pt x="121" y="157"/>
                      <a:pt x="116" y="168"/>
                      <a:pt x="111" y="177"/>
                    </a:cubicBezTo>
                    <a:cubicBezTo>
                      <a:pt x="105" y="185"/>
                      <a:pt x="98" y="192"/>
                      <a:pt x="90" y="196"/>
                    </a:cubicBezTo>
                    <a:cubicBezTo>
                      <a:pt x="82" y="201"/>
                      <a:pt x="73" y="203"/>
                      <a:pt x="62" y="203"/>
                    </a:cubicBezTo>
                    <a:cubicBezTo>
                      <a:pt x="52" y="203"/>
                      <a:pt x="44" y="201"/>
                      <a:pt x="36" y="197"/>
                    </a:cubicBezTo>
                    <a:cubicBezTo>
                      <a:pt x="28" y="192"/>
                      <a:pt x="22" y="186"/>
                      <a:pt x="17" y="178"/>
                    </a:cubicBezTo>
                    <a:cubicBezTo>
                      <a:pt x="11" y="169"/>
                      <a:pt x="7" y="159"/>
                      <a:pt x="5" y="147"/>
                    </a:cubicBezTo>
                    <a:cubicBezTo>
                      <a:pt x="2" y="135"/>
                      <a:pt x="0" y="121"/>
                      <a:pt x="0" y="106"/>
                    </a:cubicBezTo>
                    <a:cubicBezTo>
                      <a:pt x="0" y="89"/>
                      <a:pt x="2" y="73"/>
                      <a:pt x="5" y="60"/>
                    </a:cubicBezTo>
                    <a:cubicBezTo>
                      <a:pt x="8" y="47"/>
                      <a:pt x="12" y="36"/>
                      <a:pt x="17" y="27"/>
                    </a:cubicBezTo>
                    <a:cubicBezTo>
                      <a:pt x="23" y="18"/>
                      <a:pt x="30" y="12"/>
                      <a:pt x="38" y="7"/>
                    </a:cubicBezTo>
                    <a:cubicBezTo>
                      <a:pt x="46" y="3"/>
                      <a:pt x="56" y="0"/>
                      <a:pt x="66" y="0"/>
                    </a:cubicBezTo>
                    <a:cubicBezTo>
                      <a:pt x="108" y="0"/>
                      <a:pt x="128" y="34"/>
                      <a:pt x="128" y="101"/>
                    </a:cubicBezTo>
                    <a:close/>
                    <a:moveTo>
                      <a:pt x="105" y="103"/>
                    </a:moveTo>
                    <a:cubicBezTo>
                      <a:pt x="105" y="47"/>
                      <a:pt x="92" y="19"/>
                      <a:pt x="65" y="19"/>
                    </a:cubicBezTo>
                    <a:cubicBezTo>
                      <a:pt x="37" y="19"/>
                      <a:pt x="23" y="48"/>
                      <a:pt x="23" y="105"/>
                    </a:cubicBezTo>
                    <a:cubicBezTo>
                      <a:pt x="23" y="158"/>
                      <a:pt x="37" y="184"/>
                      <a:pt x="65" y="184"/>
                    </a:cubicBezTo>
                    <a:cubicBezTo>
                      <a:pt x="92"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1" name="Freeform 349"/>
              <p:cNvSpPr>
                <a:spLocks noEditPoints="1"/>
              </p:cNvSpPr>
              <p:nvPr userDrawn="1"/>
            </p:nvSpPr>
            <p:spPr bwMode="auto">
              <a:xfrm>
                <a:off x="3996" y="1833"/>
                <a:ext cx="156" cy="248"/>
              </a:xfrm>
              <a:custGeom>
                <a:avLst/>
                <a:gdLst>
                  <a:gd name="T0" fmla="*/ 128 w 128"/>
                  <a:gd name="T1" fmla="*/ 101 h 203"/>
                  <a:gd name="T2" fmla="*/ 124 w 128"/>
                  <a:gd name="T3" fmla="*/ 144 h 203"/>
                  <a:gd name="T4" fmla="*/ 111 w 128"/>
                  <a:gd name="T5" fmla="*/ 177 h 203"/>
                  <a:gd name="T6" fmla="*/ 90 w 128"/>
                  <a:gd name="T7" fmla="*/ 196 h 203"/>
                  <a:gd name="T8" fmla="*/ 62 w 128"/>
                  <a:gd name="T9" fmla="*/ 203 h 203"/>
                  <a:gd name="T10" fmla="*/ 36 w 128"/>
                  <a:gd name="T11" fmla="*/ 197 h 203"/>
                  <a:gd name="T12" fmla="*/ 17 w 128"/>
                  <a:gd name="T13" fmla="*/ 178 h 203"/>
                  <a:gd name="T14" fmla="*/ 4 w 128"/>
                  <a:gd name="T15" fmla="*/ 147 h 203"/>
                  <a:gd name="T16" fmla="*/ 0 w 128"/>
                  <a:gd name="T17" fmla="*/ 106 h 203"/>
                  <a:gd name="T18" fmla="*/ 5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5 h 203"/>
                  <a:gd name="T34" fmla="*/ 65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7" y="132"/>
                      <a:pt x="124" y="144"/>
                    </a:cubicBezTo>
                    <a:cubicBezTo>
                      <a:pt x="121" y="157"/>
                      <a:pt x="116" y="168"/>
                      <a:pt x="111" y="177"/>
                    </a:cubicBezTo>
                    <a:cubicBezTo>
                      <a:pt x="105" y="185"/>
                      <a:pt x="98" y="192"/>
                      <a:pt x="90" y="196"/>
                    </a:cubicBezTo>
                    <a:cubicBezTo>
                      <a:pt x="82" y="201"/>
                      <a:pt x="73" y="203"/>
                      <a:pt x="62" y="203"/>
                    </a:cubicBezTo>
                    <a:cubicBezTo>
                      <a:pt x="52" y="203"/>
                      <a:pt x="44" y="201"/>
                      <a:pt x="36" y="197"/>
                    </a:cubicBezTo>
                    <a:cubicBezTo>
                      <a:pt x="28" y="192"/>
                      <a:pt x="22" y="186"/>
                      <a:pt x="17" y="178"/>
                    </a:cubicBezTo>
                    <a:cubicBezTo>
                      <a:pt x="11" y="169"/>
                      <a:pt x="7" y="159"/>
                      <a:pt x="4" y="147"/>
                    </a:cubicBezTo>
                    <a:cubicBezTo>
                      <a:pt x="2" y="135"/>
                      <a:pt x="0" y="121"/>
                      <a:pt x="0" y="106"/>
                    </a:cubicBezTo>
                    <a:cubicBezTo>
                      <a:pt x="0" y="89"/>
                      <a:pt x="2" y="73"/>
                      <a:pt x="5" y="60"/>
                    </a:cubicBezTo>
                    <a:cubicBezTo>
                      <a:pt x="8" y="47"/>
                      <a:pt x="12" y="36"/>
                      <a:pt x="17" y="27"/>
                    </a:cubicBezTo>
                    <a:cubicBezTo>
                      <a:pt x="23" y="18"/>
                      <a:pt x="30" y="12"/>
                      <a:pt x="38" y="7"/>
                    </a:cubicBezTo>
                    <a:cubicBezTo>
                      <a:pt x="46" y="3"/>
                      <a:pt x="56" y="0"/>
                      <a:pt x="66" y="0"/>
                    </a:cubicBezTo>
                    <a:cubicBezTo>
                      <a:pt x="108" y="0"/>
                      <a:pt x="128" y="34"/>
                      <a:pt x="128" y="101"/>
                    </a:cubicBezTo>
                    <a:close/>
                    <a:moveTo>
                      <a:pt x="105" y="103"/>
                    </a:moveTo>
                    <a:cubicBezTo>
                      <a:pt x="105" y="47"/>
                      <a:pt x="92" y="19"/>
                      <a:pt x="65" y="19"/>
                    </a:cubicBezTo>
                    <a:cubicBezTo>
                      <a:pt x="37" y="19"/>
                      <a:pt x="23" y="48"/>
                      <a:pt x="23" y="105"/>
                    </a:cubicBezTo>
                    <a:cubicBezTo>
                      <a:pt x="23" y="158"/>
                      <a:pt x="37" y="184"/>
                      <a:pt x="65" y="184"/>
                    </a:cubicBezTo>
                    <a:cubicBezTo>
                      <a:pt x="92"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2" name="Freeform 350"/>
              <p:cNvSpPr>
                <a:spLocks noEditPoints="1"/>
              </p:cNvSpPr>
              <p:nvPr userDrawn="1"/>
            </p:nvSpPr>
            <p:spPr bwMode="auto">
              <a:xfrm>
                <a:off x="4191" y="1833"/>
                <a:ext cx="156" cy="248"/>
              </a:xfrm>
              <a:custGeom>
                <a:avLst/>
                <a:gdLst>
                  <a:gd name="T0" fmla="*/ 128 w 128"/>
                  <a:gd name="T1" fmla="*/ 101 h 203"/>
                  <a:gd name="T2" fmla="*/ 124 w 128"/>
                  <a:gd name="T3" fmla="*/ 144 h 203"/>
                  <a:gd name="T4" fmla="*/ 111 w 128"/>
                  <a:gd name="T5" fmla="*/ 177 h 203"/>
                  <a:gd name="T6" fmla="*/ 90 w 128"/>
                  <a:gd name="T7" fmla="*/ 196 h 203"/>
                  <a:gd name="T8" fmla="*/ 62 w 128"/>
                  <a:gd name="T9" fmla="*/ 203 h 203"/>
                  <a:gd name="T10" fmla="*/ 36 w 128"/>
                  <a:gd name="T11" fmla="*/ 197 h 203"/>
                  <a:gd name="T12" fmla="*/ 16 w 128"/>
                  <a:gd name="T13" fmla="*/ 178 h 203"/>
                  <a:gd name="T14" fmla="*/ 4 w 128"/>
                  <a:gd name="T15" fmla="*/ 147 h 203"/>
                  <a:gd name="T16" fmla="*/ 0 w 128"/>
                  <a:gd name="T17" fmla="*/ 106 h 203"/>
                  <a:gd name="T18" fmla="*/ 5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5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7" y="132"/>
                      <a:pt x="124" y="144"/>
                    </a:cubicBezTo>
                    <a:cubicBezTo>
                      <a:pt x="121" y="157"/>
                      <a:pt x="116" y="168"/>
                      <a:pt x="111" y="177"/>
                    </a:cubicBezTo>
                    <a:cubicBezTo>
                      <a:pt x="105" y="185"/>
                      <a:pt x="98" y="192"/>
                      <a:pt x="90" y="196"/>
                    </a:cubicBezTo>
                    <a:cubicBezTo>
                      <a:pt x="82" y="201"/>
                      <a:pt x="73" y="203"/>
                      <a:pt x="62" y="203"/>
                    </a:cubicBezTo>
                    <a:cubicBezTo>
                      <a:pt x="52" y="203"/>
                      <a:pt x="44" y="201"/>
                      <a:pt x="36" y="197"/>
                    </a:cubicBezTo>
                    <a:cubicBezTo>
                      <a:pt x="28" y="192"/>
                      <a:pt x="22" y="186"/>
                      <a:pt x="16" y="178"/>
                    </a:cubicBezTo>
                    <a:cubicBezTo>
                      <a:pt x="11" y="169"/>
                      <a:pt x="7" y="159"/>
                      <a:pt x="4" y="147"/>
                    </a:cubicBezTo>
                    <a:cubicBezTo>
                      <a:pt x="2" y="135"/>
                      <a:pt x="0" y="121"/>
                      <a:pt x="0" y="106"/>
                    </a:cubicBezTo>
                    <a:cubicBezTo>
                      <a:pt x="0" y="89"/>
                      <a:pt x="2" y="73"/>
                      <a:pt x="5" y="60"/>
                    </a:cubicBezTo>
                    <a:cubicBezTo>
                      <a:pt x="8" y="47"/>
                      <a:pt x="12" y="36"/>
                      <a:pt x="17" y="27"/>
                    </a:cubicBezTo>
                    <a:cubicBezTo>
                      <a:pt x="23" y="18"/>
                      <a:pt x="30" y="12"/>
                      <a:pt x="38" y="7"/>
                    </a:cubicBezTo>
                    <a:cubicBezTo>
                      <a:pt x="46" y="3"/>
                      <a:pt x="56" y="0"/>
                      <a:pt x="66" y="0"/>
                    </a:cubicBezTo>
                    <a:cubicBezTo>
                      <a:pt x="108" y="0"/>
                      <a:pt x="128" y="34"/>
                      <a:pt x="128" y="101"/>
                    </a:cubicBezTo>
                    <a:close/>
                    <a:moveTo>
                      <a:pt x="105" y="103"/>
                    </a:moveTo>
                    <a:cubicBezTo>
                      <a:pt x="105" y="47"/>
                      <a:pt x="92" y="19"/>
                      <a:pt x="65" y="19"/>
                    </a:cubicBezTo>
                    <a:cubicBezTo>
                      <a:pt x="37" y="19"/>
                      <a:pt x="23" y="48"/>
                      <a:pt x="23" y="105"/>
                    </a:cubicBezTo>
                    <a:cubicBezTo>
                      <a:pt x="23" y="158"/>
                      <a:pt x="37" y="184"/>
                      <a:pt x="64" y="184"/>
                    </a:cubicBezTo>
                    <a:cubicBezTo>
                      <a:pt x="92"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3" name="Freeform 351"/>
              <p:cNvSpPr>
                <a:spLocks/>
              </p:cNvSpPr>
              <p:nvPr userDrawn="1"/>
            </p:nvSpPr>
            <p:spPr bwMode="auto">
              <a:xfrm>
                <a:off x="4389" y="1832"/>
                <a:ext cx="83" cy="246"/>
              </a:xfrm>
              <a:custGeom>
                <a:avLst/>
                <a:gdLst>
                  <a:gd name="T0" fmla="*/ 68 w 68"/>
                  <a:gd name="T1" fmla="*/ 201 h 201"/>
                  <a:gd name="T2" fmla="*/ 46 w 68"/>
                  <a:gd name="T3" fmla="*/ 201 h 201"/>
                  <a:gd name="T4" fmla="*/ 46 w 68"/>
                  <a:gd name="T5" fmla="*/ 31 h 201"/>
                  <a:gd name="T6" fmla="*/ 38 w 68"/>
                  <a:gd name="T7" fmla="*/ 37 h 201"/>
                  <a:gd name="T8" fmla="*/ 27 w 68"/>
                  <a:gd name="T9" fmla="*/ 44 h 201"/>
                  <a:gd name="T10" fmla="*/ 14 w 68"/>
                  <a:gd name="T11" fmla="*/ 50 h 201"/>
                  <a:gd name="T12" fmla="*/ 0 w 68"/>
                  <a:gd name="T13" fmla="*/ 55 h 201"/>
                  <a:gd name="T14" fmla="*/ 0 w 68"/>
                  <a:gd name="T15" fmla="*/ 32 h 201"/>
                  <a:gd name="T16" fmla="*/ 16 w 68"/>
                  <a:gd name="T17" fmla="*/ 26 h 201"/>
                  <a:gd name="T18" fmla="*/ 32 w 68"/>
                  <a:gd name="T19" fmla="*/ 19 h 201"/>
                  <a:gd name="T20" fmla="*/ 47 w 68"/>
                  <a:gd name="T21" fmla="*/ 10 h 201"/>
                  <a:gd name="T22" fmla="*/ 60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6" y="201"/>
                      <a:pt x="46" y="201"/>
                      <a:pt x="46" y="201"/>
                    </a:cubicBezTo>
                    <a:cubicBezTo>
                      <a:pt x="46" y="31"/>
                      <a:pt x="46" y="31"/>
                      <a:pt x="46" y="31"/>
                    </a:cubicBezTo>
                    <a:cubicBezTo>
                      <a:pt x="44" y="33"/>
                      <a:pt x="42" y="35"/>
                      <a:pt x="38" y="37"/>
                    </a:cubicBezTo>
                    <a:cubicBezTo>
                      <a:pt x="35" y="40"/>
                      <a:pt x="31" y="42"/>
                      <a:pt x="27" y="44"/>
                    </a:cubicBezTo>
                    <a:cubicBezTo>
                      <a:pt x="23" y="46"/>
                      <a:pt x="19" y="48"/>
                      <a:pt x="14" y="50"/>
                    </a:cubicBezTo>
                    <a:cubicBezTo>
                      <a:pt x="9" y="52"/>
                      <a:pt x="5" y="53"/>
                      <a:pt x="0" y="55"/>
                    </a:cubicBezTo>
                    <a:cubicBezTo>
                      <a:pt x="0" y="32"/>
                      <a:pt x="0" y="32"/>
                      <a:pt x="0" y="32"/>
                    </a:cubicBezTo>
                    <a:cubicBezTo>
                      <a:pt x="5" y="31"/>
                      <a:pt x="11" y="29"/>
                      <a:pt x="16" y="26"/>
                    </a:cubicBezTo>
                    <a:cubicBezTo>
                      <a:pt x="22" y="24"/>
                      <a:pt x="27" y="21"/>
                      <a:pt x="32" y="19"/>
                    </a:cubicBezTo>
                    <a:cubicBezTo>
                      <a:pt x="38" y="16"/>
                      <a:pt x="43" y="13"/>
                      <a:pt x="47" y="10"/>
                    </a:cubicBezTo>
                    <a:cubicBezTo>
                      <a:pt x="52" y="6"/>
                      <a:pt x="56" y="3"/>
                      <a:pt x="60"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4" name="Freeform 352"/>
              <p:cNvSpPr>
                <a:spLocks noEditPoints="1"/>
              </p:cNvSpPr>
              <p:nvPr userDrawn="1"/>
            </p:nvSpPr>
            <p:spPr bwMode="auto">
              <a:xfrm>
                <a:off x="4537" y="1833"/>
                <a:ext cx="156" cy="248"/>
              </a:xfrm>
              <a:custGeom>
                <a:avLst/>
                <a:gdLst>
                  <a:gd name="T0" fmla="*/ 128 w 128"/>
                  <a:gd name="T1" fmla="*/ 101 h 203"/>
                  <a:gd name="T2" fmla="*/ 123 w 128"/>
                  <a:gd name="T3" fmla="*/ 144 h 203"/>
                  <a:gd name="T4" fmla="*/ 110 w 128"/>
                  <a:gd name="T5" fmla="*/ 177 h 203"/>
                  <a:gd name="T6" fmla="*/ 90 w 128"/>
                  <a:gd name="T7" fmla="*/ 196 h 203"/>
                  <a:gd name="T8" fmla="*/ 62 w 128"/>
                  <a:gd name="T9" fmla="*/ 203 h 203"/>
                  <a:gd name="T10" fmla="*/ 36 w 128"/>
                  <a:gd name="T11" fmla="*/ 197 h 203"/>
                  <a:gd name="T12" fmla="*/ 16 w 128"/>
                  <a:gd name="T13" fmla="*/ 178 h 203"/>
                  <a:gd name="T14" fmla="*/ 4 w 128"/>
                  <a:gd name="T15" fmla="*/ 147 h 203"/>
                  <a:gd name="T16" fmla="*/ 0 w 128"/>
                  <a:gd name="T17" fmla="*/ 106 h 203"/>
                  <a:gd name="T18" fmla="*/ 4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5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6" y="132"/>
                      <a:pt x="123" y="144"/>
                    </a:cubicBezTo>
                    <a:cubicBezTo>
                      <a:pt x="120" y="157"/>
                      <a:pt x="116" y="168"/>
                      <a:pt x="110" y="177"/>
                    </a:cubicBezTo>
                    <a:cubicBezTo>
                      <a:pt x="105" y="185"/>
                      <a:pt x="98" y="192"/>
                      <a:pt x="90" y="196"/>
                    </a:cubicBezTo>
                    <a:cubicBezTo>
                      <a:pt x="82" y="201"/>
                      <a:pt x="72" y="203"/>
                      <a:pt x="62" y="203"/>
                    </a:cubicBezTo>
                    <a:cubicBezTo>
                      <a:pt x="52" y="203"/>
                      <a:pt x="43" y="201"/>
                      <a:pt x="36" y="197"/>
                    </a:cubicBezTo>
                    <a:cubicBezTo>
                      <a:pt x="28" y="192"/>
                      <a:pt x="21" y="186"/>
                      <a:pt x="16" y="178"/>
                    </a:cubicBezTo>
                    <a:cubicBezTo>
                      <a:pt x="11" y="169"/>
                      <a:pt x="7" y="159"/>
                      <a:pt x="4" y="147"/>
                    </a:cubicBezTo>
                    <a:cubicBezTo>
                      <a:pt x="1" y="135"/>
                      <a:pt x="0" y="121"/>
                      <a:pt x="0" y="106"/>
                    </a:cubicBezTo>
                    <a:cubicBezTo>
                      <a:pt x="0" y="89"/>
                      <a:pt x="2" y="73"/>
                      <a:pt x="4" y="60"/>
                    </a:cubicBezTo>
                    <a:cubicBezTo>
                      <a:pt x="7" y="47"/>
                      <a:pt x="11" y="36"/>
                      <a:pt x="17" y="27"/>
                    </a:cubicBezTo>
                    <a:cubicBezTo>
                      <a:pt x="23" y="18"/>
                      <a:pt x="29" y="12"/>
                      <a:pt x="38" y="7"/>
                    </a:cubicBezTo>
                    <a:cubicBezTo>
                      <a:pt x="46" y="3"/>
                      <a:pt x="55" y="0"/>
                      <a:pt x="66" y="0"/>
                    </a:cubicBezTo>
                    <a:cubicBezTo>
                      <a:pt x="107" y="0"/>
                      <a:pt x="128" y="34"/>
                      <a:pt x="128" y="101"/>
                    </a:cubicBezTo>
                    <a:close/>
                    <a:moveTo>
                      <a:pt x="105" y="103"/>
                    </a:moveTo>
                    <a:cubicBezTo>
                      <a:pt x="105" y="47"/>
                      <a:pt x="92" y="19"/>
                      <a:pt x="65" y="19"/>
                    </a:cubicBezTo>
                    <a:cubicBezTo>
                      <a:pt x="37" y="19"/>
                      <a:pt x="23" y="48"/>
                      <a:pt x="23" y="105"/>
                    </a:cubicBezTo>
                    <a:cubicBezTo>
                      <a:pt x="23" y="158"/>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5" name="Freeform 353"/>
              <p:cNvSpPr>
                <a:spLocks noEditPoints="1"/>
              </p:cNvSpPr>
              <p:nvPr userDrawn="1"/>
            </p:nvSpPr>
            <p:spPr bwMode="auto">
              <a:xfrm>
                <a:off x="4723" y="1838"/>
                <a:ext cx="187" cy="219"/>
              </a:xfrm>
              <a:custGeom>
                <a:avLst/>
                <a:gdLst>
                  <a:gd name="T0" fmla="*/ 187 w 187"/>
                  <a:gd name="T1" fmla="*/ 67 h 219"/>
                  <a:gd name="T2" fmla="*/ 184 w 187"/>
                  <a:gd name="T3" fmla="*/ 84 h 219"/>
                  <a:gd name="T4" fmla="*/ 141 w 187"/>
                  <a:gd name="T5" fmla="*/ 84 h 219"/>
                  <a:gd name="T6" fmla="*/ 130 w 187"/>
                  <a:gd name="T7" fmla="*/ 135 h 219"/>
                  <a:gd name="T8" fmla="*/ 176 w 187"/>
                  <a:gd name="T9" fmla="*/ 135 h 219"/>
                  <a:gd name="T10" fmla="*/ 173 w 187"/>
                  <a:gd name="T11" fmla="*/ 153 h 219"/>
                  <a:gd name="T12" fmla="*/ 126 w 187"/>
                  <a:gd name="T13" fmla="*/ 153 h 219"/>
                  <a:gd name="T14" fmla="*/ 112 w 187"/>
                  <a:gd name="T15" fmla="*/ 219 h 219"/>
                  <a:gd name="T16" fmla="*/ 91 w 187"/>
                  <a:gd name="T17" fmla="*/ 219 h 219"/>
                  <a:gd name="T18" fmla="*/ 106 w 187"/>
                  <a:gd name="T19" fmla="*/ 153 h 219"/>
                  <a:gd name="T20" fmla="*/ 64 w 187"/>
                  <a:gd name="T21" fmla="*/ 153 h 219"/>
                  <a:gd name="T22" fmla="*/ 50 w 187"/>
                  <a:gd name="T23" fmla="*/ 219 h 219"/>
                  <a:gd name="T24" fmla="*/ 29 w 187"/>
                  <a:gd name="T25" fmla="*/ 219 h 219"/>
                  <a:gd name="T26" fmla="*/ 42 w 187"/>
                  <a:gd name="T27" fmla="*/ 153 h 219"/>
                  <a:gd name="T28" fmla="*/ 0 w 187"/>
                  <a:gd name="T29" fmla="*/ 153 h 219"/>
                  <a:gd name="T30" fmla="*/ 2 w 187"/>
                  <a:gd name="T31" fmla="*/ 135 h 219"/>
                  <a:gd name="T32" fmla="*/ 47 w 187"/>
                  <a:gd name="T33" fmla="*/ 135 h 219"/>
                  <a:gd name="T34" fmla="*/ 57 w 187"/>
                  <a:gd name="T35" fmla="*/ 84 h 219"/>
                  <a:gd name="T36" fmla="*/ 11 w 187"/>
                  <a:gd name="T37" fmla="*/ 84 h 219"/>
                  <a:gd name="T38" fmla="*/ 14 w 187"/>
                  <a:gd name="T39" fmla="*/ 67 h 219"/>
                  <a:gd name="T40" fmla="*/ 61 w 187"/>
                  <a:gd name="T41" fmla="*/ 67 h 219"/>
                  <a:gd name="T42" fmla="*/ 74 w 187"/>
                  <a:gd name="T43" fmla="*/ 0 h 219"/>
                  <a:gd name="T44" fmla="*/ 95 w 187"/>
                  <a:gd name="T45" fmla="*/ 0 h 219"/>
                  <a:gd name="T46" fmla="*/ 81 w 187"/>
                  <a:gd name="T47" fmla="*/ 67 h 219"/>
                  <a:gd name="T48" fmla="*/ 123 w 187"/>
                  <a:gd name="T49" fmla="*/ 67 h 219"/>
                  <a:gd name="T50" fmla="*/ 137 w 187"/>
                  <a:gd name="T51" fmla="*/ 0 h 219"/>
                  <a:gd name="T52" fmla="*/ 158 w 187"/>
                  <a:gd name="T53" fmla="*/ 0 h 219"/>
                  <a:gd name="T54" fmla="*/ 145 w 187"/>
                  <a:gd name="T55" fmla="*/ 67 h 219"/>
                  <a:gd name="T56" fmla="*/ 187 w 187"/>
                  <a:gd name="T57" fmla="*/ 67 h 219"/>
                  <a:gd name="T58" fmla="*/ 120 w 187"/>
                  <a:gd name="T59" fmla="*/ 84 h 219"/>
                  <a:gd name="T60" fmla="*/ 78 w 187"/>
                  <a:gd name="T61" fmla="*/ 84 h 219"/>
                  <a:gd name="T62" fmla="*/ 67 w 187"/>
                  <a:gd name="T63" fmla="*/ 135 h 219"/>
                  <a:gd name="T64" fmla="*/ 109 w 187"/>
                  <a:gd name="T65" fmla="*/ 135 h 219"/>
                  <a:gd name="T66" fmla="*/ 120 w 187"/>
                  <a:gd name="T67" fmla="*/ 84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7" h="219">
                    <a:moveTo>
                      <a:pt x="187" y="67"/>
                    </a:moveTo>
                    <a:lnTo>
                      <a:pt x="184" y="84"/>
                    </a:lnTo>
                    <a:lnTo>
                      <a:pt x="141" y="84"/>
                    </a:lnTo>
                    <a:lnTo>
                      <a:pt x="130" y="135"/>
                    </a:lnTo>
                    <a:lnTo>
                      <a:pt x="176" y="135"/>
                    </a:lnTo>
                    <a:lnTo>
                      <a:pt x="173" y="153"/>
                    </a:lnTo>
                    <a:lnTo>
                      <a:pt x="126" y="153"/>
                    </a:lnTo>
                    <a:lnTo>
                      <a:pt x="112" y="219"/>
                    </a:lnTo>
                    <a:lnTo>
                      <a:pt x="91" y="219"/>
                    </a:lnTo>
                    <a:lnTo>
                      <a:pt x="106" y="153"/>
                    </a:lnTo>
                    <a:lnTo>
                      <a:pt x="64" y="153"/>
                    </a:lnTo>
                    <a:lnTo>
                      <a:pt x="50" y="219"/>
                    </a:lnTo>
                    <a:lnTo>
                      <a:pt x="29" y="219"/>
                    </a:lnTo>
                    <a:lnTo>
                      <a:pt x="42" y="153"/>
                    </a:lnTo>
                    <a:lnTo>
                      <a:pt x="0" y="153"/>
                    </a:lnTo>
                    <a:lnTo>
                      <a:pt x="2" y="135"/>
                    </a:lnTo>
                    <a:lnTo>
                      <a:pt x="47" y="135"/>
                    </a:lnTo>
                    <a:lnTo>
                      <a:pt x="57" y="84"/>
                    </a:lnTo>
                    <a:lnTo>
                      <a:pt x="11" y="84"/>
                    </a:lnTo>
                    <a:lnTo>
                      <a:pt x="14" y="67"/>
                    </a:lnTo>
                    <a:lnTo>
                      <a:pt x="61" y="67"/>
                    </a:lnTo>
                    <a:lnTo>
                      <a:pt x="74" y="0"/>
                    </a:lnTo>
                    <a:lnTo>
                      <a:pt x="95" y="0"/>
                    </a:lnTo>
                    <a:lnTo>
                      <a:pt x="81" y="67"/>
                    </a:lnTo>
                    <a:lnTo>
                      <a:pt x="123" y="67"/>
                    </a:lnTo>
                    <a:lnTo>
                      <a:pt x="137" y="0"/>
                    </a:lnTo>
                    <a:lnTo>
                      <a:pt x="158" y="0"/>
                    </a:lnTo>
                    <a:lnTo>
                      <a:pt x="145" y="67"/>
                    </a:lnTo>
                    <a:lnTo>
                      <a:pt x="187" y="67"/>
                    </a:lnTo>
                    <a:close/>
                    <a:moveTo>
                      <a:pt x="120" y="84"/>
                    </a:moveTo>
                    <a:lnTo>
                      <a:pt x="78" y="84"/>
                    </a:lnTo>
                    <a:lnTo>
                      <a:pt x="67" y="135"/>
                    </a:lnTo>
                    <a:lnTo>
                      <a:pt x="109" y="135"/>
                    </a:lnTo>
                    <a:lnTo>
                      <a:pt x="120"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6" name="Freeform 354"/>
              <p:cNvSpPr>
                <a:spLocks noEditPoints="1"/>
              </p:cNvSpPr>
              <p:nvPr userDrawn="1"/>
            </p:nvSpPr>
            <p:spPr bwMode="auto">
              <a:xfrm>
                <a:off x="4940" y="1833"/>
                <a:ext cx="156" cy="248"/>
              </a:xfrm>
              <a:custGeom>
                <a:avLst/>
                <a:gdLst>
                  <a:gd name="T0" fmla="*/ 128 w 128"/>
                  <a:gd name="T1" fmla="*/ 101 h 203"/>
                  <a:gd name="T2" fmla="*/ 123 w 128"/>
                  <a:gd name="T3" fmla="*/ 144 h 203"/>
                  <a:gd name="T4" fmla="*/ 110 w 128"/>
                  <a:gd name="T5" fmla="*/ 177 h 203"/>
                  <a:gd name="T6" fmla="*/ 90 w 128"/>
                  <a:gd name="T7" fmla="*/ 196 h 203"/>
                  <a:gd name="T8" fmla="*/ 62 w 128"/>
                  <a:gd name="T9" fmla="*/ 203 h 203"/>
                  <a:gd name="T10" fmla="*/ 35 w 128"/>
                  <a:gd name="T11" fmla="*/ 197 h 203"/>
                  <a:gd name="T12" fmla="*/ 16 w 128"/>
                  <a:gd name="T13" fmla="*/ 178 h 203"/>
                  <a:gd name="T14" fmla="*/ 4 w 128"/>
                  <a:gd name="T15" fmla="*/ 147 h 203"/>
                  <a:gd name="T16" fmla="*/ 0 w 128"/>
                  <a:gd name="T17" fmla="*/ 106 h 203"/>
                  <a:gd name="T18" fmla="*/ 4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5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6" y="132"/>
                      <a:pt x="123" y="144"/>
                    </a:cubicBezTo>
                    <a:cubicBezTo>
                      <a:pt x="120" y="157"/>
                      <a:pt x="116" y="168"/>
                      <a:pt x="110" y="177"/>
                    </a:cubicBezTo>
                    <a:cubicBezTo>
                      <a:pt x="105" y="185"/>
                      <a:pt x="98" y="192"/>
                      <a:pt x="90" y="196"/>
                    </a:cubicBezTo>
                    <a:cubicBezTo>
                      <a:pt x="81" y="201"/>
                      <a:pt x="72" y="203"/>
                      <a:pt x="62" y="203"/>
                    </a:cubicBezTo>
                    <a:cubicBezTo>
                      <a:pt x="52" y="203"/>
                      <a:pt x="43" y="201"/>
                      <a:pt x="35" y="197"/>
                    </a:cubicBezTo>
                    <a:cubicBezTo>
                      <a:pt x="28" y="192"/>
                      <a:pt x="21" y="186"/>
                      <a:pt x="16" y="178"/>
                    </a:cubicBezTo>
                    <a:cubicBezTo>
                      <a:pt x="11" y="169"/>
                      <a:pt x="7" y="159"/>
                      <a:pt x="4" y="147"/>
                    </a:cubicBezTo>
                    <a:cubicBezTo>
                      <a:pt x="1" y="135"/>
                      <a:pt x="0" y="121"/>
                      <a:pt x="0" y="106"/>
                    </a:cubicBezTo>
                    <a:cubicBezTo>
                      <a:pt x="0" y="89"/>
                      <a:pt x="1" y="73"/>
                      <a:pt x="4" y="60"/>
                    </a:cubicBezTo>
                    <a:cubicBezTo>
                      <a:pt x="7" y="47"/>
                      <a:pt x="11" y="36"/>
                      <a:pt x="17" y="27"/>
                    </a:cubicBezTo>
                    <a:cubicBezTo>
                      <a:pt x="22" y="18"/>
                      <a:pt x="29" y="12"/>
                      <a:pt x="38" y="7"/>
                    </a:cubicBezTo>
                    <a:cubicBezTo>
                      <a:pt x="46" y="3"/>
                      <a:pt x="55" y="0"/>
                      <a:pt x="66" y="0"/>
                    </a:cubicBezTo>
                    <a:cubicBezTo>
                      <a:pt x="107" y="0"/>
                      <a:pt x="128" y="34"/>
                      <a:pt x="128" y="101"/>
                    </a:cubicBezTo>
                    <a:close/>
                    <a:moveTo>
                      <a:pt x="105" y="103"/>
                    </a:moveTo>
                    <a:cubicBezTo>
                      <a:pt x="105" y="47"/>
                      <a:pt x="91" y="19"/>
                      <a:pt x="65" y="19"/>
                    </a:cubicBezTo>
                    <a:cubicBezTo>
                      <a:pt x="37" y="19"/>
                      <a:pt x="23" y="48"/>
                      <a:pt x="23" y="105"/>
                    </a:cubicBezTo>
                    <a:cubicBezTo>
                      <a:pt x="23" y="158"/>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7" name="Freeform 355"/>
              <p:cNvSpPr>
                <a:spLocks/>
              </p:cNvSpPr>
              <p:nvPr userDrawn="1"/>
            </p:nvSpPr>
            <p:spPr bwMode="auto">
              <a:xfrm>
                <a:off x="5137" y="1832"/>
                <a:ext cx="83" cy="246"/>
              </a:xfrm>
              <a:custGeom>
                <a:avLst/>
                <a:gdLst>
                  <a:gd name="T0" fmla="*/ 68 w 68"/>
                  <a:gd name="T1" fmla="*/ 201 h 201"/>
                  <a:gd name="T2" fmla="*/ 45 w 68"/>
                  <a:gd name="T3" fmla="*/ 201 h 201"/>
                  <a:gd name="T4" fmla="*/ 45 w 68"/>
                  <a:gd name="T5" fmla="*/ 31 h 201"/>
                  <a:gd name="T6" fmla="*/ 38 w 68"/>
                  <a:gd name="T7" fmla="*/ 37 h 201"/>
                  <a:gd name="T8" fmla="*/ 27 w 68"/>
                  <a:gd name="T9" fmla="*/ 44 h 201"/>
                  <a:gd name="T10" fmla="*/ 13 w 68"/>
                  <a:gd name="T11" fmla="*/ 50 h 201"/>
                  <a:gd name="T12" fmla="*/ 0 w 68"/>
                  <a:gd name="T13" fmla="*/ 55 h 201"/>
                  <a:gd name="T14" fmla="*/ 0 w 68"/>
                  <a:gd name="T15" fmla="*/ 32 h 201"/>
                  <a:gd name="T16" fmla="*/ 16 w 68"/>
                  <a:gd name="T17" fmla="*/ 26 h 201"/>
                  <a:gd name="T18" fmla="*/ 32 w 68"/>
                  <a:gd name="T19" fmla="*/ 19 h 201"/>
                  <a:gd name="T20" fmla="*/ 47 w 68"/>
                  <a:gd name="T21" fmla="*/ 10 h 201"/>
                  <a:gd name="T22" fmla="*/ 59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5" y="201"/>
                      <a:pt x="45" y="201"/>
                      <a:pt x="45" y="201"/>
                    </a:cubicBezTo>
                    <a:cubicBezTo>
                      <a:pt x="45" y="31"/>
                      <a:pt x="45" y="31"/>
                      <a:pt x="45" y="31"/>
                    </a:cubicBezTo>
                    <a:cubicBezTo>
                      <a:pt x="44" y="33"/>
                      <a:pt x="41" y="35"/>
                      <a:pt x="38" y="37"/>
                    </a:cubicBezTo>
                    <a:cubicBezTo>
                      <a:pt x="34" y="40"/>
                      <a:pt x="31" y="42"/>
                      <a:pt x="27" y="44"/>
                    </a:cubicBezTo>
                    <a:cubicBezTo>
                      <a:pt x="22" y="46"/>
                      <a:pt x="18" y="48"/>
                      <a:pt x="13" y="50"/>
                    </a:cubicBezTo>
                    <a:cubicBezTo>
                      <a:pt x="9" y="52"/>
                      <a:pt x="4" y="53"/>
                      <a:pt x="0" y="55"/>
                    </a:cubicBezTo>
                    <a:cubicBezTo>
                      <a:pt x="0" y="32"/>
                      <a:pt x="0" y="32"/>
                      <a:pt x="0" y="32"/>
                    </a:cubicBezTo>
                    <a:cubicBezTo>
                      <a:pt x="5" y="31"/>
                      <a:pt x="10" y="29"/>
                      <a:pt x="16" y="26"/>
                    </a:cubicBezTo>
                    <a:cubicBezTo>
                      <a:pt x="21" y="24"/>
                      <a:pt x="27" y="21"/>
                      <a:pt x="32" y="19"/>
                    </a:cubicBezTo>
                    <a:cubicBezTo>
                      <a:pt x="37" y="16"/>
                      <a:pt x="42" y="13"/>
                      <a:pt x="47" y="10"/>
                    </a:cubicBezTo>
                    <a:cubicBezTo>
                      <a:pt x="52" y="6"/>
                      <a:pt x="56" y="3"/>
                      <a:pt x="59"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8" name="Freeform 356"/>
              <p:cNvSpPr>
                <a:spLocks noEditPoints="1"/>
              </p:cNvSpPr>
              <p:nvPr userDrawn="1"/>
            </p:nvSpPr>
            <p:spPr bwMode="auto">
              <a:xfrm>
                <a:off x="5286" y="1833"/>
                <a:ext cx="154" cy="248"/>
              </a:xfrm>
              <a:custGeom>
                <a:avLst/>
                <a:gdLst>
                  <a:gd name="T0" fmla="*/ 127 w 127"/>
                  <a:gd name="T1" fmla="*/ 101 h 203"/>
                  <a:gd name="T2" fmla="*/ 123 w 127"/>
                  <a:gd name="T3" fmla="*/ 144 h 203"/>
                  <a:gd name="T4" fmla="*/ 110 w 127"/>
                  <a:gd name="T5" fmla="*/ 177 h 203"/>
                  <a:gd name="T6" fmla="*/ 89 w 127"/>
                  <a:gd name="T7" fmla="*/ 196 h 203"/>
                  <a:gd name="T8" fmla="*/ 62 w 127"/>
                  <a:gd name="T9" fmla="*/ 203 h 203"/>
                  <a:gd name="T10" fmla="*/ 35 w 127"/>
                  <a:gd name="T11" fmla="*/ 197 h 203"/>
                  <a:gd name="T12" fmla="*/ 16 w 127"/>
                  <a:gd name="T13" fmla="*/ 178 h 203"/>
                  <a:gd name="T14" fmla="*/ 4 w 127"/>
                  <a:gd name="T15" fmla="*/ 147 h 203"/>
                  <a:gd name="T16" fmla="*/ 0 w 127"/>
                  <a:gd name="T17" fmla="*/ 106 h 203"/>
                  <a:gd name="T18" fmla="*/ 4 w 127"/>
                  <a:gd name="T19" fmla="*/ 60 h 203"/>
                  <a:gd name="T20" fmla="*/ 17 w 127"/>
                  <a:gd name="T21" fmla="*/ 27 h 203"/>
                  <a:gd name="T22" fmla="*/ 37 w 127"/>
                  <a:gd name="T23" fmla="*/ 7 h 203"/>
                  <a:gd name="T24" fmla="*/ 66 w 127"/>
                  <a:gd name="T25" fmla="*/ 0 h 203"/>
                  <a:gd name="T26" fmla="*/ 127 w 127"/>
                  <a:gd name="T27" fmla="*/ 101 h 203"/>
                  <a:gd name="T28" fmla="*/ 104 w 127"/>
                  <a:gd name="T29" fmla="*/ 103 h 203"/>
                  <a:gd name="T30" fmla="*/ 65 w 127"/>
                  <a:gd name="T31" fmla="*/ 19 h 203"/>
                  <a:gd name="T32" fmla="*/ 23 w 127"/>
                  <a:gd name="T33" fmla="*/ 105 h 203"/>
                  <a:gd name="T34" fmla="*/ 64 w 127"/>
                  <a:gd name="T35" fmla="*/ 184 h 203"/>
                  <a:gd name="T36" fmla="*/ 104 w 127"/>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7" h="203">
                    <a:moveTo>
                      <a:pt x="127" y="101"/>
                    </a:moveTo>
                    <a:cubicBezTo>
                      <a:pt x="127" y="117"/>
                      <a:pt x="126" y="132"/>
                      <a:pt x="123" y="144"/>
                    </a:cubicBezTo>
                    <a:cubicBezTo>
                      <a:pt x="120" y="157"/>
                      <a:pt x="116" y="168"/>
                      <a:pt x="110" y="177"/>
                    </a:cubicBezTo>
                    <a:cubicBezTo>
                      <a:pt x="104" y="185"/>
                      <a:pt x="97" y="192"/>
                      <a:pt x="89" y="196"/>
                    </a:cubicBezTo>
                    <a:cubicBezTo>
                      <a:pt x="81" y="201"/>
                      <a:pt x="72" y="203"/>
                      <a:pt x="62" y="203"/>
                    </a:cubicBezTo>
                    <a:cubicBezTo>
                      <a:pt x="52" y="203"/>
                      <a:pt x="43" y="201"/>
                      <a:pt x="35" y="197"/>
                    </a:cubicBezTo>
                    <a:cubicBezTo>
                      <a:pt x="27" y="192"/>
                      <a:pt x="21" y="186"/>
                      <a:pt x="16" y="178"/>
                    </a:cubicBezTo>
                    <a:cubicBezTo>
                      <a:pt x="10" y="169"/>
                      <a:pt x="6" y="159"/>
                      <a:pt x="4" y="147"/>
                    </a:cubicBezTo>
                    <a:cubicBezTo>
                      <a:pt x="1" y="135"/>
                      <a:pt x="0" y="121"/>
                      <a:pt x="0" y="106"/>
                    </a:cubicBezTo>
                    <a:cubicBezTo>
                      <a:pt x="0" y="89"/>
                      <a:pt x="1" y="73"/>
                      <a:pt x="4" y="60"/>
                    </a:cubicBezTo>
                    <a:cubicBezTo>
                      <a:pt x="7" y="47"/>
                      <a:pt x="11" y="36"/>
                      <a:pt x="17" y="27"/>
                    </a:cubicBezTo>
                    <a:cubicBezTo>
                      <a:pt x="22" y="18"/>
                      <a:pt x="29" y="12"/>
                      <a:pt x="37" y="7"/>
                    </a:cubicBezTo>
                    <a:cubicBezTo>
                      <a:pt x="45" y="3"/>
                      <a:pt x="55" y="0"/>
                      <a:pt x="66" y="0"/>
                    </a:cubicBezTo>
                    <a:cubicBezTo>
                      <a:pt x="107" y="0"/>
                      <a:pt x="127" y="34"/>
                      <a:pt x="127" y="101"/>
                    </a:cubicBezTo>
                    <a:close/>
                    <a:moveTo>
                      <a:pt x="104" y="103"/>
                    </a:moveTo>
                    <a:cubicBezTo>
                      <a:pt x="104" y="47"/>
                      <a:pt x="91" y="19"/>
                      <a:pt x="65" y="19"/>
                    </a:cubicBezTo>
                    <a:cubicBezTo>
                      <a:pt x="37" y="19"/>
                      <a:pt x="23" y="48"/>
                      <a:pt x="23" y="105"/>
                    </a:cubicBezTo>
                    <a:cubicBezTo>
                      <a:pt x="23" y="158"/>
                      <a:pt x="36" y="184"/>
                      <a:pt x="64" y="184"/>
                    </a:cubicBezTo>
                    <a:cubicBezTo>
                      <a:pt x="91" y="184"/>
                      <a:pt x="104" y="157"/>
                      <a:pt x="104"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9" name="Freeform 357"/>
              <p:cNvSpPr>
                <a:spLocks/>
              </p:cNvSpPr>
              <p:nvPr userDrawn="1"/>
            </p:nvSpPr>
            <p:spPr bwMode="auto">
              <a:xfrm>
                <a:off x="5483" y="1832"/>
                <a:ext cx="82" cy="246"/>
              </a:xfrm>
              <a:custGeom>
                <a:avLst/>
                <a:gdLst>
                  <a:gd name="T0" fmla="*/ 67 w 67"/>
                  <a:gd name="T1" fmla="*/ 201 h 201"/>
                  <a:gd name="T2" fmla="*/ 45 w 67"/>
                  <a:gd name="T3" fmla="*/ 201 h 201"/>
                  <a:gd name="T4" fmla="*/ 45 w 67"/>
                  <a:gd name="T5" fmla="*/ 31 h 201"/>
                  <a:gd name="T6" fmla="*/ 37 w 67"/>
                  <a:gd name="T7" fmla="*/ 37 h 201"/>
                  <a:gd name="T8" fmla="*/ 26 w 67"/>
                  <a:gd name="T9" fmla="*/ 44 h 201"/>
                  <a:gd name="T10" fmla="*/ 13 w 67"/>
                  <a:gd name="T11" fmla="*/ 50 h 201"/>
                  <a:gd name="T12" fmla="*/ 0 w 67"/>
                  <a:gd name="T13" fmla="*/ 55 h 201"/>
                  <a:gd name="T14" fmla="*/ 0 w 67"/>
                  <a:gd name="T15" fmla="*/ 32 h 201"/>
                  <a:gd name="T16" fmla="*/ 15 w 67"/>
                  <a:gd name="T17" fmla="*/ 26 h 201"/>
                  <a:gd name="T18" fmla="*/ 32 w 67"/>
                  <a:gd name="T19" fmla="*/ 19 h 201"/>
                  <a:gd name="T20" fmla="*/ 47 w 67"/>
                  <a:gd name="T21" fmla="*/ 10 h 201"/>
                  <a:gd name="T22" fmla="*/ 59 w 67"/>
                  <a:gd name="T23" fmla="*/ 0 h 201"/>
                  <a:gd name="T24" fmla="*/ 67 w 67"/>
                  <a:gd name="T25" fmla="*/ 0 h 201"/>
                  <a:gd name="T26" fmla="*/ 67 w 67"/>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7" h="201">
                    <a:moveTo>
                      <a:pt x="67" y="201"/>
                    </a:moveTo>
                    <a:cubicBezTo>
                      <a:pt x="45" y="201"/>
                      <a:pt x="45" y="201"/>
                      <a:pt x="45" y="201"/>
                    </a:cubicBezTo>
                    <a:cubicBezTo>
                      <a:pt x="45" y="31"/>
                      <a:pt x="45" y="31"/>
                      <a:pt x="45" y="31"/>
                    </a:cubicBezTo>
                    <a:cubicBezTo>
                      <a:pt x="43" y="33"/>
                      <a:pt x="41" y="35"/>
                      <a:pt x="37" y="37"/>
                    </a:cubicBezTo>
                    <a:cubicBezTo>
                      <a:pt x="34" y="40"/>
                      <a:pt x="30" y="42"/>
                      <a:pt x="26" y="44"/>
                    </a:cubicBezTo>
                    <a:cubicBezTo>
                      <a:pt x="22" y="46"/>
                      <a:pt x="18" y="48"/>
                      <a:pt x="13" y="50"/>
                    </a:cubicBezTo>
                    <a:cubicBezTo>
                      <a:pt x="9" y="52"/>
                      <a:pt x="4" y="53"/>
                      <a:pt x="0" y="55"/>
                    </a:cubicBezTo>
                    <a:cubicBezTo>
                      <a:pt x="0" y="32"/>
                      <a:pt x="0" y="32"/>
                      <a:pt x="0" y="32"/>
                    </a:cubicBezTo>
                    <a:cubicBezTo>
                      <a:pt x="5" y="31"/>
                      <a:pt x="10" y="29"/>
                      <a:pt x="15" y="26"/>
                    </a:cubicBezTo>
                    <a:cubicBezTo>
                      <a:pt x="21" y="24"/>
                      <a:pt x="26" y="21"/>
                      <a:pt x="32" y="19"/>
                    </a:cubicBezTo>
                    <a:cubicBezTo>
                      <a:pt x="37" y="16"/>
                      <a:pt x="42" y="13"/>
                      <a:pt x="47" y="10"/>
                    </a:cubicBezTo>
                    <a:cubicBezTo>
                      <a:pt x="51" y="6"/>
                      <a:pt x="56" y="3"/>
                      <a:pt x="59" y="0"/>
                    </a:cubicBezTo>
                    <a:cubicBezTo>
                      <a:pt x="67" y="0"/>
                      <a:pt x="67" y="0"/>
                      <a:pt x="67" y="0"/>
                    </a:cubicBezTo>
                    <a:lnTo>
                      <a:pt x="67"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0" name="Freeform 358"/>
              <p:cNvSpPr>
                <a:spLocks noEditPoints="1"/>
              </p:cNvSpPr>
              <p:nvPr userDrawn="1"/>
            </p:nvSpPr>
            <p:spPr bwMode="auto">
              <a:xfrm>
                <a:off x="5631" y="1833"/>
                <a:ext cx="156" cy="248"/>
              </a:xfrm>
              <a:custGeom>
                <a:avLst/>
                <a:gdLst>
                  <a:gd name="T0" fmla="*/ 128 w 128"/>
                  <a:gd name="T1" fmla="*/ 101 h 203"/>
                  <a:gd name="T2" fmla="*/ 124 w 128"/>
                  <a:gd name="T3" fmla="*/ 144 h 203"/>
                  <a:gd name="T4" fmla="*/ 111 w 128"/>
                  <a:gd name="T5" fmla="*/ 177 h 203"/>
                  <a:gd name="T6" fmla="*/ 90 w 128"/>
                  <a:gd name="T7" fmla="*/ 196 h 203"/>
                  <a:gd name="T8" fmla="*/ 62 w 128"/>
                  <a:gd name="T9" fmla="*/ 203 h 203"/>
                  <a:gd name="T10" fmla="*/ 36 w 128"/>
                  <a:gd name="T11" fmla="*/ 197 h 203"/>
                  <a:gd name="T12" fmla="*/ 16 w 128"/>
                  <a:gd name="T13" fmla="*/ 178 h 203"/>
                  <a:gd name="T14" fmla="*/ 4 w 128"/>
                  <a:gd name="T15" fmla="*/ 147 h 203"/>
                  <a:gd name="T16" fmla="*/ 0 w 128"/>
                  <a:gd name="T17" fmla="*/ 106 h 203"/>
                  <a:gd name="T18" fmla="*/ 5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5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6" y="132"/>
                      <a:pt x="124" y="144"/>
                    </a:cubicBezTo>
                    <a:cubicBezTo>
                      <a:pt x="121" y="157"/>
                      <a:pt x="116" y="168"/>
                      <a:pt x="111" y="177"/>
                    </a:cubicBezTo>
                    <a:cubicBezTo>
                      <a:pt x="105" y="185"/>
                      <a:pt x="98" y="192"/>
                      <a:pt x="90" y="196"/>
                    </a:cubicBezTo>
                    <a:cubicBezTo>
                      <a:pt x="82" y="201"/>
                      <a:pt x="73" y="203"/>
                      <a:pt x="62" y="203"/>
                    </a:cubicBezTo>
                    <a:cubicBezTo>
                      <a:pt x="52" y="203"/>
                      <a:pt x="44" y="201"/>
                      <a:pt x="36" y="197"/>
                    </a:cubicBezTo>
                    <a:cubicBezTo>
                      <a:pt x="28" y="192"/>
                      <a:pt x="22" y="186"/>
                      <a:pt x="16" y="178"/>
                    </a:cubicBezTo>
                    <a:cubicBezTo>
                      <a:pt x="11" y="169"/>
                      <a:pt x="7" y="159"/>
                      <a:pt x="4" y="147"/>
                    </a:cubicBezTo>
                    <a:cubicBezTo>
                      <a:pt x="2" y="135"/>
                      <a:pt x="0" y="121"/>
                      <a:pt x="0" y="106"/>
                    </a:cubicBezTo>
                    <a:cubicBezTo>
                      <a:pt x="0" y="89"/>
                      <a:pt x="2" y="73"/>
                      <a:pt x="5" y="60"/>
                    </a:cubicBezTo>
                    <a:cubicBezTo>
                      <a:pt x="7" y="47"/>
                      <a:pt x="12" y="36"/>
                      <a:pt x="17" y="27"/>
                    </a:cubicBezTo>
                    <a:cubicBezTo>
                      <a:pt x="23" y="18"/>
                      <a:pt x="30" y="12"/>
                      <a:pt x="38" y="7"/>
                    </a:cubicBezTo>
                    <a:cubicBezTo>
                      <a:pt x="46" y="3"/>
                      <a:pt x="56" y="0"/>
                      <a:pt x="66" y="0"/>
                    </a:cubicBezTo>
                    <a:cubicBezTo>
                      <a:pt x="107" y="0"/>
                      <a:pt x="128" y="34"/>
                      <a:pt x="128" y="101"/>
                    </a:cubicBezTo>
                    <a:close/>
                    <a:moveTo>
                      <a:pt x="105" y="103"/>
                    </a:moveTo>
                    <a:cubicBezTo>
                      <a:pt x="105" y="47"/>
                      <a:pt x="92" y="19"/>
                      <a:pt x="65" y="19"/>
                    </a:cubicBezTo>
                    <a:cubicBezTo>
                      <a:pt x="37" y="19"/>
                      <a:pt x="23" y="48"/>
                      <a:pt x="23" y="105"/>
                    </a:cubicBezTo>
                    <a:cubicBezTo>
                      <a:pt x="23" y="158"/>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1" name="Freeform 359"/>
              <p:cNvSpPr>
                <a:spLocks/>
              </p:cNvSpPr>
              <p:nvPr userDrawn="1"/>
            </p:nvSpPr>
            <p:spPr bwMode="auto">
              <a:xfrm>
                <a:off x="5828" y="1832"/>
                <a:ext cx="83" cy="246"/>
              </a:xfrm>
              <a:custGeom>
                <a:avLst/>
                <a:gdLst>
                  <a:gd name="T0" fmla="*/ 68 w 68"/>
                  <a:gd name="T1" fmla="*/ 201 h 201"/>
                  <a:gd name="T2" fmla="*/ 46 w 68"/>
                  <a:gd name="T3" fmla="*/ 201 h 201"/>
                  <a:gd name="T4" fmla="*/ 46 w 68"/>
                  <a:gd name="T5" fmla="*/ 31 h 201"/>
                  <a:gd name="T6" fmla="*/ 38 w 68"/>
                  <a:gd name="T7" fmla="*/ 37 h 201"/>
                  <a:gd name="T8" fmla="*/ 27 w 68"/>
                  <a:gd name="T9" fmla="*/ 44 h 201"/>
                  <a:gd name="T10" fmla="*/ 14 w 68"/>
                  <a:gd name="T11" fmla="*/ 50 h 201"/>
                  <a:gd name="T12" fmla="*/ 0 w 68"/>
                  <a:gd name="T13" fmla="*/ 55 h 201"/>
                  <a:gd name="T14" fmla="*/ 0 w 68"/>
                  <a:gd name="T15" fmla="*/ 32 h 201"/>
                  <a:gd name="T16" fmla="*/ 16 w 68"/>
                  <a:gd name="T17" fmla="*/ 26 h 201"/>
                  <a:gd name="T18" fmla="*/ 32 w 68"/>
                  <a:gd name="T19" fmla="*/ 19 h 201"/>
                  <a:gd name="T20" fmla="*/ 47 w 68"/>
                  <a:gd name="T21" fmla="*/ 10 h 201"/>
                  <a:gd name="T22" fmla="*/ 60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6" y="201"/>
                      <a:pt x="46" y="201"/>
                      <a:pt x="46" y="201"/>
                    </a:cubicBezTo>
                    <a:cubicBezTo>
                      <a:pt x="46" y="31"/>
                      <a:pt x="46" y="31"/>
                      <a:pt x="46" y="31"/>
                    </a:cubicBezTo>
                    <a:cubicBezTo>
                      <a:pt x="44" y="33"/>
                      <a:pt x="41" y="35"/>
                      <a:pt x="38" y="37"/>
                    </a:cubicBezTo>
                    <a:cubicBezTo>
                      <a:pt x="35" y="40"/>
                      <a:pt x="31" y="42"/>
                      <a:pt x="27" y="44"/>
                    </a:cubicBezTo>
                    <a:cubicBezTo>
                      <a:pt x="23" y="46"/>
                      <a:pt x="18" y="48"/>
                      <a:pt x="14" y="50"/>
                    </a:cubicBezTo>
                    <a:cubicBezTo>
                      <a:pt x="9" y="52"/>
                      <a:pt x="5" y="53"/>
                      <a:pt x="0" y="55"/>
                    </a:cubicBezTo>
                    <a:cubicBezTo>
                      <a:pt x="0" y="32"/>
                      <a:pt x="0" y="32"/>
                      <a:pt x="0" y="32"/>
                    </a:cubicBezTo>
                    <a:cubicBezTo>
                      <a:pt x="5" y="31"/>
                      <a:pt x="11" y="29"/>
                      <a:pt x="16" y="26"/>
                    </a:cubicBezTo>
                    <a:cubicBezTo>
                      <a:pt x="22" y="24"/>
                      <a:pt x="27" y="21"/>
                      <a:pt x="32" y="19"/>
                    </a:cubicBezTo>
                    <a:cubicBezTo>
                      <a:pt x="38" y="16"/>
                      <a:pt x="43" y="13"/>
                      <a:pt x="47" y="10"/>
                    </a:cubicBezTo>
                    <a:cubicBezTo>
                      <a:pt x="52" y="6"/>
                      <a:pt x="56" y="3"/>
                      <a:pt x="60"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2" name="Freeform 360"/>
              <p:cNvSpPr>
                <a:spLocks noEditPoints="1"/>
              </p:cNvSpPr>
              <p:nvPr userDrawn="1"/>
            </p:nvSpPr>
            <p:spPr bwMode="auto">
              <a:xfrm>
                <a:off x="5977" y="1833"/>
                <a:ext cx="156" cy="248"/>
              </a:xfrm>
              <a:custGeom>
                <a:avLst/>
                <a:gdLst>
                  <a:gd name="T0" fmla="*/ 128 w 128"/>
                  <a:gd name="T1" fmla="*/ 101 h 203"/>
                  <a:gd name="T2" fmla="*/ 123 w 128"/>
                  <a:gd name="T3" fmla="*/ 144 h 203"/>
                  <a:gd name="T4" fmla="*/ 110 w 128"/>
                  <a:gd name="T5" fmla="*/ 177 h 203"/>
                  <a:gd name="T6" fmla="*/ 90 w 128"/>
                  <a:gd name="T7" fmla="*/ 196 h 203"/>
                  <a:gd name="T8" fmla="*/ 62 w 128"/>
                  <a:gd name="T9" fmla="*/ 203 h 203"/>
                  <a:gd name="T10" fmla="*/ 36 w 128"/>
                  <a:gd name="T11" fmla="*/ 197 h 203"/>
                  <a:gd name="T12" fmla="*/ 16 w 128"/>
                  <a:gd name="T13" fmla="*/ 178 h 203"/>
                  <a:gd name="T14" fmla="*/ 4 w 128"/>
                  <a:gd name="T15" fmla="*/ 147 h 203"/>
                  <a:gd name="T16" fmla="*/ 0 w 128"/>
                  <a:gd name="T17" fmla="*/ 106 h 203"/>
                  <a:gd name="T18" fmla="*/ 4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5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6" y="132"/>
                      <a:pt x="123" y="144"/>
                    </a:cubicBezTo>
                    <a:cubicBezTo>
                      <a:pt x="120" y="157"/>
                      <a:pt x="116" y="168"/>
                      <a:pt x="110" y="177"/>
                    </a:cubicBezTo>
                    <a:cubicBezTo>
                      <a:pt x="105" y="185"/>
                      <a:pt x="98" y="192"/>
                      <a:pt x="90" y="196"/>
                    </a:cubicBezTo>
                    <a:cubicBezTo>
                      <a:pt x="82" y="201"/>
                      <a:pt x="72" y="203"/>
                      <a:pt x="62" y="203"/>
                    </a:cubicBezTo>
                    <a:cubicBezTo>
                      <a:pt x="52" y="203"/>
                      <a:pt x="43" y="201"/>
                      <a:pt x="36" y="197"/>
                    </a:cubicBezTo>
                    <a:cubicBezTo>
                      <a:pt x="28" y="192"/>
                      <a:pt x="21" y="186"/>
                      <a:pt x="16" y="178"/>
                    </a:cubicBezTo>
                    <a:cubicBezTo>
                      <a:pt x="11" y="169"/>
                      <a:pt x="7" y="159"/>
                      <a:pt x="4" y="147"/>
                    </a:cubicBezTo>
                    <a:cubicBezTo>
                      <a:pt x="1" y="135"/>
                      <a:pt x="0" y="121"/>
                      <a:pt x="0" y="106"/>
                    </a:cubicBezTo>
                    <a:cubicBezTo>
                      <a:pt x="0" y="89"/>
                      <a:pt x="1" y="73"/>
                      <a:pt x="4" y="60"/>
                    </a:cubicBezTo>
                    <a:cubicBezTo>
                      <a:pt x="7" y="47"/>
                      <a:pt x="11" y="36"/>
                      <a:pt x="17" y="27"/>
                    </a:cubicBezTo>
                    <a:cubicBezTo>
                      <a:pt x="22" y="18"/>
                      <a:pt x="29" y="12"/>
                      <a:pt x="38" y="7"/>
                    </a:cubicBezTo>
                    <a:cubicBezTo>
                      <a:pt x="46" y="3"/>
                      <a:pt x="55" y="0"/>
                      <a:pt x="66" y="0"/>
                    </a:cubicBezTo>
                    <a:cubicBezTo>
                      <a:pt x="107" y="0"/>
                      <a:pt x="128" y="34"/>
                      <a:pt x="128" y="101"/>
                    </a:cubicBezTo>
                    <a:close/>
                    <a:moveTo>
                      <a:pt x="105" y="103"/>
                    </a:moveTo>
                    <a:cubicBezTo>
                      <a:pt x="105" y="47"/>
                      <a:pt x="91" y="19"/>
                      <a:pt x="65" y="19"/>
                    </a:cubicBezTo>
                    <a:cubicBezTo>
                      <a:pt x="37" y="19"/>
                      <a:pt x="23" y="48"/>
                      <a:pt x="23" y="105"/>
                    </a:cubicBezTo>
                    <a:cubicBezTo>
                      <a:pt x="23" y="158"/>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3" name="Freeform 361"/>
              <p:cNvSpPr>
                <a:spLocks noEditPoints="1"/>
              </p:cNvSpPr>
              <p:nvPr userDrawn="1"/>
            </p:nvSpPr>
            <p:spPr bwMode="auto">
              <a:xfrm>
                <a:off x="6172" y="1833"/>
                <a:ext cx="156" cy="248"/>
              </a:xfrm>
              <a:custGeom>
                <a:avLst/>
                <a:gdLst>
                  <a:gd name="T0" fmla="*/ 128 w 128"/>
                  <a:gd name="T1" fmla="*/ 101 h 203"/>
                  <a:gd name="T2" fmla="*/ 123 w 128"/>
                  <a:gd name="T3" fmla="*/ 144 h 203"/>
                  <a:gd name="T4" fmla="*/ 110 w 128"/>
                  <a:gd name="T5" fmla="*/ 177 h 203"/>
                  <a:gd name="T6" fmla="*/ 90 w 128"/>
                  <a:gd name="T7" fmla="*/ 196 h 203"/>
                  <a:gd name="T8" fmla="*/ 62 w 128"/>
                  <a:gd name="T9" fmla="*/ 203 h 203"/>
                  <a:gd name="T10" fmla="*/ 36 w 128"/>
                  <a:gd name="T11" fmla="*/ 197 h 203"/>
                  <a:gd name="T12" fmla="*/ 16 w 128"/>
                  <a:gd name="T13" fmla="*/ 178 h 203"/>
                  <a:gd name="T14" fmla="*/ 4 w 128"/>
                  <a:gd name="T15" fmla="*/ 147 h 203"/>
                  <a:gd name="T16" fmla="*/ 0 w 128"/>
                  <a:gd name="T17" fmla="*/ 106 h 203"/>
                  <a:gd name="T18" fmla="*/ 4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5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6" y="132"/>
                      <a:pt x="123" y="144"/>
                    </a:cubicBezTo>
                    <a:cubicBezTo>
                      <a:pt x="120" y="157"/>
                      <a:pt x="116" y="168"/>
                      <a:pt x="110" y="177"/>
                    </a:cubicBezTo>
                    <a:cubicBezTo>
                      <a:pt x="105" y="185"/>
                      <a:pt x="98" y="192"/>
                      <a:pt x="90" y="196"/>
                    </a:cubicBezTo>
                    <a:cubicBezTo>
                      <a:pt x="82" y="201"/>
                      <a:pt x="72" y="203"/>
                      <a:pt x="62" y="203"/>
                    </a:cubicBezTo>
                    <a:cubicBezTo>
                      <a:pt x="52" y="203"/>
                      <a:pt x="43" y="201"/>
                      <a:pt x="36" y="197"/>
                    </a:cubicBezTo>
                    <a:cubicBezTo>
                      <a:pt x="28" y="192"/>
                      <a:pt x="21" y="186"/>
                      <a:pt x="16" y="178"/>
                    </a:cubicBezTo>
                    <a:cubicBezTo>
                      <a:pt x="11" y="169"/>
                      <a:pt x="7" y="159"/>
                      <a:pt x="4" y="147"/>
                    </a:cubicBezTo>
                    <a:cubicBezTo>
                      <a:pt x="1" y="135"/>
                      <a:pt x="0" y="121"/>
                      <a:pt x="0" y="106"/>
                    </a:cubicBezTo>
                    <a:cubicBezTo>
                      <a:pt x="0" y="89"/>
                      <a:pt x="1" y="73"/>
                      <a:pt x="4" y="60"/>
                    </a:cubicBezTo>
                    <a:cubicBezTo>
                      <a:pt x="7" y="47"/>
                      <a:pt x="11" y="36"/>
                      <a:pt x="17" y="27"/>
                    </a:cubicBezTo>
                    <a:cubicBezTo>
                      <a:pt x="22" y="18"/>
                      <a:pt x="29" y="12"/>
                      <a:pt x="38" y="7"/>
                    </a:cubicBezTo>
                    <a:cubicBezTo>
                      <a:pt x="46" y="3"/>
                      <a:pt x="55" y="0"/>
                      <a:pt x="66" y="0"/>
                    </a:cubicBezTo>
                    <a:cubicBezTo>
                      <a:pt x="107" y="0"/>
                      <a:pt x="128" y="34"/>
                      <a:pt x="128" y="101"/>
                    </a:cubicBezTo>
                    <a:close/>
                    <a:moveTo>
                      <a:pt x="105" y="103"/>
                    </a:moveTo>
                    <a:cubicBezTo>
                      <a:pt x="105" y="47"/>
                      <a:pt x="91" y="19"/>
                      <a:pt x="65" y="19"/>
                    </a:cubicBezTo>
                    <a:cubicBezTo>
                      <a:pt x="37" y="19"/>
                      <a:pt x="23" y="48"/>
                      <a:pt x="23" y="105"/>
                    </a:cubicBezTo>
                    <a:cubicBezTo>
                      <a:pt x="23" y="158"/>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4" name="Freeform 362"/>
              <p:cNvSpPr>
                <a:spLocks noEditPoints="1"/>
              </p:cNvSpPr>
              <p:nvPr userDrawn="1"/>
            </p:nvSpPr>
            <p:spPr bwMode="auto">
              <a:xfrm>
                <a:off x="6356" y="1838"/>
                <a:ext cx="189" cy="219"/>
              </a:xfrm>
              <a:custGeom>
                <a:avLst/>
                <a:gdLst>
                  <a:gd name="T0" fmla="*/ 189 w 189"/>
                  <a:gd name="T1" fmla="*/ 67 h 219"/>
                  <a:gd name="T2" fmla="*/ 185 w 189"/>
                  <a:gd name="T3" fmla="*/ 84 h 219"/>
                  <a:gd name="T4" fmla="*/ 142 w 189"/>
                  <a:gd name="T5" fmla="*/ 84 h 219"/>
                  <a:gd name="T6" fmla="*/ 131 w 189"/>
                  <a:gd name="T7" fmla="*/ 135 h 219"/>
                  <a:gd name="T8" fmla="*/ 178 w 189"/>
                  <a:gd name="T9" fmla="*/ 135 h 219"/>
                  <a:gd name="T10" fmla="*/ 174 w 189"/>
                  <a:gd name="T11" fmla="*/ 153 h 219"/>
                  <a:gd name="T12" fmla="*/ 128 w 189"/>
                  <a:gd name="T13" fmla="*/ 153 h 219"/>
                  <a:gd name="T14" fmla="*/ 113 w 189"/>
                  <a:gd name="T15" fmla="*/ 219 h 219"/>
                  <a:gd name="T16" fmla="*/ 92 w 189"/>
                  <a:gd name="T17" fmla="*/ 219 h 219"/>
                  <a:gd name="T18" fmla="*/ 107 w 189"/>
                  <a:gd name="T19" fmla="*/ 153 h 219"/>
                  <a:gd name="T20" fmla="*/ 64 w 189"/>
                  <a:gd name="T21" fmla="*/ 153 h 219"/>
                  <a:gd name="T22" fmla="*/ 51 w 189"/>
                  <a:gd name="T23" fmla="*/ 219 h 219"/>
                  <a:gd name="T24" fmla="*/ 30 w 189"/>
                  <a:gd name="T25" fmla="*/ 219 h 219"/>
                  <a:gd name="T26" fmla="*/ 44 w 189"/>
                  <a:gd name="T27" fmla="*/ 153 h 219"/>
                  <a:gd name="T28" fmla="*/ 0 w 189"/>
                  <a:gd name="T29" fmla="*/ 153 h 219"/>
                  <a:gd name="T30" fmla="*/ 3 w 189"/>
                  <a:gd name="T31" fmla="*/ 135 h 219"/>
                  <a:gd name="T32" fmla="*/ 47 w 189"/>
                  <a:gd name="T33" fmla="*/ 135 h 219"/>
                  <a:gd name="T34" fmla="*/ 58 w 189"/>
                  <a:gd name="T35" fmla="*/ 84 h 219"/>
                  <a:gd name="T36" fmla="*/ 12 w 189"/>
                  <a:gd name="T37" fmla="*/ 84 h 219"/>
                  <a:gd name="T38" fmla="*/ 15 w 189"/>
                  <a:gd name="T39" fmla="*/ 67 h 219"/>
                  <a:gd name="T40" fmla="*/ 62 w 189"/>
                  <a:gd name="T41" fmla="*/ 67 h 219"/>
                  <a:gd name="T42" fmla="*/ 75 w 189"/>
                  <a:gd name="T43" fmla="*/ 0 h 219"/>
                  <a:gd name="T44" fmla="*/ 96 w 189"/>
                  <a:gd name="T45" fmla="*/ 0 h 219"/>
                  <a:gd name="T46" fmla="*/ 83 w 189"/>
                  <a:gd name="T47" fmla="*/ 67 h 219"/>
                  <a:gd name="T48" fmla="*/ 124 w 189"/>
                  <a:gd name="T49" fmla="*/ 67 h 219"/>
                  <a:gd name="T50" fmla="*/ 139 w 189"/>
                  <a:gd name="T51" fmla="*/ 0 h 219"/>
                  <a:gd name="T52" fmla="*/ 159 w 189"/>
                  <a:gd name="T53" fmla="*/ 0 h 219"/>
                  <a:gd name="T54" fmla="*/ 145 w 189"/>
                  <a:gd name="T55" fmla="*/ 67 h 219"/>
                  <a:gd name="T56" fmla="*/ 189 w 189"/>
                  <a:gd name="T57" fmla="*/ 67 h 219"/>
                  <a:gd name="T58" fmla="*/ 122 w 189"/>
                  <a:gd name="T59" fmla="*/ 84 h 219"/>
                  <a:gd name="T60" fmla="*/ 79 w 189"/>
                  <a:gd name="T61" fmla="*/ 84 h 219"/>
                  <a:gd name="T62" fmla="*/ 68 w 189"/>
                  <a:gd name="T63" fmla="*/ 135 h 219"/>
                  <a:gd name="T64" fmla="*/ 111 w 189"/>
                  <a:gd name="T65" fmla="*/ 135 h 219"/>
                  <a:gd name="T66" fmla="*/ 122 w 189"/>
                  <a:gd name="T67" fmla="*/ 84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9" h="219">
                    <a:moveTo>
                      <a:pt x="189" y="67"/>
                    </a:moveTo>
                    <a:lnTo>
                      <a:pt x="185" y="84"/>
                    </a:lnTo>
                    <a:lnTo>
                      <a:pt x="142" y="84"/>
                    </a:lnTo>
                    <a:lnTo>
                      <a:pt x="131" y="135"/>
                    </a:lnTo>
                    <a:lnTo>
                      <a:pt x="178" y="135"/>
                    </a:lnTo>
                    <a:lnTo>
                      <a:pt x="174" y="153"/>
                    </a:lnTo>
                    <a:lnTo>
                      <a:pt x="128" y="153"/>
                    </a:lnTo>
                    <a:lnTo>
                      <a:pt x="113" y="219"/>
                    </a:lnTo>
                    <a:lnTo>
                      <a:pt x="92" y="219"/>
                    </a:lnTo>
                    <a:lnTo>
                      <a:pt x="107" y="153"/>
                    </a:lnTo>
                    <a:lnTo>
                      <a:pt x="64" y="153"/>
                    </a:lnTo>
                    <a:lnTo>
                      <a:pt x="51" y="219"/>
                    </a:lnTo>
                    <a:lnTo>
                      <a:pt x="30" y="219"/>
                    </a:lnTo>
                    <a:lnTo>
                      <a:pt x="44" y="153"/>
                    </a:lnTo>
                    <a:lnTo>
                      <a:pt x="0" y="153"/>
                    </a:lnTo>
                    <a:lnTo>
                      <a:pt x="3" y="135"/>
                    </a:lnTo>
                    <a:lnTo>
                      <a:pt x="47" y="135"/>
                    </a:lnTo>
                    <a:lnTo>
                      <a:pt x="58" y="84"/>
                    </a:lnTo>
                    <a:lnTo>
                      <a:pt x="12" y="84"/>
                    </a:lnTo>
                    <a:lnTo>
                      <a:pt x="15" y="67"/>
                    </a:lnTo>
                    <a:lnTo>
                      <a:pt x="62" y="67"/>
                    </a:lnTo>
                    <a:lnTo>
                      <a:pt x="75" y="0"/>
                    </a:lnTo>
                    <a:lnTo>
                      <a:pt x="96" y="0"/>
                    </a:lnTo>
                    <a:lnTo>
                      <a:pt x="83" y="67"/>
                    </a:lnTo>
                    <a:lnTo>
                      <a:pt x="124" y="67"/>
                    </a:lnTo>
                    <a:lnTo>
                      <a:pt x="139" y="0"/>
                    </a:lnTo>
                    <a:lnTo>
                      <a:pt x="159" y="0"/>
                    </a:lnTo>
                    <a:lnTo>
                      <a:pt x="145" y="67"/>
                    </a:lnTo>
                    <a:lnTo>
                      <a:pt x="189" y="67"/>
                    </a:lnTo>
                    <a:close/>
                    <a:moveTo>
                      <a:pt x="122" y="84"/>
                    </a:moveTo>
                    <a:lnTo>
                      <a:pt x="79" y="84"/>
                    </a:lnTo>
                    <a:lnTo>
                      <a:pt x="68" y="135"/>
                    </a:lnTo>
                    <a:lnTo>
                      <a:pt x="111" y="135"/>
                    </a:lnTo>
                    <a:lnTo>
                      <a:pt x="122"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5" name="Freeform 363"/>
              <p:cNvSpPr>
                <a:spLocks noEditPoints="1"/>
              </p:cNvSpPr>
              <p:nvPr userDrawn="1"/>
            </p:nvSpPr>
            <p:spPr bwMode="auto">
              <a:xfrm>
                <a:off x="6574" y="1833"/>
                <a:ext cx="155" cy="248"/>
              </a:xfrm>
              <a:custGeom>
                <a:avLst/>
                <a:gdLst>
                  <a:gd name="T0" fmla="*/ 127 w 127"/>
                  <a:gd name="T1" fmla="*/ 101 h 203"/>
                  <a:gd name="T2" fmla="*/ 123 w 127"/>
                  <a:gd name="T3" fmla="*/ 144 h 203"/>
                  <a:gd name="T4" fmla="*/ 110 w 127"/>
                  <a:gd name="T5" fmla="*/ 177 h 203"/>
                  <a:gd name="T6" fmla="*/ 90 w 127"/>
                  <a:gd name="T7" fmla="*/ 196 h 203"/>
                  <a:gd name="T8" fmla="*/ 62 w 127"/>
                  <a:gd name="T9" fmla="*/ 203 h 203"/>
                  <a:gd name="T10" fmla="*/ 35 w 127"/>
                  <a:gd name="T11" fmla="*/ 197 h 203"/>
                  <a:gd name="T12" fmla="*/ 16 w 127"/>
                  <a:gd name="T13" fmla="*/ 178 h 203"/>
                  <a:gd name="T14" fmla="*/ 4 w 127"/>
                  <a:gd name="T15" fmla="*/ 147 h 203"/>
                  <a:gd name="T16" fmla="*/ 0 w 127"/>
                  <a:gd name="T17" fmla="*/ 106 h 203"/>
                  <a:gd name="T18" fmla="*/ 4 w 127"/>
                  <a:gd name="T19" fmla="*/ 60 h 203"/>
                  <a:gd name="T20" fmla="*/ 17 w 127"/>
                  <a:gd name="T21" fmla="*/ 27 h 203"/>
                  <a:gd name="T22" fmla="*/ 37 w 127"/>
                  <a:gd name="T23" fmla="*/ 7 h 203"/>
                  <a:gd name="T24" fmla="*/ 66 w 127"/>
                  <a:gd name="T25" fmla="*/ 0 h 203"/>
                  <a:gd name="T26" fmla="*/ 127 w 127"/>
                  <a:gd name="T27" fmla="*/ 101 h 203"/>
                  <a:gd name="T28" fmla="*/ 104 w 127"/>
                  <a:gd name="T29" fmla="*/ 103 h 203"/>
                  <a:gd name="T30" fmla="*/ 65 w 127"/>
                  <a:gd name="T31" fmla="*/ 19 h 203"/>
                  <a:gd name="T32" fmla="*/ 23 w 127"/>
                  <a:gd name="T33" fmla="*/ 105 h 203"/>
                  <a:gd name="T34" fmla="*/ 64 w 127"/>
                  <a:gd name="T35" fmla="*/ 184 h 203"/>
                  <a:gd name="T36" fmla="*/ 104 w 127"/>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7" h="203">
                    <a:moveTo>
                      <a:pt x="127" y="101"/>
                    </a:moveTo>
                    <a:cubicBezTo>
                      <a:pt x="127" y="117"/>
                      <a:pt x="126" y="132"/>
                      <a:pt x="123" y="144"/>
                    </a:cubicBezTo>
                    <a:cubicBezTo>
                      <a:pt x="120" y="157"/>
                      <a:pt x="116" y="168"/>
                      <a:pt x="110" y="177"/>
                    </a:cubicBezTo>
                    <a:cubicBezTo>
                      <a:pt x="105" y="185"/>
                      <a:pt x="98" y="192"/>
                      <a:pt x="90" y="196"/>
                    </a:cubicBezTo>
                    <a:cubicBezTo>
                      <a:pt x="81" y="201"/>
                      <a:pt x="72" y="203"/>
                      <a:pt x="62" y="203"/>
                    </a:cubicBezTo>
                    <a:cubicBezTo>
                      <a:pt x="52" y="203"/>
                      <a:pt x="43" y="201"/>
                      <a:pt x="35" y="197"/>
                    </a:cubicBezTo>
                    <a:cubicBezTo>
                      <a:pt x="28" y="192"/>
                      <a:pt x="21" y="186"/>
                      <a:pt x="16" y="178"/>
                    </a:cubicBezTo>
                    <a:cubicBezTo>
                      <a:pt x="11" y="169"/>
                      <a:pt x="7" y="159"/>
                      <a:pt x="4" y="147"/>
                    </a:cubicBezTo>
                    <a:cubicBezTo>
                      <a:pt x="1" y="135"/>
                      <a:pt x="0" y="121"/>
                      <a:pt x="0" y="106"/>
                    </a:cubicBezTo>
                    <a:cubicBezTo>
                      <a:pt x="0" y="89"/>
                      <a:pt x="1" y="73"/>
                      <a:pt x="4" y="60"/>
                    </a:cubicBezTo>
                    <a:cubicBezTo>
                      <a:pt x="7" y="47"/>
                      <a:pt x="11" y="36"/>
                      <a:pt x="17" y="27"/>
                    </a:cubicBezTo>
                    <a:cubicBezTo>
                      <a:pt x="22" y="18"/>
                      <a:pt x="29" y="12"/>
                      <a:pt x="37" y="7"/>
                    </a:cubicBezTo>
                    <a:cubicBezTo>
                      <a:pt x="46" y="3"/>
                      <a:pt x="55" y="0"/>
                      <a:pt x="66" y="0"/>
                    </a:cubicBezTo>
                    <a:cubicBezTo>
                      <a:pt x="107" y="0"/>
                      <a:pt x="127" y="34"/>
                      <a:pt x="127" y="101"/>
                    </a:cubicBezTo>
                    <a:close/>
                    <a:moveTo>
                      <a:pt x="104" y="103"/>
                    </a:moveTo>
                    <a:cubicBezTo>
                      <a:pt x="104" y="47"/>
                      <a:pt x="91" y="19"/>
                      <a:pt x="65" y="19"/>
                    </a:cubicBezTo>
                    <a:cubicBezTo>
                      <a:pt x="37" y="19"/>
                      <a:pt x="23" y="48"/>
                      <a:pt x="23" y="105"/>
                    </a:cubicBezTo>
                    <a:cubicBezTo>
                      <a:pt x="23" y="158"/>
                      <a:pt x="36" y="184"/>
                      <a:pt x="64" y="184"/>
                    </a:cubicBezTo>
                    <a:cubicBezTo>
                      <a:pt x="91" y="184"/>
                      <a:pt x="104" y="157"/>
                      <a:pt x="104"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6" name="Freeform 364"/>
              <p:cNvSpPr>
                <a:spLocks noEditPoints="1"/>
              </p:cNvSpPr>
              <p:nvPr userDrawn="1"/>
            </p:nvSpPr>
            <p:spPr bwMode="auto">
              <a:xfrm>
                <a:off x="6769" y="1833"/>
                <a:ext cx="155" cy="248"/>
              </a:xfrm>
              <a:custGeom>
                <a:avLst/>
                <a:gdLst>
                  <a:gd name="T0" fmla="*/ 127 w 127"/>
                  <a:gd name="T1" fmla="*/ 101 h 203"/>
                  <a:gd name="T2" fmla="*/ 123 w 127"/>
                  <a:gd name="T3" fmla="*/ 144 h 203"/>
                  <a:gd name="T4" fmla="*/ 110 w 127"/>
                  <a:gd name="T5" fmla="*/ 177 h 203"/>
                  <a:gd name="T6" fmla="*/ 90 w 127"/>
                  <a:gd name="T7" fmla="*/ 196 h 203"/>
                  <a:gd name="T8" fmla="*/ 62 w 127"/>
                  <a:gd name="T9" fmla="*/ 203 h 203"/>
                  <a:gd name="T10" fmla="*/ 35 w 127"/>
                  <a:gd name="T11" fmla="*/ 197 h 203"/>
                  <a:gd name="T12" fmla="*/ 16 w 127"/>
                  <a:gd name="T13" fmla="*/ 178 h 203"/>
                  <a:gd name="T14" fmla="*/ 4 w 127"/>
                  <a:gd name="T15" fmla="*/ 147 h 203"/>
                  <a:gd name="T16" fmla="*/ 0 w 127"/>
                  <a:gd name="T17" fmla="*/ 106 h 203"/>
                  <a:gd name="T18" fmla="*/ 4 w 127"/>
                  <a:gd name="T19" fmla="*/ 60 h 203"/>
                  <a:gd name="T20" fmla="*/ 17 w 127"/>
                  <a:gd name="T21" fmla="*/ 27 h 203"/>
                  <a:gd name="T22" fmla="*/ 37 w 127"/>
                  <a:gd name="T23" fmla="*/ 7 h 203"/>
                  <a:gd name="T24" fmla="*/ 66 w 127"/>
                  <a:gd name="T25" fmla="*/ 0 h 203"/>
                  <a:gd name="T26" fmla="*/ 127 w 127"/>
                  <a:gd name="T27" fmla="*/ 101 h 203"/>
                  <a:gd name="T28" fmla="*/ 104 w 127"/>
                  <a:gd name="T29" fmla="*/ 103 h 203"/>
                  <a:gd name="T30" fmla="*/ 65 w 127"/>
                  <a:gd name="T31" fmla="*/ 19 h 203"/>
                  <a:gd name="T32" fmla="*/ 23 w 127"/>
                  <a:gd name="T33" fmla="*/ 105 h 203"/>
                  <a:gd name="T34" fmla="*/ 64 w 127"/>
                  <a:gd name="T35" fmla="*/ 184 h 203"/>
                  <a:gd name="T36" fmla="*/ 104 w 127"/>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7" h="203">
                    <a:moveTo>
                      <a:pt x="127" y="101"/>
                    </a:moveTo>
                    <a:cubicBezTo>
                      <a:pt x="127" y="117"/>
                      <a:pt x="126" y="132"/>
                      <a:pt x="123" y="144"/>
                    </a:cubicBezTo>
                    <a:cubicBezTo>
                      <a:pt x="120" y="157"/>
                      <a:pt x="116" y="168"/>
                      <a:pt x="110" y="177"/>
                    </a:cubicBezTo>
                    <a:cubicBezTo>
                      <a:pt x="105" y="185"/>
                      <a:pt x="98" y="192"/>
                      <a:pt x="90" y="196"/>
                    </a:cubicBezTo>
                    <a:cubicBezTo>
                      <a:pt x="81" y="201"/>
                      <a:pt x="72" y="203"/>
                      <a:pt x="62" y="203"/>
                    </a:cubicBezTo>
                    <a:cubicBezTo>
                      <a:pt x="52" y="203"/>
                      <a:pt x="43" y="201"/>
                      <a:pt x="35" y="197"/>
                    </a:cubicBezTo>
                    <a:cubicBezTo>
                      <a:pt x="28" y="192"/>
                      <a:pt x="21" y="186"/>
                      <a:pt x="16" y="178"/>
                    </a:cubicBezTo>
                    <a:cubicBezTo>
                      <a:pt x="11" y="169"/>
                      <a:pt x="7" y="159"/>
                      <a:pt x="4" y="147"/>
                    </a:cubicBezTo>
                    <a:cubicBezTo>
                      <a:pt x="1" y="135"/>
                      <a:pt x="0" y="121"/>
                      <a:pt x="0" y="106"/>
                    </a:cubicBezTo>
                    <a:cubicBezTo>
                      <a:pt x="0" y="89"/>
                      <a:pt x="1" y="73"/>
                      <a:pt x="4" y="60"/>
                    </a:cubicBezTo>
                    <a:cubicBezTo>
                      <a:pt x="7" y="47"/>
                      <a:pt x="11" y="36"/>
                      <a:pt x="17" y="27"/>
                    </a:cubicBezTo>
                    <a:cubicBezTo>
                      <a:pt x="22" y="18"/>
                      <a:pt x="29" y="12"/>
                      <a:pt x="37" y="7"/>
                    </a:cubicBezTo>
                    <a:cubicBezTo>
                      <a:pt x="46" y="3"/>
                      <a:pt x="55" y="0"/>
                      <a:pt x="66" y="0"/>
                    </a:cubicBezTo>
                    <a:cubicBezTo>
                      <a:pt x="107" y="0"/>
                      <a:pt x="127" y="34"/>
                      <a:pt x="127" y="101"/>
                    </a:cubicBezTo>
                    <a:close/>
                    <a:moveTo>
                      <a:pt x="104" y="103"/>
                    </a:moveTo>
                    <a:cubicBezTo>
                      <a:pt x="104" y="47"/>
                      <a:pt x="91" y="19"/>
                      <a:pt x="65" y="19"/>
                    </a:cubicBezTo>
                    <a:cubicBezTo>
                      <a:pt x="37" y="19"/>
                      <a:pt x="23" y="48"/>
                      <a:pt x="23" y="105"/>
                    </a:cubicBezTo>
                    <a:cubicBezTo>
                      <a:pt x="23" y="158"/>
                      <a:pt x="36" y="184"/>
                      <a:pt x="64" y="184"/>
                    </a:cubicBezTo>
                    <a:cubicBezTo>
                      <a:pt x="91" y="184"/>
                      <a:pt x="104" y="157"/>
                      <a:pt x="104"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7" name="Freeform 365"/>
              <p:cNvSpPr>
                <a:spLocks/>
              </p:cNvSpPr>
              <p:nvPr userDrawn="1"/>
            </p:nvSpPr>
            <p:spPr bwMode="auto">
              <a:xfrm>
                <a:off x="6966" y="1832"/>
                <a:ext cx="83" cy="246"/>
              </a:xfrm>
              <a:custGeom>
                <a:avLst/>
                <a:gdLst>
                  <a:gd name="T0" fmla="*/ 68 w 68"/>
                  <a:gd name="T1" fmla="*/ 201 h 201"/>
                  <a:gd name="T2" fmla="*/ 45 w 68"/>
                  <a:gd name="T3" fmla="*/ 201 h 201"/>
                  <a:gd name="T4" fmla="*/ 45 w 68"/>
                  <a:gd name="T5" fmla="*/ 31 h 201"/>
                  <a:gd name="T6" fmla="*/ 38 w 68"/>
                  <a:gd name="T7" fmla="*/ 37 h 201"/>
                  <a:gd name="T8" fmla="*/ 26 w 68"/>
                  <a:gd name="T9" fmla="*/ 44 h 201"/>
                  <a:gd name="T10" fmla="*/ 13 w 68"/>
                  <a:gd name="T11" fmla="*/ 50 h 201"/>
                  <a:gd name="T12" fmla="*/ 0 w 68"/>
                  <a:gd name="T13" fmla="*/ 55 h 201"/>
                  <a:gd name="T14" fmla="*/ 0 w 68"/>
                  <a:gd name="T15" fmla="*/ 32 h 201"/>
                  <a:gd name="T16" fmla="*/ 15 w 68"/>
                  <a:gd name="T17" fmla="*/ 26 h 201"/>
                  <a:gd name="T18" fmla="*/ 32 w 68"/>
                  <a:gd name="T19" fmla="*/ 19 h 201"/>
                  <a:gd name="T20" fmla="*/ 47 w 68"/>
                  <a:gd name="T21" fmla="*/ 10 h 201"/>
                  <a:gd name="T22" fmla="*/ 59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5" y="201"/>
                      <a:pt x="45" y="201"/>
                      <a:pt x="45" y="201"/>
                    </a:cubicBezTo>
                    <a:cubicBezTo>
                      <a:pt x="45" y="31"/>
                      <a:pt x="45" y="31"/>
                      <a:pt x="45" y="31"/>
                    </a:cubicBezTo>
                    <a:cubicBezTo>
                      <a:pt x="44" y="33"/>
                      <a:pt x="41" y="35"/>
                      <a:pt x="38" y="37"/>
                    </a:cubicBezTo>
                    <a:cubicBezTo>
                      <a:pt x="34" y="40"/>
                      <a:pt x="31" y="42"/>
                      <a:pt x="26" y="44"/>
                    </a:cubicBezTo>
                    <a:cubicBezTo>
                      <a:pt x="22" y="46"/>
                      <a:pt x="18" y="48"/>
                      <a:pt x="13" y="50"/>
                    </a:cubicBezTo>
                    <a:cubicBezTo>
                      <a:pt x="9" y="52"/>
                      <a:pt x="4" y="53"/>
                      <a:pt x="0" y="55"/>
                    </a:cubicBezTo>
                    <a:cubicBezTo>
                      <a:pt x="0" y="32"/>
                      <a:pt x="0" y="32"/>
                      <a:pt x="0" y="32"/>
                    </a:cubicBezTo>
                    <a:cubicBezTo>
                      <a:pt x="5" y="31"/>
                      <a:pt x="10" y="29"/>
                      <a:pt x="15" y="26"/>
                    </a:cubicBezTo>
                    <a:cubicBezTo>
                      <a:pt x="21" y="24"/>
                      <a:pt x="26" y="21"/>
                      <a:pt x="32" y="19"/>
                    </a:cubicBezTo>
                    <a:cubicBezTo>
                      <a:pt x="37" y="16"/>
                      <a:pt x="42" y="13"/>
                      <a:pt x="47" y="10"/>
                    </a:cubicBezTo>
                    <a:cubicBezTo>
                      <a:pt x="52" y="6"/>
                      <a:pt x="56" y="3"/>
                      <a:pt x="59"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8" name="Freeform 366"/>
              <p:cNvSpPr>
                <a:spLocks noEditPoints="1"/>
              </p:cNvSpPr>
              <p:nvPr userDrawn="1"/>
            </p:nvSpPr>
            <p:spPr bwMode="auto">
              <a:xfrm>
                <a:off x="7114" y="1833"/>
                <a:ext cx="156" cy="248"/>
              </a:xfrm>
              <a:custGeom>
                <a:avLst/>
                <a:gdLst>
                  <a:gd name="T0" fmla="*/ 128 w 128"/>
                  <a:gd name="T1" fmla="*/ 101 h 203"/>
                  <a:gd name="T2" fmla="*/ 124 w 128"/>
                  <a:gd name="T3" fmla="*/ 144 h 203"/>
                  <a:gd name="T4" fmla="*/ 111 w 128"/>
                  <a:gd name="T5" fmla="*/ 177 h 203"/>
                  <a:gd name="T6" fmla="*/ 90 w 128"/>
                  <a:gd name="T7" fmla="*/ 196 h 203"/>
                  <a:gd name="T8" fmla="*/ 62 w 128"/>
                  <a:gd name="T9" fmla="*/ 203 h 203"/>
                  <a:gd name="T10" fmla="*/ 36 w 128"/>
                  <a:gd name="T11" fmla="*/ 197 h 203"/>
                  <a:gd name="T12" fmla="*/ 17 w 128"/>
                  <a:gd name="T13" fmla="*/ 178 h 203"/>
                  <a:gd name="T14" fmla="*/ 5 w 128"/>
                  <a:gd name="T15" fmla="*/ 147 h 203"/>
                  <a:gd name="T16" fmla="*/ 0 w 128"/>
                  <a:gd name="T17" fmla="*/ 106 h 203"/>
                  <a:gd name="T18" fmla="*/ 5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5 h 203"/>
                  <a:gd name="T34" fmla="*/ 65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7" y="132"/>
                      <a:pt x="124" y="144"/>
                    </a:cubicBezTo>
                    <a:cubicBezTo>
                      <a:pt x="121" y="157"/>
                      <a:pt x="116" y="168"/>
                      <a:pt x="111" y="177"/>
                    </a:cubicBezTo>
                    <a:cubicBezTo>
                      <a:pt x="105" y="185"/>
                      <a:pt x="98" y="192"/>
                      <a:pt x="90" y="196"/>
                    </a:cubicBezTo>
                    <a:cubicBezTo>
                      <a:pt x="82" y="201"/>
                      <a:pt x="73" y="203"/>
                      <a:pt x="62" y="203"/>
                    </a:cubicBezTo>
                    <a:cubicBezTo>
                      <a:pt x="53" y="203"/>
                      <a:pt x="44" y="201"/>
                      <a:pt x="36" y="197"/>
                    </a:cubicBezTo>
                    <a:cubicBezTo>
                      <a:pt x="28" y="192"/>
                      <a:pt x="22" y="186"/>
                      <a:pt x="17" y="178"/>
                    </a:cubicBezTo>
                    <a:cubicBezTo>
                      <a:pt x="11" y="169"/>
                      <a:pt x="7" y="159"/>
                      <a:pt x="5" y="147"/>
                    </a:cubicBezTo>
                    <a:cubicBezTo>
                      <a:pt x="2" y="135"/>
                      <a:pt x="0" y="121"/>
                      <a:pt x="0" y="106"/>
                    </a:cubicBezTo>
                    <a:cubicBezTo>
                      <a:pt x="0" y="89"/>
                      <a:pt x="2" y="73"/>
                      <a:pt x="5" y="60"/>
                    </a:cubicBezTo>
                    <a:cubicBezTo>
                      <a:pt x="8" y="47"/>
                      <a:pt x="12" y="36"/>
                      <a:pt x="17" y="27"/>
                    </a:cubicBezTo>
                    <a:cubicBezTo>
                      <a:pt x="23" y="18"/>
                      <a:pt x="30" y="12"/>
                      <a:pt x="38" y="7"/>
                    </a:cubicBezTo>
                    <a:cubicBezTo>
                      <a:pt x="46" y="3"/>
                      <a:pt x="56" y="0"/>
                      <a:pt x="66" y="0"/>
                    </a:cubicBezTo>
                    <a:cubicBezTo>
                      <a:pt x="108" y="0"/>
                      <a:pt x="128" y="34"/>
                      <a:pt x="128" y="101"/>
                    </a:cubicBezTo>
                    <a:close/>
                    <a:moveTo>
                      <a:pt x="105" y="103"/>
                    </a:moveTo>
                    <a:cubicBezTo>
                      <a:pt x="105" y="47"/>
                      <a:pt x="92" y="19"/>
                      <a:pt x="65" y="19"/>
                    </a:cubicBezTo>
                    <a:cubicBezTo>
                      <a:pt x="37" y="19"/>
                      <a:pt x="23" y="48"/>
                      <a:pt x="23" y="105"/>
                    </a:cubicBezTo>
                    <a:cubicBezTo>
                      <a:pt x="23" y="158"/>
                      <a:pt x="37" y="184"/>
                      <a:pt x="65" y="184"/>
                    </a:cubicBezTo>
                    <a:cubicBezTo>
                      <a:pt x="92"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9" name="Freeform 367"/>
              <p:cNvSpPr>
                <a:spLocks/>
              </p:cNvSpPr>
              <p:nvPr userDrawn="1"/>
            </p:nvSpPr>
            <p:spPr bwMode="auto">
              <a:xfrm>
                <a:off x="7312" y="1832"/>
                <a:ext cx="82" cy="246"/>
              </a:xfrm>
              <a:custGeom>
                <a:avLst/>
                <a:gdLst>
                  <a:gd name="T0" fmla="*/ 67 w 67"/>
                  <a:gd name="T1" fmla="*/ 201 h 201"/>
                  <a:gd name="T2" fmla="*/ 45 w 67"/>
                  <a:gd name="T3" fmla="*/ 201 h 201"/>
                  <a:gd name="T4" fmla="*/ 45 w 67"/>
                  <a:gd name="T5" fmla="*/ 31 h 201"/>
                  <a:gd name="T6" fmla="*/ 37 w 67"/>
                  <a:gd name="T7" fmla="*/ 37 h 201"/>
                  <a:gd name="T8" fmla="*/ 26 w 67"/>
                  <a:gd name="T9" fmla="*/ 44 h 201"/>
                  <a:gd name="T10" fmla="*/ 13 w 67"/>
                  <a:gd name="T11" fmla="*/ 50 h 201"/>
                  <a:gd name="T12" fmla="*/ 0 w 67"/>
                  <a:gd name="T13" fmla="*/ 55 h 201"/>
                  <a:gd name="T14" fmla="*/ 0 w 67"/>
                  <a:gd name="T15" fmla="*/ 32 h 201"/>
                  <a:gd name="T16" fmla="*/ 15 w 67"/>
                  <a:gd name="T17" fmla="*/ 26 h 201"/>
                  <a:gd name="T18" fmla="*/ 31 w 67"/>
                  <a:gd name="T19" fmla="*/ 19 h 201"/>
                  <a:gd name="T20" fmla="*/ 47 w 67"/>
                  <a:gd name="T21" fmla="*/ 10 h 201"/>
                  <a:gd name="T22" fmla="*/ 59 w 67"/>
                  <a:gd name="T23" fmla="*/ 0 h 201"/>
                  <a:gd name="T24" fmla="*/ 67 w 67"/>
                  <a:gd name="T25" fmla="*/ 0 h 201"/>
                  <a:gd name="T26" fmla="*/ 67 w 67"/>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7" h="201">
                    <a:moveTo>
                      <a:pt x="67" y="201"/>
                    </a:moveTo>
                    <a:cubicBezTo>
                      <a:pt x="45" y="201"/>
                      <a:pt x="45" y="201"/>
                      <a:pt x="45" y="201"/>
                    </a:cubicBezTo>
                    <a:cubicBezTo>
                      <a:pt x="45" y="31"/>
                      <a:pt x="45" y="31"/>
                      <a:pt x="45" y="31"/>
                    </a:cubicBezTo>
                    <a:cubicBezTo>
                      <a:pt x="43" y="33"/>
                      <a:pt x="41" y="35"/>
                      <a:pt x="37" y="37"/>
                    </a:cubicBezTo>
                    <a:cubicBezTo>
                      <a:pt x="34" y="40"/>
                      <a:pt x="30" y="42"/>
                      <a:pt x="26" y="44"/>
                    </a:cubicBezTo>
                    <a:cubicBezTo>
                      <a:pt x="22" y="46"/>
                      <a:pt x="18" y="48"/>
                      <a:pt x="13" y="50"/>
                    </a:cubicBezTo>
                    <a:cubicBezTo>
                      <a:pt x="8" y="52"/>
                      <a:pt x="4" y="53"/>
                      <a:pt x="0" y="55"/>
                    </a:cubicBezTo>
                    <a:cubicBezTo>
                      <a:pt x="0" y="32"/>
                      <a:pt x="0" y="32"/>
                      <a:pt x="0" y="32"/>
                    </a:cubicBezTo>
                    <a:cubicBezTo>
                      <a:pt x="4" y="31"/>
                      <a:pt x="10" y="29"/>
                      <a:pt x="15" y="26"/>
                    </a:cubicBezTo>
                    <a:cubicBezTo>
                      <a:pt x="21" y="24"/>
                      <a:pt x="26" y="21"/>
                      <a:pt x="31" y="19"/>
                    </a:cubicBezTo>
                    <a:cubicBezTo>
                      <a:pt x="37" y="16"/>
                      <a:pt x="42" y="13"/>
                      <a:pt x="47" y="10"/>
                    </a:cubicBezTo>
                    <a:cubicBezTo>
                      <a:pt x="51" y="6"/>
                      <a:pt x="55" y="3"/>
                      <a:pt x="59" y="0"/>
                    </a:cubicBezTo>
                    <a:cubicBezTo>
                      <a:pt x="67" y="0"/>
                      <a:pt x="67" y="0"/>
                      <a:pt x="67" y="0"/>
                    </a:cubicBezTo>
                    <a:lnTo>
                      <a:pt x="67"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0" name="Freeform 368"/>
              <p:cNvSpPr>
                <a:spLocks/>
              </p:cNvSpPr>
              <p:nvPr userDrawn="1"/>
            </p:nvSpPr>
            <p:spPr bwMode="auto">
              <a:xfrm>
                <a:off x="7454" y="1838"/>
                <a:ext cx="76" cy="293"/>
              </a:xfrm>
              <a:custGeom>
                <a:avLst/>
                <a:gdLst>
                  <a:gd name="T0" fmla="*/ 63 w 63"/>
                  <a:gd name="T1" fmla="*/ 240 h 240"/>
                  <a:gd name="T2" fmla="*/ 21 w 63"/>
                  <a:gd name="T3" fmla="*/ 198 h 240"/>
                  <a:gd name="T4" fmla="*/ 21 w 63"/>
                  <a:gd name="T5" fmla="*/ 157 h 240"/>
                  <a:gd name="T6" fmla="*/ 0 w 63"/>
                  <a:gd name="T7" fmla="*/ 128 h 240"/>
                  <a:gd name="T8" fmla="*/ 0 w 63"/>
                  <a:gd name="T9" fmla="*/ 112 h 240"/>
                  <a:gd name="T10" fmla="*/ 21 w 63"/>
                  <a:gd name="T11" fmla="*/ 83 h 240"/>
                  <a:gd name="T12" fmla="*/ 21 w 63"/>
                  <a:gd name="T13" fmla="*/ 43 h 240"/>
                  <a:gd name="T14" fmla="*/ 63 w 63"/>
                  <a:gd name="T15" fmla="*/ 0 h 240"/>
                  <a:gd name="T16" fmla="*/ 63 w 63"/>
                  <a:gd name="T17" fmla="*/ 17 h 240"/>
                  <a:gd name="T18" fmla="*/ 42 w 63"/>
                  <a:gd name="T19" fmla="*/ 44 h 240"/>
                  <a:gd name="T20" fmla="*/ 42 w 63"/>
                  <a:gd name="T21" fmla="*/ 84 h 240"/>
                  <a:gd name="T22" fmla="*/ 21 w 63"/>
                  <a:gd name="T23" fmla="*/ 120 h 240"/>
                  <a:gd name="T24" fmla="*/ 21 w 63"/>
                  <a:gd name="T25" fmla="*/ 120 h 240"/>
                  <a:gd name="T26" fmla="*/ 42 w 63"/>
                  <a:gd name="T27" fmla="*/ 155 h 240"/>
                  <a:gd name="T28" fmla="*/ 42 w 63"/>
                  <a:gd name="T29" fmla="*/ 195 h 240"/>
                  <a:gd name="T30" fmla="*/ 47 w 63"/>
                  <a:gd name="T31" fmla="*/ 216 h 240"/>
                  <a:gd name="T32" fmla="*/ 63 w 63"/>
                  <a:gd name="T33" fmla="*/ 223 h 240"/>
                  <a:gd name="T34" fmla="*/ 63 w 63"/>
                  <a:gd name="T35" fmla="*/ 240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3" h="240">
                    <a:moveTo>
                      <a:pt x="63" y="240"/>
                    </a:moveTo>
                    <a:cubicBezTo>
                      <a:pt x="35" y="240"/>
                      <a:pt x="21" y="226"/>
                      <a:pt x="21" y="198"/>
                    </a:cubicBezTo>
                    <a:cubicBezTo>
                      <a:pt x="21" y="157"/>
                      <a:pt x="21" y="157"/>
                      <a:pt x="21" y="157"/>
                    </a:cubicBezTo>
                    <a:cubicBezTo>
                      <a:pt x="21" y="138"/>
                      <a:pt x="14" y="129"/>
                      <a:pt x="0" y="128"/>
                    </a:cubicBezTo>
                    <a:cubicBezTo>
                      <a:pt x="0" y="112"/>
                      <a:pt x="0" y="112"/>
                      <a:pt x="0" y="112"/>
                    </a:cubicBezTo>
                    <a:cubicBezTo>
                      <a:pt x="14" y="111"/>
                      <a:pt x="21" y="101"/>
                      <a:pt x="21" y="83"/>
                    </a:cubicBezTo>
                    <a:cubicBezTo>
                      <a:pt x="21" y="43"/>
                      <a:pt x="21" y="43"/>
                      <a:pt x="21" y="43"/>
                    </a:cubicBezTo>
                    <a:cubicBezTo>
                      <a:pt x="21" y="14"/>
                      <a:pt x="35" y="0"/>
                      <a:pt x="63" y="0"/>
                    </a:cubicBezTo>
                    <a:cubicBezTo>
                      <a:pt x="63" y="17"/>
                      <a:pt x="63" y="17"/>
                      <a:pt x="63" y="17"/>
                    </a:cubicBezTo>
                    <a:cubicBezTo>
                      <a:pt x="49" y="18"/>
                      <a:pt x="42" y="27"/>
                      <a:pt x="42" y="44"/>
                    </a:cubicBezTo>
                    <a:cubicBezTo>
                      <a:pt x="42" y="84"/>
                      <a:pt x="42" y="84"/>
                      <a:pt x="42" y="84"/>
                    </a:cubicBezTo>
                    <a:cubicBezTo>
                      <a:pt x="42" y="103"/>
                      <a:pt x="35" y="115"/>
                      <a:pt x="21" y="120"/>
                    </a:cubicBezTo>
                    <a:cubicBezTo>
                      <a:pt x="21" y="120"/>
                      <a:pt x="21" y="120"/>
                      <a:pt x="21" y="120"/>
                    </a:cubicBezTo>
                    <a:cubicBezTo>
                      <a:pt x="35" y="124"/>
                      <a:pt x="42" y="136"/>
                      <a:pt x="42" y="155"/>
                    </a:cubicBezTo>
                    <a:cubicBezTo>
                      <a:pt x="42" y="195"/>
                      <a:pt x="42" y="195"/>
                      <a:pt x="42" y="195"/>
                    </a:cubicBezTo>
                    <a:cubicBezTo>
                      <a:pt x="42" y="205"/>
                      <a:pt x="43" y="212"/>
                      <a:pt x="47" y="216"/>
                    </a:cubicBezTo>
                    <a:cubicBezTo>
                      <a:pt x="50" y="221"/>
                      <a:pt x="55" y="223"/>
                      <a:pt x="63" y="223"/>
                    </a:cubicBezTo>
                    <a:lnTo>
                      <a:pt x="63" y="2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1" name="Freeform 369"/>
              <p:cNvSpPr>
                <a:spLocks/>
              </p:cNvSpPr>
              <p:nvPr userDrawn="1"/>
            </p:nvSpPr>
            <p:spPr bwMode="auto">
              <a:xfrm>
                <a:off x="7562" y="1838"/>
                <a:ext cx="77" cy="293"/>
              </a:xfrm>
              <a:custGeom>
                <a:avLst/>
                <a:gdLst>
                  <a:gd name="T0" fmla="*/ 63 w 63"/>
                  <a:gd name="T1" fmla="*/ 128 h 240"/>
                  <a:gd name="T2" fmla="*/ 41 w 63"/>
                  <a:gd name="T3" fmla="*/ 157 h 240"/>
                  <a:gd name="T4" fmla="*/ 41 w 63"/>
                  <a:gd name="T5" fmla="*/ 198 h 240"/>
                  <a:gd name="T6" fmla="*/ 0 w 63"/>
                  <a:gd name="T7" fmla="*/ 240 h 240"/>
                  <a:gd name="T8" fmla="*/ 0 w 63"/>
                  <a:gd name="T9" fmla="*/ 223 h 240"/>
                  <a:gd name="T10" fmla="*/ 16 w 63"/>
                  <a:gd name="T11" fmla="*/ 216 h 240"/>
                  <a:gd name="T12" fmla="*/ 21 w 63"/>
                  <a:gd name="T13" fmla="*/ 195 h 240"/>
                  <a:gd name="T14" fmla="*/ 21 w 63"/>
                  <a:gd name="T15" fmla="*/ 155 h 240"/>
                  <a:gd name="T16" fmla="*/ 42 w 63"/>
                  <a:gd name="T17" fmla="*/ 120 h 240"/>
                  <a:gd name="T18" fmla="*/ 42 w 63"/>
                  <a:gd name="T19" fmla="*/ 120 h 240"/>
                  <a:gd name="T20" fmla="*/ 21 w 63"/>
                  <a:gd name="T21" fmla="*/ 84 h 240"/>
                  <a:gd name="T22" fmla="*/ 21 w 63"/>
                  <a:gd name="T23" fmla="*/ 44 h 240"/>
                  <a:gd name="T24" fmla="*/ 0 w 63"/>
                  <a:gd name="T25" fmla="*/ 17 h 240"/>
                  <a:gd name="T26" fmla="*/ 0 w 63"/>
                  <a:gd name="T27" fmla="*/ 0 h 240"/>
                  <a:gd name="T28" fmla="*/ 41 w 63"/>
                  <a:gd name="T29" fmla="*/ 43 h 240"/>
                  <a:gd name="T30" fmla="*/ 41 w 63"/>
                  <a:gd name="T31" fmla="*/ 83 h 240"/>
                  <a:gd name="T32" fmla="*/ 63 w 63"/>
                  <a:gd name="T33" fmla="*/ 112 h 240"/>
                  <a:gd name="T34" fmla="*/ 63 w 63"/>
                  <a:gd name="T35" fmla="*/ 128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3" h="240">
                    <a:moveTo>
                      <a:pt x="63" y="128"/>
                    </a:moveTo>
                    <a:cubicBezTo>
                      <a:pt x="48" y="129"/>
                      <a:pt x="41" y="138"/>
                      <a:pt x="41" y="157"/>
                    </a:cubicBezTo>
                    <a:cubicBezTo>
                      <a:pt x="41" y="198"/>
                      <a:pt x="41" y="198"/>
                      <a:pt x="41" y="198"/>
                    </a:cubicBezTo>
                    <a:cubicBezTo>
                      <a:pt x="41" y="226"/>
                      <a:pt x="27" y="240"/>
                      <a:pt x="0" y="240"/>
                    </a:cubicBezTo>
                    <a:cubicBezTo>
                      <a:pt x="0" y="223"/>
                      <a:pt x="0" y="223"/>
                      <a:pt x="0" y="223"/>
                    </a:cubicBezTo>
                    <a:cubicBezTo>
                      <a:pt x="7" y="223"/>
                      <a:pt x="13" y="221"/>
                      <a:pt x="16" y="216"/>
                    </a:cubicBezTo>
                    <a:cubicBezTo>
                      <a:pt x="20" y="212"/>
                      <a:pt x="21" y="205"/>
                      <a:pt x="21" y="195"/>
                    </a:cubicBezTo>
                    <a:cubicBezTo>
                      <a:pt x="21" y="155"/>
                      <a:pt x="21" y="155"/>
                      <a:pt x="21" y="155"/>
                    </a:cubicBezTo>
                    <a:cubicBezTo>
                      <a:pt x="21" y="136"/>
                      <a:pt x="28" y="124"/>
                      <a:pt x="42" y="120"/>
                    </a:cubicBezTo>
                    <a:cubicBezTo>
                      <a:pt x="42" y="120"/>
                      <a:pt x="42" y="120"/>
                      <a:pt x="42" y="120"/>
                    </a:cubicBezTo>
                    <a:cubicBezTo>
                      <a:pt x="28" y="115"/>
                      <a:pt x="21" y="103"/>
                      <a:pt x="21" y="84"/>
                    </a:cubicBezTo>
                    <a:cubicBezTo>
                      <a:pt x="21" y="44"/>
                      <a:pt x="21" y="44"/>
                      <a:pt x="21" y="44"/>
                    </a:cubicBezTo>
                    <a:cubicBezTo>
                      <a:pt x="21" y="27"/>
                      <a:pt x="14" y="18"/>
                      <a:pt x="0" y="17"/>
                    </a:cubicBezTo>
                    <a:cubicBezTo>
                      <a:pt x="0" y="0"/>
                      <a:pt x="0" y="0"/>
                      <a:pt x="0" y="0"/>
                    </a:cubicBezTo>
                    <a:cubicBezTo>
                      <a:pt x="27" y="0"/>
                      <a:pt x="41" y="14"/>
                      <a:pt x="41" y="43"/>
                    </a:cubicBezTo>
                    <a:cubicBezTo>
                      <a:pt x="41" y="83"/>
                      <a:pt x="41" y="83"/>
                      <a:pt x="41" y="83"/>
                    </a:cubicBezTo>
                    <a:cubicBezTo>
                      <a:pt x="41" y="101"/>
                      <a:pt x="48" y="111"/>
                      <a:pt x="63" y="112"/>
                    </a:cubicBezTo>
                    <a:lnTo>
                      <a:pt x="63" y="1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2" name="Freeform 370"/>
              <p:cNvSpPr>
                <a:spLocks/>
              </p:cNvSpPr>
              <p:nvPr userDrawn="1"/>
            </p:nvSpPr>
            <p:spPr bwMode="auto">
              <a:xfrm>
                <a:off x="7669" y="1832"/>
                <a:ext cx="83" cy="246"/>
              </a:xfrm>
              <a:custGeom>
                <a:avLst/>
                <a:gdLst>
                  <a:gd name="T0" fmla="*/ 68 w 68"/>
                  <a:gd name="T1" fmla="*/ 201 h 201"/>
                  <a:gd name="T2" fmla="*/ 45 w 68"/>
                  <a:gd name="T3" fmla="*/ 201 h 201"/>
                  <a:gd name="T4" fmla="*/ 45 w 68"/>
                  <a:gd name="T5" fmla="*/ 31 h 201"/>
                  <a:gd name="T6" fmla="*/ 38 w 68"/>
                  <a:gd name="T7" fmla="*/ 37 h 201"/>
                  <a:gd name="T8" fmla="*/ 26 w 68"/>
                  <a:gd name="T9" fmla="*/ 44 h 201"/>
                  <a:gd name="T10" fmla="*/ 13 w 68"/>
                  <a:gd name="T11" fmla="*/ 50 h 201"/>
                  <a:gd name="T12" fmla="*/ 0 w 68"/>
                  <a:gd name="T13" fmla="*/ 55 h 201"/>
                  <a:gd name="T14" fmla="*/ 0 w 68"/>
                  <a:gd name="T15" fmla="*/ 32 h 201"/>
                  <a:gd name="T16" fmla="*/ 15 w 68"/>
                  <a:gd name="T17" fmla="*/ 26 h 201"/>
                  <a:gd name="T18" fmla="*/ 32 w 68"/>
                  <a:gd name="T19" fmla="*/ 19 h 201"/>
                  <a:gd name="T20" fmla="*/ 47 w 68"/>
                  <a:gd name="T21" fmla="*/ 10 h 201"/>
                  <a:gd name="T22" fmla="*/ 59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5" y="201"/>
                      <a:pt x="45" y="201"/>
                      <a:pt x="45" y="201"/>
                    </a:cubicBezTo>
                    <a:cubicBezTo>
                      <a:pt x="45" y="31"/>
                      <a:pt x="45" y="31"/>
                      <a:pt x="45" y="31"/>
                    </a:cubicBezTo>
                    <a:cubicBezTo>
                      <a:pt x="43" y="33"/>
                      <a:pt x="41" y="35"/>
                      <a:pt x="38" y="37"/>
                    </a:cubicBezTo>
                    <a:cubicBezTo>
                      <a:pt x="34" y="40"/>
                      <a:pt x="31" y="42"/>
                      <a:pt x="26" y="44"/>
                    </a:cubicBezTo>
                    <a:cubicBezTo>
                      <a:pt x="22" y="46"/>
                      <a:pt x="18" y="48"/>
                      <a:pt x="13" y="50"/>
                    </a:cubicBezTo>
                    <a:cubicBezTo>
                      <a:pt x="9" y="52"/>
                      <a:pt x="4" y="53"/>
                      <a:pt x="0" y="55"/>
                    </a:cubicBezTo>
                    <a:cubicBezTo>
                      <a:pt x="0" y="32"/>
                      <a:pt x="0" y="32"/>
                      <a:pt x="0" y="32"/>
                    </a:cubicBezTo>
                    <a:cubicBezTo>
                      <a:pt x="5" y="31"/>
                      <a:pt x="10" y="29"/>
                      <a:pt x="15" y="26"/>
                    </a:cubicBezTo>
                    <a:cubicBezTo>
                      <a:pt x="21" y="24"/>
                      <a:pt x="26" y="21"/>
                      <a:pt x="32" y="19"/>
                    </a:cubicBezTo>
                    <a:cubicBezTo>
                      <a:pt x="37" y="16"/>
                      <a:pt x="42" y="13"/>
                      <a:pt x="47" y="10"/>
                    </a:cubicBezTo>
                    <a:cubicBezTo>
                      <a:pt x="52" y="6"/>
                      <a:pt x="56" y="3"/>
                      <a:pt x="59"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3" name="Freeform 371"/>
              <p:cNvSpPr>
                <a:spLocks noEditPoints="1"/>
              </p:cNvSpPr>
              <p:nvPr userDrawn="1"/>
            </p:nvSpPr>
            <p:spPr bwMode="auto">
              <a:xfrm>
                <a:off x="2581" y="1825"/>
                <a:ext cx="218" cy="255"/>
              </a:xfrm>
              <a:custGeom>
                <a:avLst/>
                <a:gdLst>
                  <a:gd name="T0" fmla="*/ 175 w 179"/>
                  <a:gd name="T1" fmla="*/ 174 h 209"/>
                  <a:gd name="T2" fmla="*/ 134 w 179"/>
                  <a:gd name="T3" fmla="*/ 209 h 209"/>
                  <a:gd name="T4" fmla="*/ 81 w 179"/>
                  <a:gd name="T5" fmla="*/ 198 h 209"/>
                  <a:gd name="T6" fmla="*/ 32 w 179"/>
                  <a:gd name="T7" fmla="*/ 202 h 209"/>
                  <a:gd name="T8" fmla="*/ 2 w 179"/>
                  <a:gd name="T9" fmla="*/ 184 h 209"/>
                  <a:gd name="T10" fmla="*/ 14 w 179"/>
                  <a:gd name="T11" fmla="*/ 159 h 209"/>
                  <a:gd name="T12" fmla="*/ 9 w 179"/>
                  <a:gd name="T13" fmla="*/ 162 h 209"/>
                  <a:gd name="T14" fmla="*/ 6 w 179"/>
                  <a:gd name="T15" fmla="*/ 184 h 209"/>
                  <a:gd name="T16" fmla="*/ 46 w 179"/>
                  <a:gd name="T17" fmla="*/ 202 h 209"/>
                  <a:gd name="T18" fmla="*/ 42 w 179"/>
                  <a:gd name="T19" fmla="*/ 152 h 209"/>
                  <a:gd name="T20" fmla="*/ 25 w 179"/>
                  <a:gd name="T21" fmla="*/ 134 h 209"/>
                  <a:gd name="T22" fmla="*/ 52 w 179"/>
                  <a:gd name="T23" fmla="*/ 83 h 209"/>
                  <a:gd name="T24" fmla="*/ 58 w 179"/>
                  <a:gd name="T25" fmla="*/ 27 h 209"/>
                  <a:gd name="T26" fmla="*/ 117 w 179"/>
                  <a:gd name="T27" fmla="*/ 18 h 209"/>
                  <a:gd name="T28" fmla="*/ 160 w 179"/>
                  <a:gd name="T29" fmla="*/ 128 h 209"/>
                  <a:gd name="T30" fmla="*/ 153 w 179"/>
                  <a:gd name="T31" fmla="*/ 152 h 209"/>
                  <a:gd name="T32" fmla="*/ 128 w 179"/>
                  <a:gd name="T33" fmla="*/ 151 h 209"/>
                  <a:gd name="T34" fmla="*/ 122 w 179"/>
                  <a:gd name="T35" fmla="*/ 186 h 209"/>
                  <a:gd name="T36" fmla="*/ 165 w 179"/>
                  <a:gd name="T37" fmla="*/ 186 h 209"/>
                  <a:gd name="T38" fmla="*/ 171 w 179"/>
                  <a:gd name="T39" fmla="*/ 174 h 209"/>
                  <a:gd name="T40" fmla="*/ 161 w 179"/>
                  <a:gd name="T41" fmla="*/ 153 h 209"/>
                  <a:gd name="T42" fmla="*/ 88 w 179"/>
                  <a:gd name="T43" fmla="*/ 72 h 209"/>
                  <a:gd name="T44" fmla="*/ 102 w 179"/>
                  <a:gd name="T45" fmla="*/ 68 h 209"/>
                  <a:gd name="T46" fmla="*/ 73 w 179"/>
                  <a:gd name="T47" fmla="*/ 79 h 209"/>
                  <a:gd name="T48" fmla="*/ 64 w 179"/>
                  <a:gd name="T49" fmla="*/ 77 h 209"/>
                  <a:gd name="T50" fmla="*/ 56 w 179"/>
                  <a:gd name="T51" fmla="*/ 101 h 209"/>
                  <a:gd name="T52" fmla="*/ 45 w 179"/>
                  <a:gd name="T53" fmla="*/ 140 h 209"/>
                  <a:gd name="T54" fmla="*/ 38 w 179"/>
                  <a:gd name="T55" fmla="*/ 121 h 209"/>
                  <a:gd name="T56" fmla="*/ 40 w 179"/>
                  <a:gd name="T57" fmla="*/ 143 h 209"/>
                  <a:gd name="T58" fmla="*/ 64 w 179"/>
                  <a:gd name="T59" fmla="*/ 178 h 209"/>
                  <a:gd name="T60" fmla="*/ 70 w 179"/>
                  <a:gd name="T61" fmla="*/ 197 h 209"/>
                  <a:gd name="T62" fmla="*/ 68 w 179"/>
                  <a:gd name="T63" fmla="*/ 183 h 209"/>
                  <a:gd name="T64" fmla="*/ 109 w 179"/>
                  <a:gd name="T65" fmla="*/ 179 h 209"/>
                  <a:gd name="T66" fmla="*/ 115 w 179"/>
                  <a:gd name="T67" fmla="*/ 186 h 209"/>
                  <a:gd name="T68" fmla="*/ 119 w 179"/>
                  <a:gd name="T69" fmla="*/ 171 h 209"/>
                  <a:gd name="T70" fmla="*/ 127 w 179"/>
                  <a:gd name="T71" fmla="*/ 146 h 209"/>
                  <a:gd name="T72" fmla="*/ 126 w 179"/>
                  <a:gd name="T73" fmla="*/ 92 h 209"/>
                  <a:gd name="T74" fmla="*/ 128 w 179"/>
                  <a:gd name="T75" fmla="*/ 135 h 209"/>
                  <a:gd name="T76" fmla="*/ 117 w 179"/>
                  <a:gd name="T77" fmla="*/ 94 h 209"/>
                  <a:gd name="T78" fmla="*/ 104 w 179"/>
                  <a:gd name="T79" fmla="*/ 54 h 209"/>
                  <a:gd name="T80" fmla="*/ 98 w 179"/>
                  <a:gd name="T81" fmla="*/ 37 h 209"/>
                  <a:gd name="T82" fmla="*/ 107 w 179"/>
                  <a:gd name="T83" fmla="*/ 48 h 209"/>
                  <a:gd name="T84" fmla="*/ 87 w 179"/>
                  <a:gd name="T85" fmla="*/ 42 h 209"/>
                  <a:gd name="T86" fmla="*/ 78 w 179"/>
                  <a:gd name="T87" fmla="*/ 44 h 209"/>
                  <a:gd name="T88" fmla="*/ 66 w 179"/>
                  <a:gd name="T89" fmla="*/ 35 h 209"/>
                  <a:gd name="T90" fmla="*/ 67 w 179"/>
                  <a:gd name="T91" fmla="*/ 47 h 209"/>
                  <a:gd name="T92" fmla="*/ 73 w 179"/>
                  <a:gd name="T93" fmla="*/ 48 h 209"/>
                  <a:gd name="T94" fmla="*/ 65 w 179"/>
                  <a:gd name="T95" fmla="*/ 60 h 209"/>
                  <a:gd name="T96" fmla="*/ 101 w 179"/>
                  <a:gd name="T97" fmla="*/ 58 h 209"/>
                  <a:gd name="T98" fmla="*/ 86 w 179"/>
                  <a:gd name="T99" fmla="*/ 68 h 209"/>
                  <a:gd name="T100" fmla="*/ 72 w 179"/>
                  <a:gd name="T101" fmla="*/ 40 h 209"/>
                  <a:gd name="T102" fmla="*/ 73 w 179"/>
                  <a:gd name="T103" fmla="*/ 45 h 209"/>
                  <a:gd name="T104" fmla="*/ 99 w 179"/>
                  <a:gd name="T105" fmla="*/ 40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79" h="209">
                    <a:moveTo>
                      <a:pt x="161" y="153"/>
                    </a:moveTo>
                    <a:cubicBezTo>
                      <a:pt x="161" y="156"/>
                      <a:pt x="162" y="159"/>
                      <a:pt x="163" y="161"/>
                    </a:cubicBezTo>
                    <a:cubicBezTo>
                      <a:pt x="164" y="165"/>
                      <a:pt x="167" y="169"/>
                      <a:pt x="170" y="171"/>
                    </a:cubicBezTo>
                    <a:cubicBezTo>
                      <a:pt x="172" y="172"/>
                      <a:pt x="174" y="173"/>
                      <a:pt x="175" y="174"/>
                    </a:cubicBezTo>
                    <a:cubicBezTo>
                      <a:pt x="179" y="177"/>
                      <a:pt x="179" y="180"/>
                      <a:pt x="176" y="183"/>
                    </a:cubicBezTo>
                    <a:cubicBezTo>
                      <a:pt x="173" y="186"/>
                      <a:pt x="170" y="188"/>
                      <a:pt x="166" y="189"/>
                    </a:cubicBezTo>
                    <a:cubicBezTo>
                      <a:pt x="157" y="193"/>
                      <a:pt x="148" y="199"/>
                      <a:pt x="141" y="206"/>
                    </a:cubicBezTo>
                    <a:cubicBezTo>
                      <a:pt x="139" y="208"/>
                      <a:pt x="137" y="208"/>
                      <a:pt x="134" y="209"/>
                    </a:cubicBezTo>
                    <a:cubicBezTo>
                      <a:pt x="131" y="209"/>
                      <a:pt x="128" y="209"/>
                      <a:pt x="125" y="208"/>
                    </a:cubicBezTo>
                    <a:cubicBezTo>
                      <a:pt x="122" y="207"/>
                      <a:pt x="119" y="206"/>
                      <a:pt x="118" y="203"/>
                    </a:cubicBezTo>
                    <a:cubicBezTo>
                      <a:pt x="116" y="200"/>
                      <a:pt x="113" y="198"/>
                      <a:pt x="110" y="198"/>
                    </a:cubicBezTo>
                    <a:cubicBezTo>
                      <a:pt x="100" y="198"/>
                      <a:pt x="90" y="198"/>
                      <a:pt x="81" y="198"/>
                    </a:cubicBezTo>
                    <a:cubicBezTo>
                      <a:pt x="76" y="199"/>
                      <a:pt x="72" y="199"/>
                      <a:pt x="68" y="202"/>
                    </a:cubicBezTo>
                    <a:cubicBezTo>
                      <a:pt x="66" y="203"/>
                      <a:pt x="64" y="204"/>
                      <a:pt x="63" y="205"/>
                    </a:cubicBezTo>
                    <a:cubicBezTo>
                      <a:pt x="58" y="208"/>
                      <a:pt x="54" y="209"/>
                      <a:pt x="48" y="207"/>
                    </a:cubicBezTo>
                    <a:cubicBezTo>
                      <a:pt x="43" y="206"/>
                      <a:pt x="38" y="204"/>
                      <a:pt x="32" y="202"/>
                    </a:cubicBezTo>
                    <a:cubicBezTo>
                      <a:pt x="25" y="200"/>
                      <a:pt x="18" y="199"/>
                      <a:pt x="11" y="197"/>
                    </a:cubicBezTo>
                    <a:cubicBezTo>
                      <a:pt x="9" y="197"/>
                      <a:pt x="7" y="196"/>
                      <a:pt x="5" y="195"/>
                    </a:cubicBezTo>
                    <a:cubicBezTo>
                      <a:pt x="1" y="194"/>
                      <a:pt x="0" y="191"/>
                      <a:pt x="1" y="188"/>
                    </a:cubicBezTo>
                    <a:cubicBezTo>
                      <a:pt x="1" y="187"/>
                      <a:pt x="2" y="185"/>
                      <a:pt x="2" y="184"/>
                    </a:cubicBezTo>
                    <a:cubicBezTo>
                      <a:pt x="4" y="180"/>
                      <a:pt x="5" y="176"/>
                      <a:pt x="3" y="172"/>
                    </a:cubicBezTo>
                    <a:cubicBezTo>
                      <a:pt x="3" y="170"/>
                      <a:pt x="2" y="168"/>
                      <a:pt x="2" y="167"/>
                    </a:cubicBezTo>
                    <a:cubicBezTo>
                      <a:pt x="1" y="163"/>
                      <a:pt x="3" y="160"/>
                      <a:pt x="7" y="160"/>
                    </a:cubicBezTo>
                    <a:cubicBezTo>
                      <a:pt x="10" y="160"/>
                      <a:pt x="12" y="160"/>
                      <a:pt x="14" y="159"/>
                    </a:cubicBezTo>
                    <a:cubicBezTo>
                      <a:pt x="19" y="158"/>
                      <a:pt x="22" y="155"/>
                      <a:pt x="23" y="150"/>
                    </a:cubicBezTo>
                    <a:cubicBezTo>
                      <a:pt x="23" y="150"/>
                      <a:pt x="23" y="150"/>
                      <a:pt x="23" y="150"/>
                    </a:cubicBezTo>
                    <a:cubicBezTo>
                      <a:pt x="25" y="153"/>
                      <a:pt x="23" y="160"/>
                      <a:pt x="17" y="162"/>
                    </a:cubicBezTo>
                    <a:cubicBezTo>
                      <a:pt x="15" y="162"/>
                      <a:pt x="12" y="163"/>
                      <a:pt x="9" y="162"/>
                    </a:cubicBezTo>
                    <a:cubicBezTo>
                      <a:pt x="9" y="162"/>
                      <a:pt x="9" y="162"/>
                      <a:pt x="9" y="162"/>
                    </a:cubicBezTo>
                    <a:cubicBezTo>
                      <a:pt x="5" y="162"/>
                      <a:pt x="3" y="164"/>
                      <a:pt x="4" y="168"/>
                    </a:cubicBezTo>
                    <a:cubicBezTo>
                      <a:pt x="5" y="169"/>
                      <a:pt x="6" y="171"/>
                      <a:pt x="6" y="173"/>
                    </a:cubicBezTo>
                    <a:cubicBezTo>
                      <a:pt x="8" y="176"/>
                      <a:pt x="8" y="180"/>
                      <a:pt x="6" y="184"/>
                    </a:cubicBezTo>
                    <a:cubicBezTo>
                      <a:pt x="6" y="185"/>
                      <a:pt x="5" y="186"/>
                      <a:pt x="5" y="188"/>
                    </a:cubicBezTo>
                    <a:cubicBezTo>
                      <a:pt x="4" y="190"/>
                      <a:pt x="4" y="192"/>
                      <a:pt x="7" y="193"/>
                    </a:cubicBezTo>
                    <a:cubicBezTo>
                      <a:pt x="9" y="193"/>
                      <a:pt x="11" y="194"/>
                      <a:pt x="13" y="194"/>
                    </a:cubicBezTo>
                    <a:cubicBezTo>
                      <a:pt x="24" y="196"/>
                      <a:pt x="35" y="199"/>
                      <a:pt x="46" y="202"/>
                    </a:cubicBezTo>
                    <a:cubicBezTo>
                      <a:pt x="49" y="203"/>
                      <a:pt x="52" y="204"/>
                      <a:pt x="55" y="203"/>
                    </a:cubicBezTo>
                    <a:cubicBezTo>
                      <a:pt x="63" y="202"/>
                      <a:pt x="66" y="197"/>
                      <a:pt x="65" y="190"/>
                    </a:cubicBezTo>
                    <a:cubicBezTo>
                      <a:pt x="64" y="186"/>
                      <a:pt x="62" y="182"/>
                      <a:pt x="60" y="179"/>
                    </a:cubicBezTo>
                    <a:cubicBezTo>
                      <a:pt x="55" y="170"/>
                      <a:pt x="49" y="161"/>
                      <a:pt x="42" y="152"/>
                    </a:cubicBezTo>
                    <a:cubicBezTo>
                      <a:pt x="40" y="150"/>
                      <a:pt x="37" y="147"/>
                      <a:pt x="35" y="145"/>
                    </a:cubicBezTo>
                    <a:cubicBezTo>
                      <a:pt x="32" y="143"/>
                      <a:pt x="30" y="143"/>
                      <a:pt x="27" y="145"/>
                    </a:cubicBezTo>
                    <a:cubicBezTo>
                      <a:pt x="26" y="145"/>
                      <a:pt x="25" y="145"/>
                      <a:pt x="25" y="144"/>
                    </a:cubicBezTo>
                    <a:cubicBezTo>
                      <a:pt x="24" y="140"/>
                      <a:pt x="24" y="137"/>
                      <a:pt x="25" y="134"/>
                    </a:cubicBezTo>
                    <a:cubicBezTo>
                      <a:pt x="26" y="133"/>
                      <a:pt x="26" y="131"/>
                      <a:pt x="27" y="130"/>
                    </a:cubicBezTo>
                    <a:cubicBezTo>
                      <a:pt x="30" y="125"/>
                      <a:pt x="33" y="119"/>
                      <a:pt x="35" y="113"/>
                    </a:cubicBezTo>
                    <a:cubicBezTo>
                      <a:pt x="37" y="106"/>
                      <a:pt x="39" y="100"/>
                      <a:pt x="43" y="94"/>
                    </a:cubicBezTo>
                    <a:cubicBezTo>
                      <a:pt x="46" y="91"/>
                      <a:pt x="49" y="87"/>
                      <a:pt x="52" y="83"/>
                    </a:cubicBezTo>
                    <a:cubicBezTo>
                      <a:pt x="54" y="80"/>
                      <a:pt x="56" y="77"/>
                      <a:pt x="58" y="73"/>
                    </a:cubicBezTo>
                    <a:cubicBezTo>
                      <a:pt x="60" y="71"/>
                      <a:pt x="60" y="68"/>
                      <a:pt x="60" y="65"/>
                    </a:cubicBezTo>
                    <a:cubicBezTo>
                      <a:pt x="59" y="58"/>
                      <a:pt x="59" y="51"/>
                      <a:pt x="59" y="44"/>
                    </a:cubicBezTo>
                    <a:cubicBezTo>
                      <a:pt x="58" y="39"/>
                      <a:pt x="58" y="33"/>
                      <a:pt x="58" y="27"/>
                    </a:cubicBezTo>
                    <a:cubicBezTo>
                      <a:pt x="59" y="16"/>
                      <a:pt x="63" y="8"/>
                      <a:pt x="73" y="3"/>
                    </a:cubicBezTo>
                    <a:cubicBezTo>
                      <a:pt x="77" y="1"/>
                      <a:pt x="81" y="0"/>
                      <a:pt x="85" y="0"/>
                    </a:cubicBezTo>
                    <a:cubicBezTo>
                      <a:pt x="91" y="0"/>
                      <a:pt x="97" y="1"/>
                      <a:pt x="102" y="3"/>
                    </a:cubicBezTo>
                    <a:cubicBezTo>
                      <a:pt x="109" y="6"/>
                      <a:pt x="114" y="11"/>
                      <a:pt x="117" y="18"/>
                    </a:cubicBezTo>
                    <a:cubicBezTo>
                      <a:pt x="121" y="24"/>
                      <a:pt x="122" y="30"/>
                      <a:pt x="122" y="36"/>
                    </a:cubicBezTo>
                    <a:cubicBezTo>
                      <a:pt x="123" y="40"/>
                      <a:pt x="122" y="44"/>
                      <a:pt x="123" y="47"/>
                    </a:cubicBezTo>
                    <a:cubicBezTo>
                      <a:pt x="124" y="61"/>
                      <a:pt x="128" y="74"/>
                      <a:pt x="139" y="85"/>
                    </a:cubicBezTo>
                    <a:cubicBezTo>
                      <a:pt x="150" y="97"/>
                      <a:pt x="156" y="112"/>
                      <a:pt x="160" y="128"/>
                    </a:cubicBezTo>
                    <a:cubicBezTo>
                      <a:pt x="161" y="133"/>
                      <a:pt x="161" y="138"/>
                      <a:pt x="160" y="143"/>
                    </a:cubicBezTo>
                    <a:cubicBezTo>
                      <a:pt x="160" y="144"/>
                      <a:pt x="159" y="146"/>
                      <a:pt x="159" y="146"/>
                    </a:cubicBezTo>
                    <a:cubicBezTo>
                      <a:pt x="158" y="147"/>
                      <a:pt x="158" y="148"/>
                      <a:pt x="157" y="148"/>
                    </a:cubicBezTo>
                    <a:cubicBezTo>
                      <a:pt x="155" y="149"/>
                      <a:pt x="154" y="151"/>
                      <a:pt x="153" y="152"/>
                    </a:cubicBezTo>
                    <a:cubicBezTo>
                      <a:pt x="151" y="154"/>
                      <a:pt x="149" y="156"/>
                      <a:pt x="147" y="158"/>
                    </a:cubicBezTo>
                    <a:cubicBezTo>
                      <a:pt x="144" y="161"/>
                      <a:pt x="139" y="161"/>
                      <a:pt x="135" y="160"/>
                    </a:cubicBezTo>
                    <a:cubicBezTo>
                      <a:pt x="133" y="159"/>
                      <a:pt x="132" y="157"/>
                      <a:pt x="131" y="156"/>
                    </a:cubicBezTo>
                    <a:cubicBezTo>
                      <a:pt x="130" y="154"/>
                      <a:pt x="129" y="152"/>
                      <a:pt x="128" y="151"/>
                    </a:cubicBezTo>
                    <a:cubicBezTo>
                      <a:pt x="127" y="149"/>
                      <a:pt x="126" y="148"/>
                      <a:pt x="125" y="148"/>
                    </a:cubicBezTo>
                    <a:cubicBezTo>
                      <a:pt x="123" y="148"/>
                      <a:pt x="122" y="150"/>
                      <a:pt x="121" y="151"/>
                    </a:cubicBezTo>
                    <a:cubicBezTo>
                      <a:pt x="120" y="155"/>
                      <a:pt x="120" y="159"/>
                      <a:pt x="121" y="163"/>
                    </a:cubicBezTo>
                    <a:cubicBezTo>
                      <a:pt x="123" y="171"/>
                      <a:pt x="123" y="179"/>
                      <a:pt x="122" y="186"/>
                    </a:cubicBezTo>
                    <a:cubicBezTo>
                      <a:pt x="122" y="189"/>
                      <a:pt x="121" y="192"/>
                      <a:pt x="122" y="194"/>
                    </a:cubicBezTo>
                    <a:cubicBezTo>
                      <a:pt x="123" y="202"/>
                      <a:pt x="129" y="205"/>
                      <a:pt x="136" y="203"/>
                    </a:cubicBezTo>
                    <a:cubicBezTo>
                      <a:pt x="139" y="202"/>
                      <a:pt x="142" y="200"/>
                      <a:pt x="145" y="197"/>
                    </a:cubicBezTo>
                    <a:cubicBezTo>
                      <a:pt x="151" y="192"/>
                      <a:pt x="158" y="189"/>
                      <a:pt x="165" y="186"/>
                    </a:cubicBezTo>
                    <a:cubicBezTo>
                      <a:pt x="168" y="185"/>
                      <a:pt x="171" y="184"/>
                      <a:pt x="173" y="183"/>
                    </a:cubicBezTo>
                    <a:cubicBezTo>
                      <a:pt x="174" y="182"/>
                      <a:pt x="174" y="182"/>
                      <a:pt x="175" y="181"/>
                    </a:cubicBezTo>
                    <a:cubicBezTo>
                      <a:pt x="176" y="180"/>
                      <a:pt x="176" y="178"/>
                      <a:pt x="175" y="177"/>
                    </a:cubicBezTo>
                    <a:cubicBezTo>
                      <a:pt x="174" y="176"/>
                      <a:pt x="172" y="175"/>
                      <a:pt x="171" y="174"/>
                    </a:cubicBezTo>
                    <a:cubicBezTo>
                      <a:pt x="170" y="173"/>
                      <a:pt x="169" y="173"/>
                      <a:pt x="168" y="173"/>
                    </a:cubicBezTo>
                    <a:cubicBezTo>
                      <a:pt x="163" y="171"/>
                      <a:pt x="161" y="168"/>
                      <a:pt x="160" y="163"/>
                    </a:cubicBezTo>
                    <a:cubicBezTo>
                      <a:pt x="160" y="161"/>
                      <a:pt x="160" y="158"/>
                      <a:pt x="160" y="155"/>
                    </a:cubicBezTo>
                    <a:cubicBezTo>
                      <a:pt x="160" y="155"/>
                      <a:pt x="160" y="154"/>
                      <a:pt x="161" y="153"/>
                    </a:cubicBezTo>
                    <a:close/>
                    <a:moveTo>
                      <a:pt x="71" y="69"/>
                    </a:moveTo>
                    <a:cubicBezTo>
                      <a:pt x="71" y="69"/>
                      <a:pt x="71" y="69"/>
                      <a:pt x="71" y="69"/>
                    </a:cubicBezTo>
                    <a:cubicBezTo>
                      <a:pt x="73" y="71"/>
                      <a:pt x="74" y="73"/>
                      <a:pt x="77" y="74"/>
                    </a:cubicBezTo>
                    <a:cubicBezTo>
                      <a:pt x="81" y="74"/>
                      <a:pt x="85" y="73"/>
                      <a:pt x="88" y="72"/>
                    </a:cubicBezTo>
                    <a:cubicBezTo>
                      <a:pt x="91" y="70"/>
                      <a:pt x="94" y="68"/>
                      <a:pt x="98" y="67"/>
                    </a:cubicBezTo>
                    <a:cubicBezTo>
                      <a:pt x="99" y="66"/>
                      <a:pt x="100" y="66"/>
                      <a:pt x="101" y="66"/>
                    </a:cubicBezTo>
                    <a:cubicBezTo>
                      <a:pt x="101" y="66"/>
                      <a:pt x="102" y="66"/>
                      <a:pt x="102" y="67"/>
                    </a:cubicBezTo>
                    <a:cubicBezTo>
                      <a:pt x="102" y="67"/>
                      <a:pt x="102" y="68"/>
                      <a:pt x="102" y="68"/>
                    </a:cubicBezTo>
                    <a:cubicBezTo>
                      <a:pt x="101" y="69"/>
                      <a:pt x="100" y="69"/>
                      <a:pt x="99" y="70"/>
                    </a:cubicBezTo>
                    <a:cubicBezTo>
                      <a:pt x="95" y="72"/>
                      <a:pt x="91" y="74"/>
                      <a:pt x="87" y="77"/>
                    </a:cubicBezTo>
                    <a:cubicBezTo>
                      <a:pt x="85" y="79"/>
                      <a:pt x="83" y="80"/>
                      <a:pt x="81" y="81"/>
                    </a:cubicBezTo>
                    <a:cubicBezTo>
                      <a:pt x="78" y="82"/>
                      <a:pt x="76" y="82"/>
                      <a:pt x="73" y="79"/>
                    </a:cubicBezTo>
                    <a:cubicBezTo>
                      <a:pt x="71" y="77"/>
                      <a:pt x="69" y="74"/>
                      <a:pt x="67" y="72"/>
                    </a:cubicBezTo>
                    <a:cubicBezTo>
                      <a:pt x="67" y="71"/>
                      <a:pt x="66" y="70"/>
                      <a:pt x="65" y="69"/>
                    </a:cubicBezTo>
                    <a:cubicBezTo>
                      <a:pt x="65" y="70"/>
                      <a:pt x="65" y="71"/>
                      <a:pt x="65" y="71"/>
                    </a:cubicBezTo>
                    <a:cubicBezTo>
                      <a:pt x="65" y="73"/>
                      <a:pt x="64" y="75"/>
                      <a:pt x="64" y="77"/>
                    </a:cubicBezTo>
                    <a:cubicBezTo>
                      <a:pt x="63" y="79"/>
                      <a:pt x="61" y="81"/>
                      <a:pt x="60" y="83"/>
                    </a:cubicBezTo>
                    <a:cubicBezTo>
                      <a:pt x="59" y="86"/>
                      <a:pt x="57" y="89"/>
                      <a:pt x="57" y="92"/>
                    </a:cubicBezTo>
                    <a:cubicBezTo>
                      <a:pt x="57" y="94"/>
                      <a:pt x="58" y="96"/>
                      <a:pt x="58" y="98"/>
                    </a:cubicBezTo>
                    <a:cubicBezTo>
                      <a:pt x="58" y="99"/>
                      <a:pt x="57" y="100"/>
                      <a:pt x="56" y="101"/>
                    </a:cubicBezTo>
                    <a:cubicBezTo>
                      <a:pt x="54" y="105"/>
                      <a:pt x="52" y="108"/>
                      <a:pt x="50" y="113"/>
                    </a:cubicBezTo>
                    <a:cubicBezTo>
                      <a:pt x="48" y="117"/>
                      <a:pt x="46" y="122"/>
                      <a:pt x="46" y="127"/>
                    </a:cubicBezTo>
                    <a:cubicBezTo>
                      <a:pt x="46" y="130"/>
                      <a:pt x="46" y="133"/>
                      <a:pt x="46" y="136"/>
                    </a:cubicBezTo>
                    <a:cubicBezTo>
                      <a:pt x="46" y="138"/>
                      <a:pt x="45" y="139"/>
                      <a:pt x="45" y="140"/>
                    </a:cubicBezTo>
                    <a:cubicBezTo>
                      <a:pt x="45" y="142"/>
                      <a:pt x="44" y="142"/>
                      <a:pt x="43" y="141"/>
                    </a:cubicBezTo>
                    <a:cubicBezTo>
                      <a:pt x="42" y="140"/>
                      <a:pt x="41" y="139"/>
                      <a:pt x="40" y="138"/>
                    </a:cubicBezTo>
                    <a:cubicBezTo>
                      <a:pt x="38" y="134"/>
                      <a:pt x="37" y="130"/>
                      <a:pt x="38" y="125"/>
                    </a:cubicBezTo>
                    <a:cubicBezTo>
                      <a:pt x="38" y="124"/>
                      <a:pt x="38" y="122"/>
                      <a:pt x="38" y="121"/>
                    </a:cubicBezTo>
                    <a:cubicBezTo>
                      <a:pt x="38" y="121"/>
                      <a:pt x="38" y="121"/>
                      <a:pt x="38" y="121"/>
                    </a:cubicBezTo>
                    <a:cubicBezTo>
                      <a:pt x="37" y="122"/>
                      <a:pt x="37" y="123"/>
                      <a:pt x="37" y="123"/>
                    </a:cubicBezTo>
                    <a:cubicBezTo>
                      <a:pt x="35" y="127"/>
                      <a:pt x="35" y="131"/>
                      <a:pt x="37" y="135"/>
                    </a:cubicBezTo>
                    <a:cubicBezTo>
                      <a:pt x="37" y="138"/>
                      <a:pt x="38" y="141"/>
                      <a:pt x="40" y="143"/>
                    </a:cubicBezTo>
                    <a:cubicBezTo>
                      <a:pt x="44" y="146"/>
                      <a:pt x="48" y="150"/>
                      <a:pt x="52" y="153"/>
                    </a:cubicBezTo>
                    <a:cubicBezTo>
                      <a:pt x="57" y="157"/>
                      <a:pt x="62" y="161"/>
                      <a:pt x="67" y="165"/>
                    </a:cubicBezTo>
                    <a:cubicBezTo>
                      <a:pt x="69" y="167"/>
                      <a:pt x="70" y="170"/>
                      <a:pt x="69" y="172"/>
                    </a:cubicBezTo>
                    <a:cubicBezTo>
                      <a:pt x="68" y="175"/>
                      <a:pt x="67" y="177"/>
                      <a:pt x="64" y="178"/>
                    </a:cubicBezTo>
                    <a:cubicBezTo>
                      <a:pt x="64" y="178"/>
                      <a:pt x="63" y="178"/>
                      <a:pt x="62" y="178"/>
                    </a:cubicBezTo>
                    <a:cubicBezTo>
                      <a:pt x="63" y="180"/>
                      <a:pt x="65" y="182"/>
                      <a:pt x="66" y="183"/>
                    </a:cubicBezTo>
                    <a:cubicBezTo>
                      <a:pt x="68" y="186"/>
                      <a:pt x="69" y="189"/>
                      <a:pt x="69" y="192"/>
                    </a:cubicBezTo>
                    <a:cubicBezTo>
                      <a:pt x="70" y="194"/>
                      <a:pt x="70" y="196"/>
                      <a:pt x="70" y="197"/>
                    </a:cubicBezTo>
                    <a:cubicBezTo>
                      <a:pt x="70" y="197"/>
                      <a:pt x="70" y="197"/>
                      <a:pt x="71" y="197"/>
                    </a:cubicBezTo>
                    <a:cubicBezTo>
                      <a:pt x="73" y="196"/>
                      <a:pt x="73" y="193"/>
                      <a:pt x="72" y="191"/>
                    </a:cubicBezTo>
                    <a:cubicBezTo>
                      <a:pt x="72" y="189"/>
                      <a:pt x="70" y="186"/>
                      <a:pt x="69" y="184"/>
                    </a:cubicBezTo>
                    <a:cubicBezTo>
                      <a:pt x="68" y="184"/>
                      <a:pt x="68" y="183"/>
                      <a:pt x="68" y="183"/>
                    </a:cubicBezTo>
                    <a:cubicBezTo>
                      <a:pt x="69" y="182"/>
                      <a:pt x="71" y="181"/>
                      <a:pt x="72" y="182"/>
                    </a:cubicBezTo>
                    <a:cubicBezTo>
                      <a:pt x="74" y="184"/>
                      <a:pt x="76" y="186"/>
                      <a:pt x="79" y="186"/>
                    </a:cubicBezTo>
                    <a:cubicBezTo>
                      <a:pt x="85" y="187"/>
                      <a:pt x="91" y="187"/>
                      <a:pt x="97" y="185"/>
                    </a:cubicBezTo>
                    <a:cubicBezTo>
                      <a:pt x="101" y="184"/>
                      <a:pt x="106" y="183"/>
                      <a:pt x="109" y="179"/>
                    </a:cubicBezTo>
                    <a:cubicBezTo>
                      <a:pt x="111" y="178"/>
                      <a:pt x="112" y="176"/>
                      <a:pt x="114" y="174"/>
                    </a:cubicBezTo>
                    <a:cubicBezTo>
                      <a:pt x="114" y="173"/>
                      <a:pt x="115" y="173"/>
                      <a:pt x="116" y="173"/>
                    </a:cubicBezTo>
                    <a:cubicBezTo>
                      <a:pt x="116" y="173"/>
                      <a:pt x="117" y="174"/>
                      <a:pt x="117" y="175"/>
                    </a:cubicBezTo>
                    <a:cubicBezTo>
                      <a:pt x="117" y="179"/>
                      <a:pt x="117" y="182"/>
                      <a:pt x="115" y="186"/>
                    </a:cubicBezTo>
                    <a:cubicBezTo>
                      <a:pt x="115" y="188"/>
                      <a:pt x="114" y="191"/>
                      <a:pt x="114" y="193"/>
                    </a:cubicBezTo>
                    <a:cubicBezTo>
                      <a:pt x="113" y="195"/>
                      <a:pt x="114" y="196"/>
                      <a:pt x="116" y="196"/>
                    </a:cubicBezTo>
                    <a:cubicBezTo>
                      <a:pt x="117" y="191"/>
                      <a:pt x="118" y="187"/>
                      <a:pt x="119" y="182"/>
                    </a:cubicBezTo>
                    <a:cubicBezTo>
                      <a:pt x="119" y="179"/>
                      <a:pt x="120" y="175"/>
                      <a:pt x="119" y="171"/>
                    </a:cubicBezTo>
                    <a:cubicBezTo>
                      <a:pt x="119" y="167"/>
                      <a:pt x="118" y="164"/>
                      <a:pt x="118" y="160"/>
                    </a:cubicBezTo>
                    <a:cubicBezTo>
                      <a:pt x="118" y="157"/>
                      <a:pt x="118" y="153"/>
                      <a:pt x="119" y="150"/>
                    </a:cubicBezTo>
                    <a:cubicBezTo>
                      <a:pt x="120" y="148"/>
                      <a:pt x="122" y="146"/>
                      <a:pt x="126" y="146"/>
                    </a:cubicBezTo>
                    <a:cubicBezTo>
                      <a:pt x="126" y="146"/>
                      <a:pt x="126" y="146"/>
                      <a:pt x="127" y="146"/>
                    </a:cubicBezTo>
                    <a:cubicBezTo>
                      <a:pt x="127" y="142"/>
                      <a:pt x="129" y="140"/>
                      <a:pt x="132" y="139"/>
                    </a:cubicBezTo>
                    <a:cubicBezTo>
                      <a:pt x="137" y="138"/>
                      <a:pt x="142" y="139"/>
                      <a:pt x="146" y="141"/>
                    </a:cubicBezTo>
                    <a:cubicBezTo>
                      <a:pt x="145" y="138"/>
                      <a:pt x="142" y="138"/>
                      <a:pt x="140" y="136"/>
                    </a:cubicBezTo>
                    <a:cubicBezTo>
                      <a:pt x="145" y="119"/>
                      <a:pt x="136" y="97"/>
                      <a:pt x="126" y="92"/>
                    </a:cubicBezTo>
                    <a:cubicBezTo>
                      <a:pt x="131" y="98"/>
                      <a:pt x="134" y="104"/>
                      <a:pt x="136" y="110"/>
                    </a:cubicBezTo>
                    <a:cubicBezTo>
                      <a:pt x="139" y="117"/>
                      <a:pt x="140" y="124"/>
                      <a:pt x="139" y="131"/>
                    </a:cubicBezTo>
                    <a:cubicBezTo>
                      <a:pt x="138" y="136"/>
                      <a:pt x="136" y="138"/>
                      <a:pt x="132" y="138"/>
                    </a:cubicBezTo>
                    <a:cubicBezTo>
                      <a:pt x="130" y="138"/>
                      <a:pt x="128" y="137"/>
                      <a:pt x="128" y="135"/>
                    </a:cubicBezTo>
                    <a:cubicBezTo>
                      <a:pt x="127" y="133"/>
                      <a:pt x="127" y="131"/>
                      <a:pt x="127" y="129"/>
                    </a:cubicBezTo>
                    <a:cubicBezTo>
                      <a:pt x="127" y="122"/>
                      <a:pt x="126" y="114"/>
                      <a:pt x="124" y="107"/>
                    </a:cubicBezTo>
                    <a:cubicBezTo>
                      <a:pt x="123" y="103"/>
                      <a:pt x="121" y="99"/>
                      <a:pt x="117" y="95"/>
                    </a:cubicBezTo>
                    <a:cubicBezTo>
                      <a:pt x="117" y="95"/>
                      <a:pt x="117" y="94"/>
                      <a:pt x="117" y="94"/>
                    </a:cubicBezTo>
                    <a:cubicBezTo>
                      <a:pt x="115" y="86"/>
                      <a:pt x="112" y="79"/>
                      <a:pt x="108" y="73"/>
                    </a:cubicBezTo>
                    <a:cubicBezTo>
                      <a:pt x="106" y="70"/>
                      <a:pt x="105" y="67"/>
                      <a:pt x="106" y="64"/>
                    </a:cubicBezTo>
                    <a:cubicBezTo>
                      <a:pt x="106" y="62"/>
                      <a:pt x="106" y="61"/>
                      <a:pt x="107" y="59"/>
                    </a:cubicBezTo>
                    <a:cubicBezTo>
                      <a:pt x="107" y="56"/>
                      <a:pt x="106" y="54"/>
                      <a:pt x="104" y="54"/>
                    </a:cubicBezTo>
                    <a:cubicBezTo>
                      <a:pt x="100" y="53"/>
                      <a:pt x="97" y="51"/>
                      <a:pt x="94" y="50"/>
                    </a:cubicBezTo>
                    <a:cubicBezTo>
                      <a:pt x="91" y="49"/>
                      <a:pt x="91" y="47"/>
                      <a:pt x="91" y="45"/>
                    </a:cubicBezTo>
                    <a:cubicBezTo>
                      <a:pt x="91" y="43"/>
                      <a:pt x="91" y="42"/>
                      <a:pt x="92" y="40"/>
                    </a:cubicBezTo>
                    <a:cubicBezTo>
                      <a:pt x="93" y="38"/>
                      <a:pt x="95" y="37"/>
                      <a:pt x="98" y="37"/>
                    </a:cubicBezTo>
                    <a:cubicBezTo>
                      <a:pt x="100" y="37"/>
                      <a:pt x="101" y="38"/>
                      <a:pt x="102" y="40"/>
                    </a:cubicBezTo>
                    <a:cubicBezTo>
                      <a:pt x="103" y="43"/>
                      <a:pt x="103" y="45"/>
                      <a:pt x="102" y="48"/>
                    </a:cubicBezTo>
                    <a:cubicBezTo>
                      <a:pt x="102" y="49"/>
                      <a:pt x="101" y="50"/>
                      <a:pt x="102" y="50"/>
                    </a:cubicBezTo>
                    <a:cubicBezTo>
                      <a:pt x="104" y="51"/>
                      <a:pt x="107" y="50"/>
                      <a:pt x="107" y="48"/>
                    </a:cubicBezTo>
                    <a:cubicBezTo>
                      <a:pt x="108" y="44"/>
                      <a:pt x="107" y="40"/>
                      <a:pt x="105" y="36"/>
                    </a:cubicBezTo>
                    <a:cubicBezTo>
                      <a:pt x="104" y="32"/>
                      <a:pt x="100" y="30"/>
                      <a:pt x="96" y="30"/>
                    </a:cubicBezTo>
                    <a:cubicBezTo>
                      <a:pt x="91" y="31"/>
                      <a:pt x="88" y="33"/>
                      <a:pt x="87" y="38"/>
                    </a:cubicBezTo>
                    <a:cubicBezTo>
                      <a:pt x="87" y="39"/>
                      <a:pt x="87" y="41"/>
                      <a:pt x="87" y="42"/>
                    </a:cubicBezTo>
                    <a:cubicBezTo>
                      <a:pt x="87" y="44"/>
                      <a:pt x="87" y="45"/>
                      <a:pt x="87" y="47"/>
                    </a:cubicBezTo>
                    <a:cubicBezTo>
                      <a:pt x="85" y="46"/>
                      <a:pt x="83" y="46"/>
                      <a:pt x="81" y="46"/>
                    </a:cubicBezTo>
                    <a:cubicBezTo>
                      <a:pt x="80" y="46"/>
                      <a:pt x="80" y="46"/>
                      <a:pt x="80" y="46"/>
                    </a:cubicBezTo>
                    <a:cubicBezTo>
                      <a:pt x="78" y="46"/>
                      <a:pt x="78" y="46"/>
                      <a:pt x="78" y="44"/>
                    </a:cubicBezTo>
                    <a:cubicBezTo>
                      <a:pt x="77" y="42"/>
                      <a:pt x="77" y="39"/>
                      <a:pt x="76" y="36"/>
                    </a:cubicBezTo>
                    <a:cubicBezTo>
                      <a:pt x="76" y="36"/>
                      <a:pt x="76" y="35"/>
                      <a:pt x="76" y="35"/>
                    </a:cubicBezTo>
                    <a:cubicBezTo>
                      <a:pt x="75" y="33"/>
                      <a:pt x="73" y="31"/>
                      <a:pt x="70" y="31"/>
                    </a:cubicBezTo>
                    <a:cubicBezTo>
                      <a:pt x="68" y="31"/>
                      <a:pt x="67" y="33"/>
                      <a:pt x="66" y="35"/>
                    </a:cubicBezTo>
                    <a:cubicBezTo>
                      <a:pt x="63" y="40"/>
                      <a:pt x="63" y="45"/>
                      <a:pt x="66" y="50"/>
                    </a:cubicBezTo>
                    <a:cubicBezTo>
                      <a:pt x="66" y="51"/>
                      <a:pt x="67" y="51"/>
                      <a:pt x="68" y="51"/>
                    </a:cubicBezTo>
                    <a:cubicBezTo>
                      <a:pt x="69" y="51"/>
                      <a:pt x="69" y="50"/>
                      <a:pt x="70" y="49"/>
                    </a:cubicBezTo>
                    <a:cubicBezTo>
                      <a:pt x="69" y="49"/>
                      <a:pt x="68" y="48"/>
                      <a:pt x="67" y="47"/>
                    </a:cubicBezTo>
                    <a:cubicBezTo>
                      <a:pt x="66" y="45"/>
                      <a:pt x="65" y="43"/>
                      <a:pt x="66" y="40"/>
                    </a:cubicBezTo>
                    <a:cubicBezTo>
                      <a:pt x="67" y="37"/>
                      <a:pt x="71" y="36"/>
                      <a:pt x="73" y="38"/>
                    </a:cubicBezTo>
                    <a:cubicBezTo>
                      <a:pt x="75" y="40"/>
                      <a:pt x="75" y="42"/>
                      <a:pt x="75" y="44"/>
                    </a:cubicBezTo>
                    <a:cubicBezTo>
                      <a:pt x="75" y="46"/>
                      <a:pt x="74" y="47"/>
                      <a:pt x="73" y="48"/>
                    </a:cubicBezTo>
                    <a:cubicBezTo>
                      <a:pt x="73" y="49"/>
                      <a:pt x="72" y="49"/>
                      <a:pt x="72" y="49"/>
                    </a:cubicBezTo>
                    <a:cubicBezTo>
                      <a:pt x="71" y="51"/>
                      <a:pt x="69" y="53"/>
                      <a:pt x="66" y="54"/>
                    </a:cubicBezTo>
                    <a:cubicBezTo>
                      <a:pt x="65" y="55"/>
                      <a:pt x="65" y="56"/>
                      <a:pt x="64" y="57"/>
                    </a:cubicBezTo>
                    <a:cubicBezTo>
                      <a:pt x="63" y="58"/>
                      <a:pt x="64" y="59"/>
                      <a:pt x="65" y="60"/>
                    </a:cubicBezTo>
                    <a:cubicBezTo>
                      <a:pt x="66" y="61"/>
                      <a:pt x="67" y="61"/>
                      <a:pt x="68" y="63"/>
                    </a:cubicBezTo>
                    <a:cubicBezTo>
                      <a:pt x="71" y="66"/>
                      <a:pt x="74" y="67"/>
                      <a:pt x="78" y="66"/>
                    </a:cubicBezTo>
                    <a:cubicBezTo>
                      <a:pt x="82" y="66"/>
                      <a:pt x="87" y="65"/>
                      <a:pt x="91" y="64"/>
                    </a:cubicBezTo>
                    <a:cubicBezTo>
                      <a:pt x="95" y="63"/>
                      <a:pt x="98" y="62"/>
                      <a:pt x="101" y="58"/>
                    </a:cubicBezTo>
                    <a:cubicBezTo>
                      <a:pt x="101" y="58"/>
                      <a:pt x="102" y="58"/>
                      <a:pt x="103" y="58"/>
                    </a:cubicBezTo>
                    <a:cubicBezTo>
                      <a:pt x="103" y="59"/>
                      <a:pt x="103" y="60"/>
                      <a:pt x="103" y="60"/>
                    </a:cubicBezTo>
                    <a:cubicBezTo>
                      <a:pt x="103" y="61"/>
                      <a:pt x="102" y="61"/>
                      <a:pt x="102" y="61"/>
                    </a:cubicBezTo>
                    <a:cubicBezTo>
                      <a:pt x="97" y="64"/>
                      <a:pt x="92" y="66"/>
                      <a:pt x="86" y="68"/>
                    </a:cubicBezTo>
                    <a:cubicBezTo>
                      <a:pt x="83" y="69"/>
                      <a:pt x="79" y="70"/>
                      <a:pt x="74" y="69"/>
                    </a:cubicBezTo>
                    <a:cubicBezTo>
                      <a:pt x="73" y="69"/>
                      <a:pt x="72" y="69"/>
                      <a:pt x="71" y="69"/>
                    </a:cubicBezTo>
                    <a:close/>
                    <a:moveTo>
                      <a:pt x="73" y="45"/>
                    </a:moveTo>
                    <a:cubicBezTo>
                      <a:pt x="73" y="43"/>
                      <a:pt x="73" y="42"/>
                      <a:pt x="72" y="40"/>
                    </a:cubicBezTo>
                    <a:cubicBezTo>
                      <a:pt x="72" y="40"/>
                      <a:pt x="71" y="40"/>
                      <a:pt x="71" y="40"/>
                    </a:cubicBezTo>
                    <a:cubicBezTo>
                      <a:pt x="71" y="40"/>
                      <a:pt x="70" y="41"/>
                      <a:pt x="70" y="41"/>
                    </a:cubicBezTo>
                    <a:cubicBezTo>
                      <a:pt x="72" y="42"/>
                      <a:pt x="72" y="43"/>
                      <a:pt x="72" y="44"/>
                    </a:cubicBezTo>
                    <a:cubicBezTo>
                      <a:pt x="72" y="45"/>
                      <a:pt x="72" y="45"/>
                      <a:pt x="73" y="45"/>
                    </a:cubicBezTo>
                    <a:close/>
                    <a:moveTo>
                      <a:pt x="97" y="40"/>
                    </a:moveTo>
                    <a:cubicBezTo>
                      <a:pt x="99" y="40"/>
                      <a:pt x="99" y="42"/>
                      <a:pt x="100" y="44"/>
                    </a:cubicBezTo>
                    <a:cubicBezTo>
                      <a:pt x="100" y="43"/>
                      <a:pt x="101" y="43"/>
                      <a:pt x="101" y="43"/>
                    </a:cubicBezTo>
                    <a:cubicBezTo>
                      <a:pt x="101" y="42"/>
                      <a:pt x="100" y="40"/>
                      <a:pt x="99" y="40"/>
                    </a:cubicBezTo>
                    <a:cubicBezTo>
                      <a:pt x="99" y="39"/>
                      <a:pt x="98" y="39"/>
                      <a:pt x="97" y="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4" name="Freeform 372"/>
              <p:cNvSpPr>
                <a:spLocks/>
              </p:cNvSpPr>
              <p:nvPr userDrawn="1"/>
            </p:nvSpPr>
            <p:spPr bwMode="auto">
              <a:xfrm>
                <a:off x="2672" y="1883"/>
                <a:ext cx="2" cy="3"/>
              </a:xfrm>
              <a:custGeom>
                <a:avLst/>
                <a:gdLst>
                  <a:gd name="T0" fmla="*/ 2 w 2"/>
                  <a:gd name="T1" fmla="*/ 0 h 2"/>
                  <a:gd name="T2" fmla="*/ 1 w 2"/>
                  <a:gd name="T3" fmla="*/ 2 h 2"/>
                  <a:gd name="T4" fmla="*/ 0 w 2"/>
                  <a:gd name="T5" fmla="*/ 2 h 2"/>
                  <a:gd name="T6" fmla="*/ 0 w 2"/>
                  <a:gd name="T7" fmla="*/ 1 h 2"/>
                  <a:gd name="T8" fmla="*/ 2 w 2"/>
                  <a:gd name="T9" fmla="*/ 0 h 2"/>
                  <a:gd name="T10" fmla="*/ 2 w 2"/>
                  <a:gd name="T11" fmla="*/ 0 h 2"/>
                </a:gdLst>
                <a:ahLst/>
                <a:cxnLst>
                  <a:cxn ang="0">
                    <a:pos x="T0" y="T1"/>
                  </a:cxn>
                  <a:cxn ang="0">
                    <a:pos x="T2" y="T3"/>
                  </a:cxn>
                  <a:cxn ang="0">
                    <a:pos x="T4" y="T5"/>
                  </a:cxn>
                  <a:cxn ang="0">
                    <a:pos x="T6" y="T7"/>
                  </a:cxn>
                  <a:cxn ang="0">
                    <a:pos x="T8" y="T9"/>
                  </a:cxn>
                  <a:cxn ang="0">
                    <a:pos x="T10" y="T11"/>
                  </a:cxn>
                </a:cxnLst>
                <a:rect l="0" t="0" r="r" b="b"/>
                <a:pathLst>
                  <a:path w="2" h="2">
                    <a:moveTo>
                      <a:pt x="2" y="0"/>
                    </a:moveTo>
                    <a:cubicBezTo>
                      <a:pt x="2" y="1"/>
                      <a:pt x="2" y="1"/>
                      <a:pt x="1" y="2"/>
                    </a:cubicBezTo>
                    <a:cubicBezTo>
                      <a:pt x="1" y="2"/>
                      <a:pt x="0" y="2"/>
                      <a:pt x="0" y="2"/>
                    </a:cubicBezTo>
                    <a:cubicBezTo>
                      <a:pt x="0" y="2"/>
                      <a:pt x="0" y="1"/>
                      <a:pt x="0" y="1"/>
                    </a:cubicBezTo>
                    <a:cubicBezTo>
                      <a:pt x="1" y="1"/>
                      <a:pt x="1" y="0"/>
                      <a:pt x="2" y="0"/>
                    </a:cubicBezTo>
                    <a:cubicBezTo>
                      <a:pt x="2" y="0"/>
                      <a:pt x="2" y="0"/>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5" name="Freeform 373"/>
              <p:cNvSpPr>
                <a:spLocks/>
              </p:cNvSpPr>
              <p:nvPr userDrawn="1"/>
            </p:nvSpPr>
            <p:spPr bwMode="auto">
              <a:xfrm>
                <a:off x="2684" y="1883"/>
                <a:ext cx="5" cy="3"/>
              </a:xfrm>
              <a:custGeom>
                <a:avLst/>
                <a:gdLst>
                  <a:gd name="T0" fmla="*/ 0 w 4"/>
                  <a:gd name="T1" fmla="*/ 0 h 2"/>
                  <a:gd name="T2" fmla="*/ 3 w 4"/>
                  <a:gd name="T3" fmla="*/ 0 h 2"/>
                  <a:gd name="T4" fmla="*/ 4 w 4"/>
                  <a:gd name="T5" fmla="*/ 1 h 2"/>
                  <a:gd name="T6" fmla="*/ 2 w 4"/>
                  <a:gd name="T7" fmla="*/ 1 h 2"/>
                  <a:gd name="T8" fmla="*/ 0 w 4"/>
                  <a:gd name="T9" fmla="*/ 0 h 2"/>
                </a:gdLst>
                <a:ahLst/>
                <a:cxnLst>
                  <a:cxn ang="0">
                    <a:pos x="T0" y="T1"/>
                  </a:cxn>
                  <a:cxn ang="0">
                    <a:pos x="T2" y="T3"/>
                  </a:cxn>
                  <a:cxn ang="0">
                    <a:pos x="T4" y="T5"/>
                  </a:cxn>
                  <a:cxn ang="0">
                    <a:pos x="T6" y="T7"/>
                  </a:cxn>
                  <a:cxn ang="0">
                    <a:pos x="T8" y="T9"/>
                  </a:cxn>
                </a:cxnLst>
                <a:rect l="0" t="0" r="r" b="b"/>
                <a:pathLst>
                  <a:path w="4" h="2">
                    <a:moveTo>
                      <a:pt x="0" y="0"/>
                    </a:moveTo>
                    <a:cubicBezTo>
                      <a:pt x="2" y="0"/>
                      <a:pt x="2" y="0"/>
                      <a:pt x="3" y="0"/>
                    </a:cubicBezTo>
                    <a:cubicBezTo>
                      <a:pt x="3" y="0"/>
                      <a:pt x="3" y="1"/>
                      <a:pt x="4" y="1"/>
                    </a:cubicBezTo>
                    <a:cubicBezTo>
                      <a:pt x="3" y="1"/>
                      <a:pt x="3" y="2"/>
                      <a:pt x="2" y="1"/>
                    </a:cubicBezTo>
                    <a:cubicBezTo>
                      <a:pt x="2" y="1"/>
                      <a:pt x="1" y="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6" name="Freeform 374"/>
              <p:cNvSpPr>
                <a:spLocks/>
              </p:cNvSpPr>
              <p:nvPr userDrawn="1"/>
            </p:nvSpPr>
            <p:spPr bwMode="auto">
              <a:xfrm>
                <a:off x="2043" y="372"/>
                <a:ext cx="83" cy="246"/>
              </a:xfrm>
              <a:custGeom>
                <a:avLst/>
                <a:gdLst>
                  <a:gd name="T0" fmla="*/ 68 w 68"/>
                  <a:gd name="T1" fmla="*/ 201 h 201"/>
                  <a:gd name="T2" fmla="*/ 46 w 68"/>
                  <a:gd name="T3" fmla="*/ 201 h 201"/>
                  <a:gd name="T4" fmla="*/ 46 w 68"/>
                  <a:gd name="T5" fmla="*/ 31 h 201"/>
                  <a:gd name="T6" fmla="*/ 38 w 68"/>
                  <a:gd name="T7" fmla="*/ 37 h 201"/>
                  <a:gd name="T8" fmla="*/ 27 w 68"/>
                  <a:gd name="T9" fmla="*/ 44 h 201"/>
                  <a:gd name="T10" fmla="*/ 14 w 68"/>
                  <a:gd name="T11" fmla="*/ 50 h 201"/>
                  <a:gd name="T12" fmla="*/ 0 w 68"/>
                  <a:gd name="T13" fmla="*/ 54 h 201"/>
                  <a:gd name="T14" fmla="*/ 0 w 68"/>
                  <a:gd name="T15" fmla="*/ 32 h 201"/>
                  <a:gd name="T16" fmla="*/ 16 w 68"/>
                  <a:gd name="T17" fmla="*/ 26 h 201"/>
                  <a:gd name="T18" fmla="*/ 32 w 68"/>
                  <a:gd name="T19" fmla="*/ 18 h 201"/>
                  <a:gd name="T20" fmla="*/ 47 w 68"/>
                  <a:gd name="T21" fmla="*/ 9 h 201"/>
                  <a:gd name="T22" fmla="*/ 60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6" y="201"/>
                      <a:pt x="46" y="201"/>
                      <a:pt x="46" y="201"/>
                    </a:cubicBezTo>
                    <a:cubicBezTo>
                      <a:pt x="46" y="31"/>
                      <a:pt x="46" y="31"/>
                      <a:pt x="46" y="31"/>
                    </a:cubicBezTo>
                    <a:cubicBezTo>
                      <a:pt x="44" y="33"/>
                      <a:pt x="42" y="35"/>
                      <a:pt x="38" y="37"/>
                    </a:cubicBezTo>
                    <a:cubicBezTo>
                      <a:pt x="35" y="39"/>
                      <a:pt x="31" y="42"/>
                      <a:pt x="27" y="44"/>
                    </a:cubicBezTo>
                    <a:cubicBezTo>
                      <a:pt x="23" y="46"/>
                      <a:pt x="19" y="48"/>
                      <a:pt x="14" y="50"/>
                    </a:cubicBezTo>
                    <a:cubicBezTo>
                      <a:pt x="9" y="52"/>
                      <a:pt x="5" y="53"/>
                      <a:pt x="0" y="54"/>
                    </a:cubicBezTo>
                    <a:cubicBezTo>
                      <a:pt x="0" y="32"/>
                      <a:pt x="0" y="32"/>
                      <a:pt x="0" y="32"/>
                    </a:cubicBezTo>
                    <a:cubicBezTo>
                      <a:pt x="5" y="30"/>
                      <a:pt x="11" y="29"/>
                      <a:pt x="16" y="26"/>
                    </a:cubicBezTo>
                    <a:cubicBezTo>
                      <a:pt x="22" y="24"/>
                      <a:pt x="27" y="21"/>
                      <a:pt x="32" y="18"/>
                    </a:cubicBezTo>
                    <a:cubicBezTo>
                      <a:pt x="38" y="16"/>
                      <a:pt x="43" y="13"/>
                      <a:pt x="47" y="9"/>
                    </a:cubicBezTo>
                    <a:cubicBezTo>
                      <a:pt x="52" y="6"/>
                      <a:pt x="56" y="3"/>
                      <a:pt x="60"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7" name="Freeform 375"/>
              <p:cNvSpPr>
                <a:spLocks/>
              </p:cNvSpPr>
              <p:nvPr userDrawn="1"/>
            </p:nvSpPr>
            <p:spPr bwMode="auto">
              <a:xfrm>
                <a:off x="2193" y="372"/>
                <a:ext cx="82" cy="246"/>
              </a:xfrm>
              <a:custGeom>
                <a:avLst/>
                <a:gdLst>
                  <a:gd name="T0" fmla="*/ 68 w 68"/>
                  <a:gd name="T1" fmla="*/ 201 h 201"/>
                  <a:gd name="T2" fmla="*/ 45 w 68"/>
                  <a:gd name="T3" fmla="*/ 201 h 201"/>
                  <a:gd name="T4" fmla="*/ 45 w 68"/>
                  <a:gd name="T5" fmla="*/ 31 h 201"/>
                  <a:gd name="T6" fmla="*/ 38 w 68"/>
                  <a:gd name="T7" fmla="*/ 37 h 201"/>
                  <a:gd name="T8" fmla="*/ 27 w 68"/>
                  <a:gd name="T9" fmla="*/ 44 h 201"/>
                  <a:gd name="T10" fmla="*/ 13 w 68"/>
                  <a:gd name="T11" fmla="*/ 50 h 201"/>
                  <a:gd name="T12" fmla="*/ 0 w 68"/>
                  <a:gd name="T13" fmla="*/ 54 h 201"/>
                  <a:gd name="T14" fmla="*/ 0 w 68"/>
                  <a:gd name="T15" fmla="*/ 32 h 201"/>
                  <a:gd name="T16" fmla="*/ 16 w 68"/>
                  <a:gd name="T17" fmla="*/ 26 h 201"/>
                  <a:gd name="T18" fmla="*/ 32 w 68"/>
                  <a:gd name="T19" fmla="*/ 18 h 201"/>
                  <a:gd name="T20" fmla="*/ 47 w 68"/>
                  <a:gd name="T21" fmla="*/ 9 h 201"/>
                  <a:gd name="T22" fmla="*/ 59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5" y="201"/>
                      <a:pt x="45" y="201"/>
                      <a:pt x="45" y="201"/>
                    </a:cubicBezTo>
                    <a:cubicBezTo>
                      <a:pt x="45" y="31"/>
                      <a:pt x="45" y="31"/>
                      <a:pt x="45" y="31"/>
                    </a:cubicBezTo>
                    <a:cubicBezTo>
                      <a:pt x="44" y="33"/>
                      <a:pt x="41" y="35"/>
                      <a:pt x="38" y="37"/>
                    </a:cubicBezTo>
                    <a:cubicBezTo>
                      <a:pt x="34" y="39"/>
                      <a:pt x="31" y="42"/>
                      <a:pt x="27" y="44"/>
                    </a:cubicBezTo>
                    <a:cubicBezTo>
                      <a:pt x="22" y="46"/>
                      <a:pt x="18" y="48"/>
                      <a:pt x="13" y="50"/>
                    </a:cubicBezTo>
                    <a:cubicBezTo>
                      <a:pt x="9" y="52"/>
                      <a:pt x="4" y="53"/>
                      <a:pt x="0" y="54"/>
                    </a:cubicBezTo>
                    <a:cubicBezTo>
                      <a:pt x="0" y="32"/>
                      <a:pt x="0" y="32"/>
                      <a:pt x="0" y="32"/>
                    </a:cubicBezTo>
                    <a:cubicBezTo>
                      <a:pt x="5" y="30"/>
                      <a:pt x="10" y="29"/>
                      <a:pt x="16" y="26"/>
                    </a:cubicBezTo>
                    <a:cubicBezTo>
                      <a:pt x="21" y="24"/>
                      <a:pt x="27" y="21"/>
                      <a:pt x="32" y="18"/>
                    </a:cubicBezTo>
                    <a:cubicBezTo>
                      <a:pt x="37" y="16"/>
                      <a:pt x="42" y="13"/>
                      <a:pt x="47" y="9"/>
                    </a:cubicBezTo>
                    <a:cubicBezTo>
                      <a:pt x="52" y="6"/>
                      <a:pt x="56" y="3"/>
                      <a:pt x="59"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8" name="Freeform 376"/>
              <p:cNvSpPr>
                <a:spLocks/>
              </p:cNvSpPr>
              <p:nvPr userDrawn="1"/>
            </p:nvSpPr>
            <p:spPr bwMode="auto">
              <a:xfrm>
                <a:off x="2342" y="372"/>
                <a:ext cx="82" cy="246"/>
              </a:xfrm>
              <a:custGeom>
                <a:avLst/>
                <a:gdLst>
                  <a:gd name="T0" fmla="*/ 67 w 67"/>
                  <a:gd name="T1" fmla="*/ 201 h 201"/>
                  <a:gd name="T2" fmla="*/ 45 w 67"/>
                  <a:gd name="T3" fmla="*/ 201 h 201"/>
                  <a:gd name="T4" fmla="*/ 45 w 67"/>
                  <a:gd name="T5" fmla="*/ 31 h 201"/>
                  <a:gd name="T6" fmla="*/ 37 w 67"/>
                  <a:gd name="T7" fmla="*/ 37 h 201"/>
                  <a:gd name="T8" fmla="*/ 26 w 67"/>
                  <a:gd name="T9" fmla="*/ 44 h 201"/>
                  <a:gd name="T10" fmla="*/ 13 w 67"/>
                  <a:gd name="T11" fmla="*/ 50 h 201"/>
                  <a:gd name="T12" fmla="*/ 0 w 67"/>
                  <a:gd name="T13" fmla="*/ 54 h 201"/>
                  <a:gd name="T14" fmla="*/ 0 w 67"/>
                  <a:gd name="T15" fmla="*/ 32 h 201"/>
                  <a:gd name="T16" fmla="*/ 15 w 67"/>
                  <a:gd name="T17" fmla="*/ 26 h 201"/>
                  <a:gd name="T18" fmla="*/ 31 w 67"/>
                  <a:gd name="T19" fmla="*/ 18 h 201"/>
                  <a:gd name="T20" fmla="*/ 47 w 67"/>
                  <a:gd name="T21" fmla="*/ 9 h 201"/>
                  <a:gd name="T22" fmla="*/ 59 w 67"/>
                  <a:gd name="T23" fmla="*/ 0 h 201"/>
                  <a:gd name="T24" fmla="*/ 67 w 67"/>
                  <a:gd name="T25" fmla="*/ 0 h 201"/>
                  <a:gd name="T26" fmla="*/ 67 w 67"/>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7" h="201">
                    <a:moveTo>
                      <a:pt x="67" y="201"/>
                    </a:moveTo>
                    <a:cubicBezTo>
                      <a:pt x="45" y="201"/>
                      <a:pt x="45" y="201"/>
                      <a:pt x="45" y="201"/>
                    </a:cubicBezTo>
                    <a:cubicBezTo>
                      <a:pt x="45" y="31"/>
                      <a:pt x="45" y="31"/>
                      <a:pt x="45" y="31"/>
                    </a:cubicBezTo>
                    <a:cubicBezTo>
                      <a:pt x="43" y="33"/>
                      <a:pt x="41" y="35"/>
                      <a:pt x="37" y="37"/>
                    </a:cubicBezTo>
                    <a:cubicBezTo>
                      <a:pt x="34" y="39"/>
                      <a:pt x="30" y="42"/>
                      <a:pt x="26" y="44"/>
                    </a:cubicBezTo>
                    <a:cubicBezTo>
                      <a:pt x="22" y="46"/>
                      <a:pt x="18" y="48"/>
                      <a:pt x="13" y="50"/>
                    </a:cubicBezTo>
                    <a:cubicBezTo>
                      <a:pt x="8" y="52"/>
                      <a:pt x="4" y="53"/>
                      <a:pt x="0" y="54"/>
                    </a:cubicBezTo>
                    <a:cubicBezTo>
                      <a:pt x="0" y="32"/>
                      <a:pt x="0" y="32"/>
                      <a:pt x="0" y="32"/>
                    </a:cubicBezTo>
                    <a:cubicBezTo>
                      <a:pt x="4" y="30"/>
                      <a:pt x="10" y="29"/>
                      <a:pt x="15" y="26"/>
                    </a:cubicBezTo>
                    <a:cubicBezTo>
                      <a:pt x="21" y="24"/>
                      <a:pt x="26" y="21"/>
                      <a:pt x="31" y="18"/>
                    </a:cubicBezTo>
                    <a:cubicBezTo>
                      <a:pt x="37" y="16"/>
                      <a:pt x="42" y="13"/>
                      <a:pt x="47" y="9"/>
                    </a:cubicBezTo>
                    <a:cubicBezTo>
                      <a:pt x="51" y="6"/>
                      <a:pt x="55" y="3"/>
                      <a:pt x="59" y="0"/>
                    </a:cubicBezTo>
                    <a:cubicBezTo>
                      <a:pt x="67" y="0"/>
                      <a:pt x="67" y="0"/>
                      <a:pt x="67" y="0"/>
                    </a:cubicBezTo>
                    <a:lnTo>
                      <a:pt x="67"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9" name="Freeform 377"/>
              <p:cNvSpPr>
                <a:spLocks noEditPoints="1"/>
              </p:cNvSpPr>
              <p:nvPr userDrawn="1"/>
            </p:nvSpPr>
            <p:spPr bwMode="auto">
              <a:xfrm>
                <a:off x="2490" y="374"/>
                <a:ext cx="156" cy="248"/>
              </a:xfrm>
              <a:custGeom>
                <a:avLst/>
                <a:gdLst>
                  <a:gd name="T0" fmla="*/ 128 w 128"/>
                  <a:gd name="T1" fmla="*/ 101 h 203"/>
                  <a:gd name="T2" fmla="*/ 123 w 128"/>
                  <a:gd name="T3" fmla="*/ 144 h 203"/>
                  <a:gd name="T4" fmla="*/ 111 w 128"/>
                  <a:gd name="T5" fmla="*/ 176 h 203"/>
                  <a:gd name="T6" fmla="*/ 90 w 128"/>
                  <a:gd name="T7" fmla="*/ 196 h 203"/>
                  <a:gd name="T8" fmla="*/ 62 w 128"/>
                  <a:gd name="T9" fmla="*/ 203 h 203"/>
                  <a:gd name="T10" fmla="*/ 36 w 128"/>
                  <a:gd name="T11" fmla="*/ 196 h 203"/>
                  <a:gd name="T12" fmla="*/ 16 w 128"/>
                  <a:gd name="T13" fmla="*/ 178 h 203"/>
                  <a:gd name="T14" fmla="*/ 4 w 128"/>
                  <a:gd name="T15" fmla="*/ 147 h 203"/>
                  <a:gd name="T16" fmla="*/ 0 w 128"/>
                  <a:gd name="T17" fmla="*/ 106 h 203"/>
                  <a:gd name="T18" fmla="*/ 4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4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6" y="132"/>
                      <a:pt x="123" y="144"/>
                    </a:cubicBezTo>
                    <a:cubicBezTo>
                      <a:pt x="120" y="157"/>
                      <a:pt x="116" y="168"/>
                      <a:pt x="111" y="176"/>
                    </a:cubicBezTo>
                    <a:cubicBezTo>
                      <a:pt x="105" y="185"/>
                      <a:pt x="98" y="192"/>
                      <a:pt x="90" y="196"/>
                    </a:cubicBezTo>
                    <a:cubicBezTo>
                      <a:pt x="82" y="201"/>
                      <a:pt x="72" y="203"/>
                      <a:pt x="62" y="203"/>
                    </a:cubicBezTo>
                    <a:cubicBezTo>
                      <a:pt x="52" y="203"/>
                      <a:pt x="43" y="201"/>
                      <a:pt x="36" y="196"/>
                    </a:cubicBezTo>
                    <a:cubicBezTo>
                      <a:pt x="28" y="192"/>
                      <a:pt x="22" y="186"/>
                      <a:pt x="16" y="178"/>
                    </a:cubicBezTo>
                    <a:cubicBezTo>
                      <a:pt x="11" y="169"/>
                      <a:pt x="7" y="159"/>
                      <a:pt x="4" y="147"/>
                    </a:cubicBezTo>
                    <a:cubicBezTo>
                      <a:pt x="2" y="135"/>
                      <a:pt x="0" y="121"/>
                      <a:pt x="0" y="106"/>
                    </a:cubicBezTo>
                    <a:cubicBezTo>
                      <a:pt x="0" y="88"/>
                      <a:pt x="2" y="73"/>
                      <a:pt x="4" y="60"/>
                    </a:cubicBezTo>
                    <a:cubicBezTo>
                      <a:pt x="7" y="47"/>
                      <a:pt x="12" y="36"/>
                      <a:pt x="17" y="27"/>
                    </a:cubicBezTo>
                    <a:cubicBezTo>
                      <a:pt x="23" y="18"/>
                      <a:pt x="30" y="12"/>
                      <a:pt x="38" y="7"/>
                    </a:cubicBezTo>
                    <a:cubicBezTo>
                      <a:pt x="46" y="2"/>
                      <a:pt x="56" y="0"/>
                      <a:pt x="66" y="0"/>
                    </a:cubicBezTo>
                    <a:cubicBezTo>
                      <a:pt x="107" y="0"/>
                      <a:pt x="128" y="34"/>
                      <a:pt x="128" y="101"/>
                    </a:cubicBezTo>
                    <a:close/>
                    <a:moveTo>
                      <a:pt x="105" y="103"/>
                    </a:moveTo>
                    <a:cubicBezTo>
                      <a:pt x="105" y="47"/>
                      <a:pt x="92" y="19"/>
                      <a:pt x="65" y="19"/>
                    </a:cubicBezTo>
                    <a:cubicBezTo>
                      <a:pt x="37" y="19"/>
                      <a:pt x="23" y="48"/>
                      <a:pt x="23" y="104"/>
                    </a:cubicBezTo>
                    <a:cubicBezTo>
                      <a:pt x="23" y="157"/>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0" name="Freeform 378"/>
              <p:cNvSpPr>
                <a:spLocks/>
              </p:cNvSpPr>
              <p:nvPr userDrawn="1"/>
            </p:nvSpPr>
            <p:spPr bwMode="auto">
              <a:xfrm>
                <a:off x="2687" y="372"/>
                <a:ext cx="83" cy="246"/>
              </a:xfrm>
              <a:custGeom>
                <a:avLst/>
                <a:gdLst>
                  <a:gd name="T0" fmla="*/ 68 w 68"/>
                  <a:gd name="T1" fmla="*/ 201 h 201"/>
                  <a:gd name="T2" fmla="*/ 46 w 68"/>
                  <a:gd name="T3" fmla="*/ 201 h 201"/>
                  <a:gd name="T4" fmla="*/ 46 w 68"/>
                  <a:gd name="T5" fmla="*/ 31 h 201"/>
                  <a:gd name="T6" fmla="*/ 38 w 68"/>
                  <a:gd name="T7" fmla="*/ 37 h 201"/>
                  <a:gd name="T8" fmla="*/ 27 w 68"/>
                  <a:gd name="T9" fmla="*/ 44 h 201"/>
                  <a:gd name="T10" fmla="*/ 14 w 68"/>
                  <a:gd name="T11" fmla="*/ 50 h 201"/>
                  <a:gd name="T12" fmla="*/ 0 w 68"/>
                  <a:gd name="T13" fmla="*/ 54 h 201"/>
                  <a:gd name="T14" fmla="*/ 0 w 68"/>
                  <a:gd name="T15" fmla="*/ 32 h 201"/>
                  <a:gd name="T16" fmla="*/ 16 w 68"/>
                  <a:gd name="T17" fmla="*/ 26 h 201"/>
                  <a:gd name="T18" fmla="*/ 32 w 68"/>
                  <a:gd name="T19" fmla="*/ 18 h 201"/>
                  <a:gd name="T20" fmla="*/ 47 w 68"/>
                  <a:gd name="T21" fmla="*/ 9 h 201"/>
                  <a:gd name="T22" fmla="*/ 60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6" y="201"/>
                      <a:pt x="46" y="201"/>
                      <a:pt x="46" y="201"/>
                    </a:cubicBezTo>
                    <a:cubicBezTo>
                      <a:pt x="46" y="31"/>
                      <a:pt x="46" y="31"/>
                      <a:pt x="46" y="31"/>
                    </a:cubicBezTo>
                    <a:cubicBezTo>
                      <a:pt x="44" y="33"/>
                      <a:pt x="41" y="35"/>
                      <a:pt x="38" y="37"/>
                    </a:cubicBezTo>
                    <a:cubicBezTo>
                      <a:pt x="35" y="39"/>
                      <a:pt x="31" y="42"/>
                      <a:pt x="27" y="44"/>
                    </a:cubicBezTo>
                    <a:cubicBezTo>
                      <a:pt x="23" y="46"/>
                      <a:pt x="18" y="48"/>
                      <a:pt x="14" y="50"/>
                    </a:cubicBezTo>
                    <a:cubicBezTo>
                      <a:pt x="9" y="52"/>
                      <a:pt x="5" y="53"/>
                      <a:pt x="0" y="54"/>
                    </a:cubicBezTo>
                    <a:cubicBezTo>
                      <a:pt x="0" y="32"/>
                      <a:pt x="0" y="32"/>
                      <a:pt x="0" y="32"/>
                    </a:cubicBezTo>
                    <a:cubicBezTo>
                      <a:pt x="5" y="30"/>
                      <a:pt x="10" y="29"/>
                      <a:pt x="16" y="26"/>
                    </a:cubicBezTo>
                    <a:cubicBezTo>
                      <a:pt x="21" y="24"/>
                      <a:pt x="27" y="21"/>
                      <a:pt x="32" y="18"/>
                    </a:cubicBezTo>
                    <a:cubicBezTo>
                      <a:pt x="38" y="16"/>
                      <a:pt x="43" y="13"/>
                      <a:pt x="47" y="9"/>
                    </a:cubicBezTo>
                    <a:cubicBezTo>
                      <a:pt x="52" y="6"/>
                      <a:pt x="56" y="3"/>
                      <a:pt x="60"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1" name="Freeform 379"/>
              <p:cNvSpPr>
                <a:spLocks/>
              </p:cNvSpPr>
              <p:nvPr userDrawn="1"/>
            </p:nvSpPr>
            <p:spPr bwMode="auto">
              <a:xfrm>
                <a:off x="2837" y="372"/>
                <a:ext cx="83" cy="246"/>
              </a:xfrm>
              <a:custGeom>
                <a:avLst/>
                <a:gdLst>
                  <a:gd name="T0" fmla="*/ 68 w 68"/>
                  <a:gd name="T1" fmla="*/ 201 h 201"/>
                  <a:gd name="T2" fmla="*/ 45 w 68"/>
                  <a:gd name="T3" fmla="*/ 201 h 201"/>
                  <a:gd name="T4" fmla="*/ 45 w 68"/>
                  <a:gd name="T5" fmla="*/ 31 h 201"/>
                  <a:gd name="T6" fmla="*/ 38 w 68"/>
                  <a:gd name="T7" fmla="*/ 37 h 201"/>
                  <a:gd name="T8" fmla="*/ 26 w 68"/>
                  <a:gd name="T9" fmla="*/ 44 h 201"/>
                  <a:gd name="T10" fmla="*/ 13 w 68"/>
                  <a:gd name="T11" fmla="*/ 50 h 201"/>
                  <a:gd name="T12" fmla="*/ 0 w 68"/>
                  <a:gd name="T13" fmla="*/ 54 h 201"/>
                  <a:gd name="T14" fmla="*/ 0 w 68"/>
                  <a:gd name="T15" fmla="*/ 32 h 201"/>
                  <a:gd name="T16" fmla="*/ 15 w 68"/>
                  <a:gd name="T17" fmla="*/ 26 h 201"/>
                  <a:gd name="T18" fmla="*/ 32 w 68"/>
                  <a:gd name="T19" fmla="*/ 18 h 201"/>
                  <a:gd name="T20" fmla="*/ 47 w 68"/>
                  <a:gd name="T21" fmla="*/ 9 h 201"/>
                  <a:gd name="T22" fmla="*/ 59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5" y="201"/>
                      <a:pt x="45" y="201"/>
                      <a:pt x="45" y="201"/>
                    </a:cubicBezTo>
                    <a:cubicBezTo>
                      <a:pt x="45" y="31"/>
                      <a:pt x="45" y="31"/>
                      <a:pt x="45" y="31"/>
                    </a:cubicBezTo>
                    <a:cubicBezTo>
                      <a:pt x="43" y="33"/>
                      <a:pt x="41" y="35"/>
                      <a:pt x="38" y="37"/>
                    </a:cubicBezTo>
                    <a:cubicBezTo>
                      <a:pt x="34" y="39"/>
                      <a:pt x="31" y="42"/>
                      <a:pt x="26" y="44"/>
                    </a:cubicBezTo>
                    <a:cubicBezTo>
                      <a:pt x="22" y="46"/>
                      <a:pt x="18" y="48"/>
                      <a:pt x="13" y="50"/>
                    </a:cubicBezTo>
                    <a:cubicBezTo>
                      <a:pt x="9" y="52"/>
                      <a:pt x="4" y="53"/>
                      <a:pt x="0" y="54"/>
                    </a:cubicBezTo>
                    <a:cubicBezTo>
                      <a:pt x="0" y="32"/>
                      <a:pt x="0" y="32"/>
                      <a:pt x="0" y="32"/>
                    </a:cubicBezTo>
                    <a:cubicBezTo>
                      <a:pt x="5" y="30"/>
                      <a:pt x="10" y="29"/>
                      <a:pt x="15" y="26"/>
                    </a:cubicBezTo>
                    <a:cubicBezTo>
                      <a:pt x="21" y="24"/>
                      <a:pt x="26" y="21"/>
                      <a:pt x="32" y="18"/>
                    </a:cubicBezTo>
                    <a:cubicBezTo>
                      <a:pt x="37" y="16"/>
                      <a:pt x="42" y="13"/>
                      <a:pt x="47" y="9"/>
                    </a:cubicBezTo>
                    <a:cubicBezTo>
                      <a:pt x="52" y="6"/>
                      <a:pt x="56" y="3"/>
                      <a:pt x="59"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2" name="Freeform 380"/>
              <p:cNvSpPr>
                <a:spLocks noEditPoints="1"/>
              </p:cNvSpPr>
              <p:nvPr userDrawn="1"/>
            </p:nvSpPr>
            <p:spPr bwMode="auto">
              <a:xfrm>
                <a:off x="2985" y="374"/>
                <a:ext cx="156" cy="248"/>
              </a:xfrm>
              <a:custGeom>
                <a:avLst/>
                <a:gdLst>
                  <a:gd name="T0" fmla="*/ 128 w 128"/>
                  <a:gd name="T1" fmla="*/ 101 h 203"/>
                  <a:gd name="T2" fmla="*/ 124 w 128"/>
                  <a:gd name="T3" fmla="*/ 144 h 203"/>
                  <a:gd name="T4" fmla="*/ 111 w 128"/>
                  <a:gd name="T5" fmla="*/ 176 h 203"/>
                  <a:gd name="T6" fmla="*/ 90 w 128"/>
                  <a:gd name="T7" fmla="*/ 196 h 203"/>
                  <a:gd name="T8" fmla="*/ 62 w 128"/>
                  <a:gd name="T9" fmla="*/ 203 h 203"/>
                  <a:gd name="T10" fmla="*/ 36 w 128"/>
                  <a:gd name="T11" fmla="*/ 196 h 203"/>
                  <a:gd name="T12" fmla="*/ 17 w 128"/>
                  <a:gd name="T13" fmla="*/ 178 h 203"/>
                  <a:gd name="T14" fmla="*/ 5 w 128"/>
                  <a:gd name="T15" fmla="*/ 147 h 203"/>
                  <a:gd name="T16" fmla="*/ 0 w 128"/>
                  <a:gd name="T17" fmla="*/ 106 h 203"/>
                  <a:gd name="T18" fmla="*/ 5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4 h 203"/>
                  <a:gd name="T34" fmla="*/ 65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7" y="132"/>
                      <a:pt x="124" y="144"/>
                    </a:cubicBezTo>
                    <a:cubicBezTo>
                      <a:pt x="121" y="157"/>
                      <a:pt x="116" y="168"/>
                      <a:pt x="111" y="176"/>
                    </a:cubicBezTo>
                    <a:cubicBezTo>
                      <a:pt x="105" y="185"/>
                      <a:pt x="98" y="192"/>
                      <a:pt x="90" y="196"/>
                    </a:cubicBezTo>
                    <a:cubicBezTo>
                      <a:pt x="82" y="201"/>
                      <a:pt x="73" y="203"/>
                      <a:pt x="62" y="203"/>
                    </a:cubicBezTo>
                    <a:cubicBezTo>
                      <a:pt x="52" y="203"/>
                      <a:pt x="44" y="201"/>
                      <a:pt x="36" y="196"/>
                    </a:cubicBezTo>
                    <a:cubicBezTo>
                      <a:pt x="28" y="192"/>
                      <a:pt x="22" y="186"/>
                      <a:pt x="17" y="178"/>
                    </a:cubicBezTo>
                    <a:cubicBezTo>
                      <a:pt x="11" y="169"/>
                      <a:pt x="7" y="159"/>
                      <a:pt x="5" y="147"/>
                    </a:cubicBezTo>
                    <a:cubicBezTo>
                      <a:pt x="2" y="135"/>
                      <a:pt x="0" y="121"/>
                      <a:pt x="0" y="106"/>
                    </a:cubicBezTo>
                    <a:cubicBezTo>
                      <a:pt x="0" y="88"/>
                      <a:pt x="2" y="73"/>
                      <a:pt x="5" y="60"/>
                    </a:cubicBezTo>
                    <a:cubicBezTo>
                      <a:pt x="8" y="47"/>
                      <a:pt x="12" y="36"/>
                      <a:pt x="17" y="27"/>
                    </a:cubicBezTo>
                    <a:cubicBezTo>
                      <a:pt x="23" y="18"/>
                      <a:pt x="30" y="12"/>
                      <a:pt x="38" y="7"/>
                    </a:cubicBezTo>
                    <a:cubicBezTo>
                      <a:pt x="46" y="2"/>
                      <a:pt x="56" y="0"/>
                      <a:pt x="66" y="0"/>
                    </a:cubicBezTo>
                    <a:cubicBezTo>
                      <a:pt x="108" y="0"/>
                      <a:pt x="128" y="34"/>
                      <a:pt x="128" y="101"/>
                    </a:cubicBezTo>
                    <a:close/>
                    <a:moveTo>
                      <a:pt x="105" y="103"/>
                    </a:moveTo>
                    <a:cubicBezTo>
                      <a:pt x="105" y="47"/>
                      <a:pt x="92" y="19"/>
                      <a:pt x="65" y="19"/>
                    </a:cubicBezTo>
                    <a:cubicBezTo>
                      <a:pt x="37" y="19"/>
                      <a:pt x="23" y="48"/>
                      <a:pt x="23" y="104"/>
                    </a:cubicBezTo>
                    <a:cubicBezTo>
                      <a:pt x="23" y="157"/>
                      <a:pt x="37" y="184"/>
                      <a:pt x="65" y="184"/>
                    </a:cubicBezTo>
                    <a:cubicBezTo>
                      <a:pt x="92"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3" name="Freeform 381"/>
              <p:cNvSpPr>
                <a:spLocks/>
              </p:cNvSpPr>
              <p:nvPr userDrawn="1"/>
            </p:nvSpPr>
            <p:spPr bwMode="auto">
              <a:xfrm>
                <a:off x="3182" y="372"/>
                <a:ext cx="83" cy="246"/>
              </a:xfrm>
              <a:custGeom>
                <a:avLst/>
                <a:gdLst>
                  <a:gd name="T0" fmla="*/ 68 w 68"/>
                  <a:gd name="T1" fmla="*/ 201 h 201"/>
                  <a:gd name="T2" fmla="*/ 46 w 68"/>
                  <a:gd name="T3" fmla="*/ 201 h 201"/>
                  <a:gd name="T4" fmla="*/ 46 w 68"/>
                  <a:gd name="T5" fmla="*/ 31 h 201"/>
                  <a:gd name="T6" fmla="*/ 38 w 68"/>
                  <a:gd name="T7" fmla="*/ 37 h 201"/>
                  <a:gd name="T8" fmla="*/ 27 w 68"/>
                  <a:gd name="T9" fmla="*/ 44 h 201"/>
                  <a:gd name="T10" fmla="*/ 14 w 68"/>
                  <a:gd name="T11" fmla="*/ 50 h 201"/>
                  <a:gd name="T12" fmla="*/ 0 w 68"/>
                  <a:gd name="T13" fmla="*/ 54 h 201"/>
                  <a:gd name="T14" fmla="*/ 0 w 68"/>
                  <a:gd name="T15" fmla="*/ 32 h 201"/>
                  <a:gd name="T16" fmla="*/ 16 w 68"/>
                  <a:gd name="T17" fmla="*/ 26 h 201"/>
                  <a:gd name="T18" fmla="*/ 32 w 68"/>
                  <a:gd name="T19" fmla="*/ 18 h 201"/>
                  <a:gd name="T20" fmla="*/ 48 w 68"/>
                  <a:gd name="T21" fmla="*/ 9 h 201"/>
                  <a:gd name="T22" fmla="*/ 60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6" y="201"/>
                      <a:pt x="46" y="201"/>
                      <a:pt x="46" y="201"/>
                    </a:cubicBezTo>
                    <a:cubicBezTo>
                      <a:pt x="46" y="31"/>
                      <a:pt x="46" y="31"/>
                      <a:pt x="46" y="31"/>
                    </a:cubicBezTo>
                    <a:cubicBezTo>
                      <a:pt x="44" y="33"/>
                      <a:pt x="42" y="35"/>
                      <a:pt x="38" y="37"/>
                    </a:cubicBezTo>
                    <a:cubicBezTo>
                      <a:pt x="35" y="39"/>
                      <a:pt x="31" y="42"/>
                      <a:pt x="27" y="44"/>
                    </a:cubicBezTo>
                    <a:cubicBezTo>
                      <a:pt x="23" y="46"/>
                      <a:pt x="19" y="48"/>
                      <a:pt x="14" y="50"/>
                    </a:cubicBezTo>
                    <a:cubicBezTo>
                      <a:pt x="9" y="52"/>
                      <a:pt x="5" y="53"/>
                      <a:pt x="0" y="54"/>
                    </a:cubicBezTo>
                    <a:cubicBezTo>
                      <a:pt x="0" y="32"/>
                      <a:pt x="0" y="32"/>
                      <a:pt x="0" y="32"/>
                    </a:cubicBezTo>
                    <a:cubicBezTo>
                      <a:pt x="5" y="30"/>
                      <a:pt x="11" y="29"/>
                      <a:pt x="16" y="26"/>
                    </a:cubicBezTo>
                    <a:cubicBezTo>
                      <a:pt x="22" y="24"/>
                      <a:pt x="27" y="21"/>
                      <a:pt x="32" y="18"/>
                    </a:cubicBezTo>
                    <a:cubicBezTo>
                      <a:pt x="38" y="16"/>
                      <a:pt x="43" y="13"/>
                      <a:pt x="48" y="9"/>
                    </a:cubicBezTo>
                    <a:cubicBezTo>
                      <a:pt x="52" y="6"/>
                      <a:pt x="56" y="3"/>
                      <a:pt x="60"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4" name="Freeform 382"/>
              <p:cNvSpPr>
                <a:spLocks/>
              </p:cNvSpPr>
              <p:nvPr userDrawn="1"/>
            </p:nvSpPr>
            <p:spPr bwMode="auto">
              <a:xfrm>
                <a:off x="3332" y="372"/>
                <a:ext cx="83" cy="246"/>
              </a:xfrm>
              <a:custGeom>
                <a:avLst/>
                <a:gdLst>
                  <a:gd name="T0" fmla="*/ 68 w 68"/>
                  <a:gd name="T1" fmla="*/ 201 h 201"/>
                  <a:gd name="T2" fmla="*/ 45 w 68"/>
                  <a:gd name="T3" fmla="*/ 201 h 201"/>
                  <a:gd name="T4" fmla="*/ 45 w 68"/>
                  <a:gd name="T5" fmla="*/ 31 h 201"/>
                  <a:gd name="T6" fmla="*/ 38 w 68"/>
                  <a:gd name="T7" fmla="*/ 37 h 201"/>
                  <a:gd name="T8" fmla="*/ 27 w 68"/>
                  <a:gd name="T9" fmla="*/ 44 h 201"/>
                  <a:gd name="T10" fmla="*/ 14 w 68"/>
                  <a:gd name="T11" fmla="*/ 50 h 201"/>
                  <a:gd name="T12" fmla="*/ 0 w 68"/>
                  <a:gd name="T13" fmla="*/ 54 h 201"/>
                  <a:gd name="T14" fmla="*/ 0 w 68"/>
                  <a:gd name="T15" fmla="*/ 32 h 201"/>
                  <a:gd name="T16" fmla="*/ 16 w 68"/>
                  <a:gd name="T17" fmla="*/ 26 h 201"/>
                  <a:gd name="T18" fmla="*/ 32 w 68"/>
                  <a:gd name="T19" fmla="*/ 18 h 201"/>
                  <a:gd name="T20" fmla="*/ 47 w 68"/>
                  <a:gd name="T21" fmla="*/ 9 h 201"/>
                  <a:gd name="T22" fmla="*/ 59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5" y="201"/>
                      <a:pt x="45" y="201"/>
                      <a:pt x="45" y="201"/>
                    </a:cubicBezTo>
                    <a:cubicBezTo>
                      <a:pt x="45" y="31"/>
                      <a:pt x="45" y="31"/>
                      <a:pt x="45" y="31"/>
                    </a:cubicBezTo>
                    <a:cubicBezTo>
                      <a:pt x="44" y="33"/>
                      <a:pt x="41" y="35"/>
                      <a:pt x="38" y="37"/>
                    </a:cubicBezTo>
                    <a:cubicBezTo>
                      <a:pt x="35" y="39"/>
                      <a:pt x="31" y="42"/>
                      <a:pt x="27" y="44"/>
                    </a:cubicBezTo>
                    <a:cubicBezTo>
                      <a:pt x="22" y="46"/>
                      <a:pt x="18" y="48"/>
                      <a:pt x="14" y="50"/>
                    </a:cubicBezTo>
                    <a:cubicBezTo>
                      <a:pt x="9" y="52"/>
                      <a:pt x="4" y="53"/>
                      <a:pt x="0" y="54"/>
                    </a:cubicBezTo>
                    <a:cubicBezTo>
                      <a:pt x="0" y="32"/>
                      <a:pt x="0" y="32"/>
                      <a:pt x="0" y="32"/>
                    </a:cubicBezTo>
                    <a:cubicBezTo>
                      <a:pt x="5" y="30"/>
                      <a:pt x="10" y="29"/>
                      <a:pt x="16" y="26"/>
                    </a:cubicBezTo>
                    <a:cubicBezTo>
                      <a:pt x="21" y="24"/>
                      <a:pt x="27" y="21"/>
                      <a:pt x="32" y="18"/>
                    </a:cubicBezTo>
                    <a:cubicBezTo>
                      <a:pt x="37" y="16"/>
                      <a:pt x="42" y="13"/>
                      <a:pt x="47" y="9"/>
                    </a:cubicBezTo>
                    <a:cubicBezTo>
                      <a:pt x="52" y="6"/>
                      <a:pt x="56" y="3"/>
                      <a:pt x="59"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5" name="Freeform 383"/>
              <p:cNvSpPr>
                <a:spLocks noEditPoints="1"/>
              </p:cNvSpPr>
              <p:nvPr userDrawn="1"/>
            </p:nvSpPr>
            <p:spPr bwMode="auto">
              <a:xfrm>
                <a:off x="3710" y="374"/>
                <a:ext cx="156" cy="248"/>
              </a:xfrm>
              <a:custGeom>
                <a:avLst/>
                <a:gdLst>
                  <a:gd name="T0" fmla="*/ 128 w 128"/>
                  <a:gd name="T1" fmla="*/ 101 h 203"/>
                  <a:gd name="T2" fmla="*/ 123 w 128"/>
                  <a:gd name="T3" fmla="*/ 144 h 203"/>
                  <a:gd name="T4" fmla="*/ 111 w 128"/>
                  <a:gd name="T5" fmla="*/ 176 h 203"/>
                  <a:gd name="T6" fmla="*/ 90 w 128"/>
                  <a:gd name="T7" fmla="*/ 196 h 203"/>
                  <a:gd name="T8" fmla="*/ 62 w 128"/>
                  <a:gd name="T9" fmla="*/ 203 h 203"/>
                  <a:gd name="T10" fmla="*/ 36 w 128"/>
                  <a:gd name="T11" fmla="*/ 196 h 203"/>
                  <a:gd name="T12" fmla="*/ 16 w 128"/>
                  <a:gd name="T13" fmla="*/ 178 h 203"/>
                  <a:gd name="T14" fmla="*/ 4 w 128"/>
                  <a:gd name="T15" fmla="*/ 147 h 203"/>
                  <a:gd name="T16" fmla="*/ 0 w 128"/>
                  <a:gd name="T17" fmla="*/ 106 h 203"/>
                  <a:gd name="T18" fmla="*/ 4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4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6" y="132"/>
                      <a:pt x="123" y="144"/>
                    </a:cubicBezTo>
                    <a:cubicBezTo>
                      <a:pt x="120" y="157"/>
                      <a:pt x="116" y="168"/>
                      <a:pt x="111" y="176"/>
                    </a:cubicBezTo>
                    <a:cubicBezTo>
                      <a:pt x="105" y="185"/>
                      <a:pt x="98" y="192"/>
                      <a:pt x="90" y="196"/>
                    </a:cubicBezTo>
                    <a:cubicBezTo>
                      <a:pt x="82" y="201"/>
                      <a:pt x="72" y="203"/>
                      <a:pt x="62" y="203"/>
                    </a:cubicBezTo>
                    <a:cubicBezTo>
                      <a:pt x="52" y="203"/>
                      <a:pt x="43" y="201"/>
                      <a:pt x="36" y="196"/>
                    </a:cubicBezTo>
                    <a:cubicBezTo>
                      <a:pt x="28" y="192"/>
                      <a:pt x="22" y="186"/>
                      <a:pt x="16" y="178"/>
                    </a:cubicBezTo>
                    <a:cubicBezTo>
                      <a:pt x="11" y="169"/>
                      <a:pt x="7" y="159"/>
                      <a:pt x="4" y="147"/>
                    </a:cubicBezTo>
                    <a:cubicBezTo>
                      <a:pt x="2" y="135"/>
                      <a:pt x="0" y="121"/>
                      <a:pt x="0" y="106"/>
                    </a:cubicBezTo>
                    <a:cubicBezTo>
                      <a:pt x="0" y="88"/>
                      <a:pt x="2" y="73"/>
                      <a:pt x="4" y="60"/>
                    </a:cubicBezTo>
                    <a:cubicBezTo>
                      <a:pt x="7" y="47"/>
                      <a:pt x="12" y="36"/>
                      <a:pt x="17" y="27"/>
                    </a:cubicBezTo>
                    <a:cubicBezTo>
                      <a:pt x="23" y="18"/>
                      <a:pt x="30" y="12"/>
                      <a:pt x="38" y="7"/>
                    </a:cubicBezTo>
                    <a:cubicBezTo>
                      <a:pt x="46" y="2"/>
                      <a:pt x="56" y="0"/>
                      <a:pt x="66" y="0"/>
                    </a:cubicBezTo>
                    <a:cubicBezTo>
                      <a:pt x="107" y="0"/>
                      <a:pt x="128" y="34"/>
                      <a:pt x="128" y="101"/>
                    </a:cubicBezTo>
                    <a:close/>
                    <a:moveTo>
                      <a:pt x="105" y="103"/>
                    </a:moveTo>
                    <a:cubicBezTo>
                      <a:pt x="105" y="47"/>
                      <a:pt x="92" y="19"/>
                      <a:pt x="65" y="19"/>
                    </a:cubicBezTo>
                    <a:cubicBezTo>
                      <a:pt x="37" y="19"/>
                      <a:pt x="23" y="48"/>
                      <a:pt x="23" y="104"/>
                    </a:cubicBezTo>
                    <a:cubicBezTo>
                      <a:pt x="23" y="157"/>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6" name="Freeform 384"/>
              <p:cNvSpPr>
                <a:spLocks noEditPoints="1"/>
              </p:cNvSpPr>
              <p:nvPr userDrawn="1"/>
            </p:nvSpPr>
            <p:spPr bwMode="auto">
              <a:xfrm>
                <a:off x="3905" y="374"/>
                <a:ext cx="156" cy="248"/>
              </a:xfrm>
              <a:custGeom>
                <a:avLst/>
                <a:gdLst>
                  <a:gd name="T0" fmla="*/ 128 w 128"/>
                  <a:gd name="T1" fmla="*/ 101 h 203"/>
                  <a:gd name="T2" fmla="*/ 123 w 128"/>
                  <a:gd name="T3" fmla="*/ 144 h 203"/>
                  <a:gd name="T4" fmla="*/ 111 w 128"/>
                  <a:gd name="T5" fmla="*/ 176 h 203"/>
                  <a:gd name="T6" fmla="*/ 90 w 128"/>
                  <a:gd name="T7" fmla="*/ 196 h 203"/>
                  <a:gd name="T8" fmla="*/ 62 w 128"/>
                  <a:gd name="T9" fmla="*/ 203 h 203"/>
                  <a:gd name="T10" fmla="*/ 36 w 128"/>
                  <a:gd name="T11" fmla="*/ 196 h 203"/>
                  <a:gd name="T12" fmla="*/ 16 w 128"/>
                  <a:gd name="T13" fmla="*/ 178 h 203"/>
                  <a:gd name="T14" fmla="*/ 4 w 128"/>
                  <a:gd name="T15" fmla="*/ 147 h 203"/>
                  <a:gd name="T16" fmla="*/ 0 w 128"/>
                  <a:gd name="T17" fmla="*/ 106 h 203"/>
                  <a:gd name="T18" fmla="*/ 4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4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6" y="132"/>
                      <a:pt x="123" y="144"/>
                    </a:cubicBezTo>
                    <a:cubicBezTo>
                      <a:pt x="120" y="157"/>
                      <a:pt x="116" y="168"/>
                      <a:pt x="111" y="176"/>
                    </a:cubicBezTo>
                    <a:cubicBezTo>
                      <a:pt x="105" y="185"/>
                      <a:pt x="98" y="192"/>
                      <a:pt x="90" y="196"/>
                    </a:cubicBezTo>
                    <a:cubicBezTo>
                      <a:pt x="82" y="201"/>
                      <a:pt x="72" y="203"/>
                      <a:pt x="62" y="203"/>
                    </a:cubicBezTo>
                    <a:cubicBezTo>
                      <a:pt x="52" y="203"/>
                      <a:pt x="43" y="201"/>
                      <a:pt x="36" y="196"/>
                    </a:cubicBezTo>
                    <a:cubicBezTo>
                      <a:pt x="28" y="192"/>
                      <a:pt x="22" y="186"/>
                      <a:pt x="16" y="178"/>
                    </a:cubicBezTo>
                    <a:cubicBezTo>
                      <a:pt x="11" y="169"/>
                      <a:pt x="7" y="159"/>
                      <a:pt x="4" y="147"/>
                    </a:cubicBezTo>
                    <a:cubicBezTo>
                      <a:pt x="2" y="135"/>
                      <a:pt x="0" y="121"/>
                      <a:pt x="0" y="106"/>
                    </a:cubicBezTo>
                    <a:cubicBezTo>
                      <a:pt x="0" y="88"/>
                      <a:pt x="2" y="73"/>
                      <a:pt x="4" y="60"/>
                    </a:cubicBezTo>
                    <a:cubicBezTo>
                      <a:pt x="7" y="47"/>
                      <a:pt x="12" y="36"/>
                      <a:pt x="17" y="27"/>
                    </a:cubicBezTo>
                    <a:cubicBezTo>
                      <a:pt x="23" y="18"/>
                      <a:pt x="30" y="12"/>
                      <a:pt x="38" y="7"/>
                    </a:cubicBezTo>
                    <a:cubicBezTo>
                      <a:pt x="46" y="2"/>
                      <a:pt x="56" y="0"/>
                      <a:pt x="66" y="0"/>
                    </a:cubicBezTo>
                    <a:cubicBezTo>
                      <a:pt x="107" y="0"/>
                      <a:pt x="128" y="34"/>
                      <a:pt x="128" y="101"/>
                    </a:cubicBezTo>
                    <a:close/>
                    <a:moveTo>
                      <a:pt x="105" y="103"/>
                    </a:moveTo>
                    <a:cubicBezTo>
                      <a:pt x="105" y="47"/>
                      <a:pt x="92" y="19"/>
                      <a:pt x="65" y="19"/>
                    </a:cubicBezTo>
                    <a:cubicBezTo>
                      <a:pt x="37" y="19"/>
                      <a:pt x="23" y="48"/>
                      <a:pt x="23" y="104"/>
                    </a:cubicBezTo>
                    <a:cubicBezTo>
                      <a:pt x="23" y="157"/>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7" name="Freeform 385"/>
              <p:cNvSpPr>
                <a:spLocks noEditPoints="1"/>
              </p:cNvSpPr>
              <p:nvPr userDrawn="1"/>
            </p:nvSpPr>
            <p:spPr bwMode="auto">
              <a:xfrm>
                <a:off x="4100" y="374"/>
                <a:ext cx="156" cy="248"/>
              </a:xfrm>
              <a:custGeom>
                <a:avLst/>
                <a:gdLst>
                  <a:gd name="T0" fmla="*/ 128 w 128"/>
                  <a:gd name="T1" fmla="*/ 101 h 203"/>
                  <a:gd name="T2" fmla="*/ 123 w 128"/>
                  <a:gd name="T3" fmla="*/ 144 h 203"/>
                  <a:gd name="T4" fmla="*/ 111 w 128"/>
                  <a:gd name="T5" fmla="*/ 176 h 203"/>
                  <a:gd name="T6" fmla="*/ 90 w 128"/>
                  <a:gd name="T7" fmla="*/ 196 h 203"/>
                  <a:gd name="T8" fmla="*/ 62 w 128"/>
                  <a:gd name="T9" fmla="*/ 203 h 203"/>
                  <a:gd name="T10" fmla="*/ 36 w 128"/>
                  <a:gd name="T11" fmla="*/ 196 h 203"/>
                  <a:gd name="T12" fmla="*/ 16 w 128"/>
                  <a:gd name="T13" fmla="*/ 178 h 203"/>
                  <a:gd name="T14" fmla="*/ 4 w 128"/>
                  <a:gd name="T15" fmla="*/ 147 h 203"/>
                  <a:gd name="T16" fmla="*/ 0 w 128"/>
                  <a:gd name="T17" fmla="*/ 106 h 203"/>
                  <a:gd name="T18" fmla="*/ 4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4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6" y="132"/>
                      <a:pt x="123" y="144"/>
                    </a:cubicBezTo>
                    <a:cubicBezTo>
                      <a:pt x="120" y="157"/>
                      <a:pt x="116" y="168"/>
                      <a:pt x="111" y="176"/>
                    </a:cubicBezTo>
                    <a:cubicBezTo>
                      <a:pt x="105" y="185"/>
                      <a:pt x="98" y="192"/>
                      <a:pt x="90" y="196"/>
                    </a:cubicBezTo>
                    <a:cubicBezTo>
                      <a:pt x="82" y="201"/>
                      <a:pt x="72" y="203"/>
                      <a:pt x="62" y="203"/>
                    </a:cubicBezTo>
                    <a:cubicBezTo>
                      <a:pt x="52" y="203"/>
                      <a:pt x="43" y="201"/>
                      <a:pt x="36" y="196"/>
                    </a:cubicBezTo>
                    <a:cubicBezTo>
                      <a:pt x="28" y="192"/>
                      <a:pt x="22" y="186"/>
                      <a:pt x="16" y="178"/>
                    </a:cubicBezTo>
                    <a:cubicBezTo>
                      <a:pt x="11" y="169"/>
                      <a:pt x="7" y="159"/>
                      <a:pt x="4" y="147"/>
                    </a:cubicBezTo>
                    <a:cubicBezTo>
                      <a:pt x="1" y="135"/>
                      <a:pt x="0" y="121"/>
                      <a:pt x="0" y="106"/>
                    </a:cubicBezTo>
                    <a:cubicBezTo>
                      <a:pt x="0" y="88"/>
                      <a:pt x="2" y="73"/>
                      <a:pt x="4" y="60"/>
                    </a:cubicBezTo>
                    <a:cubicBezTo>
                      <a:pt x="7" y="47"/>
                      <a:pt x="12" y="36"/>
                      <a:pt x="17" y="27"/>
                    </a:cubicBezTo>
                    <a:cubicBezTo>
                      <a:pt x="23" y="18"/>
                      <a:pt x="30" y="12"/>
                      <a:pt x="38" y="7"/>
                    </a:cubicBezTo>
                    <a:cubicBezTo>
                      <a:pt x="46" y="2"/>
                      <a:pt x="55" y="0"/>
                      <a:pt x="66" y="0"/>
                    </a:cubicBezTo>
                    <a:cubicBezTo>
                      <a:pt x="107" y="0"/>
                      <a:pt x="128" y="34"/>
                      <a:pt x="128" y="101"/>
                    </a:cubicBezTo>
                    <a:close/>
                    <a:moveTo>
                      <a:pt x="105" y="103"/>
                    </a:moveTo>
                    <a:cubicBezTo>
                      <a:pt x="105" y="47"/>
                      <a:pt x="92" y="19"/>
                      <a:pt x="65" y="19"/>
                    </a:cubicBezTo>
                    <a:cubicBezTo>
                      <a:pt x="37" y="19"/>
                      <a:pt x="23" y="48"/>
                      <a:pt x="23" y="104"/>
                    </a:cubicBezTo>
                    <a:cubicBezTo>
                      <a:pt x="23" y="157"/>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8" name="Freeform 386"/>
              <p:cNvSpPr>
                <a:spLocks noEditPoints="1"/>
              </p:cNvSpPr>
              <p:nvPr userDrawn="1"/>
            </p:nvSpPr>
            <p:spPr bwMode="auto">
              <a:xfrm>
                <a:off x="4285" y="379"/>
                <a:ext cx="189" cy="218"/>
              </a:xfrm>
              <a:custGeom>
                <a:avLst/>
                <a:gdLst>
                  <a:gd name="T0" fmla="*/ 189 w 189"/>
                  <a:gd name="T1" fmla="*/ 66 h 218"/>
                  <a:gd name="T2" fmla="*/ 184 w 189"/>
                  <a:gd name="T3" fmla="*/ 84 h 218"/>
                  <a:gd name="T4" fmla="*/ 141 w 189"/>
                  <a:gd name="T5" fmla="*/ 84 h 218"/>
                  <a:gd name="T6" fmla="*/ 130 w 189"/>
                  <a:gd name="T7" fmla="*/ 134 h 218"/>
                  <a:gd name="T8" fmla="*/ 178 w 189"/>
                  <a:gd name="T9" fmla="*/ 134 h 218"/>
                  <a:gd name="T10" fmla="*/ 173 w 189"/>
                  <a:gd name="T11" fmla="*/ 151 h 218"/>
                  <a:gd name="T12" fmla="*/ 127 w 189"/>
                  <a:gd name="T13" fmla="*/ 151 h 218"/>
                  <a:gd name="T14" fmla="*/ 112 w 189"/>
                  <a:gd name="T15" fmla="*/ 218 h 218"/>
                  <a:gd name="T16" fmla="*/ 91 w 189"/>
                  <a:gd name="T17" fmla="*/ 218 h 218"/>
                  <a:gd name="T18" fmla="*/ 106 w 189"/>
                  <a:gd name="T19" fmla="*/ 151 h 218"/>
                  <a:gd name="T20" fmla="*/ 65 w 189"/>
                  <a:gd name="T21" fmla="*/ 151 h 218"/>
                  <a:gd name="T22" fmla="*/ 50 w 189"/>
                  <a:gd name="T23" fmla="*/ 218 h 218"/>
                  <a:gd name="T24" fmla="*/ 29 w 189"/>
                  <a:gd name="T25" fmla="*/ 218 h 218"/>
                  <a:gd name="T26" fmla="*/ 43 w 189"/>
                  <a:gd name="T27" fmla="*/ 151 h 218"/>
                  <a:gd name="T28" fmla="*/ 0 w 189"/>
                  <a:gd name="T29" fmla="*/ 151 h 218"/>
                  <a:gd name="T30" fmla="*/ 3 w 189"/>
                  <a:gd name="T31" fmla="*/ 134 h 218"/>
                  <a:gd name="T32" fmla="*/ 48 w 189"/>
                  <a:gd name="T33" fmla="*/ 134 h 218"/>
                  <a:gd name="T34" fmla="*/ 57 w 189"/>
                  <a:gd name="T35" fmla="*/ 84 h 218"/>
                  <a:gd name="T36" fmla="*/ 11 w 189"/>
                  <a:gd name="T37" fmla="*/ 84 h 218"/>
                  <a:gd name="T38" fmla="*/ 15 w 189"/>
                  <a:gd name="T39" fmla="*/ 66 h 218"/>
                  <a:gd name="T40" fmla="*/ 61 w 189"/>
                  <a:gd name="T41" fmla="*/ 66 h 218"/>
                  <a:gd name="T42" fmla="*/ 74 w 189"/>
                  <a:gd name="T43" fmla="*/ 0 h 218"/>
                  <a:gd name="T44" fmla="*/ 96 w 189"/>
                  <a:gd name="T45" fmla="*/ 0 h 218"/>
                  <a:gd name="T46" fmla="*/ 82 w 189"/>
                  <a:gd name="T47" fmla="*/ 66 h 218"/>
                  <a:gd name="T48" fmla="*/ 124 w 189"/>
                  <a:gd name="T49" fmla="*/ 66 h 218"/>
                  <a:gd name="T50" fmla="*/ 138 w 189"/>
                  <a:gd name="T51" fmla="*/ 0 h 218"/>
                  <a:gd name="T52" fmla="*/ 159 w 189"/>
                  <a:gd name="T53" fmla="*/ 0 h 218"/>
                  <a:gd name="T54" fmla="*/ 145 w 189"/>
                  <a:gd name="T55" fmla="*/ 66 h 218"/>
                  <a:gd name="T56" fmla="*/ 189 w 189"/>
                  <a:gd name="T57" fmla="*/ 66 h 218"/>
                  <a:gd name="T58" fmla="*/ 121 w 189"/>
                  <a:gd name="T59" fmla="*/ 84 h 218"/>
                  <a:gd name="T60" fmla="*/ 78 w 189"/>
                  <a:gd name="T61" fmla="*/ 84 h 218"/>
                  <a:gd name="T62" fmla="*/ 67 w 189"/>
                  <a:gd name="T63" fmla="*/ 134 h 218"/>
                  <a:gd name="T64" fmla="*/ 110 w 189"/>
                  <a:gd name="T65" fmla="*/ 134 h 218"/>
                  <a:gd name="T66" fmla="*/ 121 w 189"/>
                  <a:gd name="T67" fmla="*/ 84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9" h="218">
                    <a:moveTo>
                      <a:pt x="189" y="66"/>
                    </a:moveTo>
                    <a:lnTo>
                      <a:pt x="184" y="84"/>
                    </a:lnTo>
                    <a:lnTo>
                      <a:pt x="141" y="84"/>
                    </a:lnTo>
                    <a:lnTo>
                      <a:pt x="130" y="134"/>
                    </a:lnTo>
                    <a:lnTo>
                      <a:pt x="178" y="134"/>
                    </a:lnTo>
                    <a:lnTo>
                      <a:pt x="173" y="151"/>
                    </a:lnTo>
                    <a:lnTo>
                      <a:pt x="127" y="151"/>
                    </a:lnTo>
                    <a:lnTo>
                      <a:pt x="112" y="218"/>
                    </a:lnTo>
                    <a:lnTo>
                      <a:pt x="91" y="218"/>
                    </a:lnTo>
                    <a:lnTo>
                      <a:pt x="106" y="151"/>
                    </a:lnTo>
                    <a:lnTo>
                      <a:pt x="65" y="151"/>
                    </a:lnTo>
                    <a:lnTo>
                      <a:pt x="50" y="218"/>
                    </a:lnTo>
                    <a:lnTo>
                      <a:pt x="29" y="218"/>
                    </a:lnTo>
                    <a:lnTo>
                      <a:pt x="43" y="151"/>
                    </a:lnTo>
                    <a:lnTo>
                      <a:pt x="0" y="151"/>
                    </a:lnTo>
                    <a:lnTo>
                      <a:pt x="3" y="134"/>
                    </a:lnTo>
                    <a:lnTo>
                      <a:pt x="48" y="134"/>
                    </a:lnTo>
                    <a:lnTo>
                      <a:pt x="57" y="84"/>
                    </a:lnTo>
                    <a:lnTo>
                      <a:pt x="11" y="84"/>
                    </a:lnTo>
                    <a:lnTo>
                      <a:pt x="15" y="66"/>
                    </a:lnTo>
                    <a:lnTo>
                      <a:pt x="61" y="66"/>
                    </a:lnTo>
                    <a:lnTo>
                      <a:pt x="74" y="0"/>
                    </a:lnTo>
                    <a:lnTo>
                      <a:pt x="96" y="0"/>
                    </a:lnTo>
                    <a:lnTo>
                      <a:pt x="82" y="66"/>
                    </a:lnTo>
                    <a:lnTo>
                      <a:pt x="124" y="66"/>
                    </a:lnTo>
                    <a:lnTo>
                      <a:pt x="138" y="0"/>
                    </a:lnTo>
                    <a:lnTo>
                      <a:pt x="159" y="0"/>
                    </a:lnTo>
                    <a:lnTo>
                      <a:pt x="145" y="66"/>
                    </a:lnTo>
                    <a:lnTo>
                      <a:pt x="189" y="66"/>
                    </a:lnTo>
                    <a:close/>
                    <a:moveTo>
                      <a:pt x="121" y="84"/>
                    </a:moveTo>
                    <a:lnTo>
                      <a:pt x="78" y="84"/>
                    </a:lnTo>
                    <a:lnTo>
                      <a:pt x="67" y="134"/>
                    </a:lnTo>
                    <a:lnTo>
                      <a:pt x="110" y="134"/>
                    </a:lnTo>
                    <a:lnTo>
                      <a:pt x="121"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9" name="Freeform 387"/>
              <p:cNvSpPr>
                <a:spLocks noEditPoints="1"/>
              </p:cNvSpPr>
              <p:nvPr userDrawn="1"/>
            </p:nvSpPr>
            <p:spPr bwMode="auto">
              <a:xfrm>
                <a:off x="4502" y="374"/>
                <a:ext cx="156" cy="248"/>
              </a:xfrm>
              <a:custGeom>
                <a:avLst/>
                <a:gdLst>
                  <a:gd name="T0" fmla="*/ 128 w 128"/>
                  <a:gd name="T1" fmla="*/ 101 h 203"/>
                  <a:gd name="T2" fmla="*/ 123 w 128"/>
                  <a:gd name="T3" fmla="*/ 144 h 203"/>
                  <a:gd name="T4" fmla="*/ 110 w 128"/>
                  <a:gd name="T5" fmla="*/ 176 h 203"/>
                  <a:gd name="T6" fmla="*/ 90 w 128"/>
                  <a:gd name="T7" fmla="*/ 196 h 203"/>
                  <a:gd name="T8" fmla="*/ 62 w 128"/>
                  <a:gd name="T9" fmla="*/ 203 h 203"/>
                  <a:gd name="T10" fmla="*/ 36 w 128"/>
                  <a:gd name="T11" fmla="*/ 196 h 203"/>
                  <a:gd name="T12" fmla="*/ 16 w 128"/>
                  <a:gd name="T13" fmla="*/ 178 h 203"/>
                  <a:gd name="T14" fmla="*/ 4 w 128"/>
                  <a:gd name="T15" fmla="*/ 147 h 203"/>
                  <a:gd name="T16" fmla="*/ 0 w 128"/>
                  <a:gd name="T17" fmla="*/ 106 h 203"/>
                  <a:gd name="T18" fmla="*/ 4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4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6" y="132"/>
                      <a:pt x="123" y="144"/>
                    </a:cubicBezTo>
                    <a:cubicBezTo>
                      <a:pt x="120" y="157"/>
                      <a:pt x="116" y="168"/>
                      <a:pt x="110" y="176"/>
                    </a:cubicBezTo>
                    <a:cubicBezTo>
                      <a:pt x="105" y="185"/>
                      <a:pt x="98" y="192"/>
                      <a:pt x="90" y="196"/>
                    </a:cubicBezTo>
                    <a:cubicBezTo>
                      <a:pt x="82" y="201"/>
                      <a:pt x="72" y="203"/>
                      <a:pt x="62" y="203"/>
                    </a:cubicBezTo>
                    <a:cubicBezTo>
                      <a:pt x="52" y="203"/>
                      <a:pt x="43" y="201"/>
                      <a:pt x="36" y="196"/>
                    </a:cubicBezTo>
                    <a:cubicBezTo>
                      <a:pt x="28" y="192"/>
                      <a:pt x="21" y="186"/>
                      <a:pt x="16" y="178"/>
                    </a:cubicBezTo>
                    <a:cubicBezTo>
                      <a:pt x="11" y="169"/>
                      <a:pt x="7" y="159"/>
                      <a:pt x="4" y="147"/>
                    </a:cubicBezTo>
                    <a:cubicBezTo>
                      <a:pt x="1" y="135"/>
                      <a:pt x="0" y="121"/>
                      <a:pt x="0" y="106"/>
                    </a:cubicBezTo>
                    <a:cubicBezTo>
                      <a:pt x="0" y="88"/>
                      <a:pt x="1" y="73"/>
                      <a:pt x="4" y="60"/>
                    </a:cubicBezTo>
                    <a:cubicBezTo>
                      <a:pt x="7" y="47"/>
                      <a:pt x="11" y="36"/>
                      <a:pt x="17" y="27"/>
                    </a:cubicBezTo>
                    <a:cubicBezTo>
                      <a:pt x="22" y="18"/>
                      <a:pt x="29" y="12"/>
                      <a:pt x="38" y="7"/>
                    </a:cubicBezTo>
                    <a:cubicBezTo>
                      <a:pt x="46" y="2"/>
                      <a:pt x="55" y="0"/>
                      <a:pt x="66" y="0"/>
                    </a:cubicBezTo>
                    <a:cubicBezTo>
                      <a:pt x="107" y="0"/>
                      <a:pt x="128" y="34"/>
                      <a:pt x="128" y="101"/>
                    </a:cubicBezTo>
                    <a:close/>
                    <a:moveTo>
                      <a:pt x="105" y="103"/>
                    </a:moveTo>
                    <a:cubicBezTo>
                      <a:pt x="105" y="47"/>
                      <a:pt x="91" y="19"/>
                      <a:pt x="65" y="19"/>
                    </a:cubicBezTo>
                    <a:cubicBezTo>
                      <a:pt x="37" y="19"/>
                      <a:pt x="23" y="48"/>
                      <a:pt x="23" y="104"/>
                    </a:cubicBezTo>
                    <a:cubicBezTo>
                      <a:pt x="23" y="157"/>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0" name="Freeform 388"/>
              <p:cNvSpPr>
                <a:spLocks noEditPoints="1"/>
              </p:cNvSpPr>
              <p:nvPr userDrawn="1"/>
            </p:nvSpPr>
            <p:spPr bwMode="auto">
              <a:xfrm>
                <a:off x="4697" y="374"/>
                <a:ext cx="156" cy="248"/>
              </a:xfrm>
              <a:custGeom>
                <a:avLst/>
                <a:gdLst>
                  <a:gd name="T0" fmla="*/ 128 w 128"/>
                  <a:gd name="T1" fmla="*/ 101 h 203"/>
                  <a:gd name="T2" fmla="*/ 123 w 128"/>
                  <a:gd name="T3" fmla="*/ 144 h 203"/>
                  <a:gd name="T4" fmla="*/ 110 w 128"/>
                  <a:gd name="T5" fmla="*/ 176 h 203"/>
                  <a:gd name="T6" fmla="*/ 90 w 128"/>
                  <a:gd name="T7" fmla="*/ 196 h 203"/>
                  <a:gd name="T8" fmla="*/ 62 w 128"/>
                  <a:gd name="T9" fmla="*/ 203 h 203"/>
                  <a:gd name="T10" fmla="*/ 36 w 128"/>
                  <a:gd name="T11" fmla="*/ 196 h 203"/>
                  <a:gd name="T12" fmla="*/ 16 w 128"/>
                  <a:gd name="T13" fmla="*/ 178 h 203"/>
                  <a:gd name="T14" fmla="*/ 4 w 128"/>
                  <a:gd name="T15" fmla="*/ 147 h 203"/>
                  <a:gd name="T16" fmla="*/ 0 w 128"/>
                  <a:gd name="T17" fmla="*/ 106 h 203"/>
                  <a:gd name="T18" fmla="*/ 4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4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6" y="132"/>
                      <a:pt x="123" y="144"/>
                    </a:cubicBezTo>
                    <a:cubicBezTo>
                      <a:pt x="120" y="157"/>
                      <a:pt x="116" y="168"/>
                      <a:pt x="110" y="176"/>
                    </a:cubicBezTo>
                    <a:cubicBezTo>
                      <a:pt x="105" y="185"/>
                      <a:pt x="98" y="192"/>
                      <a:pt x="90" y="196"/>
                    </a:cubicBezTo>
                    <a:cubicBezTo>
                      <a:pt x="82" y="201"/>
                      <a:pt x="72" y="203"/>
                      <a:pt x="62" y="203"/>
                    </a:cubicBezTo>
                    <a:cubicBezTo>
                      <a:pt x="52" y="203"/>
                      <a:pt x="43" y="201"/>
                      <a:pt x="36" y="196"/>
                    </a:cubicBezTo>
                    <a:cubicBezTo>
                      <a:pt x="28" y="192"/>
                      <a:pt x="21" y="186"/>
                      <a:pt x="16" y="178"/>
                    </a:cubicBezTo>
                    <a:cubicBezTo>
                      <a:pt x="11" y="169"/>
                      <a:pt x="7" y="159"/>
                      <a:pt x="4" y="147"/>
                    </a:cubicBezTo>
                    <a:cubicBezTo>
                      <a:pt x="1" y="135"/>
                      <a:pt x="0" y="121"/>
                      <a:pt x="0" y="106"/>
                    </a:cubicBezTo>
                    <a:cubicBezTo>
                      <a:pt x="0" y="88"/>
                      <a:pt x="1" y="73"/>
                      <a:pt x="4" y="60"/>
                    </a:cubicBezTo>
                    <a:cubicBezTo>
                      <a:pt x="7" y="47"/>
                      <a:pt x="11" y="36"/>
                      <a:pt x="17" y="27"/>
                    </a:cubicBezTo>
                    <a:cubicBezTo>
                      <a:pt x="22" y="18"/>
                      <a:pt x="29" y="12"/>
                      <a:pt x="38" y="7"/>
                    </a:cubicBezTo>
                    <a:cubicBezTo>
                      <a:pt x="46" y="2"/>
                      <a:pt x="55" y="0"/>
                      <a:pt x="66" y="0"/>
                    </a:cubicBezTo>
                    <a:cubicBezTo>
                      <a:pt x="107" y="0"/>
                      <a:pt x="128" y="34"/>
                      <a:pt x="128" y="101"/>
                    </a:cubicBezTo>
                    <a:close/>
                    <a:moveTo>
                      <a:pt x="105" y="103"/>
                    </a:moveTo>
                    <a:cubicBezTo>
                      <a:pt x="105" y="47"/>
                      <a:pt x="91" y="19"/>
                      <a:pt x="65" y="19"/>
                    </a:cubicBezTo>
                    <a:cubicBezTo>
                      <a:pt x="37" y="19"/>
                      <a:pt x="23" y="48"/>
                      <a:pt x="23" y="104"/>
                    </a:cubicBezTo>
                    <a:cubicBezTo>
                      <a:pt x="23" y="157"/>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1" name="Freeform 389"/>
              <p:cNvSpPr>
                <a:spLocks/>
              </p:cNvSpPr>
              <p:nvPr userDrawn="1"/>
            </p:nvSpPr>
            <p:spPr bwMode="auto">
              <a:xfrm>
                <a:off x="4894" y="372"/>
                <a:ext cx="83" cy="246"/>
              </a:xfrm>
              <a:custGeom>
                <a:avLst/>
                <a:gdLst>
                  <a:gd name="T0" fmla="*/ 68 w 68"/>
                  <a:gd name="T1" fmla="*/ 201 h 201"/>
                  <a:gd name="T2" fmla="*/ 45 w 68"/>
                  <a:gd name="T3" fmla="*/ 201 h 201"/>
                  <a:gd name="T4" fmla="*/ 45 w 68"/>
                  <a:gd name="T5" fmla="*/ 31 h 201"/>
                  <a:gd name="T6" fmla="*/ 38 w 68"/>
                  <a:gd name="T7" fmla="*/ 37 h 201"/>
                  <a:gd name="T8" fmla="*/ 27 w 68"/>
                  <a:gd name="T9" fmla="*/ 44 h 201"/>
                  <a:gd name="T10" fmla="*/ 13 w 68"/>
                  <a:gd name="T11" fmla="*/ 50 h 201"/>
                  <a:gd name="T12" fmla="*/ 0 w 68"/>
                  <a:gd name="T13" fmla="*/ 54 h 201"/>
                  <a:gd name="T14" fmla="*/ 0 w 68"/>
                  <a:gd name="T15" fmla="*/ 32 h 201"/>
                  <a:gd name="T16" fmla="*/ 16 w 68"/>
                  <a:gd name="T17" fmla="*/ 26 h 201"/>
                  <a:gd name="T18" fmla="*/ 32 w 68"/>
                  <a:gd name="T19" fmla="*/ 18 h 201"/>
                  <a:gd name="T20" fmla="*/ 47 w 68"/>
                  <a:gd name="T21" fmla="*/ 9 h 201"/>
                  <a:gd name="T22" fmla="*/ 59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5" y="201"/>
                      <a:pt x="45" y="201"/>
                      <a:pt x="45" y="201"/>
                    </a:cubicBezTo>
                    <a:cubicBezTo>
                      <a:pt x="45" y="31"/>
                      <a:pt x="45" y="31"/>
                      <a:pt x="45" y="31"/>
                    </a:cubicBezTo>
                    <a:cubicBezTo>
                      <a:pt x="44" y="33"/>
                      <a:pt x="41" y="35"/>
                      <a:pt x="38" y="37"/>
                    </a:cubicBezTo>
                    <a:cubicBezTo>
                      <a:pt x="34" y="39"/>
                      <a:pt x="31" y="42"/>
                      <a:pt x="27" y="44"/>
                    </a:cubicBezTo>
                    <a:cubicBezTo>
                      <a:pt x="22" y="46"/>
                      <a:pt x="18" y="48"/>
                      <a:pt x="13" y="50"/>
                    </a:cubicBezTo>
                    <a:cubicBezTo>
                      <a:pt x="9" y="52"/>
                      <a:pt x="4" y="53"/>
                      <a:pt x="0" y="54"/>
                    </a:cubicBezTo>
                    <a:cubicBezTo>
                      <a:pt x="0" y="32"/>
                      <a:pt x="0" y="32"/>
                      <a:pt x="0" y="32"/>
                    </a:cubicBezTo>
                    <a:cubicBezTo>
                      <a:pt x="5" y="30"/>
                      <a:pt x="10" y="29"/>
                      <a:pt x="16" y="26"/>
                    </a:cubicBezTo>
                    <a:cubicBezTo>
                      <a:pt x="21" y="24"/>
                      <a:pt x="27" y="21"/>
                      <a:pt x="32" y="18"/>
                    </a:cubicBezTo>
                    <a:cubicBezTo>
                      <a:pt x="37" y="16"/>
                      <a:pt x="42" y="13"/>
                      <a:pt x="47" y="9"/>
                    </a:cubicBezTo>
                    <a:cubicBezTo>
                      <a:pt x="52" y="6"/>
                      <a:pt x="56" y="3"/>
                      <a:pt x="59"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2" name="Freeform 390"/>
              <p:cNvSpPr>
                <a:spLocks noEditPoints="1"/>
              </p:cNvSpPr>
              <p:nvPr userDrawn="1"/>
            </p:nvSpPr>
            <p:spPr bwMode="auto">
              <a:xfrm>
                <a:off x="5043" y="374"/>
                <a:ext cx="155" cy="248"/>
              </a:xfrm>
              <a:custGeom>
                <a:avLst/>
                <a:gdLst>
                  <a:gd name="T0" fmla="*/ 127 w 127"/>
                  <a:gd name="T1" fmla="*/ 101 h 203"/>
                  <a:gd name="T2" fmla="*/ 123 w 127"/>
                  <a:gd name="T3" fmla="*/ 144 h 203"/>
                  <a:gd name="T4" fmla="*/ 110 w 127"/>
                  <a:gd name="T5" fmla="*/ 176 h 203"/>
                  <a:gd name="T6" fmla="*/ 89 w 127"/>
                  <a:gd name="T7" fmla="*/ 196 h 203"/>
                  <a:gd name="T8" fmla="*/ 62 w 127"/>
                  <a:gd name="T9" fmla="*/ 203 h 203"/>
                  <a:gd name="T10" fmla="*/ 35 w 127"/>
                  <a:gd name="T11" fmla="*/ 196 h 203"/>
                  <a:gd name="T12" fmla="*/ 16 w 127"/>
                  <a:gd name="T13" fmla="*/ 178 h 203"/>
                  <a:gd name="T14" fmla="*/ 4 w 127"/>
                  <a:gd name="T15" fmla="*/ 147 h 203"/>
                  <a:gd name="T16" fmla="*/ 0 w 127"/>
                  <a:gd name="T17" fmla="*/ 106 h 203"/>
                  <a:gd name="T18" fmla="*/ 4 w 127"/>
                  <a:gd name="T19" fmla="*/ 60 h 203"/>
                  <a:gd name="T20" fmla="*/ 17 w 127"/>
                  <a:gd name="T21" fmla="*/ 27 h 203"/>
                  <a:gd name="T22" fmla="*/ 37 w 127"/>
                  <a:gd name="T23" fmla="*/ 7 h 203"/>
                  <a:gd name="T24" fmla="*/ 66 w 127"/>
                  <a:gd name="T25" fmla="*/ 0 h 203"/>
                  <a:gd name="T26" fmla="*/ 127 w 127"/>
                  <a:gd name="T27" fmla="*/ 101 h 203"/>
                  <a:gd name="T28" fmla="*/ 104 w 127"/>
                  <a:gd name="T29" fmla="*/ 103 h 203"/>
                  <a:gd name="T30" fmla="*/ 65 w 127"/>
                  <a:gd name="T31" fmla="*/ 19 h 203"/>
                  <a:gd name="T32" fmla="*/ 23 w 127"/>
                  <a:gd name="T33" fmla="*/ 104 h 203"/>
                  <a:gd name="T34" fmla="*/ 64 w 127"/>
                  <a:gd name="T35" fmla="*/ 184 h 203"/>
                  <a:gd name="T36" fmla="*/ 104 w 127"/>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7" h="203">
                    <a:moveTo>
                      <a:pt x="127" y="101"/>
                    </a:moveTo>
                    <a:cubicBezTo>
                      <a:pt x="127" y="117"/>
                      <a:pt x="126" y="132"/>
                      <a:pt x="123" y="144"/>
                    </a:cubicBezTo>
                    <a:cubicBezTo>
                      <a:pt x="120" y="157"/>
                      <a:pt x="116" y="168"/>
                      <a:pt x="110" y="176"/>
                    </a:cubicBezTo>
                    <a:cubicBezTo>
                      <a:pt x="104" y="185"/>
                      <a:pt x="98" y="192"/>
                      <a:pt x="89" y="196"/>
                    </a:cubicBezTo>
                    <a:cubicBezTo>
                      <a:pt x="81" y="201"/>
                      <a:pt x="72" y="203"/>
                      <a:pt x="62" y="203"/>
                    </a:cubicBezTo>
                    <a:cubicBezTo>
                      <a:pt x="52" y="203"/>
                      <a:pt x="43" y="201"/>
                      <a:pt x="35" y="196"/>
                    </a:cubicBezTo>
                    <a:cubicBezTo>
                      <a:pt x="28" y="192"/>
                      <a:pt x="21" y="186"/>
                      <a:pt x="16" y="178"/>
                    </a:cubicBezTo>
                    <a:cubicBezTo>
                      <a:pt x="10" y="169"/>
                      <a:pt x="6" y="159"/>
                      <a:pt x="4" y="147"/>
                    </a:cubicBezTo>
                    <a:cubicBezTo>
                      <a:pt x="1" y="135"/>
                      <a:pt x="0" y="121"/>
                      <a:pt x="0" y="106"/>
                    </a:cubicBezTo>
                    <a:cubicBezTo>
                      <a:pt x="0" y="88"/>
                      <a:pt x="1" y="73"/>
                      <a:pt x="4" y="60"/>
                    </a:cubicBezTo>
                    <a:cubicBezTo>
                      <a:pt x="7" y="47"/>
                      <a:pt x="11" y="36"/>
                      <a:pt x="17" y="27"/>
                    </a:cubicBezTo>
                    <a:cubicBezTo>
                      <a:pt x="22" y="18"/>
                      <a:pt x="29" y="12"/>
                      <a:pt x="37" y="7"/>
                    </a:cubicBezTo>
                    <a:cubicBezTo>
                      <a:pt x="46" y="2"/>
                      <a:pt x="55" y="0"/>
                      <a:pt x="66" y="0"/>
                    </a:cubicBezTo>
                    <a:cubicBezTo>
                      <a:pt x="107" y="0"/>
                      <a:pt x="127" y="34"/>
                      <a:pt x="127" y="101"/>
                    </a:cubicBezTo>
                    <a:close/>
                    <a:moveTo>
                      <a:pt x="104" y="103"/>
                    </a:moveTo>
                    <a:cubicBezTo>
                      <a:pt x="104" y="47"/>
                      <a:pt x="91" y="19"/>
                      <a:pt x="65" y="19"/>
                    </a:cubicBezTo>
                    <a:cubicBezTo>
                      <a:pt x="37" y="19"/>
                      <a:pt x="23" y="48"/>
                      <a:pt x="23" y="104"/>
                    </a:cubicBezTo>
                    <a:cubicBezTo>
                      <a:pt x="23" y="157"/>
                      <a:pt x="36" y="184"/>
                      <a:pt x="64" y="184"/>
                    </a:cubicBezTo>
                    <a:cubicBezTo>
                      <a:pt x="91" y="184"/>
                      <a:pt x="104" y="157"/>
                      <a:pt x="104"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3" name="Freeform 391"/>
              <p:cNvSpPr>
                <a:spLocks/>
              </p:cNvSpPr>
              <p:nvPr userDrawn="1"/>
            </p:nvSpPr>
            <p:spPr bwMode="auto">
              <a:xfrm>
                <a:off x="5241" y="372"/>
                <a:ext cx="82" cy="246"/>
              </a:xfrm>
              <a:custGeom>
                <a:avLst/>
                <a:gdLst>
                  <a:gd name="T0" fmla="*/ 68 w 68"/>
                  <a:gd name="T1" fmla="*/ 201 h 201"/>
                  <a:gd name="T2" fmla="*/ 45 w 68"/>
                  <a:gd name="T3" fmla="*/ 201 h 201"/>
                  <a:gd name="T4" fmla="*/ 45 w 68"/>
                  <a:gd name="T5" fmla="*/ 31 h 201"/>
                  <a:gd name="T6" fmla="*/ 38 w 68"/>
                  <a:gd name="T7" fmla="*/ 37 h 201"/>
                  <a:gd name="T8" fmla="*/ 26 w 68"/>
                  <a:gd name="T9" fmla="*/ 44 h 201"/>
                  <a:gd name="T10" fmla="*/ 13 w 68"/>
                  <a:gd name="T11" fmla="*/ 50 h 201"/>
                  <a:gd name="T12" fmla="*/ 0 w 68"/>
                  <a:gd name="T13" fmla="*/ 54 h 201"/>
                  <a:gd name="T14" fmla="*/ 0 w 68"/>
                  <a:gd name="T15" fmla="*/ 32 h 201"/>
                  <a:gd name="T16" fmla="*/ 15 w 68"/>
                  <a:gd name="T17" fmla="*/ 26 h 201"/>
                  <a:gd name="T18" fmla="*/ 32 w 68"/>
                  <a:gd name="T19" fmla="*/ 18 h 201"/>
                  <a:gd name="T20" fmla="*/ 47 w 68"/>
                  <a:gd name="T21" fmla="*/ 9 h 201"/>
                  <a:gd name="T22" fmla="*/ 59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5" y="201"/>
                      <a:pt x="45" y="201"/>
                      <a:pt x="45" y="201"/>
                    </a:cubicBezTo>
                    <a:cubicBezTo>
                      <a:pt x="45" y="31"/>
                      <a:pt x="45" y="31"/>
                      <a:pt x="45" y="31"/>
                    </a:cubicBezTo>
                    <a:cubicBezTo>
                      <a:pt x="43" y="33"/>
                      <a:pt x="41" y="35"/>
                      <a:pt x="38" y="37"/>
                    </a:cubicBezTo>
                    <a:cubicBezTo>
                      <a:pt x="34" y="39"/>
                      <a:pt x="30" y="42"/>
                      <a:pt x="26" y="44"/>
                    </a:cubicBezTo>
                    <a:cubicBezTo>
                      <a:pt x="22" y="46"/>
                      <a:pt x="18" y="48"/>
                      <a:pt x="13" y="50"/>
                    </a:cubicBezTo>
                    <a:cubicBezTo>
                      <a:pt x="9" y="52"/>
                      <a:pt x="4" y="53"/>
                      <a:pt x="0" y="54"/>
                    </a:cubicBezTo>
                    <a:cubicBezTo>
                      <a:pt x="0" y="32"/>
                      <a:pt x="0" y="32"/>
                      <a:pt x="0" y="32"/>
                    </a:cubicBezTo>
                    <a:cubicBezTo>
                      <a:pt x="5" y="30"/>
                      <a:pt x="10" y="29"/>
                      <a:pt x="15" y="26"/>
                    </a:cubicBezTo>
                    <a:cubicBezTo>
                      <a:pt x="21" y="24"/>
                      <a:pt x="26" y="21"/>
                      <a:pt x="32" y="18"/>
                    </a:cubicBezTo>
                    <a:cubicBezTo>
                      <a:pt x="37" y="16"/>
                      <a:pt x="42" y="13"/>
                      <a:pt x="47" y="9"/>
                    </a:cubicBezTo>
                    <a:cubicBezTo>
                      <a:pt x="51" y="6"/>
                      <a:pt x="56" y="3"/>
                      <a:pt x="59"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4" name="Freeform 392"/>
              <p:cNvSpPr>
                <a:spLocks/>
              </p:cNvSpPr>
              <p:nvPr userDrawn="1"/>
            </p:nvSpPr>
            <p:spPr bwMode="auto">
              <a:xfrm>
                <a:off x="5389" y="372"/>
                <a:ext cx="83" cy="246"/>
              </a:xfrm>
              <a:custGeom>
                <a:avLst/>
                <a:gdLst>
                  <a:gd name="T0" fmla="*/ 68 w 68"/>
                  <a:gd name="T1" fmla="*/ 201 h 201"/>
                  <a:gd name="T2" fmla="*/ 46 w 68"/>
                  <a:gd name="T3" fmla="*/ 201 h 201"/>
                  <a:gd name="T4" fmla="*/ 46 w 68"/>
                  <a:gd name="T5" fmla="*/ 31 h 201"/>
                  <a:gd name="T6" fmla="*/ 38 w 68"/>
                  <a:gd name="T7" fmla="*/ 37 h 201"/>
                  <a:gd name="T8" fmla="*/ 27 w 68"/>
                  <a:gd name="T9" fmla="*/ 44 h 201"/>
                  <a:gd name="T10" fmla="*/ 14 w 68"/>
                  <a:gd name="T11" fmla="*/ 50 h 201"/>
                  <a:gd name="T12" fmla="*/ 0 w 68"/>
                  <a:gd name="T13" fmla="*/ 54 h 201"/>
                  <a:gd name="T14" fmla="*/ 0 w 68"/>
                  <a:gd name="T15" fmla="*/ 32 h 201"/>
                  <a:gd name="T16" fmla="*/ 16 w 68"/>
                  <a:gd name="T17" fmla="*/ 26 h 201"/>
                  <a:gd name="T18" fmla="*/ 32 w 68"/>
                  <a:gd name="T19" fmla="*/ 18 h 201"/>
                  <a:gd name="T20" fmla="*/ 47 w 68"/>
                  <a:gd name="T21" fmla="*/ 9 h 201"/>
                  <a:gd name="T22" fmla="*/ 60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6" y="201"/>
                      <a:pt x="46" y="201"/>
                      <a:pt x="46" y="201"/>
                    </a:cubicBezTo>
                    <a:cubicBezTo>
                      <a:pt x="46" y="31"/>
                      <a:pt x="46" y="31"/>
                      <a:pt x="46" y="31"/>
                    </a:cubicBezTo>
                    <a:cubicBezTo>
                      <a:pt x="44" y="33"/>
                      <a:pt x="41" y="35"/>
                      <a:pt x="38" y="37"/>
                    </a:cubicBezTo>
                    <a:cubicBezTo>
                      <a:pt x="35" y="39"/>
                      <a:pt x="31" y="42"/>
                      <a:pt x="27" y="44"/>
                    </a:cubicBezTo>
                    <a:cubicBezTo>
                      <a:pt x="23" y="46"/>
                      <a:pt x="18" y="48"/>
                      <a:pt x="14" y="50"/>
                    </a:cubicBezTo>
                    <a:cubicBezTo>
                      <a:pt x="9" y="52"/>
                      <a:pt x="5" y="53"/>
                      <a:pt x="0" y="54"/>
                    </a:cubicBezTo>
                    <a:cubicBezTo>
                      <a:pt x="0" y="32"/>
                      <a:pt x="0" y="32"/>
                      <a:pt x="0" y="32"/>
                    </a:cubicBezTo>
                    <a:cubicBezTo>
                      <a:pt x="5" y="30"/>
                      <a:pt x="10" y="29"/>
                      <a:pt x="16" y="26"/>
                    </a:cubicBezTo>
                    <a:cubicBezTo>
                      <a:pt x="21" y="24"/>
                      <a:pt x="27" y="21"/>
                      <a:pt x="32" y="18"/>
                    </a:cubicBezTo>
                    <a:cubicBezTo>
                      <a:pt x="38" y="16"/>
                      <a:pt x="43" y="13"/>
                      <a:pt x="47" y="9"/>
                    </a:cubicBezTo>
                    <a:cubicBezTo>
                      <a:pt x="52" y="6"/>
                      <a:pt x="56" y="3"/>
                      <a:pt x="60"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5" name="Freeform 393"/>
              <p:cNvSpPr>
                <a:spLocks/>
              </p:cNvSpPr>
              <p:nvPr userDrawn="1"/>
            </p:nvSpPr>
            <p:spPr bwMode="auto">
              <a:xfrm>
                <a:off x="5539" y="372"/>
                <a:ext cx="83" cy="246"/>
              </a:xfrm>
              <a:custGeom>
                <a:avLst/>
                <a:gdLst>
                  <a:gd name="T0" fmla="*/ 68 w 68"/>
                  <a:gd name="T1" fmla="*/ 201 h 201"/>
                  <a:gd name="T2" fmla="*/ 45 w 68"/>
                  <a:gd name="T3" fmla="*/ 201 h 201"/>
                  <a:gd name="T4" fmla="*/ 45 w 68"/>
                  <a:gd name="T5" fmla="*/ 31 h 201"/>
                  <a:gd name="T6" fmla="*/ 38 w 68"/>
                  <a:gd name="T7" fmla="*/ 37 h 201"/>
                  <a:gd name="T8" fmla="*/ 26 w 68"/>
                  <a:gd name="T9" fmla="*/ 44 h 201"/>
                  <a:gd name="T10" fmla="*/ 13 w 68"/>
                  <a:gd name="T11" fmla="*/ 50 h 201"/>
                  <a:gd name="T12" fmla="*/ 0 w 68"/>
                  <a:gd name="T13" fmla="*/ 54 h 201"/>
                  <a:gd name="T14" fmla="*/ 0 w 68"/>
                  <a:gd name="T15" fmla="*/ 32 h 201"/>
                  <a:gd name="T16" fmla="*/ 15 w 68"/>
                  <a:gd name="T17" fmla="*/ 26 h 201"/>
                  <a:gd name="T18" fmla="*/ 32 w 68"/>
                  <a:gd name="T19" fmla="*/ 18 h 201"/>
                  <a:gd name="T20" fmla="*/ 47 w 68"/>
                  <a:gd name="T21" fmla="*/ 9 h 201"/>
                  <a:gd name="T22" fmla="*/ 59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5" y="201"/>
                      <a:pt x="45" y="201"/>
                      <a:pt x="45" y="201"/>
                    </a:cubicBezTo>
                    <a:cubicBezTo>
                      <a:pt x="45" y="31"/>
                      <a:pt x="45" y="31"/>
                      <a:pt x="45" y="31"/>
                    </a:cubicBezTo>
                    <a:cubicBezTo>
                      <a:pt x="43" y="33"/>
                      <a:pt x="41" y="35"/>
                      <a:pt x="38" y="37"/>
                    </a:cubicBezTo>
                    <a:cubicBezTo>
                      <a:pt x="34" y="39"/>
                      <a:pt x="31" y="42"/>
                      <a:pt x="26" y="44"/>
                    </a:cubicBezTo>
                    <a:cubicBezTo>
                      <a:pt x="22" y="46"/>
                      <a:pt x="18" y="48"/>
                      <a:pt x="13" y="50"/>
                    </a:cubicBezTo>
                    <a:cubicBezTo>
                      <a:pt x="9" y="52"/>
                      <a:pt x="4" y="53"/>
                      <a:pt x="0" y="54"/>
                    </a:cubicBezTo>
                    <a:cubicBezTo>
                      <a:pt x="0" y="32"/>
                      <a:pt x="0" y="32"/>
                      <a:pt x="0" y="32"/>
                    </a:cubicBezTo>
                    <a:cubicBezTo>
                      <a:pt x="5" y="30"/>
                      <a:pt x="10" y="29"/>
                      <a:pt x="15" y="26"/>
                    </a:cubicBezTo>
                    <a:cubicBezTo>
                      <a:pt x="21" y="24"/>
                      <a:pt x="26" y="21"/>
                      <a:pt x="32" y="18"/>
                    </a:cubicBezTo>
                    <a:cubicBezTo>
                      <a:pt x="37" y="16"/>
                      <a:pt x="42" y="13"/>
                      <a:pt x="47" y="9"/>
                    </a:cubicBezTo>
                    <a:cubicBezTo>
                      <a:pt x="52" y="6"/>
                      <a:pt x="56" y="3"/>
                      <a:pt x="59"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6" name="Freeform 394"/>
              <p:cNvSpPr>
                <a:spLocks noEditPoints="1"/>
              </p:cNvSpPr>
              <p:nvPr userDrawn="1"/>
            </p:nvSpPr>
            <p:spPr bwMode="auto">
              <a:xfrm>
                <a:off x="5687" y="374"/>
                <a:ext cx="156" cy="248"/>
              </a:xfrm>
              <a:custGeom>
                <a:avLst/>
                <a:gdLst>
                  <a:gd name="T0" fmla="*/ 128 w 128"/>
                  <a:gd name="T1" fmla="*/ 101 h 203"/>
                  <a:gd name="T2" fmla="*/ 124 w 128"/>
                  <a:gd name="T3" fmla="*/ 144 h 203"/>
                  <a:gd name="T4" fmla="*/ 111 w 128"/>
                  <a:gd name="T5" fmla="*/ 176 h 203"/>
                  <a:gd name="T6" fmla="*/ 90 w 128"/>
                  <a:gd name="T7" fmla="*/ 196 h 203"/>
                  <a:gd name="T8" fmla="*/ 62 w 128"/>
                  <a:gd name="T9" fmla="*/ 203 h 203"/>
                  <a:gd name="T10" fmla="*/ 36 w 128"/>
                  <a:gd name="T11" fmla="*/ 196 h 203"/>
                  <a:gd name="T12" fmla="*/ 17 w 128"/>
                  <a:gd name="T13" fmla="*/ 178 h 203"/>
                  <a:gd name="T14" fmla="*/ 5 w 128"/>
                  <a:gd name="T15" fmla="*/ 147 h 203"/>
                  <a:gd name="T16" fmla="*/ 0 w 128"/>
                  <a:gd name="T17" fmla="*/ 106 h 203"/>
                  <a:gd name="T18" fmla="*/ 5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4 h 203"/>
                  <a:gd name="T34" fmla="*/ 65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7" y="132"/>
                      <a:pt x="124" y="144"/>
                    </a:cubicBezTo>
                    <a:cubicBezTo>
                      <a:pt x="121" y="157"/>
                      <a:pt x="116" y="168"/>
                      <a:pt x="111" y="176"/>
                    </a:cubicBezTo>
                    <a:cubicBezTo>
                      <a:pt x="105" y="185"/>
                      <a:pt x="98" y="192"/>
                      <a:pt x="90" y="196"/>
                    </a:cubicBezTo>
                    <a:cubicBezTo>
                      <a:pt x="82" y="201"/>
                      <a:pt x="73" y="203"/>
                      <a:pt x="62" y="203"/>
                    </a:cubicBezTo>
                    <a:cubicBezTo>
                      <a:pt x="53" y="203"/>
                      <a:pt x="44" y="201"/>
                      <a:pt x="36" y="196"/>
                    </a:cubicBezTo>
                    <a:cubicBezTo>
                      <a:pt x="28" y="192"/>
                      <a:pt x="22" y="186"/>
                      <a:pt x="17" y="178"/>
                    </a:cubicBezTo>
                    <a:cubicBezTo>
                      <a:pt x="11" y="169"/>
                      <a:pt x="7" y="159"/>
                      <a:pt x="5" y="147"/>
                    </a:cubicBezTo>
                    <a:cubicBezTo>
                      <a:pt x="2" y="135"/>
                      <a:pt x="0" y="121"/>
                      <a:pt x="0" y="106"/>
                    </a:cubicBezTo>
                    <a:cubicBezTo>
                      <a:pt x="0" y="88"/>
                      <a:pt x="2" y="73"/>
                      <a:pt x="5" y="60"/>
                    </a:cubicBezTo>
                    <a:cubicBezTo>
                      <a:pt x="8" y="47"/>
                      <a:pt x="12" y="36"/>
                      <a:pt x="17" y="27"/>
                    </a:cubicBezTo>
                    <a:cubicBezTo>
                      <a:pt x="23" y="18"/>
                      <a:pt x="30" y="12"/>
                      <a:pt x="38" y="7"/>
                    </a:cubicBezTo>
                    <a:cubicBezTo>
                      <a:pt x="46" y="2"/>
                      <a:pt x="56" y="0"/>
                      <a:pt x="66" y="0"/>
                    </a:cubicBezTo>
                    <a:cubicBezTo>
                      <a:pt x="108" y="0"/>
                      <a:pt x="128" y="34"/>
                      <a:pt x="128" y="101"/>
                    </a:cubicBezTo>
                    <a:close/>
                    <a:moveTo>
                      <a:pt x="105" y="103"/>
                    </a:moveTo>
                    <a:cubicBezTo>
                      <a:pt x="105" y="47"/>
                      <a:pt x="92" y="19"/>
                      <a:pt x="65" y="19"/>
                    </a:cubicBezTo>
                    <a:cubicBezTo>
                      <a:pt x="37" y="19"/>
                      <a:pt x="23" y="48"/>
                      <a:pt x="23" y="104"/>
                    </a:cubicBezTo>
                    <a:cubicBezTo>
                      <a:pt x="23" y="157"/>
                      <a:pt x="37" y="184"/>
                      <a:pt x="65" y="184"/>
                    </a:cubicBezTo>
                    <a:cubicBezTo>
                      <a:pt x="92"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7" name="Freeform 395"/>
              <p:cNvSpPr>
                <a:spLocks/>
              </p:cNvSpPr>
              <p:nvPr userDrawn="1"/>
            </p:nvSpPr>
            <p:spPr bwMode="auto">
              <a:xfrm>
                <a:off x="5877" y="379"/>
                <a:ext cx="78" cy="293"/>
              </a:xfrm>
              <a:custGeom>
                <a:avLst/>
                <a:gdLst>
                  <a:gd name="T0" fmla="*/ 64 w 64"/>
                  <a:gd name="T1" fmla="*/ 240 h 240"/>
                  <a:gd name="T2" fmla="*/ 22 w 64"/>
                  <a:gd name="T3" fmla="*/ 198 h 240"/>
                  <a:gd name="T4" fmla="*/ 22 w 64"/>
                  <a:gd name="T5" fmla="*/ 157 h 240"/>
                  <a:gd name="T6" fmla="*/ 0 w 64"/>
                  <a:gd name="T7" fmla="*/ 128 h 240"/>
                  <a:gd name="T8" fmla="*/ 0 w 64"/>
                  <a:gd name="T9" fmla="*/ 112 h 240"/>
                  <a:gd name="T10" fmla="*/ 22 w 64"/>
                  <a:gd name="T11" fmla="*/ 82 h 240"/>
                  <a:gd name="T12" fmla="*/ 22 w 64"/>
                  <a:gd name="T13" fmla="*/ 42 h 240"/>
                  <a:gd name="T14" fmla="*/ 64 w 64"/>
                  <a:gd name="T15" fmla="*/ 0 h 240"/>
                  <a:gd name="T16" fmla="*/ 64 w 64"/>
                  <a:gd name="T17" fmla="*/ 17 h 240"/>
                  <a:gd name="T18" fmla="*/ 42 w 64"/>
                  <a:gd name="T19" fmla="*/ 44 h 240"/>
                  <a:gd name="T20" fmla="*/ 42 w 64"/>
                  <a:gd name="T21" fmla="*/ 84 h 240"/>
                  <a:gd name="T22" fmla="*/ 21 w 64"/>
                  <a:gd name="T23" fmla="*/ 119 h 240"/>
                  <a:gd name="T24" fmla="*/ 21 w 64"/>
                  <a:gd name="T25" fmla="*/ 120 h 240"/>
                  <a:gd name="T26" fmla="*/ 42 w 64"/>
                  <a:gd name="T27" fmla="*/ 155 h 240"/>
                  <a:gd name="T28" fmla="*/ 42 w 64"/>
                  <a:gd name="T29" fmla="*/ 194 h 240"/>
                  <a:gd name="T30" fmla="*/ 47 w 64"/>
                  <a:gd name="T31" fmla="*/ 216 h 240"/>
                  <a:gd name="T32" fmla="*/ 64 w 64"/>
                  <a:gd name="T33" fmla="*/ 223 h 240"/>
                  <a:gd name="T34" fmla="*/ 64 w 64"/>
                  <a:gd name="T35" fmla="*/ 240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4" h="240">
                    <a:moveTo>
                      <a:pt x="64" y="240"/>
                    </a:moveTo>
                    <a:cubicBezTo>
                      <a:pt x="36" y="240"/>
                      <a:pt x="22" y="226"/>
                      <a:pt x="22" y="198"/>
                    </a:cubicBezTo>
                    <a:cubicBezTo>
                      <a:pt x="22" y="157"/>
                      <a:pt x="22" y="157"/>
                      <a:pt x="22" y="157"/>
                    </a:cubicBezTo>
                    <a:cubicBezTo>
                      <a:pt x="22" y="138"/>
                      <a:pt x="14" y="129"/>
                      <a:pt x="0" y="128"/>
                    </a:cubicBezTo>
                    <a:cubicBezTo>
                      <a:pt x="0" y="112"/>
                      <a:pt x="0" y="112"/>
                      <a:pt x="0" y="112"/>
                    </a:cubicBezTo>
                    <a:cubicBezTo>
                      <a:pt x="14" y="111"/>
                      <a:pt x="22" y="101"/>
                      <a:pt x="22" y="82"/>
                    </a:cubicBezTo>
                    <a:cubicBezTo>
                      <a:pt x="22" y="42"/>
                      <a:pt x="22" y="42"/>
                      <a:pt x="22" y="42"/>
                    </a:cubicBezTo>
                    <a:cubicBezTo>
                      <a:pt x="22" y="14"/>
                      <a:pt x="36" y="0"/>
                      <a:pt x="64" y="0"/>
                    </a:cubicBezTo>
                    <a:cubicBezTo>
                      <a:pt x="64" y="17"/>
                      <a:pt x="64" y="17"/>
                      <a:pt x="64" y="17"/>
                    </a:cubicBezTo>
                    <a:cubicBezTo>
                      <a:pt x="49" y="17"/>
                      <a:pt x="42" y="26"/>
                      <a:pt x="42" y="44"/>
                    </a:cubicBezTo>
                    <a:cubicBezTo>
                      <a:pt x="42" y="84"/>
                      <a:pt x="42" y="84"/>
                      <a:pt x="42" y="84"/>
                    </a:cubicBezTo>
                    <a:cubicBezTo>
                      <a:pt x="42" y="103"/>
                      <a:pt x="35" y="115"/>
                      <a:pt x="21" y="119"/>
                    </a:cubicBezTo>
                    <a:cubicBezTo>
                      <a:pt x="21" y="120"/>
                      <a:pt x="21" y="120"/>
                      <a:pt x="21" y="120"/>
                    </a:cubicBezTo>
                    <a:cubicBezTo>
                      <a:pt x="35" y="124"/>
                      <a:pt x="42" y="136"/>
                      <a:pt x="42" y="155"/>
                    </a:cubicBezTo>
                    <a:cubicBezTo>
                      <a:pt x="42" y="194"/>
                      <a:pt x="42" y="194"/>
                      <a:pt x="42" y="194"/>
                    </a:cubicBezTo>
                    <a:cubicBezTo>
                      <a:pt x="42" y="205"/>
                      <a:pt x="43" y="212"/>
                      <a:pt x="47" y="216"/>
                    </a:cubicBezTo>
                    <a:cubicBezTo>
                      <a:pt x="50" y="220"/>
                      <a:pt x="55" y="223"/>
                      <a:pt x="64" y="223"/>
                    </a:cubicBezTo>
                    <a:lnTo>
                      <a:pt x="64" y="2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8" name="Freeform 396"/>
              <p:cNvSpPr>
                <a:spLocks/>
              </p:cNvSpPr>
              <p:nvPr userDrawn="1"/>
            </p:nvSpPr>
            <p:spPr bwMode="auto">
              <a:xfrm>
                <a:off x="5985" y="379"/>
                <a:ext cx="77" cy="293"/>
              </a:xfrm>
              <a:custGeom>
                <a:avLst/>
                <a:gdLst>
                  <a:gd name="T0" fmla="*/ 63 w 63"/>
                  <a:gd name="T1" fmla="*/ 128 h 240"/>
                  <a:gd name="T2" fmla="*/ 41 w 63"/>
                  <a:gd name="T3" fmla="*/ 157 h 240"/>
                  <a:gd name="T4" fmla="*/ 41 w 63"/>
                  <a:gd name="T5" fmla="*/ 198 h 240"/>
                  <a:gd name="T6" fmla="*/ 0 w 63"/>
                  <a:gd name="T7" fmla="*/ 240 h 240"/>
                  <a:gd name="T8" fmla="*/ 0 w 63"/>
                  <a:gd name="T9" fmla="*/ 223 h 240"/>
                  <a:gd name="T10" fmla="*/ 16 w 63"/>
                  <a:gd name="T11" fmla="*/ 216 h 240"/>
                  <a:gd name="T12" fmla="*/ 21 w 63"/>
                  <a:gd name="T13" fmla="*/ 194 h 240"/>
                  <a:gd name="T14" fmla="*/ 21 w 63"/>
                  <a:gd name="T15" fmla="*/ 155 h 240"/>
                  <a:gd name="T16" fmla="*/ 42 w 63"/>
                  <a:gd name="T17" fmla="*/ 120 h 240"/>
                  <a:gd name="T18" fmla="*/ 42 w 63"/>
                  <a:gd name="T19" fmla="*/ 119 h 240"/>
                  <a:gd name="T20" fmla="*/ 21 w 63"/>
                  <a:gd name="T21" fmla="*/ 84 h 240"/>
                  <a:gd name="T22" fmla="*/ 21 w 63"/>
                  <a:gd name="T23" fmla="*/ 44 h 240"/>
                  <a:gd name="T24" fmla="*/ 0 w 63"/>
                  <a:gd name="T25" fmla="*/ 17 h 240"/>
                  <a:gd name="T26" fmla="*/ 0 w 63"/>
                  <a:gd name="T27" fmla="*/ 0 h 240"/>
                  <a:gd name="T28" fmla="*/ 41 w 63"/>
                  <a:gd name="T29" fmla="*/ 42 h 240"/>
                  <a:gd name="T30" fmla="*/ 41 w 63"/>
                  <a:gd name="T31" fmla="*/ 82 h 240"/>
                  <a:gd name="T32" fmla="*/ 63 w 63"/>
                  <a:gd name="T33" fmla="*/ 112 h 240"/>
                  <a:gd name="T34" fmla="*/ 63 w 63"/>
                  <a:gd name="T35" fmla="*/ 128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3" h="240">
                    <a:moveTo>
                      <a:pt x="63" y="128"/>
                    </a:moveTo>
                    <a:cubicBezTo>
                      <a:pt x="49" y="129"/>
                      <a:pt x="41" y="138"/>
                      <a:pt x="41" y="157"/>
                    </a:cubicBezTo>
                    <a:cubicBezTo>
                      <a:pt x="41" y="198"/>
                      <a:pt x="41" y="198"/>
                      <a:pt x="41" y="198"/>
                    </a:cubicBezTo>
                    <a:cubicBezTo>
                      <a:pt x="41" y="226"/>
                      <a:pt x="27" y="240"/>
                      <a:pt x="0" y="240"/>
                    </a:cubicBezTo>
                    <a:cubicBezTo>
                      <a:pt x="0" y="223"/>
                      <a:pt x="0" y="223"/>
                      <a:pt x="0" y="223"/>
                    </a:cubicBezTo>
                    <a:cubicBezTo>
                      <a:pt x="8" y="223"/>
                      <a:pt x="13" y="220"/>
                      <a:pt x="16" y="216"/>
                    </a:cubicBezTo>
                    <a:cubicBezTo>
                      <a:pt x="20" y="212"/>
                      <a:pt x="21" y="204"/>
                      <a:pt x="21" y="194"/>
                    </a:cubicBezTo>
                    <a:cubicBezTo>
                      <a:pt x="21" y="155"/>
                      <a:pt x="21" y="155"/>
                      <a:pt x="21" y="155"/>
                    </a:cubicBezTo>
                    <a:cubicBezTo>
                      <a:pt x="21" y="136"/>
                      <a:pt x="28" y="124"/>
                      <a:pt x="42" y="120"/>
                    </a:cubicBezTo>
                    <a:cubicBezTo>
                      <a:pt x="42" y="119"/>
                      <a:pt x="42" y="119"/>
                      <a:pt x="42" y="119"/>
                    </a:cubicBezTo>
                    <a:cubicBezTo>
                      <a:pt x="28" y="115"/>
                      <a:pt x="21" y="103"/>
                      <a:pt x="21" y="84"/>
                    </a:cubicBezTo>
                    <a:cubicBezTo>
                      <a:pt x="21" y="44"/>
                      <a:pt x="21" y="44"/>
                      <a:pt x="21" y="44"/>
                    </a:cubicBezTo>
                    <a:cubicBezTo>
                      <a:pt x="21" y="26"/>
                      <a:pt x="14" y="17"/>
                      <a:pt x="0" y="17"/>
                    </a:cubicBezTo>
                    <a:cubicBezTo>
                      <a:pt x="0" y="0"/>
                      <a:pt x="0" y="0"/>
                      <a:pt x="0" y="0"/>
                    </a:cubicBezTo>
                    <a:cubicBezTo>
                      <a:pt x="27" y="0"/>
                      <a:pt x="41" y="14"/>
                      <a:pt x="41" y="42"/>
                    </a:cubicBezTo>
                    <a:cubicBezTo>
                      <a:pt x="41" y="82"/>
                      <a:pt x="41" y="82"/>
                      <a:pt x="41" y="82"/>
                    </a:cubicBezTo>
                    <a:cubicBezTo>
                      <a:pt x="41" y="101"/>
                      <a:pt x="49" y="111"/>
                      <a:pt x="63" y="112"/>
                    </a:cubicBezTo>
                    <a:lnTo>
                      <a:pt x="63" y="1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9" name="Freeform 397"/>
              <p:cNvSpPr>
                <a:spLocks/>
              </p:cNvSpPr>
              <p:nvPr userDrawn="1"/>
            </p:nvSpPr>
            <p:spPr bwMode="auto">
              <a:xfrm>
                <a:off x="6092" y="372"/>
                <a:ext cx="83" cy="246"/>
              </a:xfrm>
              <a:custGeom>
                <a:avLst/>
                <a:gdLst>
                  <a:gd name="T0" fmla="*/ 68 w 68"/>
                  <a:gd name="T1" fmla="*/ 201 h 201"/>
                  <a:gd name="T2" fmla="*/ 45 w 68"/>
                  <a:gd name="T3" fmla="*/ 201 h 201"/>
                  <a:gd name="T4" fmla="*/ 45 w 68"/>
                  <a:gd name="T5" fmla="*/ 31 h 201"/>
                  <a:gd name="T6" fmla="*/ 38 w 68"/>
                  <a:gd name="T7" fmla="*/ 37 h 201"/>
                  <a:gd name="T8" fmla="*/ 26 w 68"/>
                  <a:gd name="T9" fmla="*/ 44 h 201"/>
                  <a:gd name="T10" fmla="*/ 13 w 68"/>
                  <a:gd name="T11" fmla="*/ 50 h 201"/>
                  <a:gd name="T12" fmla="*/ 0 w 68"/>
                  <a:gd name="T13" fmla="*/ 54 h 201"/>
                  <a:gd name="T14" fmla="*/ 0 w 68"/>
                  <a:gd name="T15" fmla="*/ 32 h 201"/>
                  <a:gd name="T16" fmla="*/ 16 w 68"/>
                  <a:gd name="T17" fmla="*/ 26 h 201"/>
                  <a:gd name="T18" fmla="*/ 32 w 68"/>
                  <a:gd name="T19" fmla="*/ 18 h 201"/>
                  <a:gd name="T20" fmla="*/ 47 w 68"/>
                  <a:gd name="T21" fmla="*/ 9 h 201"/>
                  <a:gd name="T22" fmla="*/ 59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5" y="201"/>
                      <a:pt x="45" y="201"/>
                      <a:pt x="45" y="201"/>
                    </a:cubicBezTo>
                    <a:cubicBezTo>
                      <a:pt x="45" y="31"/>
                      <a:pt x="45" y="31"/>
                      <a:pt x="45" y="31"/>
                    </a:cubicBezTo>
                    <a:cubicBezTo>
                      <a:pt x="44" y="33"/>
                      <a:pt x="41" y="35"/>
                      <a:pt x="38" y="37"/>
                    </a:cubicBezTo>
                    <a:cubicBezTo>
                      <a:pt x="34" y="39"/>
                      <a:pt x="31" y="42"/>
                      <a:pt x="26" y="44"/>
                    </a:cubicBezTo>
                    <a:cubicBezTo>
                      <a:pt x="22" y="46"/>
                      <a:pt x="18" y="48"/>
                      <a:pt x="13" y="50"/>
                    </a:cubicBezTo>
                    <a:cubicBezTo>
                      <a:pt x="9" y="52"/>
                      <a:pt x="4" y="53"/>
                      <a:pt x="0" y="54"/>
                    </a:cubicBezTo>
                    <a:cubicBezTo>
                      <a:pt x="0" y="32"/>
                      <a:pt x="0" y="32"/>
                      <a:pt x="0" y="32"/>
                    </a:cubicBezTo>
                    <a:cubicBezTo>
                      <a:pt x="5" y="30"/>
                      <a:pt x="10" y="29"/>
                      <a:pt x="16" y="26"/>
                    </a:cubicBezTo>
                    <a:cubicBezTo>
                      <a:pt x="21" y="24"/>
                      <a:pt x="26" y="21"/>
                      <a:pt x="32" y="18"/>
                    </a:cubicBezTo>
                    <a:cubicBezTo>
                      <a:pt x="37" y="16"/>
                      <a:pt x="42" y="13"/>
                      <a:pt x="47" y="9"/>
                    </a:cubicBezTo>
                    <a:cubicBezTo>
                      <a:pt x="52" y="6"/>
                      <a:pt x="56" y="3"/>
                      <a:pt x="59"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0" name="Freeform 398"/>
              <p:cNvSpPr>
                <a:spLocks noEditPoints="1"/>
              </p:cNvSpPr>
              <p:nvPr userDrawn="1"/>
            </p:nvSpPr>
            <p:spPr bwMode="auto">
              <a:xfrm>
                <a:off x="6240" y="374"/>
                <a:ext cx="156" cy="248"/>
              </a:xfrm>
              <a:custGeom>
                <a:avLst/>
                <a:gdLst>
                  <a:gd name="T0" fmla="*/ 128 w 128"/>
                  <a:gd name="T1" fmla="*/ 101 h 203"/>
                  <a:gd name="T2" fmla="*/ 124 w 128"/>
                  <a:gd name="T3" fmla="*/ 144 h 203"/>
                  <a:gd name="T4" fmla="*/ 111 w 128"/>
                  <a:gd name="T5" fmla="*/ 176 h 203"/>
                  <a:gd name="T6" fmla="*/ 90 w 128"/>
                  <a:gd name="T7" fmla="*/ 196 h 203"/>
                  <a:gd name="T8" fmla="*/ 62 w 128"/>
                  <a:gd name="T9" fmla="*/ 203 h 203"/>
                  <a:gd name="T10" fmla="*/ 36 w 128"/>
                  <a:gd name="T11" fmla="*/ 196 h 203"/>
                  <a:gd name="T12" fmla="*/ 17 w 128"/>
                  <a:gd name="T13" fmla="*/ 178 h 203"/>
                  <a:gd name="T14" fmla="*/ 5 w 128"/>
                  <a:gd name="T15" fmla="*/ 147 h 203"/>
                  <a:gd name="T16" fmla="*/ 0 w 128"/>
                  <a:gd name="T17" fmla="*/ 106 h 203"/>
                  <a:gd name="T18" fmla="*/ 5 w 128"/>
                  <a:gd name="T19" fmla="*/ 60 h 203"/>
                  <a:gd name="T20" fmla="*/ 17 w 128"/>
                  <a:gd name="T21" fmla="*/ 27 h 203"/>
                  <a:gd name="T22" fmla="*/ 38 w 128"/>
                  <a:gd name="T23" fmla="*/ 7 h 203"/>
                  <a:gd name="T24" fmla="*/ 67 w 128"/>
                  <a:gd name="T25" fmla="*/ 0 h 203"/>
                  <a:gd name="T26" fmla="*/ 128 w 128"/>
                  <a:gd name="T27" fmla="*/ 101 h 203"/>
                  <a:gd name="T28" fmla="*/ 105 w 128"/>
                  <a:gd name="T29" fmla="*/ 103 h 203"/>
                  <a:gd name="T30" fmla="*/ 65 w 128"/>
                  <a:gd name="T31" fmla="*/ 19 h 203"/>
                  <a:gd name="T32" fmla="*/ 23 w 128"/>
                  <a:gd name="T33" fmla="*/ 104 h 203"/>
                  <a:gd name="T34" fmla="*/ 65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7" y="132"/>
                      <a:pt x="124" y="144"/>
                    </a:cubicBezTo>
                    <a:cubicBezTo>
                      <a:pt x="121" y="157"/>
                      <a:pt x="116" y="168"/>
                      <a:pt x="111" y="176"/>
                    </a:cubicBezTo>
                    <a:cubicBezTo>
                      <a:pt x="105" y="185"/>
                      <a:pt x="98" y="192"/>
                      <a:pt x="90" y="196"/>
                    </a:cubicBezTo>
                    <a:cubicBezTo>
                      <a:pt x="82" y="201"/>
                      <a:pt x="73" y="203"/>
                      <a:pt x="62" y="203"/>
                    </a:cubicBezTo>
                    <a:cubicBezTo>
                      <a:pt x="53" y="203"/>
                      <a:pt x="44" y="201"/>
                      <a:pt x="36" y="196"/>
                    </a:cubicBezTo>
                    <a:cubicBezTo>
                      <a:pt x="28" y="192"/>
                      <a:pt x="22" y="186"/>
                      <a:pt x="17" y="178"/>
                    </a:cubicBezTo>
                    <a:cubicBezTo>
                      <a:pt x="11" y="169"/>
                      <a:pt x="7" y="159"/>
                      <a:pt x="5" y="147"/>
                    </a:cubicBezTo>
                    <a:cubicBezTo>
                      <a:pt x="2" y="135"/>
                      <a:pt x="0" y="121"/>
                      <a:pt x="0" y="106"/>
                    </a:cubicBezTo>
                    <a:cubicBezTo>
                      <a:pt x="0" y="88"/>
                      <a:pt x="2" y="73"/>
                      <a:pt x="5" y="60"/>
                    </a:cubicBezTo>
                    <a:cubicBezTo>
                      <a:pt x="8" y="47"/>
                      <a:pt x="12" y="36"/>
                      <a:pt x="17" y="27"/>
                    </a:cubicBezTo>
                    <a:cubicBezTo>
                      <a:pt x="23" y="18"/>
                      <a:pt x="30" y="12"/>
                      <a:pt x="38" y="7"/>
                    </a:cubicBezTo>
                    <a:cubicBezTo>
                      <a:pt x="46" y="2"/>
                      <a:pt x="56" y="0"/>
                      <a:pt x="67" y="0"/>
                    </a:cubicBezTo>
                    <a:cubicBezTo>
                      <a:pt x="108" y="0"/>
                      <a:pt x="128" y="34"/>
                      <a:pt x="128" y="101"/>
                    </a:cubicBezTo>
                    <a:close/>
                    <a:moveTo>
                      <a:pt x="105" y="103"/>
                    </a:moveTo>
                    <a:cubicBezTo>
                      <a:pt x="105" y="47"/>
                      <a:pt x="92" y="19"/>
                      <a:pt x="65" y="19"/>
                    </a:cubicBezTo>
                    <a:cubicBezTo>
                      <a:pt x="37" y="19"/>
                      <a:pt x="23" y="48"/>
                      <a:pt x="23" y="104"/>
                    </a:cubicBezTo>
                    <a:cubicBezTo>
                      <a:pt x="23" y="157"/>
                      <a:pt x="37" y="184"/>
                      <a:pt x="65" y="184"/>
                    </a:cubicBezTo>
                    <a:cubicBezTo>
                      <a:pt x="92"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1" name="Freeform 399"/>
              <p:cNvSpPr>
                <a:spLocks noEditPoints="1"/>
              </p:cNvSpPr>
              <p:nvPr userDrawn="1"/>
            </p:nvSpPr>
            <p:spPr bwMode="auto">
              <a:xfrm>
                <a:off x="6435" y="374"/>
                <a:ext cx="156" cy="248"/>
              </a:xfrm>
              <a:custGeom>
                <a:avLst/>
                <a:gdLst>
                  <a:gd name="T0" fmla="*/ 128 w 128"/>
                  <a:gd name="T1" fmla="*/ 101 h 203"/>
                  <a:gd name="T2" fmla="*/ 124 w 128"/>
                  <a:gd name="T3" fmla="*/ 144 h 203"/>
                  <a:gd name="T4" fmla="*/ 111 w 128"/>
                  <a:gd name="T5" fmla="*/ 176 h 203"/>
                  <a:gd name="T6" fmla="*/ 90 w 128"/>
                  <a:gd name="T7" fmla="*/ 196 h 203"/>
                  <a:gd name="T8" fmla="*/ 62 w 128"/>
                  <a:gd name="T9" fmla="*/ 203 h 203"/>
                  <a:gd name="T10" fmla="*/ 36 w 128"/>
                  <a:gd name="T11" fmla="*/ 196 h 203"/>
                  <a:gd name="T12" fmla="*/ 17 w 128"/>
                  <a:gd name="T13" fmla="*/ 178 h 203"/>
                  <a:gd name="T14" fmla="*/ 5 w 128"/>
                  <a:gd name="T15" fmla="*/ 147 h 203"/>
                  <a:gd name="T16" fmla="*/ 0 w 128"/>
                  <a:gd name="T17" fmla="*/ 106 h 203"/>
                  <a:gd name="T18" fmla="*/ 5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4 h 203"/>
                  <a:gd name="T34" fmla="*/ 65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7" y="132"/>
                      <a:pt x="124" y="144"/>
                    </a:cubicBezTo>
                    <a:cubicBezTo>
                      <a:pt x="121" y="157"/>
                      <a:pt x="116" y="168"/>
                      <a:pt x="111" y="176"/>
                    </a:cubicBezTo>
                    <a:cubicBezTo>
                      <a:pt x="105" y="185"/>
                      <a:pt x="98" y="192"/>
                      <a:pt x="90" y="196"/>
                    </a:cubicBezTo>
                    <a:cubicBezTo>
                      <a:pt x="82" y="201"/>
                      <a:pt x="73" y="203"/>
                      <a:pt x="62" y="203"/>
                    </a:cubicBezTo>
                    <a:cubicBezTo>
                      <a:pt x="53" y="203"/>
                      <a:pt x="44" y="201"/>
                      <a:pt x="36" y="196"/>
                    </a:cubicBezTo>
                    <a:cubicBezTo>
                      <a:pt x="28" y="192"/>
                      <a:pt x="22" y="186"/>
                      <a:pt x="17" y="178"/>
                    </a:cubicBezTo>
                    <a:cubicBezTo>
                      <a:pt x="11" y="169"/>
                      <a:pt x="7" y="159"/>
                      <a:pt x="5" y="147"/>
                    </a:cubicBezTo>
                    <a:cubicBezTo>
                      <a:pt x="2" y="135"/>
                      <a:pt x="0" y="121"/>
                      <a:pt x="0" y="106"/>
                    </a:cubicBezTo>
                    <a:cubicBezTo>
                      <a:pt x="0" y="88"/>
                      <a:pt x="2" y="73"/>
                      <a:pt x="5" y="60"/>
                    </a:cubicBezTo>
                    <a:cubicBezTo>
                      <a:pt x="8" y="47"/>
                      <a:pt x="12" y="36"/>
                      <a:pt x="17" y="27"/>
                    </a:cubicBezTo>
                    <a:cubicBezTo>
                      <a:pt x="23" y="18"/>
                      <a:pt x="30" y="12"/>
                      <a:pt x="38" y="7"/>
                    </a:cubicBezTo>
                    <a:cubicBezTo>
                      <a:pt x="46" y="2"/>
                      <a:pt x="56" y="0"/>
                      <a:pt x="66" y="0"/>
                    </a:cubicBezTo>
                    <a:cubicBezTo>
                      <a:pt x="108" y="0"/>
                      <a:pt x="128" y="34"/>
                      <a:pt x="128" y="101"/>
                    </a:cubicBezTo>
                    <a:close/>
                    <a:moveTo>
                      <a:pt x="105" y="103"/>
                    </a:moveTo>
                    <a:cubicBezTo>
                      <a:pt x="105" y="47"/>
                      <a:pt x="92" y="19"/>
                      <a:pt x="65" y="19"/>
                    </a:cubicBezTo>
                    <a:cubicBezTo>
                      <a:pt x="37" y="19"/>
                      <a:pt x="23" y="48"/>
                      <a:pt x="23" y="104"/>
                    </a:cubicBezTo>
                    <a:cubicBezTo>
                      <a:pt x="23" y="157"/>
                      <a:pt x="37" y="184"/>
                      <a:pt x="65" y="184"/>
                    </a:cubicBezTo>
                    <a:cubicBezTo>
                      <a:pt x="92"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2" name="Freeform 400"/>
              <p:cNvSpPr>
                <a:spLocks/>
              </p:cNvSpPr>
              <p:nvPr userDrawn="1"/>
            </p:nvSpPr>
            <p:spPr bwMode="auto">
              <a:xfrm>
                <a:off x="6634" y="372"/>
                <a:ext cx="81" cy="246"/>
              </a:xfrm>
              <a:custGeom>
                <a:avLst/>
                <a:gdLst>
                  <a:gd name="T0" fmla="*/ 67 w 67"/>
                  <a:gd name="T1" fmla="*/ 201 h 201"/>
                  <a:gd name="T2" fmla="*/ 45 w 67"/>
                  <a:gd name="T3" fmla="*/ 201 h 201"/>
                  <a:gd name="T4" fmla="*/ 45 w 67"/>
                  <a:gd name="T5" fmla="*/ 31 h 201"/>
                  <a:gd name="T6" fmla="*/ 37 w 67"/>
                  <a:gd name="T7" fmla="*/ 37 h 201"/>
                  <a:gd name="T8" fmla="*/ 26 w 67"/>
                  <a:gd name="T9" fmla="*/ 44 h 201"/>
                  <a:gd name="T10" fmla="*/ 13 w 67"/>
                  <a:gd name="T11" fmla="*/ 50 h 201"/>
                  <a:gd name="T12" fmla="*/ 0 w 67"/>
                  <a:gd name="T13" fmla="*/ 54 h 201"/>
                  <a:gd name="T14" fmla="*/ 0 w 67"/>
                  <a:gd name="T15" fmla="*/ 32 h 201"/>
                  <a:gd name="T16" fmla="*/ 15 w 67"/>
                  <a:gd name="T17" fmla="*/ 26 h 201"/>
                  <a:gd name="T18" fmla="*/ 31 w 67"/>
                  <a:gd name="T19" fmla="*/ 18 h 201"/>
                  <a:gd name="T20" fmla="*/ 47 w 67"/>
                  <a:gd name="T21" fmla="*/ 9 h 201"/>
                  <a:gd name="T22" fmla="*/ 59 w 67"/>
                  <a:gd name="T23" fmla="*/ 0 h 201"/>
                  <a:gd name="T24" fmla="*/ 67 w 67"/>
                  <a:gd name="T25" fmla="*/ 0 h 201"/>
                  <a:gd name="T26" fmla="*/ 67 w 67"/>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7" h="201">
                    <a:moveTo>
                      <a:pt x="67" y="201"/>
                    </a:moveTo>
                    <a:cubicBezTo>
                      <a:pt x="45" y="201"/>
                      <a:pt x="45" y="201"/>
                      <a:pt x="45" y="201"/>
                    </a:cubicBezTo>
                    <a:cubicBezTo>
                      <a:pt x="45" y="31"/>
                      <a:pt x="45" y="31"/>
                      <a:pt x="45" y="31"/>
                    </a:cubicBezTo>
                    <a:cubicBezTo>
                      <a:pt x="43" y="33"/>
                      <a:pt x="41" y="35"/>
                      <a:pt x="37" y="37"/>
                    </a:cubicBezTo>
                    <a:cubicBezTo>
                      <a:pt x="34" y="39"/>
                      <a:pt x="30" y="42"/>
                      <a:pt x="26" y="44"/>
                    </a:cubicBezTo>
                    <a:cubicBezTo>
                      <a:pt x="22" y="46"/>
                      <a:pt x="18" y="48"/>
                      <a:pt x="13" y="50"/>
                    </a:cubicBezTo>
                    <a:cubicBezTo>
                      <a:pt x="8" y="52"/>
                      <a:pt x="4" y="53"/>
                      <a:pt x="0" y="54"/>
                    </a:cubicBezTo>
                    <a:cubicBezTo>
                      <a:pt x="0" y="32"/>
                      <a:pt x="0" y="32"/>
                      <a:pt x="0" y="32"/>
                    </a:cubicBezTo>
                    <a:cubicBezTo>
                      <a:pt x="4" y="30"/>
                      <a:pt x="10" y="29"/>
                      <a:pt x="15" y="26"/>
                    </a:cubicBezTo>
                    <a:cubicBezTo>
                      <a:pt x="21" y="24"/>
                      <a:pt x="26" y="21"/>
                      <a:pt x="31" y="18"/>
                    </a:cubicBezTo>
                    <a:cubicBezTo>
                      <a:pt x="37" y="16"/>
                      <a:pt x="42" y="13"/>
                      <a:pt x="47" y="9"/>
                    </a:cubicBezTo>
                    <a:cubicBezTo>
                      <a:pt x="51" y="6"/>
                      <a:pt x="55" y="3"/>
                      <a:pt x="59" y="0"/>
                    </a:cubicBezTo>
                    <a:cubicBezTo>
                      <a:pt x="67" y="0"/>
                      <a:pt x="67" y="0"/>
                      <a:pt x="67" y="0"/>
                    </a:cubicBezTo>
                    <a:lnTo>
                      <a:pt x="67"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3" name="Freeform 401"/>
              <p:cNvSpPr>
                <a:spLocks noEditPoints="1"/>
              </p:cNvSpPr>
              <p:nvPr userDrawn="1"/>
            </p:nvSpPr>
            <p:spPr bwMode="auto">
              <a:xfrm>
                <a:off x="6781" y="374"/>
                <a:ext cx="156" cy="248"/>
              </a:xfrm>
              <a:custGeom>
                <a:avLst/>
                <a:gdLst>
                  <a:gd name="T0" fmla="*/ 128 w 128"/>
                  <a:gd name="T1" fmla="*/ 101 h 203"/>
                  <a:gd name="T2" fmla="*/ 123 w 128"/>
                  <a:gd name="T3" fmla="*/ 144 h 203"/>
                  <a:gd name="T4" fmla="*/ 111 w 128"/>
                  <a:gd name="T5" fmla="*/ 176 h 203"/>
                  <a:gd name="T6" fmla="*/ 90 w 128"/>
                  <a:gd name="T7" fmla="*/ 196 h 203"/>
                  <a:gd name="T8" fmla="*/ 62 w 128"/>
                  <a:gd name="T9" fmla="*/ 203 h 203"/>
                  <a:gd name="T10" fmla="*/ 36 w 128"/>
                  <a:gd name="T11" fmla="*/ 196 h 203"/>
                  <a:gd name="T12" fmla="*/ 16 w 128"/>
                  <a:gd name="T13" fmla="*/ 178 h 203"/>
                  <a:gd name="T14" fmla="*/ 4 w 128"/>
                  <a:gd name="T15" fmla="*/ 147 h 203"/>
                  <a:gd name="T16" fmla="*/ 0 w 128"/>
                  <a:gd name="T17" fmla="*/ 106 h 203"/>
                  <a:gd name="T18" fmla="*/ 4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4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6" y="132"/>
                      <a:pt x="123" y="144"/>
                    </a:cubicBezTo>
                    <a:cubicBezTo>
                      <a:pt x="120" y="157"/>
                      <a:pt x="116" y="168"/>
                      <a:pt x="111" y="176"/>
                    </a:cubicBezTo>
                    <a:cubicBezTo>
                      <a:pt x="105" y="185"/>
                      <a:pt x="98" y="192"/>
                      <a:pt x="90" y="196"/>
                    </a:cubicBezTo>
                    <a:cubicBezTo>
                      <a:pt x="82" y="201"/>
                      <a:pt x="72" y="203"/>
                      <a:pt x="62" y="203"/>
                    </a:cubicBezTo>
                    <a:cubicBezTo>
                      <a:pt x="52" y="203"/>
                      <a:pt x="43" y="201"/>
                      <a:pt x="36" y="196"/>
                    </a:cubicBezTo>
                    <a:cubicBezTo>
                      <a:pt x="28" y="192"/>
                      <a:pt x="22" y="186"/>
                      <a:pt x="16" y="178"/>
                    </a:cubicBezTo>
                    <a:cubicBezTo>
                      <a:pt x="11" y="169"/>
                      <a:pt x="7" y="159"/>
                      <a:pt x="4" y="147"/>
                    </a:cubicBezTo>
                    <a:cubicBezTo>
                      <a:pt x="2" y="135"/>
                      <a:pt x="0" y="121"/>
                      <a:pt x="0" y="106"/>
                    </a:cubicBezTo>
                    <a:cubicBezTo>
                      <a:pt x="0" y="88"/>
                      <a:pt x="2" y="73"/>
                      <a:pt x="4" y="60"/>
                    </a:cubicBezTo>
                    <a:cubicBezTo>
                      <a:pt x="7" y="47"/>
                      <a:pt x="12" y="36"/>
                      <a:pt x="17" y="27"/>
                    </a:cubicBezTo>
                    <a:cubicBezTo>
                      <a:pt x="23" y="18"/>
                      <a:pt x="30" y="12"/>
                      <a:pt x="38" y="7"/>
                    </a:cubicBezTo>
                    <a:cubicBezTo>
                      <a:pt x="46" y="2"/>
                      <a:pt x="56" y="0"/>
                      <a:pt x="66" y="0"/>
                    </a:cubicBezTo>
                    <a:cubicBezTo>
                      <a:pt x="107" y="0"/>
                      <a:pt x="128" y="34"/>
                      <a:pt x="128" y="101"/>
                    </a:cubicBezTo>
                    <a:close/>
                    <a:moveTo>
                      <a:pt x="105" y="103"/>
                    </a:moveTo>
                    <a:cubicBezTo>
                      <a:pt x="105" y="47"/>
                      <a:pt x="92" y="19"/>
                      <a:pt x="65" y="19"/>
                    </a:cubicBezTo>
                    <a:cubicBezTo>
                      <a:pt x="37" y="19"/>
                      <a:pt x="23" y="48"/>
                      <a:pt x="23" y="104"/>
                    </a:cubicBezTo>
                    <a:cubicBezTo>
                      <a:pt x="23" y="157"/>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4" name="Freeform 402"/>
              <p:cNvSpPr>
                <a:spLocks/>
              </p:cNvSpPr>
              <p:nvPr userDrawn="1"/>
            </p:nvSpPr>
            <p:spPr bwMode="auto">
              <a:xfrm>
                <a:off x="6978" y="372"/>
                <a:ext cx="83" cy="246"/>
              </a:xfrm>
              <a:custGeom>
                <a:avLst/>
                <a:gdLst>
                  <a:gd name="T0" fmla="*/ 68 w 68"/>
                  <a:gd name="T1" fmla="*/ 201 h 201"/>
                  <a:gd name="T2" fmla="*/ 46 w 68"/>
                  <a:gd name="T3" fmla="*/ 201 h 201"/>
                  <a:gd name="T4" fmla="*/ 46 w 68"/>
                  <a:gd name="T5" fmla="*/ 31 h 201"/>
                  <a:gd name="T6" fmla="*/ 38 w 68"/>
                  <a:gd name="T7" fmla="*/ 37 h 201"/>
                  <a:gd name="T8" fmla="*/ 27 w 68"/>
                  <a:gd name="T9" fmla="*/ 44 h 201"/>
                  <a:gd name="T10" fmla="*/ 14 w 68"/>
                  <a:gd name="T11" fmla="*/ 50 h 201"/>
                  <a:gd name="T12" fmla="*/ 0 w 68"/>
                  <a:gd name="T13" fmla="*/ 54 h 201"/>
                  <a:gd name="T14" fmla="*/ 0 w 68"/>
                  <a:gd name="T15" fmla="*/ 32 h 201"/>
                  <a:gd name="T16" fmla="*/ 16 w 68"/>
                  <a:gd name="T17" fmla="*/ 26 h 201"/>
                  <a:gd name="T18" fmla="*/ 32 w 68"/>
                  <a:gd name="T19" fmla="*/ 18 h 201"/>
                  <a:gd name="T20" fmla="*/ 47 w 68"/>
                  <a:gd name="T21" fmla="*/ 9 h 201"/>
                  <a:gd name="T22" fmla="*/ 60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6" y="201"/>
                      <a:pt x="46" y="201"/>
                      <a:pt x="46" y="201"/>
                    </a:cubicBezTo>
                    <a:cubicBezTo>
                      <a:pt x="46" y="31"/>
                      <a:pt x="46" y="31"/>
                      <a:pt x="46" y="31"/>
                    </a:cubicBezTo>
                    <a:cubicBezTo>
                      <a:pt x="44" y="33"/>
                      <a:pt x="41" y="35"/>
                      <a:pt x="38" y="37"/>
                    </a:cubicBezTo>
                    <a:cubicBezTo>
                      <a:pt x="35" y="39"/>
                      <a:pt x="31" y="42"/>
                      <a:pt x="27" y="44"/>
                    </a:cubicBezTo>
                    <a:cubicBezTo>
                      <a:pt x="23" y="46"/>
                      <a:pt x="18" y="48"/>
                      <a:pt x="14" y="50"/>
                    </a:cubicBezTo>
                    <a:cubicBezTo>
                      <a:pt x="9" y="52"/>
                      <a:pt x="5" y="53"/>
                      <a:pt x="0" y="54"/>
                    </a:cubicBezTo>
                    <a:cubicBezTo>
                      <a:pt x="0" y="32"/>
                      <a:pt x="0" y="32"/>
                      <a:pt x="0" y="32"/>
                    </a:cubicBezTo>
                    <a:cubicBezTo>
                      <a:pt x="5" y="30"/>
                      <a:pt x="10" y="29"/>
                      <a:pt x="16" y="26"/>
                    </a:cubicBezTo>
                    <a:cubicBezTo>
                      <a:pt x="21" y="24"/>
                      <a:pt x="27" y="21"/>
                      <a:pt x="32" y="18"/>
                    </a:cubicBezTo>
                    <a:cubicBezTo>
                      <a:pt x="38" y="16"/>
                      <a:pt x="43" y="13"/>
                      <a:pt x="47" y="9"/>
                    </a:cubicBezTo>
                    <a:cubicBezTo>
                      <a:pt x="52" y="6"/>
                      <a:pt x="56" y="3"/>
                      <a:pt x="60"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5" name="Freeform 403"/>
              <p:cNvSpPr>
                <a:spLocks noEditPoints="1"/>
              </p:cNvSpPr>
              <p:nvPr userDrawn="1"/>
            </p:nvSpPr>
            <p:spPr bwMode="auto">
              <a:xfrm>
                <a:off x="7127" y="374"/>
                <a:ext cx="156" cy="248"/>
              </a:xfrm>
              <a:custGeom>
                <a:avLst/>
                <a:gdLst>
                  <a:gd name="T0" fmla="*/ 128 w 128"/>
                  <a:gd name="T1" fmla="*/ 101 h 203"/>
                  <a:gd name="T2" fmla="*/ 123 w 128"/>
                  <a:gd name="T3" fmla="*/ 144 h 203"/>
                  <a:gd name="T4" fmla="*/ 110 w 128"/>
                  <a:gd name="T5" fmla="*/ 176 h 203"/>
                  <a:gd name="T6" fmla="*/ 90 w 128"/>
                  <a:gd name="T7" fmla="*/ 196 h 203"/>
                  <a:gd name="T8" fmla="*/ 62 w 128"/>
                  <a:gd name="T9" fmla="*/ 203 h 203"/>
                  <a:gd name="T10" fmla="*/ 35 w 128"/>
                  <a:gd name="T11" fmla="*/ 196 h 203"/>
                  <a:gd name="T12" fmla="*/ 16 w 128"/>
                  <a:gd name="T13" fmla="*/ 178 h 203"/>
                  <a:gd name="T14" fmla="*/ 4 w 128"/>
                  <a:gd name="T15" fmla="*/ 147 h 203"/>
                  <a:gd name="T16" fmla="*/ 0 w 128"/>
                  <a:gd name="T17" fmla="*/ 106 h 203"/>
                  <a:gd name="T18" fmla="*/ 4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4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6" y="132"/>
                      <a:pt x="123" y="144"/>
                    </a:cubicBezTo>
                    <a:cubicBezTo>
                      <a:pt x="120" y="157"/>
                      <a:pt x="116" y="168"/>
                      <a:pt x="110" y="176"/>
                    </a:cubicBezTo>
                    <a:cubicBezTo>
                      <a:pt x="105" y="185"/>
                      <a:pt x="98" y="192"/>
                      <a:pt x="90" y="196"/>
                    </a:cubicBezTo>
                    <a:cubicBezTo>
                      <a:pt x="81" y="201"/>
                      <a:pt x="72" y="203"/>
                      <a:pt x="62" y="203"/>
                    </a:cubicBezTo>
                    <a:cubicBezTo>
                      <a:pt x="52" y="203"/>
                      <a:pt x="43" y="201"/>
                      <a:pt x="35" y="196"/>
                    </a:cubicBezTo>
                    <a:cubicBezTo>
                      <a:pt x="28" y="192"/>
                      <a:pt x="21" y="186"/>
                      <a:pt x="16" y="178"/>
                    </a:cubicBezTo>
                    <a:cubicBezTo>
                      <a:pt x="11" y="169"/>
                      <a:pt x="7" y="159"/>
                      <a:pt x="4" y="147"/>
                    </a:cubicBezTo>
                    <a:cubicBezTo>
                      <a:pt x="1" y="135"/>
                      <a:pt x="0" y="121"/>
                      <a:pt x="0" y="106"/>
                    </a:cubicBezTo>
                    <a:cubicBezTo>
                      <a:pt x="0" y="88"/>
                      <a:pt x="1" y="73"/>
                      <a:pt x="4" y="60"/>
                    </a:cubicBezTo>
                    <a:cubicBezTo>
                      <a:pt x="7" y="47"/>
                      <a:pt x="11" y="36"/>
                      <a:pt x="17" y="27"/>
                    </a:cubicBezTo>
                    <a:cubicBezTo>
                      <a:pt x="22" y="18"/>
                      <a:pt x="29" y="12"/>
                      <a:pt x="38" y="7"/>
                    </a:cubicBezTo>
                    <a:cubicBezTo>
                      <a:pt x="46" y="2"/>
                      <a:pt x="55" y="0"/>
                      <a:pt x="66" y="0"/>
                    </a:cubicBezTo>
                    <a:cubicBezTo>
                      <a:pt x="107" y="0"/>
                      <a:pt x="128" y="34"/>
                      <a:pt x="128" y="101"/>
                    </a:cubicBezTo>
                    <a:close/>
                    <a:moveTo>
                      <a:pt x="105" y="103"/>
                    </a:moveTo>
                    <a:cubicBezTo>
                      <a:pt x="105" y="47"/>
                      <a:pt x="91" y="19"/>
                      <a:pt x="65" y="19"/>
                    </a:cubicBezTo>
                    <a:cubicBezTo>
                      <a:pt x="37" y="19"/>
                      <a:pt x="23" y="48"/>
                      <a:pt x="23" y="104"/>
                    </a:cubicBezTo>
                    <a:cubicBezTo>
                      <a:pt x="23" y="157"/>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6" name="Freeform 404"/>
              <p:cNvSpPr>
                <a:spLocks/>
              </p:cNvSpPr>
              <p:nvPr userDrawn="1"/>
            </p:nvSpPr>
            <p:spPr bwMode="auto">
              <a:xfrm>
                <a:off x="7325" y="372"/>
                <a:ext cx="82" cy="246"/>
              </a:xfrm>
              <a:custGeom>
                <a:avLst/>
                <a:gdLst>
                  <a:gd name="T0" fmla="*/ 68 w 68"/>
                  <a:gd name="T1" fmla="*/ 201 h 201"/>
                  <a:gd name="T2" fmla="*/ 45 w 68"/>
                  <a:gd name="T3" fmla="*/ 201 h 201"/>
                  <a:gd name="T4" fmla="*/ 45 w 68"/>
                  <a:gd name="T5" fmla="*/ 31 h 201"/>
                  <a:gd name="T6" fmla="*/ 38 w 68"/>
                  <a:gd name="T7" fmla="*/ 37 h 201"/>
                  <a:gd name="T8" fmla="*/ 27 w 68"/>
                  <a:gd name="T9" fmla="*/ 44 h 201"/>
                  <a:gd name="T10" fmla="*/ 13 w 68"/>
                  <a:gd name="T11" fmla="*/ 50 h 201"/>
                  <a:gd name="T12" fmla="*/ 0 w 68"/>
                  <a:gd name="T13" fmla="*/ 54 h 201"/>
                  <a:gd name="T14" fmla="*/ 0 w 68"/>
                  <a:gd name="T15" fmla="*/ 32 h 201"/>
                  <a:gd name="T16" fmla="*/ 16 w 68"/>
                  <a:gd name="T17" fmla="*/ 26 h 201"/>
                  <a:gd name="T18" fmla="*/ 32 w 68"/>
                  <a:gd name="T19" fmla="*/ 18 h 201"/>
                  <a:gd name="T20" fmla="*/ 47 w 68"/>
                  <a:gd name="T21" fmla="*/ 9 h 201"/>
                  <a:gd name="T22" fmla="*/ 59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5" y="201"/>
                      <a:pt x="45" y="201"/>
                      <a:pt x="45" y="201"/>
                    </a:cubicBezTo>
                    <a:cubicBezTo>
                      <a:pt x="45" y="31"/>
                      <a:pt x="45" y="31"/>
                      <a:pt x="45" y="31"/>
                    </a:cubicBezTo>
                    <a:cubicBezTo>
                      <a:pt x="44" y="33"/>
                      <a:pt x="41" y="35"/>
                      <a:pt x="38" y="37"/>
                    </a:cubicBezTo>
                    <a:cubicBezTo>
                      <a:pt x="34" y="39"/>
                      <a:pt x="31" y="42"/>
                      <a:pt x="27" y="44"/>
                    </a:cubicBezTo>
                    <a:cubicBezTo>
                      <a:pt x="22" y="46"/>
                      <a:pt x="18" y="48"/>
                      <a:pt x="13" y="50"/>
                    </a:cubicBezTo>
                    <a:cubicBezTo>
                      <a:pt x="9" y="52"/>
                      <a:pt x="4" y="53"/>
                      <a:pt x="0" y="54"/>
                    </a:cubicBezTo>
                    <a:cubicBezTo>
                      <a:pt x="0" y="32"/>
                      <a:pt x="0" y="32"/>
                      <a:pt x="0" y="32"/>
                    </a:cubicBezTo>
                    <a:cubicBezTo>
                      <a:pt x="5" y="30"/>
                      <a:pt x="10" y="29"/>
                      <a:pt x="16" y="26"/>
                    </a:cubicBezTo>
                    <a:cubicBezTo>
                      <a:pt x="21" y="24"/>
                      <a:pt x="27" y="21"/>
                      <a:pt x="32" y="18"/>
                    </a:cubicBezTo>
                    <a:cubicBezTo>
                      <a:pt x="37" y="16"/>
                      <a:pt x="42" y="13"/>
                      <a:pt x="47" y="9"/>
                    </a:cubicBezTo>
                    <a:cubicBezTo>
                      <a:pt x="52" y="6"/>
                      <a:pt x="56" y="3"/>
                      <a:pt x="59"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7" name="Freeform 405"/>
              <p:cNvSpPr>
                <a:spLocks noEditPoints="1"/>
              </p:cNvSpPr>
              <p:nvPr userDrawn="1"/>
            </p:nvSpPr>
            <p:spPr bwMode="auto">
              <a:xfrm>
                <a:off x="7473" y="374"/>
                <a:ext cx="155" cy="248"/>
              </a:xfrm>
              <a:custGeom>
                <a:avLst/>
                <a:gdLst>
                  <a:gd name="T0" fmla="*/ 127 w 127"/>
                  <a:gd name="T1" fmla="*/ 101 h 203"/>
                  <a:gd name="T2" fmla="*/ 123 w 127"/>
                  <a:gd name="T3" fmla="*/ 144 h 203"/>
                  <a:gd name="T4" fmla="*/ 110 w 127"/>
                  <a:gd name="T5" fmla="*/ 176 h 203"/>
                  <a:gd name="T6" fmla="*/ 89 w 127"/>
                  <a:gd name="T7" fmla="*/ 196 h 203"/>
                  <a:gd name="T8" fmla="*/ 61 w 127"/>
                  <a:gd name="T9" fmla="*/ 203 h 203"/>
                  <a:gd name="T10" fmla="*/ 35 w 127"/>
                  <a:gd name="T11" fmla="*/ 196 h 203"/>
                  <a:gd name="T12" fmla="*/ 16 w 127"/>
                  <a:gd name="T13" fmla="*/ 178 h 203"/>
                  <a:gd name="T14" fmla="*/ 4 w 127"/>
                  <a:gd name="T15" fmla="*/ 147 h 203"/>
                  <a:gd name="T16" fmla="*/ 0 w 127"/>
                  <a:gd name="T17" fmla="*/ 106 h 203"/>
                  <a:gd name="T18" fmla="*/ 4 w 127"/>
                  <a:gd name="T19" fmla="*/ 60 h 203"/>
                  <a:gd name="T20" fmla="*/ 17 w 127"/>
                  <a:gd name="T21" fmla="*/ 27 h 203"/>
                  <a:gd name="T22" fmla="*/ 37 w 127"/>
                  <a:gd name="T23" fmla="*/ 7 h 203"/>
                  <a:gd name="T24" fmla="*/ 66 w 127"/>
                  <a:gd name="T25" fmla="*/ 0 h 203"/>
                  <a:gd name="T26" fmla="*/ 127 w 127"/>
                  <a:gd name="T27" fmla="*/ 101 h 203"/>
                  <a:gd name="T28" fmla="*/ 104 w 127"/>
                  <a:gd name="T29" fmla="*/ 103 h 203"/>
                  <a:gd name="T30" fmla="*/ 65 w 127"/>
                  <a:gd name="T31" fmla="*/ 19 h 203"/>
                  <a:gd name="T32" fmla="*/ 23 w 127"/>
                  <a:gd name="T33" fmla="*/ 104 h 203"/>
                  <a:gd name="T34" fmla="*/ 64 w 127"/>
                  <a:gd name="T35" fmla="*/ 184 h 203"/>
                  <a:gd name="T36" fmla="*/ 104 w 127"/>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7" h="203">
                    <a:moveTo>
                      <a:pt x="127" y="101"/>
                    </a:moveTo>
                    <a:cubicBezTo>
                      <a:pt x="127" y="117"/>
                      <a:pt x="126" y="132"/>
                      <a:pt x="123" y="144"/>
                    </a:cubicBezTo>
                    <a:cubicBezTo>
                      <a:pt x="120" y="157"/>
                      <a:pt x="116" y="168"/>
                      <a:pt x="110" y="176"/>
                    </a:cubicBezTo>
                    <a:cubicBezTo>
                      <a:pt x="104" y="185"/>
                      <a:pt x="97" y="192"/>
                      <a:pt x="89" y="196"/>
                    </a:cubicBezTo>
                    <a:cubicBezTo>
                      <a:pt x="81" y="201"/>
                      <a:pt x="72" y="203"/>
                      <a:pt x="61" y="203"/>
                    </a:cubicBezTo>
                    <a:cubicBezTo>
                      <a:pt x="52" y="203"/>
                      <a:pt x="43" y="201"/>
                      <a:pt x="35" y="196"/>
                    </a:cubicBezTo>
                    <a:cubicBezTo>
                      <a:pt x="27" y="192"/>
                      <a:pt x="21" y="186"/>
                      <a:pt x="16" y="178"/>
                    </a:cubicBezTo>
                    <a:cubicBezTo>
                      <a:pt x="10" y="169"/>
                      <a:pt x="6" y="159"/>
                      <a:pt x="4" y="147"/>
                    </a:cubicBezTo>
                    <a:cubicBezTo>
                      <a:pt x="1" y="135"/>
                      <a:pt x="0" y="121"/>
                      <a:pt x="0" y="106"/>
                    </a:cubicBezTo>
                    <a:cubicBezTo>
                      <a:pt x="0" y="88"/>
                      <a:pt x="1" y="73"/>
                      <a:pt x="4" y="60"/>
                    </a:cubicBezTo>
                    <a:cubicBezTo>
                      <a:pt x="7" y="47"/>
                      <a:pt x="11" y="36"/>
                      <a:pt x="17" y="27"/>
                    </a:cubicBezTo>
                    <a:cubicBezTo>
                      <a:pt x="22" y="18"/>
                      <a:pt x="29" y="12"/>
                      <a:pt x="37" y="7"/>
                    </a:cubicBezTo>
                    <a:cubicBezTo>
                      <a:pt x="45" y="2"/>
                      <a:pt x="55" y="0"/>
                      <a:pt x="66" y="0"/>
                    </a:cubicBezTo>
                    <a:cubicBezTo>
                      <a:pt x="107" y="0"/>
                      <a:pt x="127" y="34"/>
                      <a:pt x="127" y="101"/>
                    </a:cubicBezTo>
                    <a:close/>
                    <a:moveTo>
                      <a:pt x="104" y="103"/>
                    </a:moveTo>
                    <a:cubicBezTo>
                      <a:pt x="104" y="47"/>
                      <a:pt x="91" y="19"/>
                      <a:pt x="65" y="19"/>
                    </a:cubicBezTo>
                    <a:cubicBezTo>
                      <a:pt x="37" y="19"/>
                      <a:pt x="23" y="48"/>
                      <a:pt x="23" y="104"/>
                    </a:cubicBezTo>
                    <a:cubicBezTo>
                      <a:pt x="23" y="157"/>
                      <a:pt x="36" y="184"/>
                      <a:pt x="64" y="184"/>
                    </a:cubicBezTo>
                    <a:cubicBezTo>
                      <a:pt x="91" y="184"/>
                      <a:pt x="104" y="157"/>
                      <a:pt x="104"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8" name="Freeform 406"/>
              <p:cNvSpPr>
                <a:spLocks/>
              </p:cNvSpPr>
              <p:nvPr userDrawn="1"/>
            </p:nvSpPr>
            <p:spPr bwMode="auto">
              <a:xfrm>
                <a:off x="7671" y="372"/>
                <a:ext cx="81" cy="246"/>
              </a:xfrm>
              <a:custGeom>
                <a:avLst/>
                <a:gdLst>
                  <a:gd name="T0" fmla="*/ 67 w 67"/>
                  <a:gd name="T1" fmla="*/ 201 h 201"/>
                  <a:gd name="T2" fmla="*/ 45 w 67"/>
                  <a:gd name="T3" fmla="*/ 201 h 201"/>
                  <a:gd name="T4" fmla="*/ 45 w 67"/>
                  <a:gd name="T5" fmla="*/ 31 h 201"/>
                  <a:gd name="T6" fmla="*/ 37 w 67"/>
                  <a:gd name="T7" fmla="*/ 37 h 201"/>
                  <a:gd name="T8" fmla="*/ 26 w 67"/>
                  <a:gd name="T9" fmla="*/ 44 h 201"/>
                  <a:gd name="T10" fmla="*/ 13 w 67"/>
                  <a:gd name="T11" fmla="*/ 50 h 201"/>
                  <a:gd name="T12" fmla="*/ 0 w 67"/>
                  <a:gd name="T13" fmla="*/ 54 h 201"/>
                  <a:gd name="T14" fmla="*/ 0 w 67"/>
                  <a:gd name="T15" fmla="*/ 32 h 201"/>
                  <a:gd name="T16" fmla="*/ 15 w 67"/>
                  <a:gd name="T17" fmla="*/ 26 h 201"/>
                  <a:gd name="T18" fmla="*/ 32 w 67"/>
                  <a:gd name="T19" fmla="*/ 18 h 201"/>
                  <a:gd name="T20" fmla="*/ 47 w 67"/>
                  <a:gd name="T21" fmla="*/ 9 h 201"/>
                  <a:gd name="T22" fmla="*/ 59 w 67"/>
                  <a:gd name="T23" fmla="*/ 0 h 201"/>
                  <a:gd name="T24" fmla="*/ 67 w 67"/>
                  <a:gd name="T25" fmla="*/ 0 h 201"/>
                  <a:gd name="T26" fmla="*/ 67 w 67"/>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7" h="201">
                    <a:moveTo>
                      <a:pt x="67" y="201"/>
                    </a:moveTo>
                    <a:cubicBezTo>
                      <a:pt x="45" y="201"/>
                      <a:pt x="45" y="201"/>
                      <a:pt x="45" y="201"/>
                    </a:cubicBezTo>
                    <a:cubicBezTo>
                      <a:pt x="45" y="31"/>
                      <a:pt x="45" y="31"/>
                      <a:pt x="45" y="31"/>
                    </a:cubicBezTo>
                    <a:cubicBezTo>
                      <a:pt x="43" y="33"/>
                      <a:pt x="41" y="35"/>
                      <a:pt x="37" y="37"/>
                    </a:cubicBezTo>
                    <a:cubicBezTo>
                      <a:pt x="34" y="39"/>
                      <a:pt x="30" y="42"/>
                      <a:pt x="26" y="44"/>
                    </a:cubicBezTo>
                    <a:cubicBezTo>
                      <a:pt x="22" y="46"/>
                      <a:pt x="18" y="48"/>
                      <a:pt x="13" y="50"/>
                    </a:cubicBezTo>
                    <a:cubicBezTo>
                      <a:pt x="9" y="52"/>
                      <a:pt x="4" y="53"/>
                      <a:pt x="0" y="54"/>
                    </a:cubicBezTo>
                    <a:cubicBezTo>
                      <a:pt x="0" y="32"/>
                      <a:pt x="0" y="32"/>
                      <a:pt x="0" y="32"/>
                    </a:cubicBezTo>
                    <a:cubicBezTo>
                      <a:pt x="5" y="30"/>
                      <a:pt x="10" y="29"/>
                      <a:pt x="15" y="26"/>
                    </a:cubicBezTo>
                    <a:cubicBezTo>
                      <a:pt x="21" y="24"/>
                      <a:pt x="26" y="21"/>
                      <a:pt x="32" y="18"/>
                    </a:cubicBezTo>
                    <a:cubicBezTo>
                      <a:pt x="37" y="16"/>
                      <a:pt x="42" y="13"/>
                      <a:pt x="47" y="9"/>
                    </a:cubicBezTo>
                    <a:cubicBezTo>
                      <a:pt x="51" y="6"/>
                      <a:pt x="56" y="3"/>
                      <a:pt x="59" y="0"/>
                    </a:cubicBezTo>
                    <a:cubicBezTo>
                      <a:pt x="67" y="0"/>
                      <a:pt x="67" y="0"/>
                      <a:pt x="67" y="0"/>
                    </a:cubicBezTo>
                    <a:lnTo>
                      <a:pt x="67"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9" name="Freeform 407"/>
              <p:cNvSpPr>
                <a:spLocks noEditPoints="1"/>
              </p:cNvSpPr>
              <p:nvPr userDrawn="1"/>
            </p:nvSpPr>
            <p:spPr bwMode="auto">
              <a:xfrm>
                <a:off x="3461" y="365"/>
                <a:ext cx="218" cy="255"/>
              </a:xfrm>
              <a:custGeom>
                <a:avLst/>
                <a:gdLst>
                  <a:gd name="T0" fmla="*/ 175 w 179"/>
                  <a:gd name="T1" fmla="*/ 174 h 209"/>
                  <a:gd name="T2" fmla="*/ 134 w 179"/>
                  <a:gd name="T3" fmla="*/ 209 h 209"/>
                  <a:gd name="T4" fmla="*/ 81 w 179"/>
                  <a:gd name="T5" fmla="*/ 198 h 209"/>
                  <a:gd name="T6" fmla="*/ 32 w 179"/>
                  <a:gd name="T7" fmla="*/ 202 h 209"/>
                  <a:gd name="T8" fmla="*/ 2 w 179"/>
                  <a:gd name="T9" fmla="*/ 184 h 209"/>
                  <a:gd name="T10" fmla="*/ 14 w 179"/>
                  <a:gd name="T11" fmla="*/ 159 h 209"/>
                  <a:gd name="T12" fmla="*/ 9 w 179"/>
                  <a:gd name="T13" fmla="*/ 162 h 209"/>
                  <a:gd name="T14" fmla="*/ 6 w 179"/>
                  <a:gd name="T15" fmla="*/ 183 h 209"/>
                  <a:gd name="T16" fmla="*/ 45 w 179"/>
                  <a:gd name="T17" fmla="*/ 202 h 209"/>
                  <a:gd name="T18" fmla="*/ 42 w 179"/>
                  <a:gd name="T19" fmla="*/ 152 h 209"/>
                  <a:gd name="T20" fmla="*/ 25 w 179"/>
                  <a:gd name="T21" fmla="*/ 134 h 209"/>
                  <a:gd name="T22" fmla="*/ 52 w 179"/>
                  <a:gd name="T23" fmla="*/ 83 h 209"/>
                  <a:gd name="T24" fmla="*/ 58 w 179"/>
                  <a:gd name="T25" fmla="*/ 27 h 209"/>
                  <a:gd name="T26" fmla="*/ 117 w 179"/>
                  <a:gd name="T27" fmla="*/ 18 h 209"/>
                  <a:gd name="T28" fmla="*/ 160 w 179"/>
                  <a:gd name="T29" fmla="*/ 128 h 209"/>
                  <a:gd name="T30" fmla="*/ 153 w 179"/>
                  <a:gd name="T31" fmla="*/ 152 h 209"/>
                  <a:gd name="T32" fmla="*/ 128 w 179"/>
                  <a:gd name="T33" fmla="*/ 151 h 209"/>
                  <a:gd name="T34" fmla="*/ 122 w 179"/>
                  <a:gd name="T35" fmla="*/ 186 h 209"/>
                  <a:gd name="T36" fmla="*/ 165 w 179"/>
                  <a:gd name="T37" fmla="*/ 186 h 209"/>
                  <a:gd name="T38" fmla="*/ 171 w 179"/>
                  <a:gd name="T39" fmla="*/ 174 h 209"/>
                  <a:gd name="T40" fmla="*/ 161 w 179"/>
                  <a:gd name="T41" fmla="*/ 153 h 209"/>
                  <a:gd name="T42" fmla="*/ 88 w 179"/>
                  <a:gd name="T43" fmla="*/ 72 h 209"/>
                  <a:gd name="T44" fmla="*/ 102 w 179"/>
                  <a:gd name="T45" fmla="*/ 68 h 209"/>
                  <a:gd name="T46" fmla="*/ 73 w 179"/>
                  <a:gd name="T47" fmla="*/ 79 h 209"/>
                  <a:gd name="T48" fmla="*/ 64 w 179"/>
                  <a:gd name="T49" fmla="*/ 77 h 209"/>
                  <a:gd name="T50" fmla="*/ 56 w 179"/>
                  <a:gd name="T51" fmla="*/ 100 h 209"/>
                  <a:gd name="T52" fmla="*/ 45 w 179"/>
                  <a:gd name="T53" fmla="*/ 140 h 209"/>
                  <a:gd name="T54" fmla="*/ 38 w 179"/>
                  <a:gd name="T55" fmla="*/ 121 h 209"/>
                  <a:gd name="T56" fmla="*/ 40 w 179"/>
                  <a:gd name="T57" fmla="*/ 143 h 209"/>
                  <a:gd name="T58" fmla="*/ 64 w 179"/>
                  <a:gd name="T59" fmla="*/ 177 h 209"/>
                  <a:gd name="T60" fmla="*/ 70 w 179"/>
                  <a:gd name="T61" fmla="*/ 197 h 209"/>
                  <a:gd name="T62" fmla="*/ 68 w 179"/>
                  <a:gd name="T63" fmla="*/ 183 h 209"/>
                  <a:gd name="T64" fmla="*/ 109 w 179"/>
                  <a:gd name="T65" fmla="*/ 179 h 209"/>
                  <a:gd name="T66" fmla="*/ 115 w 179"/>
                  <a:gd name="T67" fmla="*/ 186 h 209"/>
                  <a:gd name="T68" fmla="*/ 119 w 179"/>
                  <a:gd name="T69" fmla="*/ 171 h 209"/>
                  <a:gd name="T70" fmla="*/ 126 w 179"/>
                  <a:gd name="T71" fmla="*/ 146 h 209"/>
                  <a:gd name="T72" fmla="*/ 126 w 179"/>
                  <a:gd name="T73" fmla="*/ 92 h 209"/>
                  <a:gd name="T74" fmla="*/ 128 w 179"/>
                  <a:gd name="T75" fmla="*/ 135 h 209"/>
                  <a:gd name="T76" fmla="*/ 117 w 179"/>
                  <a:gd name="T77" fmla="*/ 94 h 209"/>
                  <a:gd name="T78" fmla="*/ 104 w 179"/>
                  <a:gd name="T79" fmla="*/ 53 h 209"/>
                  <a:gd name="T80" fmla="*/ 98 w 179"/>
                  <a:gd name="T81" fmla="*/ 37 h 209"/>
                  <a:gd name="T82" fmla="*/ 107 w 179"/>
                  <a:gd name="T83" fmla="*/ 48 h 209"/>
                  <a:gd name="T84" fmla="*/ 87 w 179"/>
                  <a:gd name="T85" fmla="*/ 42 h 209"/>
                  <a:gd name="T86" fmla="*/ 78 w 179"/>
                  <a:gd name="T87" fmla="*/ 44 h 209"/>
                  <a:gd name="T88" fmla="*/ 66 w 179"/>
                  <a:gd name="T89" fmla="*/ 35 h 209"/>
                  <a:gd name="T90" fmla="*/ 67 w 179"/>
                  <a:gd name="T91" fmla="*/ 47 h 209"/>
                  <a:gd name="T92" fmla="*/ 73 w 179"/>
                  <a:gd name="T93" fmla="*/ 48 h 209"/>
                  <a:gd name="T94" fmla="*/ 65 w 179"/>
                  <a:gd name="T95" fmla="*/ 60 h 209"/>
                  <a:gd name="T96" fmla="*/ 101 w 179"/>
                  <a:gd name="T97" fmla="*/ 58 h 209"/>
                  <a:gd name="T98" fmla="*/ 86 w 179"/>
                  <a:gd name="T99" fmla="*/ 67 h 209"/>
                  <a:gd name="T100" fmla="*/ 72 w 179"/>
                  <a:gd name="T101" fmla="*/ 40 h 209"/>
                  <a:gd name="T102" fmla="*/ 73 w 179"/>
                  <a:gd name="T103" fmla="*/ 45 h 209"/>
                  <a:gd name="T104" fmla="*/ 99 w 179"/>
                  <a:gd name="T105" fmla="*/ 39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79" h="209">
                    <a:moveTo>
                      <a:pt x="161" y="153"/>
                    </a:moveTo>
                    <a:cubicBezTo>
                      <a:pt x="161" y="156"/>
                      <a:pt x="162" y="158"/>
                      <a:pt x="163" y="161"/>
                    </a:cubicBezTo>
                    <a:cubicBezTo>
                      <a:pt x="164" y="165"/>
                      <a:pt x="167" y="168"/>
                      <a:pt x="170" y="171"/>
                    </a:cubicBezTo>
                    <a:cubicBezTo>
                      <a:pt x="172" y="172"/>
                      <a:pt x="174" y="173"/>
                      <a:pt x="175" y="174"/>
                    </a:cubicBezTo>
                    <a:cubicBezTo>
                      <a:pt x="179" y="177"/>
                      <a:pt x="179" y="180"/>
                      <a:pt x="176" y="183"/>
                    </a:cubicBezTo>
                    <a:cubicBezTo>
                      <a:pt x="173" y="186"/>
                      <a:pt x="170" y="188"/>
                      <a:pt x="166" y="189"/>
                    </a:cubicBezTo>
                    <a:cubicBezTo>
                      <a:pt x="157" y="193"/>
                      <a:pt x="148" y="199"/>
                      <a:pt x="141" y="206"/>
                    </a:cubicBezTo>
                    <a:cubicBezTo>
                      <a:pt x="139" y="208"/>
                      <a:pt x="137" y="208"/>
                      <a:pt x="134" y="209"/>
                    </a:cubicBezTo>
                    <a:cubicBezTo>
                      <a:pt x="131" y="209"/>
                      <a:pt x="128" y="209"/>
                      <a:pt x="125" y="208"/>
                    </a:cubicBezTo>
                    <a:cubicBezTo>
                      <a:pt x="122" y="207"/>
                      <a:pt x="119" y="206"/>
                      <a:pt x="118" y="203"/>
                    </a:cubicBezTo>
                    <a:cubicBezTo>
                      <a:pt x="116" y="200"/>
                      <a:pt x="113" y="198"/>
                      <a:pt x="110" y="198"/>
                    </a:cubicBezTo>
                    <a:cubicBezTo>
                      <a:pt x="100" y="198"/>
                      <a:pt x="90" y="198"/>
                      <a:pt x="81" y="198"/>
                    </a:cubicBezTo>
                    <a:cubicBezTo>
                      <a:pt x="76" y="198"/>
                      <a:pt x="72" y="199"/>
                      <a:pt x="68" y="202"/>
                    </a:cubicBezTo>
                    <a:cubicBezTo>
                      <a:pt x="66" y="203"/>
                      <a:pt x="64" y="204"/>
                      <a:pt x="63" y="205"/>
                    </a:cubicBezTo>
                    <a:cubicBezTo>
                      <a:pt x="58" y="208"/>
                      <a:pt x="54" y="209"/>
                      <a:pt x="48" y="207"/>
                    </a:cubicBezTo>
                    <a:cubicBezTo>
                      <a:pt x="43" y="206"/>
                      <a:pt x="38" y="203"/>
                      <a:pt x="32" y="202"/>
                    </a:cubicBezTo>
                    <a:cubicBezTo>
                      <a:pt x="25" y="200"/>
                      <a:pt x="18" y="199"/>
                      <a:pt x="11" y="197"/>
                    </a:cubicBezTo>
                    <a:cubicBezTo>
                      <a:pt x="9" y="197"/>
                      <a:pt x="7" y="196"/>
                      <a:pt x="5" y="195"/>
                    </a:cubicBezTo>
                    <a:cubicBezTo>
                      <a:pt x="1" y="194"/>
                      <a:pt x="0" y="191"/>
                      <a:pt x="1" y="188"/>
                    </a:cubicBezTo>
                    <a:cubicBezTo>
                      <a:pt x="1" y="186"/>
                      <a:pt x="2" y="185"/>
                      <a:pt x="2" y="184"/>
                    </a:cubicBezTo>
                    <a:cubicBezTo>
                      <a:pt x="4" y="180"/>
                      <a:pt x="4" y="176"/>
                      <a:pt x="3" y="172"/>
                    </a:cubicBezTo>
                    <a:cubicBezTo>
                      <a:pt x="3" y="170"/>
                      <a:pt x="2" y="168"/>
                      <a:pt x="2" y="167"/>
                    </a:cubicBezTo>
                    <a:cubicBezTo>
                      <a:pt x="1" y="162"/>
                      <a:pt x="3" y="160"/>
                      <a:pt x="7" y="160"/>
                    </a:cubicBezTo>
                    <a:cubicBezTo>
                      <a:pt x="10" y="160"/>
                      <a:pt x="12" y="160"/>
                      <a:pt x="14" y="159"/>
                    </a:cubicBezTo>
                    <a:cubicBezTo>
                      <a:pt x="19" y="158"/>
                      <a:pt x="22" y="155"/>
                      <a:pt x="23" y="150"/>
                    </a:cubicBezTo>
                    <a:cubicBezTo>
                      <a:pt x="23" y="150"/>
                      <a:pt x="23" y="150"/>
                      <a:pt x="23" y="150"/>
                    </a:cubicBezTo>
                    <a:cubicBezTo>
                      <a:pt x="25" y="153"/>
                      <a:pt x="23" y="160"/>
                      <a:pt x="17" y="161"/>
                    </a:cubicBezTo>
                    <a:cubicBezTo>
                      <a:pt x="15" y="162"/>
                      <a:pt x="12" y="163"/>
                      <a:pt x="9" y="162"/>
                    </a:cubicBezTo>
                    <a:cubicBezTo>
                      <a:pt x="9" y="162"/>
                      <a:pt x="9" y="162"/>
                      <a:pt x="9" y="162"/>
                    </a:cubicBezTo>
                    <a:cubicBezTo>
                      <a:pt x="5" y="162"/>
                      <a:pt x="3" y="164"/>
                      <a:pt x="4" y="168"/>
                    </a:cubicBezTo>
                    <a:cubicBezTo>
                      <a:pt x="5" y="169"/>
                      <a:pt x="6" y="171"/>
                      <a:pt x="6" y="172"/>
                    </a:cubicBezTo>
                    <a:cubicBezTo>
                      <a:pt x="8" y="176"/>
                      <a:pt x="8" y="180"/>
                      <a:pt x="6" y="183"/>
                    </a:cubicBezTo>
                    <a:cubicBezTo>
                      <a:pt x="6" y="185"/>
                      <a:pt x="5" y="186"/>
                      <a:pt x="5" y="188"/>
                    </a:cubicBezTo>
                    <a:cubicBezTo>
                      <a:pt x="4" y="190"/>
                      <a:pt x="4" y="192"/>
                      <a:pt x="7" y="192"/>
                    </a:cubicBezTo>
                    <a:cubicBezTo>
                      <a:pt x="9" y="193"/>
                      <a:pt x="11" y="194"/>
                      <a:pt x="13" y="194"/>
                    </a:cubicBezTo>
                    <a:cubicBezTo>
                      <a:pt x="24" y="196"/>
                      <a:pt x="35" y="199"/>
                      <a:pt x="45" y="202"/>
                    </a:cubicBezTo>
                    <a:cubicBezTo>
                      <a:pt x="49" y="203"/>
                      <a:pt x="52" y="204"/>
                      <a:pt x="55" y="203"/>
                    </a:cubicBezTo>
                    <a:cubicBezTo>
                      <a:pt x="63" y="202"/>
                      <a:pt x="66" y="197"/>
                      <a:pt x="65" y="190"/>
                    </a:cubicBezTo>
                    <a:cubicBezTo>
                      <a:pt x="64" y="186"/>
                      <a:pt x="62" y="182"/>
                      <a:pt x="60" y="179"/>
                    </a:cubicBezTo>
                    <a:cubicBezTo>
                      <a:pt x="55" y="170"/>
                      <a:pt x="49" y="161"/>
                      <a:pt x="42" y="152"/>
                    </a:cubicBezTo>
                    <a:cubicBezTo>
                      <a:pt x="40" y="150"/>
                      <a:pt x="37" y="147"/>
                      <a:pt x="35" y="145"/>
                    </a:cubicBezTo>
                    <a:cubicBezTo>
                      <a:pt x="32" y="143"/>
                      <a:pt x="30" y="143"/>
                      <a:pt x="27" y="145"/>
                    </a:cubicBezTo>
                    <a:cubicBezTo>
                      <a:pt x="26" y="145"/>
                      <a:pt x="25" y="145"/>
                      <a:pt x="25" y="144"/>
                    </a:cubicBezTo>
                    <a:cubicBezTo>
                      <a:pt x="24" y="140"/>
                      <a:pt x="24" y="137"/>
                      <a:pt x="25" y="134"/>
                    </a:cubicBezTo>
                    <a:cubicBezTo>
                      <a:pt x="26" y="132"/>
                      <a:pt x="26" y="131"/>
                      <a:pt x="27" y="130"/>
                    </a:cubicBezTo>
                    <a:cubicBezTo>
                      <a:pt x="30" y="125"/>
                      <a:pt x="33" y="119"/>
                      <a:pt x="35" y="112"/>
                    </a:cubicBezTo>
                    <a:cubicBezTo>
                      <a:pt x="37" y="106"/>
                      <a:pt x="39" y="100"/>
                      <a:pt x="43" y="94"/>
                    </a:cubicBezTo>
                    <a:cubicBezTo>
                      <a:pt x="46" y="90"/>
                      <a:pt x="49" y="87"/>
                      <a:pt x="52" y="83"/>
                    </a:cubicBezTo>
                    <a:cubicBezTo>
                      <a:pt x="54" y="80"/>
                      <a:pt x="56" y="77"/>
                      <a:pt x="58" y="73"/>
                    </a:cubicBezTo>
                    <a:cubicBezTo>
                      <a:pt x="60" y="71"/>
                      <a:pt x="60" y="68"/>
                      <a:pt x="60" y="65"/>
                    </a:cubicBezTo>
                    <a:cubicBezTo>
                      <a:pt x="59" y="58"/>
                      <a:pt x="59" y="51"/>
                      <a:pt x="59" y="44"/>
                    </a:cubicBezTo>
                    <a:cubicBezTo>
                      <a:pt x="58" y="38"/>
                      <a:pt x="58" y="33"/>
                      <a:pt x="58" y="27"/>
                    </a:cubicBezTo>
                    <a:cubicBezTo>
                      <a:pt x="59" y="16"/>
                      <a:pt x="63" y="8"/>
                      <a:pt x="73" y="3"/>
                    </a:cubicBezTo>
                    <a:cubicBezTo>
                      <a:pt x="77" y="1"/>
                      <a:pt x="81" y="0"/>
                      <a:pt x="85" y="0"/>
                    </a:cubicBezTo>
                    <a:cubicBezTo>
                      <a:pt x="91" y="0"/>
                      <a:pt x="97" y="1"/>
                      <a:pt x="102" y="3"/>
                    </a:cubicBezTo>
                    <a:cubicBezTo>
                      <a:pt x="109" y="6"/>
                      <a:pt x="114" y="11"/>
                      <a:pt x="117" y="18"/>
                    </a:cubicBezTo>
                    <a:cubicBezTo>
                      <a:pt x="121" y="24"/>
                      <a:pt x="122" y="30"/>
                      <a:pt x="122" y="36"/>
                    </a:cubicBezTo>
                    <a:cubicBezTo>
                      <a:pt x="123" y="40"/>
                      <a:pt x="122" y="44"/>
                      <a:pt x="123" y="47"/>
                    </a:cubicBezTo>
                    <a:cubicBezTo>
                      <a:pt x="124" y="61"/>
                      <a:pt x="128" y="74"/>
                      <a:pt x="138" y="85"/>
                    </a:cubicBezTo>
                    <a:cubicBezTo>
                      <a:pt x="150" y="97"/>
                      <a:pt x="156" y="112"/>
                      <a:pt x="160" y="128"/>
                    </a:cubicBezTo>
                    <a:cubicBezTo>
                      <a:pt x="161" y="133"/>
                      <a:pt x="161" y="138"/>
                      <a:pt x="160" y="143"/>
                    </a:cubicBezTo>
                    <a:cubicBezTo>
                      <a:pt x="160" y="144"/>
                      <a:pt x="159" y="145"/>
                      <a:pt x="159" y="146"/>
                    </a:cubicBezTo>
                    <a:cubicBezTo>
                      <a:pt x="158" y="147"/>
                      <a:pt x="158" y="148"/>
                      <a:pt x="157" y="148"/>
                    </a:cubicBezTo>
                    <a:cubicBezTo>
                      <a:pt x="155" y="149"/>
                      <a:pt x="154" y="151"/>
                      <a:pt x="153" y="152"/>
                    </a:cubicBezTo>
                    <a:cubicBezTo>
                      <a:pt x="151" y="154"/>
                      <a:pt x="149" y="156"/>
                      <a:pt x="147" y="158"/>
                    </a:cubicBezTo>
                    <a:cubicBezTo>
                      <a:pt x="143" y="160"/>
                      <a:pt x="139" y="161"/>
                      <a:pt x="135" y="159"/>
                    </a:cubicBezTo>
                    <a:cubicBezTo>
                      <a:pt x="133" y="159"/>
                      <a:pt x="132" y="157"/>
                      <a:pt x="131" y="155"/>
                    </a:cubicBezTo>
                    <a:cubicBezTo>
                      <a:pt x="130" y="154"/>
                      <a:pt x="129" y="152"/>
                      <a:pt x="128" y="151"/>
                    </a:cubicBezTo>
                    <a:cubicBezTo>
                      <a:pt x="127" y="149"/>
                      <a:pt x="126" y="148"/>
                      <a:pt x="125" y="148"/>
                    </a:cubicBezTo>
                    <a:cubicBezTo>
                      <a:pt x="123" y="148"/>
                      <a:pt x="122" y="150"/>
                      <a:pt x="121" y="151"/>
                    </a:cubicBezTo>
                    <a:cubicBezTo>
                      <a:pt x="120" y="155"/>
                      <a:pt x="120" y="159"/>
                      <a:pt x="121" y="163"/>
                    </a:cubicBezTo>
                    <a:cubicBezTo>
                      <a:pt x="123" y="171"/>
                      <a:pt x="123" y="178"/>
                      <a:pt x="122" y="186"/>
                    </a:cubicBezTo>
                    <a:cubicBezTo>
                      <a:pt x="121" y="189"/>
                      <a:pt x="121" y="192"/>
                      <a:pt x="122" y="194"/>
                    </a:cubicBezTo>
                    <a:cubicBezTo>
                      <a:pt x="123" y="201"/>
                      <a:pt x="129" y="205"/>
                      <a:pt x="136" y="202"/>
                    </a:cubicBezTo>
                    <a:cubicBezTo>
                      <a:pt x="139" y="201"/>
                      <a:pt x="142" y="199"/>
                      <a:pt x="144" y="197"/>
                    </a:cubicBezTo>
                    <a:cubicBezTo>
                      <a:pt x="150" y="192"/>
                      <a:pt x="158" y="189"/>
                      <a:pt x="165" y="186"/>
                    </a:cubicBezTo>
                    <a:cubicBezTo>
                      <a:pt x="168" y="185"/>
                      <a:pt x="170" y="184"/>
                      <a:pt x="173" y="183"/>
                    </a:cubicBezTo>
                    <a:cubicBezTo>
                      <a:pt x="174" y="182"/>
                      <a:pt x="174" y="182"/>
                      <a:pt x="175" y="181"/>
                    </a:cubicBezTo>
                    <a:cubicBezTo>
                      <a:pt x="176" y="180"/>
                      <a:pt x="176" y="178"/>
                      <a:pt x="175" y="177"/>
                    </a:cubicBezTo>
                    <a:cubicBezTo>
                      <a:pt x="174" y="176"/>
                      <a:pt x="172" y="175"/>
                      <a:pt x="171" y="174"/>
                    </a:cubicBezTo>
                    <a:cubicBezTo>
                      <a:pt x="170" y="173"/>
                      <a:pt x="169" y="173"/>
                      <a:pt x="168" y="173"/>
                    </a:cubicBezTo>
                    <a:cubicBezTo>
                      <a:pt x="163" y="171"/>
                      <a:pt x="161" y="168"/>
                      <a:pt x="160" y="163"/>
                    </a:cubicBezTo>
                    <a:cubicBezTo>
                      <a:pt x="159" y="161"/>
                      <a:pt x="160" y="158"/>
                      <a:pt x="160" y="155"/>
                    </a:cubicBezTo>
                    <a:cubicBezTo>
                      <a:pt x="160" y="154"/>
                      <a:pt x="160" y="154"/>
                      <a:pt x="161" y="153"/>
                    </a:cubicBezTo>
                    <a:close/>
                    <a:moveTo>
                      <a:pt x="71" y="69"/>
                    </a:moveTo>
                    <a:cubicBezTo>
                      <a:pt x="71" y="69"/>
                      <a:pt x="71" y="69"/>
                      <a:pt x="71" y="69"/>
                    </a:cubicBezTo>
                    <a:cubicBezTo>
                      <a:pt x="73" y="71"/>
                      <a:pt x="74" y="73"/>
                      <a:pt x="77" y="74"/>
                    </a:cubicBezTo>
                    <a:cubicBezTo>
                      <a:pt x="81" y="74"/>
                      <a:pt x="85" y="73"/>
                      <a:pt x="88" y="72"/>
                    </a:cubicBezTo>
                    <a:cubicBezTo>
                      <a:pt x="91" y="70"/>
                      <a:pt x="94" y="68"/>
                      <a:pt x="98" y="67"/>
                    </a:cubicBezTo>
                    <a:cubicBezTo>
                      <a:pt x="99" y="66"/>
                      <a:pt x="100" y="66"/>
                      <a:pt x="101" y="66"/>
                    </a:cubicBezTo>
                    <a:cubicBezTo>
                      <a:pt x="101" y="66"/>
                      <a:pt x="102" y="66"/>
                      <a:pt x="102" y="66"/>
                    </a:cubicBezTo>
                    <a:cubicBezTo>
                      <a:pt x="102" y="67"/>
                      <a:pt x="102" y="68"/>
                      <a:pt x="102" y="68"/>
                    </a:cubicBezTo>
                    <a:cubicBezTo>
                      <a:pt x="101" y="69"/>
                      <a:pt x="100" y="69"/>
                      <a:pt x="99" y="69"/>
                    </a:cubicBezTo>
                    <a:cubicBezTo>
                      <a:pt x="95" y="71"/>
                      <a:pt x="91" y="74"/>
                      <a:pt x="87" y="77"/>
                    </a:cubicBezTo>
                    <a:cubicBezTo>
                      <a:pt x="85" y="79"/>
                      <a:pt x="83" y="80"/>
                      <a:pt x="81" y="81"/>
                    </a:cubicBezTo>
                    <a:cubicBezTo>
                      <a:pt x="78" y="82"/>
                      <a:pt x="76" y="82"/>
                      <a:pt x="73" y="79"/>
                    </a:cubicBezTo>
                    <a:cubicBezTo>
                      <a:pt x="71" y="77"/>
                      <a:pt x="69" y="74"/>
                      <a:pt x="67" y="71"/>
                    </a:cubicBezTo>
                    <a:cubicBezTo>
                      <a:pt x="67" y="71"/>
                      <a:pt x="66" y="70"/>
                      <a:pt x="65" y="69"/>
                    </a:cubicBezTo>
                    <a:cubicBezTo>
                      <a:pt x="65" y="70"/>
                      <a:pt x="65" y="70"/>
                      <a:pt x="65" y="71"/>
                    </a:cubicBezTo>
                    <a:cubicBezTo>
                      <a:pt x="64" y="73"/>
                      <a:pt x="64" y="75"/>
                      <a:pt x="64" y="77"/>
                    </a:cubicBezTo>
                    <a:cubicBezTo>
                      <a:pt x="63" y="79"/>
                      <a:pt x="61" y="81"/>
                      <a:pt x="60" y="83"/>
                    </a:cubicBezTo>
                    <a:cubicBezTo>
                      <a:pt x="59" y="86"/>
                      <a:pt x="57" y="89"/>
                      <a:pt x="57" y="92"/>
                    </a:cubicBezTo>
                    <a:cubicBezTo>
                      <a:pt x="57" y="94"/>
                      <a:pt x="58" y="96"/>
                      <a:pt x="58" y="98"/>
                    </a:cubicBezTo>
                    <a:cubicBezTo>
                      <a:pt x="58" y="99"/>
                      <a:pt x="57" y="99"/>
                      <a:pt x="56" y="100"/>
                    </a:cubicBezTo>
                    <a:cubicBezTo>
                      <a:pt x="54" y="104"/>
                      <a:pt x="52" y="108"/>
                      <a:pt x="50" y="112"/>
                    </a:cubicBezTo>
                    <a:cubicBezTo>
                      <a:pt x="48" y="117"/>
                      <a:pt x="46" y="122"/>
                      <a:pt x="46" y="127"/>
                    </a:cubicBezTo>
                    <a:cubicBezTo>
                      <a:pt x="46" y="130"/>
                      <a:pt x="46" y="133"/>
                      <a:pt x="46" y="136"/>
                    </a:cubicBezTo>
                    <a:cubicBezTo>
                      <a:pt x="46" y="137"/>
                      <a:pt x="45" y="139"/>
                      <a:pt x="45" y="140"/>
                    </a:cubicBezTo>
                    <a:cubicBezTo>
                      <a:pt x="45" y="141"/>
                      <a:pt x="44" y="142"/>
                      <a:pt x="43" y="141"/>
                    </a:cubicBezTo>
                    <a:cubicBezTo>
                      <a:pt x="42" y="140"/>
                      <a:pt x="41" y="139"/>
                      <a:pt x="40" y="138"/>
                    </a:cubicBezTo>
                    <a:cubicBezTo>
                      <a:pt x="38" y="134"/>
                      <a:pt x="37" y="130"/>
                      <a:pt x="38" y="125"/>
                    </a:cubicBezTo>
                    <a:cubicBezTo>
                      <a:pt x="38" y="124"/>
                      <a:pt x="38" y="122"/>
                      <a:pt x="38" y="121"/>
                    </a:cubicBezTo>
                    <a:cubicBezTo>
                      <a:pt x="38" y="121"/>
                      <a:pt x="38" y="121"/>
                      <a:pt x="38" y="121"/>
                    </a:cubicBezTo>
                    <a:cubicBezTo>
                      <a:pt x="37" y="122"/>
                      <a:pt x="37" y="122"/>
                      <a:pt x="37" y="123"/>
                    </a:cubicBezTo>
                    <a:cubicBezTo>
                      <a:pt x="35" y="127"/>
                      <a:pt x="35" y="131"/>
                      <a:pt x="37" y="135"/>
                    </a:cubicBezTo>
                    <a:cubicBezTo>
                      <a:pt x="37" y="138"/>
                      <a:pt x="38" y="141"/>
                      <a:pt x="40" y="143"/>
                    </a:cubicBezTo>
                    <a:cubicBezTo>
                      <a:pt x="44" y="146"/>
                      <a:pt x="48" y="150"/>
                      <a:pt x="52" y="153"/>
                    </a:cubicBezTo>
                    <a:cubicBezTo>
                      <a:pt x="57" y="157"/>
                      <a:pt x="62" y="161"/>
                      <a:pt x="67" y="165"/>
                    </a:cubicBezTo>
                    <a:cubicBezTo>
                      <a:pt x="69" y="167"/>
                      <a:pt x="70" y="169"/>
                      <a:pt x="69" y="172"/>
                    </a:cubicBezTo>
                    <a:cubicBezTo>
                      <a:pt x="68" y="175"/>
                      <a:pt x="67" y="176"/>
                      <a:pt x="64" y="177"/>
                    </a:cubicBezTo>
                    <a:cubicBezTo>
                      <a:pt x="64" y="178"/>
                      <a:pt x="63" y="178"/>
                      <a:pt x="62" y="178"/>
                    </a:cubicBezTo>
                    <a:cubicBezTo>
                      <a:pt x="63" y="180"/>
                      <a:pt x="65" y="182"/>
                      <a:pt x="66" y="183"/>
                    </a:cubicBezTo>
                    <a:cubicBezTo>
                      <a:pt x="68" y="186"/>
                      <a:pt x="69" y="189"/>
                      <a:pt x="69" y="192"/>
                    </a:cubicBezTo>
                    <a:cubicBezTo>
                      <a:pt x="70" y="194"/>
                      <a:pt x="70" y="195"/>
                      <a:pt x="70" y="197"/>
                    </a:cubicBezTo>
                    <a:cubicBezTo>
                      <a:pt x="70" y="197"/>
                      <a:pt x="70" y="197"/>
                      <a:pt x="70" y="197"/>
                    </a:cubicBezTo>
                    <a:cubicBezTo>
                      <a:pt x="73" y="195"/>
                      <a:pt x="73" y="193"/>
                      <a:pt x="72" y="191"/>
                    </a:cubicBezTo>
                    <a:cubicBezTo>
                      <a:pt x="72" y="188"/>
                      <a:pt x="70" y="186"/>
                      <a:pt x="69" y="184"/>
                    </a:cubicBezTo>
                    <a:cubicBezTo>
                      <a:pt x="68" y="184"/>
                      <a:pt x="68" y="183"/>
                      <a:pt x="68" y="183"/>
                    </a:cubicBezTo>
                    <a:cubicBezTo>
                      <a:pt x="69" y="181"/>
                      <a:pt x="71" y="181"/>
                      <a:pt x="72" y="182"/>
                    </a:cubicBezTo>
                    <a:cubicBezTo>
                      <a:pt x="74" y="184"/>
                      <a:pt x="76" y="185"/>
                      <a:pt x="79" y="186"/>
                    </a:cubicBezTo>
                    <a:cubicBezTo>
                      <a:pt x="85" y="187"/>
                      <a:pt x="91" y="187"/>
                      <a:pt x="97" y="185"/>
                    </a:cubicBezTo>
                    <a:cubicBezTo>
                      <a:pt x="101" y="184"/>
                      <a:pt x="106" y="182"/>
                      <a:pt x="109" y="179"/>
                    </a:cubicBezTo>
                    <a:cubicBezTo>
                      <a:pt x="111" y="177"/>
                      <a:pt x="112" y="175"/>
                      <a:pt x="114" y="174"/>
                    </a:cubicBezTo>
                    <a:cubicBezTo>
                      <a:pt x="114" y="173"/>
                      <a:pt x="115" y="172"/>
                      <a:pt x="115" y="173"/>
                    </a:cubicBezTo>
                    <a:cubicBezTo>
                      <a:pt x="116" y="173"/>
                      <a:pt x="116" y="174"/>
                      <a:pt x="117" y="174"/>
                    </a:cubicBezTo>
                    <a:cubicBezTo>
                      <a:pt x="117" y="178"/>
                      <a:pt x="117" y="182"/>
                      <a:pt x="115" y="186"/>
                    </a:cubicBezTo>
                    <a:cubicBezTo>
                      <a:pt x="115" y="188"/>
                      <a:pt x="114" y="190"/>
                      <a:pt x="114" y="193"/>
                    </a:cubicBezTo>
                    <a:cubicBezTo>
                      <a:pt x="113" y="195"/>
                      <a:pt x="114" y="195"/>
                      <a:pt x="116" y="195"/>
                    </a:cubicBezTo>
                    <a:cubicBezTo>
                      <a:pt x="117" y="191"/>
                      <a:pt x="118" y="187"/>
                      <a:pt x="119" y="182"/>
                    </a:cubicBezTo>
                    <a:cubicBezTo>
                      <a:pt x="119" y="179"/>
                      <a:pt x="120" y="175"/>
                      <a:pt x="119" y="171"/>
                    </a:cubicBezTo>
                    <a:cubicBezTo>
                      <a:pt x="119" y="167"/>
                      <a:pt x="118" y="163"/>
                      <a:pt x="118" y="160"/>
                    </a:cubicBezTo>
                    <a:cubicBezTo>
                      <a:pt x="118" y="156"/>
                      <a:pt x="118" y="153"/>
                      <a:pt x="119" y="150"/>
                    </a:cubicBezTo>
                    <a:cubicBezTo>
                      <a:pt x="120" y="147"/>
                      <a:pt x="122" y="146"/>
                      <a:pt x="126" y="146"/>
                    </a:cubicBezTo>
                    <a:cubicBezTo>
                      <a:pt x="126" y="146"/>
                      <a:pt x="126" y="146"/>
                      <a:pt x="126" y="146"/>
                    </a:cubicBezTo>
                    <a:cubicBezTo>
                      <a:pt x="127" y="142"/>
                      <a:pt x="129" y="140"/>
                      <a:pt x="132" y="139"/>
                    </a:cubicBezTo>
                    <a:cubicBezTo>
                      <a:pt x="137" y="138"/>
                      <a:pt x="142" y="138"/>
                      <a:pt x="146" y="141"/>
                    </a:cubicBezTo>
                    <a:cubicBezTo>
                      <a:pt x="145" y="138"/>
                      <a:pt x="142" y="138"/>
                      <a:pt x="140" y="136"/>
                    </a:cubicBezTo>
                    <a:cubicBezTo>
                      <a:pt x="145" y="119"/>
                      <a:pt x="136" y="97"/>
                      <a:pt x="126" y="92"/>
                    </a:cubicBezTo>
                    <a:cubicBezTo>
                      <a:pt x="131" y="97"/>
                      <a:pt x="134" y="104"/>
                      <a:pt x="136" y="110"/>
                    </a:cubicBezTo>
                    <a:cubicBezTo>
                      <a:pt x="139" y="117"/>
                      <a:pt x="140" y="124"/>
                      <a:pt x="139" y="131"/>
                    </a:cubicBezTo>
                    <a:cubicBezTo>
                      <a:pt x="138" y="136"/>
                      <a:pt x="136" y="138"/>
                      <a:pt x="132" y="138"/>
                    </a:cubicBezTo>
                    <a:cubicBezTo>
                      <a:pt x="130" y="138"/>
                      <a:pt x="128" y="137"/>
                      <a:pt x="128" y="135"/>
                    </a:cubicBezTo>
                    <a:cubicBezTo>
                      <a:pt x="127" y="133"/>
                      <a:pt x="127" y="131"/>
                      <a:pt x="127" y="129"/>
                    </a:cubicBezTo>
                    <a:cubicBezTo>
                      <a:pt x="127" y="121"/>
                      <a:pt x="126" y="114"/>
                      <a:pt x="124" y="107"/>
                    </a:cubicBezTo>
                    <a:cubicBezTo>
                      <a:pt x="123" y="103"/>
                      <a:pt x="121" y="98"/>
                      <a:pt x="117" y="95"/>
                    </a:cubicBezTo>
                    <a:cubicBezTo>
                      <a:pt x="117" y="95"/>
                      <a:pt x="117" y="94"/>
                      <a:pt x="117" y="94"/>
                    </a:cubicBezTo>
                    <a:cubicBezTo>
                      <a:pt x="115" y="86"/>
                      <a:pt x="112" y="79"/>
                      <a:pt x="108" y="73"/>
                    </a:cubicBezTo>
                    <a:cubicBezTo>
                      <a:pt x="106" y="70"/>
                      <a:pt x="105" y="67"/>
                      <a:pt x="106" y="64"/>
                    </a:cubicBezTo>
                    <a:cubicBezTo>
                      <a:pt x="106" y="62"/>
                      <a:pt x="106" y="60"/>
                      <a:pt x="107" y="59"/>
                    </a:cubicBezTo>
                    <a:cubicBezTo>
                      <a:pt x="107" y="56"/>
                      <a:pt x="106" y="54"/>
                      <a:pt x="104" y="53"/>
                    </a:cubicBezTo>
                    <a:cubicBezTo>
                      <a:pt x="100" y="53"/>
                      <a:pt x="97" y="51"/>
                      <a:pt x="94" y="50"/>
                    </a:cubicBezTo>
                    <a:cubicBezTo>
                      <a:pt x="91" y="49"/>
                      <a:pt x="91" y="47"/>
                      <a:pt x="91" y="45"/>
                    </a:cubicBezTo>
                    <a:cubicBezTo>
                      <a:pt x="91" y="43"/>
                      <a:pt x="91" y="42"/>
                      <a:pt x="92" y="40"/>
                    </a:cubicBezTo>
                    <a:cubicBezTo>
                      <a:pt x="93" y="38"/>
                      <a:pt x="95" y="36"/>
                      <a:pt x="98" y="37"/>
                    </a:cubicBezTo>
                    <a:cubicBezTo>
                      <a:pt x="99" y="37"/>
                      <a:pt x="101" y="38"/>
                      <a:pt x="102" y="40"/>
                    </a:cubicBezTo>
                    <a:cubicBezTo>
                      <a:pt x="103" y="42"/>
                      <a:pt x="103" y="45"/>
                      <a:pt x="102" y="48"/>
                    </a:cubicBezTo>
                    <a:cubicBezTo>
                      <a:pt x="102" y="49"/>
                      <a:pt x="101" y="50"/>
                      <a:pt x="102" y="50"/>
                    </a:cubicBezTo>
                    <a:cubicBezTo>
                      <a:pt x="104" y="51"/>
                      <a:pt x="107" y="50"/>
                      <a:pt x="107" y="48"/>
                    </a:cubicBezTo>
                    <a:cubicBezTo>
                      <a:pt x="108" y="44"/>
                      <a:pt x="107" y="40"/>
                      <a:pt x="105" y="35"/>
                    </a:cubicBezTo>
                    <a:cubicBezTo>
                      <a:pt x="104" y="32"/>
                      <a:pt x="100" y="29"/>
                      <a:pt x="96" y="30"/>
                    </a:cubicBezTo>
                    <a:cubicBezTo>
                      <a:pt x="91" y="30"/>
                      <a:pt x="88" y="33"/>
                      <a:pt x="87" y="38"/>
                    </a:cubicBezTo>
                    <a:cubicBezTo>
                      <a:pt x="87" y="39"/>
                      <a:pt x="87" y="41"/>
                      <a:pt x="87" y="42"/>
                    </a:cubicBezTo>
                    <a:cubicBezTo>
                      <a:pt x="87" y="44"/>
                      <a:pt x="87" y="45"/>
                      <a:pt x="87" y="47"/>
                    </a:cubicBezTo>
                    <a:cubicBezTo>
                      <a:pt x="85" y="46"/>
                      <a:pt x="83" y="46"/>
                      <a:pt x="81" y="46"/>
                    </a:cubicBezTo>
                    <a:cubicBezTo>
                      <a:pt x="80" y="46"/>
                      <a:pt x="80" y="46"/>
                      <a:pt x="80" y="46"/>
                    </a:cubicBezTo>
                    <a:cubicBezTo>
                      <a:pt x="78" y="46"/>
                      <a:pt x="78" y="46"/>
                      <a:pt x="78" y="44"/>
                    </a:cubicBezTo>
                    <a:cubicBezTo>
                      <a:pt x="77" y="41"/>
                      <a:pt x="77" y="39"/>
                      <a:pt x="76" y="36"/>
                    </a:cubicBezTo>
                    <a:cubicBezTo>
                      <a:pt x="76" y="35"/>
                      <a:pt x="76" y="35"/>
                      <a:pt x="76" y="34"/>
                    </a:cubicBezTo>
                    <a:cubicBezTo>
                      <a:pt x="74" y="32"/>
                      <a:pt x="73" y="31"/>
                      <a:pt x="70" y="31"/>
                    </a:cubicBezTo>
                    <a:cubicBezTo>
                      <a:pt x="68" y="31"/>
                      <a:pt x="67" y="33"/>
                      <a:pt x="66" y="35"/>
                    </a:cubicBezTo>
                    <a:cubicBezTo>
                      <a:pt x="63" y="40"/>
                      <a:pt x="63" y="45"/>
                      <a:pt x="66" y="50"/>
                    </a:cubicBezTo>
                    <a:cubicBezTo>
                      <a:pt x="66" y="50"/>
                      <a:pt x="67" y="51"/>
                      <a:pt x="68" y="51"/>
                    </a:cubicBezTo>
                    <a:cubicBezTo>
                      <a:pt x="69" y="51"/>
                      <a:pt x="69" y="50"/>
                      <a:pt x="69" y="49"/>
                    </a:cubicBezTo>
                    <a:cubicBezTo>
                      <a:pt x="69" y="49"/>
                      <a:pt x="68" y="48"/>
                      <a:pt x="67" y="47"/>
                    </a:cubicBezTo>
                    <a:cubicBezTo>
                      <a:pt x="66" y="45"/>
                      <a:pt x="65" y="42"/>
                      <a:pt x="66" y="40"/>
                    </a:cubicBezTo>
                    <a:cubicBezTo>
                      <a:pt x="67" y="37"/>
                      <a:pt x="71" y="36"/>
                      <a:pt x="73" y="38"/>
                    </a:cubicBezTo>
                    <a:cubicBezTo>
                      <a:pt x="75" y="40"/>
                      <a:pt x="75" y="42"/>
                      <a:pt x="75" y="44"/>
                    </a:cubicBezTo>
                    <a:cubicBezTo>
                      <a:pt x="75" y="46"/>
                      <a:pt x="74" y="47"/>
                      <a:pt x="73" y="48"/>
                    </a:cubicBezTo>
                    <a:cubicBezTo>
                      <a:pt x="73" y="48"/>
                      <a:pt x="72" y="49"/>
                      <a:pt x="72" y="49"/>
                    </a:cubicBezTo>
                    <a:cubicBezTo>
                      <a:pt x="71" y="51"/>
                      <a:pt x="69" y="53"/>
                      <a:pt x="66" y="54"/>
                    </a:cubicBezTo>
                    <a:cubicBezTo>
                      <a:pt x="65" y="54"/>
                      <a:pt x="65" y="56"/>
                      <a:pt x="64" y="57"/>
                    </a:cubicBezTo>
                    <a:cubicBezTo>
                      <a:pt x="63" y="58"/>
                      <a:pt x="64" y="59"/>
                      <a:pt x="65" y="60"/>
                    </a:cubicBezTo>
                    <a:cubicBezTo>
                      <a:pt x="66" y="61"/>
                      <a:pt x="67" y="61"/>
                      <a:pt x="68" y="62"/>
                    </a:cubicBezTo>
                    <a:cubicBezTo>
                      <a:pt x="70" y="66"/>
                      <a:pt x="74" y="66"/>
                      <a:pt x="78" y="66"/>
                    </a:cubicBezTo>
                    <a:cubicBezTo>
                      <a:pt x="82" y="66"/>
                      <a:pt x="87" y="65"/>
                      <a:pt x="91" y="64"/>
                    </a:cubicBezTo>
                    <a:cubicBezTo>
                      <a:pt x="94" y="63"/>
                      <a:pt x="98" y="62"/>
                      <a:pt x="101" y="58"/>
                    </a:cubicBezTo>
                    <a:cubicBezTo>
                      <a:pt x="101" y="58"/>
                      <a:pt x="102" y="58"/>
                      <a:pt x="103" y="58"/>
                    </a:cubicBezTo>
                    <a:cubicBezTo>
                      <a:pt x="103" y="59"/>
                      <a:pt x="103" y="60"/>
                      <a:pt x="103" y="60"/>
                    </a:cubicBezTo>
                    <a:cubicBezTo>
                      <a:pt x="103" y="61"/>
                      <a:pt x="102" y="61"/>
                      <a:pt x="102" y="61"/>
                    </a:cubicBezTo>
                    <a:cubicBezTo>
                      <a:pt x="97" y="63"/>
                      <a:pt x="91" y="65"/>
                      <a:pt x="86" y="67"/>
                    </a:cubicBezTo>
                    <a:cubicBezTo>
                      <a:pt x="83" y="69"/>
                      <a:pt x="79" y="70"/>
                      <a:pt x="74" y="69"/>
                    </a:cubicBezTo>
                    <a:cubicBezTo>
                      <a:pt x="73" y="69"/>
                      <a:pt x="72" y="69"/>
                      <a:pt x="71" y="69"/>
                    </a:cubicBezTo>
                    <a:close/>
                    <a:moveTo>
                      <a:pt x="73" y="45"/>
                    </a:moveTo>
                    <a:cubicBezTo>
                      <a:pt x="73" y="43"/>
                      <a:pt x="73" y="41"/>
                      <a:pt x="72" y="40"/>
                    </a:cubicBezTo>
                    <a:cubicBezTo>
                      <a:pt x="71" y="40"/>
                      <a:pt x="71" y="40"/>
                      <a:pt x="70" y="40"/>
                    </a:cubicBezTo>
                    <a:cubicBezTo>
                      <a:pt x="70" y="40"/>
                      <a:pt x="70" y="41"/>
                      <a:pt x="70" y="41"/>
                    </a:cubicBezTo>
                    <a:cubicBezTo>
                      <a:pt x="72" y="41"/>
                      <a:pt x="72" y="43"/>
                      <a:pt x="72" y="44"/>
                    </a:cubicBezTo>
                    <a:cubicBezTo>
                      <a:pt x="71" y="45"/>
                      <a:pt x="72" y="45"/>
                      <a:pt x="73" y="45"/>
                    </a:cubicBezTo>
                    <a:close/>
                    <a:moveTo>
                      <a:pt x="97" y="40"/>
                    </a:moveTo>
                    <a:cubicBezTo>
                      <a:pt x="99" y="40"/>
                      <a:pt x="99" y="42"/>
                      <a:pt x="100" y="44"/>
                    </a:cubicBezTo>
                    <a:cubicBezTo>
                      <a:pt x="100" y="43"/>
                      <a:pt x="101" y="43"/>
                      <a:pt x="101" y="43"/>
                    </a:cubicBezTo>
                    <a:cubicBezTo>
                      <a:pt x="101" y="41"/>
                      <a:pt x="100" y="40"/>
                      <a:pt x="99" y="39"/>
                    </a:cubicBezTo>
                    <a:cubicBezTo>
                      <a:pt x="98" y="39"/>
                      <a:pt x="98" y="39"/>
                      <a:pt x="97" y="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0" name="Freeform 408"/>
              <p:cNvSpPr>
                <a:spLocks/>
              </p:cNvSpPr>
              <p:nvPr userDrawn="1"/>
            </p:nvSpPr>
            <p:spPr bwMode="auto">
              <a:xfrm>
                <a:off x="3551" y="424"/>
                <a:ext cx="3" cy="2"/>
              </a:xfrm>
              <a:custGeom>
                <a:avLst/>
                <a:gdLst>
                  <a:gd name="T0" fmla="*/ 2 w 2"/>
                  <a:gd name="T1" fmla="*/ 0 h 2"/>
                  <a:gd name="T2" fmla="*/ 1 w 2"/>
                  <a:gd name="T3" fmla="*/ 2 h 2"/>
                  <a:gd name="T4" fmla="*/ 0 w 2"/>
                  <a:gd name="T5" fmla="*/ 2 h 2"/>
                  <a:gd name="T6" fmla="*/ 0 w 2"/>
                  <a:gd name="T7" fmla="*/ 1 h 2"/>
                  <a:gd name="T8" fmla="*/ 2 w 2"/>
                  <a:gd name="T9" fmla="*/ 0 h 2"/>
                  <a:gd name="T10" fmla="*/ 2 w 2"/>
                  <a:gd name="T11" fmla="*/ 0 h 2"/>
                </a:gdLst>
                <a:ahLst/>
                <a:cxnLst>
                  <a:cxn ang="0">
                    <a:pos x="T0" y="T1"/>
                  </a:cxn>
                  <a:cxn ang="0">
                    <a:pos x="T2" y="T3"/>
                  </a:cxn>
                  <a:cxn ang="0">
                    <a:pos x="T4" y="T5"/>
                  </a:cxn>
                  <a:cxn ang="0">
                    <a:pos x="T6" y="T7"/>
                  </a:cxn>
                  <a:cxn ang="0">
                    <a:pos x="T8" y="T9"/>
                  </a:cxn>
                  <a:cxn ang="0">
                    <a:pos x="T10" y="T11"/>
                  </a:cxn>
                </a:cxnLst>
                <a:rect l="0" t="0" r="r" b="b"/>
                <a:pathLst>
                  <a:path w="2" h="2">
                    <a:moveTo>
                      <a:pt x="2" y="0"/>
                    </a:moveTo>
                    <a:cubicBezTo>
                      <a:pt x="2" y="1"/>
                      <a:pt x="2" y="1"/>
                      <a:pt x="1" y="2"/>
                    </a:cubicBezTo>
                    <a:cubicBezTo>
                      <a:pt x="1" y="2"/>
                      <a:pt x="0" y="2"/>
                      <a:pt x="0" y="2"/>
                    </a:cubicBezTo>
                    <a:cubicBezTo>
                      <a:pt x="0" y="2"/>
                      <a:pt x="0" y="1"/>
                      <a:pt x="0" y="1"/>
                    </a:cubicBezTo>
                    <a:cubicBezTo>
                      <a:pt x="1" y="0"/>
                      <a:pt x="1" y="0"/>
                      <a:pt x="2" y="0"/>
                    </a:cubicBezTo>
                    <a:cubicBezTo>
                      <a:pt x="2" y="0"/>
                      <a:pt x="2" y="0"/>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1" name="Freeform 409"/>
              <p:cNvSpPr>
                <a:spLocks/>
              </p:cNvSpPr>
              <p:nvPr userDrawn="1"/>
            </p:nvSpPr>
            <p:spPr bwMode="auto">
              <a:xfrm>
                <a:off x="3564" y="424"/>
                <a:ext cx="4" cy="1"/>
              </a:xfrm>
              <a:custGeom>
                <a:avLst/>
                <a:gdLst>
                  <a:gd name="T0" fmla="*/ 0 w 4"/>
                  <a:gd name="T1" fmla="*/ 0 h 1"/>
                  <a:gd name="T2" fmla="*/ 3 w 4"/>
                  <a:gd name="T3" fmla="*/ 0 h 1"/>
                  <a:gd name="T4" fmla="*/ 4 w 4"/>
                  <a:gd name="T5" fmla="*/ 1 h 1"/>
                  <a:gd name="T6" fmla="*/ 2 w 4"/>
                  <a:gd name="T7" fmla="*/ 1 h 1"/>
                  <a:gd name="T8" fmla="*/ 0 w 4"/>
                  <a:gd name="T9" fmla="*/ 0 h 1"/>
                </a:gdLst>
                <a:ahLst/>
                <a:cxnLst>
                  <a:cxn ang="0">
                    <a:pos x="T0" y="T1"/>
                  </a:cxn>
                  <a:cxn ang="0">
                    <a:pos x="T2" y="T3"/>
                  </a:cxn>
                  <a:cxn ang="0">
                    <a:pos x="T4" y="T5"/>
                  </a:cxn>
                  <a:cxn ang="0">
                    <a:pos x="T6" y="T7"/>
                  </a:cxn>
                  <a:cxn ang="0">
                    <a:pos x="T8" y="T9"/>
                  </a:cxn>
                </a:cxnLst>
                <a:rect l="0" t="0" r="r" b="b"/>
                <a:pathLst>
                  <a:path w="4" h="1">
                    <a:moveTo>
                      <a:pt x="0" y="0"/>
                    </a:moveTo>
                    <a:cubicBezTo>
                      <a:pt x="2" y="0"/>
                      <a:pt x="2" y="0"/>
                      <a:pt x="3" y="0"/>
                    </a:cubicBezTo>
                    <a:cubicBezTo>
                      <a:pt x="3" y="0"/>
                      <a:pt x="3" y="1"/>
                      <a:pt x="4" y="1"/>
                    </a:cubicBezTo>
                    <a:cubicBezTo>
                      <a:pt x="3" y="1"/>
                      <a:pt x="3" y="1"/>
                      <a:pt x="2" y="1"/>
                    </a:cubicBezTo>
                    <a:cubicBezTo>
                      <a:pt x="2" y="1"/>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2" name="Freeform 410"/>
              <p:cNvSpPr>
                <a:spLocks/>
              </p:cNvSpPr>
              <p:nvPr userDrawn="1"/>
            </p:nvSpPr>
            <p:spPr bwMode="auto">
              <a:xfrm>
                <a:off x="2004" y="1103"/>
                <a:ext cx="83" cy="244"/>
              </a:xfrm>
              <a:custGeom>
                <a:avLst/>
                <a:gdLst>
                  <a:gd name="T0" fmla="*/ 68 w 68"/>
                  <a:gd name="T1" fmla="*/ 200 h 200"/>
                  <a:gd name="T2" fmla="*/ 45 w 68"/>
                  <a:gd name="T3" fmla="*/ 200 h 200"/>
                  <a:gd name="T4" fmla="*/ 45 w 68"/>
                  <a:gd name="T5" fmla="*/ 31 h 200"/>
                  <a:gd name="T6" fmla="*/ 38 w 68"/>
                  <a:gd name="T7" fmla="*/ 37 h 200"/>
                  <a:gd name="T8" fmla="*/ 27 w 68"/>
                  <a:gd name="T9" fmla="*/ 43 h 200"/>
                  <a:gd name="T10" fmla="*/ 13 w 68"/>
                  <a:gd name="T11" fmla="*/ 49 h 200"/>
                  <a:gd name="T12" fmla="*/ 0 w 68"/>
                  <a:gd name="T13" fmla="*/ 54 h 200"/>
                  <a:gd name="T14" fmla="*/ 0 w 68"/>
                  <a:gd name="T15" fmla="*/ 31 h 200"/>
                  <a:gd name="T16" fmla="*/ 16 w 68"/>
                  <a:gd name="T17" fmla="*/ 26 h 200"/>
                  <a:gd name="T18" fmla="*/ 32 w 68"/>
                  <a:gd name="T19" fmla="*/ 18 h 200"/>
                  <a:gd name="T20" fmla="*/ 47 w 68"/>
                  <a:gd name="T21" fmla="*/ 9 h 200"/>
                  <a:gd name="T22" fmla="*/ 59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5" y="200"/>
                      <a:pt x="45" y="200"/>
                      <a:pt x="45" y="200"/>
                    </a:cubicBezTo>
                    <a:cubicBezTo>
                      <a:pt x="45" y="31"/>
                      <a:pt x="45" y="31"/>
                      <a:pt x="45" y="31"/>
                    </a:cubicBezTo>
                    <a:cubicBezTo>
                      <a:pt x="44" y="32"/>
                      <a:pt x="41" y="34"/>
                      <a:pt x="38" y="37"/>
                    </a:cubicBezTo>
                    <a:cubicBezTo>
                      <a:pt x="34" y="39"/>
                      <a:pt x="31" y="41"/>
                      <a:pt x="27" y="43"/>
                    </a:cubicBezTo>
                    <a:cubicBezTo>
                      <a:pt x="22" y="46"/>
                      <a:pt x="18" y="48"/>
                      <a:pt x="13" y="49"/>
                    </a:cubicBezTo>
                    <a:cubicBezTo>
                      <a:pt x="9" y="51"/>
                      <a:pt x="4" y="53"/>
                      <a:pt x="0" y="54"/>
                    </a:cubicBezTo>
                    <a:cubicBezTo>
                      <a:pt x="0" y="31"/>
                      <a:pt x="0" y="31"/>
                      <a:pt x="0" y="31"/>
                    </a:cubicBezTo>
                    <a:cubicBezTo>
                      <a:pt x="5" y="30"/>
                      <a:pt x="10" y="28"/>
                      <a:pt x="16" y="26"/>
                    </a:cubicBezTo>
                    <a:cubicBezTo>
                      <a:pt x="21" y="23"/>
                      <a:pt x="27" y="21"/>
                      <a:pt x="32" y="18"/>
                    </a:cubicBezTo>
                    <a:cubicBezTo>
                      <a:pt x="37" y="15"/>
                      <a:pt x="42" y="12"/>
                      <a:pt x="47" y="9"/>
                    </a:cubicBezTo>
                    <a:cubicBezTo>
                      <a:pt x="52" y="6"/>
                      <a:pt x="56" y="3"/>
                      <a:pt x="59"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3" name="Freeform 411"/>
              <p:cNvSpPr>
                <a:spLocks noEditPoints="1"/>
              </p:cNvSpPr>
              <p:nvPr userDrawn="1"/>
            </p:nvSpPr>
            <p:spPr bwMode="auto">
              <a:xfrm>
                <a:off x="2152" y="1104"/>
                <a:ext cx="155" cy="248"/>
              </a:xfrm>
              <a:custGeom>
                <a:avLst/>
                <a:gdLst>
                  <a:gd name="T0" fmla="*/ 127 w 127"/>
                  <a:gd name="T1" fmla="*/ 100 h 203"/>
                  <a:gd name="T2" fmla="*/ 123 w 127"/>
                  <a:gd name="T3" fmla="*/ 144 h 203"/>
                  <a:gd name="T4" fmla="*/ 110 w 127"/>
                  <a:gd name="T5" fmla="*/ 176 h 203"/>
                  <a:gd name="T6" fmla="*/ 89 w 127"/>
                  <a:gd name="T7" fmla="*/ 196 h 203"/>
                  <a:gd name="T8" fmla="*/ 62 w 127"/>
                  <a:gd name="T9" fmla="*/ 203 h 203"/>
                  <a:gd name="T10" fmla="*/ 35 w 127"/>
                  <a:gd name="T11" fmla="*/ 196 h 203"/>
                  <a:gd name="T12" fmla="*/ 16 w 127"/>
                  <a:gd name="T13" fmla="*/ 177 h 203"/>
                  <a:gd name="T14" fmla="*/ 4 w 127"/>
                  <a:gd name="T15" fmla="*/ 147 h 203"/>
                  <a:gd name="T16" fmla="*/ 0 w 127"/>
                  <a:gd name="T17" fmla="*/ 105 h 203"/>
                  <a:gd name="T18" fmla="*/ 4 w 127"/>
                  <a:gd name="T19" fmla="*/ 60 h 203"/>
                  <a:gd name="T20" fmla="*/ 17 w 127"/>
                  <a:gd name="T21" fmla="*/ 27 h 203"/>
                  <a:gd name="T22" fmla="*/ 37 w 127"/>
                  <a:gd name="T23" fmla="*/ 7 h 203"/>
                  <a:gd name="T24" fmla="*/ 66 w 127"/>
                  <a:gd name="T25" fmla="*/ 0 h 203"/>
                  <a:gd name="T26" fmla="*/ 127 w 127"/>
                  <a:gd name="T27" fmla="*/ 100 h 203"/>
                  <a:gd name="T28" fmla="*/ 104 w 127"/>
                  <a:gd name="T29" fmla="*/ 102 h 203"/>
                  <a:gd name="T30" fmla="*/ 65 w 127"/>
                  <a:gd name="T31" fmla="*/ 19 h 203"/>
                  <a:gd name="T32" fmla="*/ 23 w 127"/>
                  <a:gd name="T33" fmla="*/ 104 h 203"/>
                  <a:gd name="T34" fmla="*/ 64 w 127"/>
                  <a:gd name="T35" fmla="*/ 183 h 203"/>
                  <a:gd name="T36" fmla="*/ 104 w 127"/>
                  <a:gd name="T37" fmla="*/ 102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7" h="203">
                    <a:moveTo>
                      <a:pt x="127" y="100"/>
                    </a:moveTo>
                    <a:cubicBezTo>
                      <a:pt x="127" y="117"/>
                      <a:pt x="126" y="131"/>
                      <a:pt x="123" y="144"/>
                    </a:cubicBezTo>
                    <a:cubicBezTo>
                      <a:pt x="120" y="157"/>
                      <a:pt x="116" y="167"/>
                      <a:pt x="110" y="176"/>
                    </a:cubicBezTo>
                    <a:cubicBezTo>
                      <a:pt x="104" y="185"/>
                      <a:pt x="98" y="191"/>
                      <a:pt x="89" y="196"/>
                    </a:cubicBezTo>
                    <a:cubicBezTo>
                      <a:pt x="81" y="200"/>
                      <a:pt x="72" y="203"/>
                      <a:pt x="62" y="203"/>
                    </a:cubicBezTo>
                    <a:cubicBezTo>
                      <a:pt x="52" y="203"/>
                      <a:pt x="43" y="200"/>
                      <a:pt x="35" y="196"/>
                    </a:cubicBezTo>
                    <a:cubicBezTo>
                      <a:pt x="28" y="192"/>
                      <a:pt x="21" y="185"/>
                      <a:pt x="16" y="177"/>
                    </a:cubicBezTo>
                    <a:cubicBezTo>
                      <a:pt x="10" y="169"/>
                      <a:pt x="6" y="159"/>
                      <a:pt x="4" y="147"/>
                    </a:cubicBezTo>
                    <a:cubicBezTo>
                      <a:pt x="1" y="134"/>
                      <a:pt x="0" y="121"/>
                      <a:pt x="0" y="105"/>
                    </a:cubicBezTo>
                    <a:cubicBezTo>
                      <a:pt x="0" y="88"/>
                      <a:pt x="1" y="73"/>
                      <a:pt x="4" y="60"/>
                    </a:cubicBezTo>
                    <a:cubicBezTo>
                      <a:pt x="7" y="47"/>
                      <a:pt x="11" y="36"/>
                      <a:pt x="17" y="27"/>
                    </a:cubicBezTo>
                    <a:cubicBezTo>
                      <a:pt x="22" y="18"/>
                      <a:pt x="29" y="11"/>
                      <a:pt x="37" y="7"/>
                    </a:cubicBezTo>
                    <a:cubicBezTo>
                      <a:pt x="46" y="2"/>
                      <a:pt x="55" y="0"/>
                      <a:pt x="66" y="0"/>
                    </a:cubicBezTo>
                    <a:cubicBezTo>
                      <a:pt x="107" y="0"/>
                      <a:pt x="127" y="33"/>
                      <a:pt x="127" y="100"/>
                    </a:cubicBezTo>
                    <a:close/>
                    <a:moveTo>
                      <a:pt x="104" y="102"/>
                    </a:moveTo>
                    <a:cubicBezTo>
                      <a:pt x="104" y="47"/>
                      <a:pt x="91" y="19"/>
                      <a:pt x="65" y="19"/>
                    </a:cubicBezTo>
                    <a:cubicBezTo>
                      <a:pt x="37" y="19"/>
                      <a:pt x="23" y="47"/>
                      <a:pt x="23" y="104"/>
                    </a:cubicBezTo>
                    <a:cubicBezTo>
                      <a:pt x="23" y="157"/>
                      <a:pt x="36" y="183"/>
                      <a:pt x="64" y="183"/>
                    </a:cubicBezTo>
                    <a:cubicBezTo>
                      <a:pt x="91" y="183"/>
                      <a:pt x="104" y="156"/>
                      <a:pt x="104"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4" name="Freeform 412"/>
              <p:cNvSpPr>
                <a:spLocks/>
              </p:cNvSpPr>
              <p:nvPr userDrawn="1"/>
            </p:nvSpPr>
            <p:spPr bwMode="auto">
              <a:xfrm>
                <a:off x="2350" y="1103"/>
                <a:ext cx="81" cy="244"/>
              </a:xfrm>
              <a:custGeom>
                <a:avLst/>
                <a:gdLst>
                  <a:gd name="T0" fmla="*/ 67 w 67"/>
                  <a:gd name="T1" fmla="*/ 200 h 200"/>
                  <a:gd name="T2" fmla="*/ 45 w 67"/>
                  <a:gd name="T3" fmla="*/ 200 h 200"/>
                  <a:gd name="T4" fmla="*/ 45 w 67"/>
                  <a:gd name="T5" fmla="*/ 31 h 200"/>
                  <a:gd name="T6" fmla="*/ 37 w 67"/>
                  <a:gd name="T7" fmla="*/ 37 h 200"/>
                  <a:gd name="T8" fmla="*/ 26 w 67"/>
                  <a:gd name="T9" fmla="*/ 43 h 200"/>
                  <a:gd name="T10" fmla="*/ 13 w 67"/>
                  <a:gd name="T11" fmla="*/ 49 h 200"/>
                  <a:gd name="T12" fmla="*/ 0 w 67"/>
                  <a:gd name="T13" fmla="*/ 54 h 200"/>
                  <a:gd name="T14" fmla="*/ 0 w 67"/>
                  <a:gd name="T15" fmla="*/ 31 h 200"/>
                  <a:gd name="T16" fmla="*/ 15 w 67"/>
                  <a:gd name="T17" fmla="*/ 26 h 200"/>
                  <a:gd name="T18" fmla="*/ 32 w 67"/>
                  <a:gd name="T19" fmla="*/ 18 h 200"/>
                  <a:gd name="T20" fmla="*/ 47 w 67"/>
                  <a:gd name="T21" fmla="*/ 9 h 200"/>
                  <a:gd name="T22" fmla="*/ 59 w 67"/>
                  <a:gd name="T23" fmla="*/ 0 h 200"/>
                  <a:gd name="T24" fmla="*/ 67 w 67"/>
                  <a:gd name="T25" fmla="*/ 0 h 200"/>
                  <a:gd name="T26" fmla="*/ 67 w 67"/>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7" h="200">
                    <a:moveTo>
                      <a:pt x="67" y="200"/>
                    </a:moveTo>
                    <a:cubicBezTo>
                      <a:pt x="45" y="200"/>
                      <a:pt x="45" y="200"/>
                      <a:pt x="45" y="200"/>
                    </a:cubicBezTo>
                    <a:cubicBezTo>
                      <a:pt x="45" y="31"/>
                      <a:pt x="45" y="31"/>
                      <a:pt x="45" y="31"/>
                    </a:cubicBezTo>
                    <a:cubicBezTo>
                      <a:pt x="43" y="32"/>
                      <a:pt x="41" y="34"/>
                      <a:pt x="37" y="37"/>
                    </a:cubicBezTo>
                    <a:cubicBezTo>
                      <a:pt x="34" y="39"/>
                      <a:pt x="30" y="41"/>
                      <a:pt x="26" y="43"/>
                    </a:cubicBezTo>
                    <a:cubicBezTo>
                      <a:pt x="22" y="46"/>
                      <a:pt x="18" y="48"/>
                      <a:pt x="13" y="49"/>
                    </a:cubicBezTo>
                    <a:cubicBezTo>
                      <a:pt x="9" y="51"/>
                      <a:pt x="4" y="53"/>
                      <a:pt x="0" y="54"/>
                    </a:cubicBezTo>
                    <a:cubicBezTo>
                      <a:pt x="0" y="31"/>
                      <a:pt x="0" y="31"/>
                      <a:pt x="0" y="31"/>
                    </a:cubicBezTo>
                    <a:cubicBezTo>
                      <a:pt x="5" y="30"/>
                      <a:pt x="10" y="28"/>
                      <a:pt x="15" y="26"/>
                    </a:cubicBezTo>
                    <a:cubicBezTo>
                      <a:pt x="21" y="23"/>
                      <a:pt x="26" y="21"/>
                      <a:pt x="32" y="18"/>
                    </a:cubicBezTo>
                    <a:cubicBezTo>
                      <a:pt x="37" y="15"/>
                      <a:pt x="42" y="12"/>
                      <a:pt x="47" y="9"/>
                    </a:cubicBezTo>
                    <a:cubicBezTo>
                      <a:pt x="51" y="6"/>
                      <a:pt x="56" y="3"/>
                      <a:pt x="59" y="0"/>
                    </a:cubicBezTo>
                    <a:cubicBezTo>
                      <a:pt x="67" y="0"/>
                      <a:pt x="67" y="0"/>
                      <a:pt x="67" y="0"/>
                    </a:cubicBezTo>
                    <a:lnTo>
                      <a:pt x="67"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5" name="Freeform 413"/>
              <p:cNvSpPr>
                <a:spLocks noEditPoints="1"/>
              </p:cNvSpPr>
              <p:nvPr userDrawn="1"/>
            </p:nvSpPr>
            <p:spPr bwMode="auto">
              <a:xfrm>
                <a:off x="2497" y="1104"/>
                <a:ext cx="156" cy="248"/>
              </a:xfrm>
              <a:custGeom>
                <a:avLst/>
                <a:gdLst>
                  <a:gd name="T0" fmla="*/ 128 w 128"/>
                  <a:gd name="T1" fmla="*/ 100 h 203"/>
                  <a:gd name="T2" fmla="*/ 124 w 128"/>
                  <a:gd name="T3" fmla="*/ 144 h 203"/>
                  <a:gd name="T4" fmla="*/ 111 w 128"/>
                  <a:gd name="T5" fmla="*/ 176 h 203"/>
                  <a:gd name="T6" fmla="*/ 90 w 128"/>
                  <a:gd name="T7" fmla="*/ 196 h 203"/>
                  <a:gd name="T8" fmla="*/ 62 w 128"/>
                  <a:gd name="T9" fmla="*/ 203 h 203"/>
                  <a:gd name="T10" fmla="*/ 36 w 128"/>
                  <a:gd name="T11" fmla="*/ 196 h 203"/>
                  <a:gd name="T12" fmla="*/ 16 w 128"/>
                  <a:gd name="T13" fmla="*/ 177 h 203"/>
                  <a:gd name="T14" fmla="*/ 4 w 128"/>
                  <a:gd name="T15" fmla="*/ 147 h 203"/>
                  <a:gd name="T16" fmla="*/ 0 w 128"/>
                  <a:gd name="T17" fmla="*/ 105 h 203"/>
                  <a:gd name="T18" fmla="*/ 5 w 128"/>
                  <a:gd name="T19" fmla="*/ 60 h 203"/>
                  <a:gd name="T20" fmla="*/ 17 w 128"/>
                  <a:gd name="T21" fmla="*/ 27 h 203"/>
                  <a:gd name="T22" fmla="*/ 38 w 128"/>
                  <a:gd name="T23" fmla="*/ 7 h 203"/>
                  <a:gd name="T24" fmla="*/ 66 w 128"/>
                  <a:gd name="T25" fmla="*/ 0 h 203"/>
                  <a:gd name="T26" fmla="*/ 128 w 128"/>
                  <a:gd name="T27" fmla="*/ 100 h 203"/>
                  <a:gd name="T28" fmla="*/ 105 w 128"/>
                  <a:gd name="T29" fmla="*/ 102 h 203"/>
                  <a:gd name="T30" fmla="*/ 65 w 128"/>
                  <a:gd name="T31" fmla="*/ 19 h 203"/>
                  <a:gd name="T32" fmla="*/ 23 w 128"/>
                  <a:gd name="T33" fmla="*/ 104 h 203"/>
                  <a:gd name="T34" fmla="*/ 64 w 128"/>
                  <a:gd name="T35" fmla="*/ 183 h 203"/>
                  <a:gd name="T36" fmla="*/ 105 w 128"/>
                  <a:gd name="T37" fmla="*/ 102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0"/>
                    </a:moveTo>
                    <a:cubicBezTo>
                      <a:pt x="128" y="117"/>
                      <a:pt x="127" y="131"/>
                      <a:pt x="124" y="144"/>
                    </a:cubicBezTo>
                    <a:cubicBezTo>
                      <a:pt x="121" y="157"/>
                      <a:pt x="116" y="167"/>
                      <a:pt x="111" y="176"/>
                    </a:cubicBezTo>
                    <a:cubicBezTo>
                      <a:pt x="105" y="185"/>
                      <a:pt x="98" y="191"/>
                      <a:pt x="90" y="196"/>
                    </a:cubicBezTo>
                    <a:cubicBezTo>
                      <a:pt x="82" y="200"/>
                      <a:pt x="73" y="203"/>
                      <a:pt x="62" y="203"/>
                    </a:cubicBezTo>
                    <a:cubicBezTo>
                      <a:pt x="52" y="203"/>
                      <a:pt x="44" y="200"/>
                      <a:pt x="36" y="196"/>
                    </a:cubicBezTo>
                    <a:cubicBezTo>
                      <a:pt x="28" y="192"/>
                      <a:pt x="22" y="185"/>
                      <a:pt x="16" y="177"/>
                    </a:cubicBezTo>
                    <a:cubicBezTo>
                      <a:pt x="11" y="169"/>
                      <a:pt x="7" y="159"/>
                      <a:pt x="4" y="147"/>
                    </a:cubicBezTo>
                    <a:cubicBezTo>
                      <a:pt x="2" y="134"/>
                      <a:pt x="0" y="121"/>
                      <a:pt x="0" y="105"/>
                    </a:cubicBezTo>
                    <a:cubicBezTo>
                      <a:pt x="0" y="88"/>
                      <a:pt x="2" y="73"/>
                      <a:pt x="5" y="60"/>
                    </a:cubicBezTo>
                    <a:cubicBezTo>
                      <a:pt x="7" y="47"/>
                      <a:pt x="12" y="36"/>
                      <a:pt x="17" y="27"/>
                    </a:cubicBezTo>
                    <a:cubicBezTo>
                      <a:pt x="23" y="18"/>
                      <a:pt x="30" y="11"/>
                      <a:pt x="38" y="7"/>
                    </a:cubicBezTo>
                    <a:cubicBezTo>
                      <a:pt x="46" y="2"/>
                      <a:pt x="56" y="0"/>
                      <a:pt x="66" y="0"/>
                    </a:cubicBezTo>
                    <a:cubicBezTo>
                      <a:pt x="107" y="0"/>
                      <a:pt x="128" y="33"/>
                      <a:pt x="128" y="100"/>
                    </a:cubicBezTo>
                    <a:close/>
                    <a:moveTo>
                      <a:pt x="105" y="102"/>
                    </a:moveTo>
                    <a:cubicBezTo>
                      <a:pt x="105" y="47"/>
                      <a:pt x="92" y="19"/>
                      <a:pt x="65" y="19"/>
                    </a:cubicBezTo>
                    <a:cubicBezTo>
                      <a:pt x="37" y="19"/>
                      <a:pt x="23" y="47"/>
                      <a:pt x="23" y="104"/>
                    </a:cubicBezTo>
                    <a:cubicBezTo>
                      <a:pt x="23" y="157"/>
                      <a:pt x="37" y="183"/>
                      <a:pt x="64" y="183"/>
                    </a:cubicBezTo>
                    <a:cubicBezTo>
                      <a:pt x="91" y="183"/>
                      <a:pt x="105" y="156"/>
                      <a:pt x="105"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6" name="Freeform 414"/>
              <p:cNvSpPr>
                <a:spLocks noEditPoints="1"/>
              </p:cNvSpPr>
              <p:nvPr userDrawn="1"/>
            </p:nvSpPr>
            <p:spPr bwMode="auto">
              <a:xfrm>
                <a:off x="2692" y="1104"/>
                <a:ext cx="156" cy="248"/>
              </a:xfrm>
              <a:custGeom>
                <a:avLst/>
                <a:gdLst>
                  <a:gd name="T0" fmla="*/ 128 w 128"/>
                  <a:gd name="T1" fmla="*/ 100 h 203"/>
                  <a:gd name="T2" fmla="*/ 124 w 128"/>
                  <a:gd name="T3" fmla="*/ 144 h 203"/>
                  <a:gd name="T4" fmla="*/ 111 w 128"/>
                  <a:gd name="T5" fmla="*/ 176 h 203"/>
                  <a:gd name="T6" fmla="*/ 90 w 128"/>
                  <a:gd name="T7" fmla="*/ 196 h 203"/>
                  <a:gd name="T8" fmla="*/ 62 w 128"/>
                  <a:gd name="T9" fmla="*/ 203 h 203"/>
                  <a:gd name="T10" fmla="*/ 36 w 128"/>
                  <a:gd name="T11" fmla="*/ 196 h 203"/>
                  <a:gd name="T12" fmla="*/ 16 w 128"/>
                  <a:gd name="T13" fmla="*/ 177 h 203"/>
                  <a:gd name="T14" fmla="*/ 4 w 128"/>
                  <a:gd name="T15" fmla="*/ 147 h 203"/>
                  <a:gd name="T16" fmla="*/ 0 w 128"/>
                  <a:gd name="T17" fmla="*/ 105 h 203"/>
                  <a:gd name="T18" fmla="*/ 5 w 128"/>
                  <a:gd name="T19" fmla="*/ 60 h 203"/>
                  <a:gd name="T20" fmla="*/ 17 w 128"/>
                  <a:gd name="T21" fmla="*/ 27 h 203"/>
                  <a:gd name="T22" fmla="*/ 38 w 128"/>
                  <a:gd name="T23" fmla="*/ 7 h 203"/>
                  <a:gd name="T24" fmla="*/ 66 w 128"/>
                  <a:gd name="T25" fmla="*/ 0 h 203"/>
                  <a:gd name="T26" fmla="*/ 128 w 128"/>
                  <a:gd name="T27" fmla="*/ 100 h 203"/>
                  <a:gd name="T28" fmla="*/ 105 w 128"/>
                  <a:gd name="T29" fmla="*/ 102 h 203"/>
                  <a:gd name="T30" fmla="*/ 65 w 128"/>
                  <a:gd name="T31" fmla="*/ 19 h 203"/>
                  <a:gd name="T32" fmla="*/ 23 w 128"/>
                  <a:gd name="T33" fmla="*/ 104 h 203"/>
                  <a:gd name="T34" fmla="*/ 64 w 128"/>
                  <a:gd name="T35" fmla="*/ 183 h 203"/>
                  <a:gd name="T36" fmla="*/ 105 w 128"/>
                  <a:gd name="T37" fmla="*/ 102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0"/>
                    </a:moveTo>
                    <a:cubicBezTo>
                      <a:pt x="128" y="117"/>
                      <a:pt x="126" y="131"/>
                      <a:pt x="124" y="144"/>
                    </a:cubicBezTo>
                    <a:cubicBezTo>
                      <a:pt x="121" y="157"/>
                      <a:pt x="116" y="167"/>
                      <a:pt x="111" y="176"/>
                    </a:cubicBezTo>
                    <a:cubicBezTo>
                      <a:pt x="105" y="185"/>
                      <a:pt x="98" y="191"/>
                      <a:pt x="90" y="196"/>
                    </a:cubicBezTo>
                    <a:cubicBezTo>
                      <a:pt x="82" y="200"/>
                      <a:pt x="73" y="203"/>
                      <a:pt x="62" y="203"/>
                    </a:cubicBezTo>
                    <a:cubicBezTo>
                      <a:pt x="52" y="203"/>
                      <a:pt x="44" y="200"/>
                      <a:pt x="36" y="196"/>
                    </a:cubicBezTo>
                    <a:cubicBezTo>
                      <a:pt x="28" y="192"/>
                      <a:pt x="22" y="185"/>
                      <a:pt x="16" y="177"/>
                    </a:cubicBezTo>
                    <a:cubicBezTo>
                      <a:pt x="11" y="169"/>
                      <a:pt x="7" y="159"/>
                      <a:pt x="4" y="147"/>
                    </a:cubicBezTo>
                    <a:cubicBezTo>
                      <a:pt x="2" y="134"/>
                      <a:pt x="0" y="121"/>
                      <a:pt x="0" y="105"/>
                    </a:cubicBezTo>
                    <a:cubicBezTo>
                      <a:pt x="0" y="88"/>
                      <a:pt x="2" y="73"/>
                      <a:pt x="5" y="60"/>
                    </a:cubicBezTo>
                    <a:cubicBezTo>
                      <a:pt x="7" y="47"/>
                      <a:pt x="12" y="36"/>
                      <a:pt x="17" y="27"/>
                    </a:cubicBezTo>
                    <a:cubicBezTo>
                      <a:pt x="23" y="18"/>
                      <a:pt x="30" y="11"/>
                      <a:pt x="38" y="7"/>
                    </a:cubicBezTo>
                    <a:cubicBezTo>
                      <a:pt x="46" y="2"/>
                      <a:pt x="56" y="0"/>
                      <a:pt x="66" y="0"/>
                    </a:cubicBezTo>
                    <a:cubicBezTo>
                      <a:pt x="107" y="0"/>
                      <a:pt x="128" y="33"/>
                      <a:pt x="128" y="100"/>
                    </a:cubicBezTo>
                    <a:close/>
                    <a:moveTo>
                      <a:pt x="105" y="102"/>
                    </a:moveTo>
                    <a:cubicBezTo>
                      <a:pt x="105" y="47"/>
                      <a:pt x="92" y="19"/>
                      <a:pt x="65" y="19"/>
                    </a:cubicBezTo>
                    <a:cubicBezTo>
                      <a:pt x="37" y="19"/>
                      <a:pt x="23" y="47"/>
                      <a:pt x="23" y="104"/>
                    </a:cubicBezTo>
                    <a:cubicBezTo>
                      <a:pt x="23" y="157"/>
                      <a:pt x="37" y="183"/>
                      <a:pt x="64" y="183"/>
                    </a:cubicBezTo>
                    <a:cubicBezTo>
                      <a:pt x="91" y="183"/>
                      <a:pt x="105" y="156"/>
                      <a:pt x="105"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7" name="Freeform 415"/>
              <p:cNvSpPr>
                <a:spLocks/>
              </p:cNvSpPr>
              <p:nvPr userDrawn="1"/>
            </p:nvSpPr>
            <p:spPr bwMode="auto">
              <a:xfrm>
                <a:off x="2890" y="1103"/>
                <a:ext cx="83" cy="244"/>
              </a:xfrm>
              <a:custGeom>
                <a:avLst/>
                <a:gdLst>
                  <a:gd name="T0" fmla="*/ 68 w 68"/>
                  <a:gd name="T1" fmla="*/ 200 h 200"/>
                  <a:gd name="T2" fmla="*/ 46 w 68"/>
                  <a:gd name="T3" fmla="*/ 200 h 200"/>
                  <a:gd name="T4" fmla="*/ 46 w 68"/>
                  <a:gd name="T5" fmla="*/ 31 h 200"/>
                  <a:gd name="T6" fmla="*/ 38 w 68"/>
                  <a:gd name="T7" fmla="*/ 37 h 200"/>
                  <a:gd name="T8" fmla="*/ 27 w 68"/>
                  <a:gd name="T9" fmla="*/ 43 h 200"/>
                  <a:gd name="T10" fmla="*/ 14 w 68"/>
                  <a:gd name="T11" fmla="*/ 49 h 200"/>
                  <a:gd name="T12" fmla="*/ 0 w 68"/>
                  <a:gd name="T13" fmla="*/ 54 h 200"/>
                  <a:gd name="T14" fmla="*/ 0 w 68"/>
                  <a:gd name="T15" fmla="*/ 31 h 200"/>
                  <a:gd name="T16" fmla="*/ 16 w 68"/>
                  <a:gd name="T17" fmla="*/ 26 h 200"/>
                  <a:gd name="T18" fmla="*/ 32 w 68"/>
                  <a:gd name="T19" fmla="*/ 18 h 200"/>
                  <a:gd name="T20" fmla="*/ 47 w 68"/>
                  <a:gd name="T21" fmla="*/ 9 h 200"/>
                  <a:gd name="T22" fmla="*/ 60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6" y="200"/>
                      <a:pt x="46" y="200"/>
                      <a:pt x="46" y="200"/>
                    </a:cubicBezTo>
                    <a:cubicBezTo>
                      <a:pt x="46" y="31"/>
                      <a:pt x="46" y="31"/>
                      <a:pt x="46" y="31"/>
                    </a:cubicBezTo>
                    <a:cubicBezTo>
                      <a:pt x="44" y="32"/>
                      <a:pt x="41" y="34"/>
                      <a:pt x="38" y="37"/>
                    </a:cubicBezTo>
                    <a:cubicBezTo>
                      <a:pt x="35" y="39"/>
                      <a:pt x="31" y="41"/>
                      <a:pt x="27" y="43"/>
                    </a:cubicBezTo>
                    <a:cubicBezTo>
                      <a:pt x="23" y="46"/>
                      <a:pt x="18" y="48"/>
                      <a:pt x="14" y="49"/>
                    </a:cubicBezTo>
                    <a:cubicBezTo>
                      <a:pt x="9" y="51"/>
                      <a:pt x="5" y="53"/>
                      <a:pt x="0" y="54"/>
                    </a:cubicBezTo>
                    <a:cubicBezTo>
                      <a:pt x="0" y="31"/>
                      <a:pt x="0" y="31"/>
                      <a:pt x="0" y="31"/>
                    </a:cubicBezTo>
                    <a:cubicBezTo>
                      <a:pt x="5" y="30"/>
                      <a:pt x="11" y="28"/>
                      <a:pt x="16" y="26"/>
                    </a:cubicBezTo>
                    <a:cubicBezTo>
                      <a:pt x="22" y="23"/>
                      <a:pt x="27" y="21"/>
                      <a:pt x="32" y="18"/>
                    </a:cubicBezTo>
                    <a:cubicBezTo>
                      <a:pt x="38" y="15"/>
                      <a:pt x="43" y="12"/>
                      <a:pt x="47" y="9"/>
                    </a:cubicBezTo>
                    <a:cubicBezTo>
                      <a:pt x="52" y="6"/>
                      <a:pt x="56" y="3"/>
                      <a:pt x="60"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8" name="Freeform 416"/>
              <p:cNvSpPr>
                <a:spLocks/>
              </p:cNvSpPr>
              <p:nvPr userDrawn="1"/>
            </p:nvSpPr>
            <p:spPr bwMode="auto">
              <a:xfrm>
                <a:off x="3032" y="1108"/>
                <a:ext cx="77" cy="294"/>
              </a:xfrm>
              <a:custGeom>
                <a:avLst/>
                <a:gdLst>
                  <a:gd name="T0" fmla="*/ 63 w 63"/>
                  <a:gd name="T1" fmla="*/ 241 h 241"/>
                  <a:gd name="T2" fmla="*/ 21 w 63"/>
                  <a:gd name="T3" fmla="*/ 198 h 241"/>
                  <a:gd name="T4" fmla="*/ 21 w 63"/>
                  <a:gd name="T5" fmla="*/ 157 h 241"/>
                  <a:gd name="T6" fmla="*/ 0 w 63"/>
                  <a:gd name="T7" fmla="*/ 128 h 241"/>
                  <a:gd name="T8" fmla="*/ 0 w 63"/>
                  <a:gd name="T9" fmla="*/ 112 h 241"/>
                  <a:gd name="T10" fmla="*/ 21 w 63"/>
                  <a:gd name="T11" fmla="*/ 83 h 241"/>
                  <a:gd name="T12" fmla="*/ 21 w 63"/>
                  <a:gd name="T13" fmla="*/ 43 h 241"/>
                  <a:gd name="T14" fmla="*/ 63 w 63"/>
                  <a:gd name="T15" fmla="*/ 0 h 241"/>
                  <a:gd name="T16" fmla="*/ 63 w 63"/>
                  <a:gd name="T17" fmla="*/ 18 h 241"/>
                  <a:gd name="T18" fmla="*/ 42 w 63"/>
                  <a:gd name="T19" fmla="*/ 45 h 241"/>
                  <a:gd name="T20" fmla="*/ 42 w 63"/>
                  <a:gd name="T21" fmla="*/ 85 h 241"/>
                  <a:gd name="T22" fmla="*/ 21 w 63"/>
                  <a:gd name="T23" fmla="*/ 120 h 241"/>
                  <a:gd name="T24" fmla="*/ 21 w 63"/>
                  <a:gd name="T25" fmla="*/ 121 h 241"/>
                  <a:gd name="T26" fmla="*/ 42 w 63"/>
                  <a:gd name="T27" fmla="*/ 156 h 241"/>
                  <a:gd name="T28" fmla="*/ 42 w 63"/>
                  <a:gd name="T29" fmla="*/ 195 h 241"/>
                  <a:gd name="T30" fmla="*/ 46 w 63"/>
                  <a:gd name="T31" fmla="*/ 217 h 241"/>
                  <a:gd name="T32" fmla="*/ 63 w 63"/>
                  <a:gd name="T33" fmla="*/ 223 h 241"/>
                  <a:gd name="T34" fmla="*/ 63 w 63"/>
                  <a:gd name="T35" fmla="*/ 24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3" h="241">
                    <a:moveTo>
                      <a:pt x="63" y="241"/>
                    </a:moveTo>
                    <a:cubicBezTo>
                      <a:pt x="35" y="240"/>
                      <a:pt x="21" y="226"/>
                      <a:pt x="21" y="198"/>
                    </a:cubicBezTo>
                    <a:cubicBezTo>
                      <a:pt x="21" y="157"/>
                      <a:pt x="21" y="157"/>
                      <a:pt x="21" y="157"/>
                    </a:cubicBezTo>
                    <a:cubicBezTo>
                      <a:pt x="21" y="139"/>
                      <a:pt x="14" y="129"/>
                      <a:pt x="0" y="128"/>
                    </a:cubicBezTo>
                    <a:cubicBezTo>
                      <a:pt x="0" y="112"/>
                      <a:pt x="0" y="112"/>
                      <a:pt x="0" y="112"/>
                    </a:cubicBezTo>
                    <a:cubicBezTo>
                      <a:pt x="14" y="112"/>
                      <a:pt x="21" y="102"/>
                      <a:pt x="21" y="83"/>
                    </a:cubicBezTo>
                    <a:cubicBezTo>
                      <a:pt x="21" y="43"/>
                      <a:pt x="21" y="43"/>
                      <a:pt x="21" y="43"/>
                    </a:cubicBezTo>
                    <a:cubicBezTo>
                      <a:pt x="21" y="15"/>
                      <a:pt x="35" y="0"/>
                      <a:pt x="63" y="0"/>
                    </a:cubicBezTo>
                    <a:cubicBezTo>
                      <a:pt x="63" y="18"/>
                      <a:pt x="63" y="18"/>
                      <a:pt x="63" y="18"/>
                    </a:cubicBezTo>
                    <a:cubicBezTo>
                      <a:pt x="49" y="18"/>
                      <a:pt x="42" y="27"/>
                      <a:pt x="42" y="45"/>
                    </a:cubicBezTo>
                    <a:cubicBezTo>
                      <a:pt x="42" y="85"/>
                      <a:pt x="42" y="85"/>
                      <a:pt x="42" y="85"/>
                    </a:cubicBezTo>
                    <a:cubicBezTo>
                      <a:pt x="42" y="104"/>
                      <a:pt x="35" y="116"/>
                      <a:pt x="21" y="120"/>
                    </a:cubicBezTo>
                    <a:cubicBezTo>
                      <a:pt x="21" y="121"/>
                      <a:pt x="21" y="121"/>
                      <a:pt x="21" y="121"/>
                    </a:cubicBezTo>
                    <a:cubicBezTo>
                      <a:pt x="35" y="125"/>
                      <a:pt x="42" y="136"/>
                      <a:pt x="42" y="156"/>
                    </a:cubicBezTo>
                    <a:cubicBezTo>
                      <a:pt x="42" y="195"/>
                      <a:pt x="42" y="195"/>
                      <a:pt x="42" y="195"/>
                    </a:cubicBezTo>
                    <a:cubicBezTo>
                      <a:pt x="42" y="205"/>
                      <a:pt x="43" y="212"/>
                      <a:pt x="46" y="217"/>
                    </a:cubicBezTo>
                    <a:cubicBezTo>
                      <a:pt x="50" y="221"/>
                      <a:pt x="55" y="223"/>
                      <a:pt x="63" y="223"/>
                    </a:cubicBezTo>
                    <a:lnTo>
                      <a:pt x="63" y="2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9" name="Freeform 417"/>
              <p:cNvSpPr>
                <a:spLocks/>
              </p:cNvSpPr>
              <p:nvPr userDrawn="1"/>
            </p:nvSpPr>
            <p:spPr bwMode="auto">
              <a:xfrm>
                <a:off x="3140" y="1108"/>
                <a:ext cx="77" cy="294"/>
              </a:xfrm>
              <a:custGeom>
                <a:avLst/>
                <a:gdLst>
                  <a:gd name="T0" fmla="*/ 64 w 64"/>
                  <a:gd name="T1" fmla="*/ 128 h 241"/>
                  <a:gd name="T2" fmla="*/ 42 w 64"/>
                  <a:gd name="T3" fmla="*/ 157 h 241"/>
                  <a:gd name="T4" fmla="*/ 42 w 64"/>
                  <a:gd name="T5" fmla="*/ 198 h 241"/>
                  <a:gd name="T6" fmla="*/ 0 w 64"/>
                  <a:gd name="T7" fmla="*/ 241 h 241"/>
                  <a:gd name="T8" fmla="*/ 0 w 64"/>
                  <a:gd name="T9" fmla="*/ 223 h 241"/>
                  <a:gd name="T10" fmla="*/ 17 w 64"/>
                  <a:gd name="T11" fmla="*/ 217 h 241"/>
                  <a:gd name="T12" fmla="*/ 22 w 64"/>
                  <a:gd name="T13" fmla="*/ 195 h 241"/>
                  <a:gd name="T14" fmla="*/ 22 w 64"/>
                  <a:gd name="T15" fmla="*/ 156 h 241"/>
                  <a:gd name="T16" fmla="*/ 43 w 64"/>
                  <a:gd name="T17" fmla="*/ 121 h 241"/>
                  <a:gd name="T18" fmla="*/ 43 w 64"/>
                  <a:gd name="T19" fmla="*/ 120 h 241"/>
                  <a:gd name="T20" fmla="*/ 22 w 64"/>
                  <a:gd name="T21" fmla="*/ 85 h 241"/>
                  <a:gd name="T22" fmla="*/ 22 w 64"/>
                  <a:gd name="T23" fmla="*/ 45 h 241"/>
                  <a:gd name="T24" fmla="*/ 0 w 64"/>
                  <a:gd name="T25" fmla="*/ 18 h 241"/>
                  <a:gd name="T26" fmla="*/ 0 w 64"/>
                  <a:gd name="T27" fmla="*/ 0 h 241"/>
                  <a:gd name="T28" fmla="*/ 42 w 64"/>
                  <a:gd name="T29" fmla="*/ 43 h 241"/>
                  <a:gd name="T30" fmla="*/ 42 w 64"/>
                  <a:gd name="T31" fmla="*/ 83 h 241"/>
                  <a:gd name="T32" fmla="*/ 64 w 64"/>
                  <a:gd name="T33" fmla="*/ 112 h 241"/>
                  <a:gd name="T34" fmla="*/ 64 w 64"/>
                  <a:gd name="T35" fmla="*/ 128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4" h="241">
                    <a:moveTo>
                      <a:pt x="64" y="128"/>
                    </a:moveTo>
                    <a:cubicBezTo>
                      <a:pt x="49" y="129"/>
                      <a:pt x="42" y="139"/>
                      <a:pt x="42" y="157"/>
                    </a:cubicBezTo>
                    <a:cubicBezTo>
                      <a:pt x="42" y="198"/>
                      <a:pt x="42" y="198"/>
                      <a:pt x="42" y="198"/>
                    </a:cubicBezTo>
                    <a:cubicBezTo>
                      <a:pt x="42" y="226"/>
                      <a:pt x="28" y="240"/>
                      <a:pt x="0" y="241"/>
                    </a:cubicBezTo>
                    <a:cubicBezTo>
                      <a:pt x="0" y="223"/>
                      <a:pt x="0" y="223"/>
                      <a:pt x="0" y="223"/>
                    </a:cubicBezTo>
                    <a:cubicBezTo>
                      <a:pt x="8" y="223"/>
                      <a:pt x="14" y="221"/>
                      <a:pt x="17" y="217"/>
                    </a:cubicBezTo>
                    <a:cubicBezTo>
                      <a:pt x="21" y="212"/>
                      <a:pt x="22" y="205"/>
                      <a:pt x="22" y="195"/>
                    </a:cubicBezTo>
                    <a:cubicBezTo>
                      <a:pt x="22" y="156"/>
                      <a:pt x="22" y="156"/>
                      <a:pt x="22" y="156"/>
                    </a:cubicBezTo>
                    <a:cubicBezTo>
                      <a:pt x="22" y="136"/>
                      <a:pt x="29" y="125"/>
                      <a:pt x="43" y="121"/>
                    </a:cubicBezTo>
                    <a:cubicBezTo>
                      <a:pt x="43" y="120"/>
                      <a:pt x="43" y="120"/>
                      <a:pt x="43" y="120"/>
                    </a:cubicBezTo>
                    <a:cubicBezTo>
                      <a:pt x="29" y="116"/>
                      <a:pt x="22" y="104"/>
                      <a:pt x="22" y="85"/>
                    </a:cubicBezTo>
                    <a:cubicBezTo>
                      <a:pt x="22" y="45"/>
                      <a:pt x="22" y="45"/>
                      <a:pt x="22" y="45"/>
                    </a:cubicBezTo>
                    <a:cubicBezTo>
                      <a:pt x="22" y="27"/>
                      <a:pt x="15" y="18"/>
                      <a:pt x="0" y="18"/>
                    </a:cubicBezTo>
                    <a:cubicBezTo>
                      <a:pt x="0" y="0"/>
                      <a:pt x="0" y="0"/>
                      <a:pt x="0" y="0"/>
                    </a:cubicBezTo>
                    <a:cubicBezTo>
                      <a:pt x="28" y="0"/>
                      <a:pt x="42" y="15"/>
                      <a:pt x="42" y="43"/>
                    </a:cubicBezTo>
                    <a:cubicBezTo>
                      <a:pt x="42" y="83"/>
                      <a:pt x="42" y="83"/>
                      <a:pt x="42" y="83"/>
                    </a:cubicBezTo>
                    <a:cubicBezTo>
                      <a:pt x="42" y="102"/>
                      <a:pt x="49" y="112"/>
                      <a:pt x="64" y="112"/>
                    </a:cubicBezTo>
                    <a:lnTo>
                      <a:pt x="64" y="1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0" name="Freeform 418"/>
              <p:cNvSpPr>
                <a:spLocks/>
              </p:cNvSpPr>
              <p:nvPr userDrawn="1"/>
            </p:nvSpPr>
            <p:spPr bwMode="auto">
              <a:xfrm>
                <a:off x="3248" y="1103"/>
                <a:ext cx="82" cy="244"/>
              </a:xfrm>
              <a:custGeom>
                <a:avLst/>
                <a:gdLst>
                  <a:gd name="T0" fmla="*/ 67 w 67"/>
                  <a:gd name="T1" fmla="*/ 200 h 200"/>
                  <a:gd name="T2" fmla="*/ 45 w 67"/>
                  <a:gd name="T3" fmla="*/ 200 h 200"/>
                  <a:gd name="T4" fmla="*/ 45 w 67"/>
                  <a:gd name="T5" fmla="*/ 31 h 200"/>
                  <a:gd name="T6" fmla="*/ 37 w 67"/>
                  <a:gd name="T7" fmla="*/ 37 h 200"/>
                  <a:gd name="T8" fmla="*/ 26 w 67"/>
                  <a:gd name="T9" fmla="*/ 43 h 200"/>
                  <a:gd name="T10" fmla="*/ 13 w 67"/>
                  <a:gd name="T11" fmla="*/ 49 h 200"/>
                  <a:gd name="T12" fmla="*/ 0 w 67"/>
                  <a:gd name="T13" fmla="*/ 54 h 200"/>
                  <a:gd name="T14" fmla="*/ 0 w 67"/>
                  <a:gd name="T15" fmla="*/ 31 h 200"/>
                  <a:gd name="T16" fmla="*/ 15 w 67"/>
                  <a:gd name="T17" fmla="*/ 26 h 200"/>
                  <a:gd name="T18" fmla="*/ 32 w 67"/>
                  <a:gd name="T19" fmla="*/ 18 h 200"/>
                  <a:gd name="T20" fmla="*/ 47 w 67"/>
                  <a:gd name="T21" fmla="*/ 9 h 200"/>
                  <a:gd name="T22" fmla="*/ 59 w 67"/>
                  <a:gd name="T23" fmla="*/ 0 h 200"/>
                  <a:gd name="T24" fmla="*/ 67 w 67"/>
                  <a:gd name="T25" fmla="*/ 0 h 200"/>
                  <a:gd name="T26" fmla="*/ 67 w 67"/>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7" h="200">
                    <a:moveTo>
                      <a:pt x="67" y="200"/>
                    </a:moveTo>
                    <a:cubicBezTo>
                      <a:pt x="45" y="200"/>
                      <a:pt x="45" y="200"/>
                      <a:pt x="45" y="200"/>
                    </a:cubicBezTo>
                    <a:cubicBezTo>
                      <a:pt x="45" y="31"/>
                      <a:pt x="45" y="31"/>
                      <a:pt x="45" y="31"/>
                    </a:cubicBezTo>
                    <a:cubicBezTo>
                      <a:pt x="43" y="32"/>
                      <a:pt x="41" y="34"/>
                      <a:pt x="37" y="37"/>
                    </a:cubicBezTo>
                    <a:cubicBezTo>
                      <a:pt x="34" y="39"/>
                      <a:pt x="30" y="41"/>
                      <a:pt x="26" y="43"/>
                    </a:cubicBezTo>
                    <a:cubicBezTo>
                      <a:pt x="22" y="46"/>
                      <a:pt x="18" y="48"/>
                      <a:pt x="13" y="49"/>
                    </a:cubicBezTo>
                    <a:cubicBezTo>
                      <a:pt x="8" y="51"/>
                      <a:pt x="4" y="53"/>
                      <a:pt x="0" y="54"/>
                    </a:cubicBezTo>
                    <a:cubicBezTo>
                      <a:pt x="0" y="31"/>
                      <a:pt x="0" y="31"/>
                      <a:pt x="0" y="31"/>
                    </a:cubicBezTo>
                    <a:cubicBezTo>
                      <a:pt x="5" y="30"/>
                      <a:pt x="10" y="28"/>
                      <a:pt x="15" y="26"/>
                    </a:cubicBezTo>
                    <a:cubicBezTo>
                      <a:pt x="21" y="23"/>
                      <a:pt x="26" y="21"/>
                      <a:pt x="32" y="18"/>
                    </a:cubicBezTo>
                    <a:cubicBezTo>
                      <a:pt x="37" y="15"/>
                      <a:pt x="42" y="12"/>
                      <a:pt x="47" y="9"/>
                    </a:cubicBezTo>
                    <a:cubicBezTo>
                      <a:pt x="51" y="6"/>
                      <a:pt x="56" y="3"/>
                      <a:pt x="59" y="0"/>
                    </a:cubicBezTo>
                    <a:cubicBezTo>
                      <a:pt x="67" y="0"/>
                      <a:pt x="67" y="0"/>
                      <a:pt x="67" y="0"/>
                    </a:cubicBezTo>
                    <a:lnTo>
                      <a:pt x="67"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1" name="Freeform 420"/>
            <p:cNvSpPr>
              <a:spLocks noEditPoints="1"/>
            </p:cNvSpPr>
            <p:nvPr userDrawn="1"/>
          </p:nvSpPr>
          <p:spPr bwMode="auto">
            <a:xfrm>
              <a:off x="3395" y="1104"/>
              <a:ext cx="156" cy="248"/>
            </a:xfrm>
            <a:custGeom>
              <a:avLst/>
              <a:gdLst>
                <a:gd name="T0" fmla="*/ 128 w 128"/>
                <a:gd name="T1" fmla="*/ 100 h 203"/>
                <a:gd name="T2" fmla="*/ 123 w 128"/>
                <a:gd name="T3" fmla="*/ 144 h 203"/>
                <a:gd name="T4" fmla="*/ 111 w 128"/>
                <a:gd name="T5" fmla="*/ 176 h 203"/>
                <a:gd name="T6" fmla="*/ 90 w 128"/>
                <a:gd name="T7" fmla="*/ 196 h 203"/>
                <a:gd name="T8" fmla="*/ 62 w 128"/>
                <a:gd name="T9" fmla="*/ 203 h 203"/>
                <a:gd name="T10" fmla="*/ 36 w 128"/>
                <a:gd name="T11" fmla="*/ 196 h 203"/>
                <a:gd name="T12" fmla="*/ 16 w 128"/>
                <a:gd name="T13" fmla="*/ 177 h 203"/>
                <a:gd name="T14" fmla="*/ 4 w 128"/>
                <a:gd name="T15" fmla="*/ 147 h 203"/>
                <a:gd name="T16" fmla="*/ 0 w 128"/>
                <a:gd name="T17" fmla="*/ 105 h 203"/>
                <a:gd name="T18" fmla="*/ 5 w 128"/>
                <a:gd name="T19" fmla="*/ 60 h 203"/>
                <a:gd name="T20" fmla="*/ 17 w 128"/>
                <a:gd name="T21" fmla="*/ 27 h 203"/>
                <a:gd name="T22" fmla="*/ 38 w 128"/>
                <a:gd name="T23" fmla="*/ 7 h 203"/>
                <a:gd name="T24" fmla="*/ 66 w 128"/>
                <a:gd name="T25" fmla="*/ 0 h 203"/>
                <a:gd name="T26" fmla="*/ 128 w 128"/>
                <a:gd name="T27" fmla="*/ 100 h 203"/>
                <a:gd name="T28" fmla="*/ 105 w 128"/>
                <a:gd name="T29" fmla="*/ 102 h 203"/>
                <a:gd name="T30" fmla="*/ 65 w 128"/>
                <a:gd name="T31" fmla="*/ 19 h 203"/>
                <a:gd name="T32" fmla="*/ 23 w 128"/>
                <a:gd name="T33" fmla="*/ 104 h 203"/>
                <a:gd name="T34" fmla="*/ 64 w 128"/>
                <a:gd name="T35" fmla="*/ 183 h 203"/>
                <a:gd name="T36" fmla="*/ 105 w 128"/>
                <a:gd name="T37" fmla="*/ 102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0"/>
                  </a:moveTo>
                  <a:cubicBezTo>
                    <a:pt x="128" y="117"/>
                    <a:pt x="126" y="131"/>
                    <a:pt x="123" y="144"/>
                  </a:cubicBezTo>
                  <a:cubicBezTo>
                    <a:pt x="121" y="157"/>
                    <a:pt x="116" y="167"/>
                    <a:pt x="111" y="176"/>
                  </a:cubicBezTo>
                  <a:cubicBezTo>
                    <a:pt x="105" y="185"/>
                    <a:pt x="98" y="191"/>
                    <a:pt x="90" y="196"/>
                  </a:cubicBezTo>
                  <a:cubicBezTo>
                    <a:pt x="82" y="200"/>
                    <a:pt x="73" y="203"/>
                    <a:pt x="62" y="203"/>
                  </a:cubicBezTo>
                  <a:cubicBezTo>
                    <a:pt x="52" y="203"/>
                    <a:pt x="44" y="200"/>
                    <a:pt x="36" y="196"/>
                  </a:cubicBezTo>
                  <a:cubicBezTo>
                    <a:pt x="28" y="192"/>
                    <a:pt x="22" y="185"/>
                    <a:pt x="16" y="177"/>
                  </a:cubicBezTo>
                  <a:cubicBezTo>
                    <a:pt x="11" y="169"/>
                    <a:pt x="7" y="159"/>
                    <a:pt x="4" y="147"/>
                  </a:cubicBezTo>
                  <a:cubicBezTo>
                    <a:pt x="2" y="134"/>
                    <a:pt x="0" y="121"/>
                    <a:pt x="0" y="105"/>
                  </a:cubicBezTo>
                  <a:cubicBezTo>
                    <a:pt x="0" y="88"/>
                    <a:pt x="2" y="73"/>
                    <a:pt x="5" y="60"/>
                  </a:cubicBezTo>
                  <a:cubicBezTo>
                    <a:pt x="7" y="47"/>
                    <a:pt x="12" y="36"/>
                    <a:pt x="17" y="27"/>
                  </a:cubicBezTo>
                  <a:cubicBezTo>
                    <a:pt x="23" y="18"/>
                    <a:pt x="30" y="11"/>
                    <a:pt x="38" y="7"/>
                  </a:cubicBezTo>
                  <a:cubicBezTo>
                    <a:pt x="46" y="2"/>
                    <a:pt x="56" y="0"/>
                    <a:pt x="66" y="0"/>
                  </a:cubicBezTo>
                  <a:cubicBezTo>
                    <a:pt x="107" y="0"/>
                    <a:pt x="128" y="33"/>
                    <a:pt x="128" y="100"/>
                  </a:cubicBezTo>
                  <a:close/>
                  <a:moveTo>
                    <a:pt x="105" y="102"/>
                  </a:moveTo>
                  <a:cubicBezTo>
                    <a:pt x="105" y="47"/>
                    <a:pt x="92" y="19"/>
                    <a:pt x="65" y="19"/>
                  </a:cubicBezTo>
                  <a:cubicBezTo>
                    <a:pt x="37" y="19"/>
                    <a:pt x="23" y="47"/>
                    <a:pt x="23" y="104"/>
                  </a:cubicBezTo>
                  <a:cubicBezTo>
                    <a:pt x="23" y="157"/>
                    <a:pt x="37" y="183"/>
                    <a:pt x="64" y="183"/>
                  </a:cubicBezTo>
                  <a:cubicBezTo>
                    <a:pt x="91" y="183"/>
                    <a:pt x="105" y="156"/>
                    <a:pt x="105"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421"/>
            <p:cNvSpPr>
              <a:spLocks noEditPoints="1"/>
            </p:cNvSpPr>
            <p:nvPr userDrawn="1"/>
          </p:nvSpPr>
          <p:spPr bwMode="auto">
            <a:xfrm>
              <a:off x="3590" y="1104"/>
              <a:ext cx="156" cy="248"/>
            </a:xfrm>
            <a:custGeom>
              <a:avLst/>
              <a:gdLst>
                <a:gd name="T0" fmla="*/ 128 w 128"/>
                <a:gd name="T1" fmla="*/ 100 h 203"/>
                <a:gd name="T2" fmla="*/ 123 w 128"/>
                <a:gd name="T3" fmla="*/ 144 h 203"/>
                <a:gd name="T4" fmla="*/ 111 w 128"/>
                <a:gd name="T5" fmla="*/ 176 h 203"/>
                <a:gd name="T6" fmla="*/ 90 w 128"/>
                <a:gd name="T7" fmla="*/ 196 h 203"/>
                <a:gd name="T8" fmla="*/ 62 w 128"/>
                <a:gd name="T9" fmla="*/ 203 h 203"/>
                <a:gd name="T10" fmla="*/ 36 w 128"/>
                <a:gd name="T11" fmla="*/ 196 h 203"/>
                <a:gd name="T12" fmla="*/ 16 w 128"/>
                <a:gd name="T13" fmla="*/ 177 h 203"/>
                <a:gd name="T14" fmla="*/ 4 w 128"/>
                <a:gd name="T15" fmla="*/ 147 h 203"/>
                <a:gd name="T16" fmla="*/ 0 w 128"/>
                <a:gd name="T17" fmla="*/ 105 h 203"/>
                <a:gd name="T18" fmla="*/ 5 w 128"/>
                <a:gd name="T19" fmla="*/ 60 h 203"/>
                <a:gd name="T20" fmla="*/ 17 w 128"/>
                <a:gd name="T21" fmla="*/ 27 h 203"/>
                <a:gd name="T22" fmla="*/ 38 w 128"/>
                <a:gd name="T23" fmla="*/ 7 h 203"/>
                <a:gd name="T24" fmla="*/ 66 w 128"/>
                <a:gd name="T25" fmla="*/ 0 h 203"/>
                <a:gd name="T26" fmla="*/ 128 w 128"/>
                <a:gd name="T27" fmla="*/ 100 h 203"/>
                <a:gd name="T28" fmla="*/ 105 w 128"/>
                <a:gd name="T29" fmla="*/ 102 h 203"/>
                <a:gd name="T30" fmla="*/ 65 w 128"/>
                <a:gd name="T31" fmla="*/ 19 h 203"/>
                <a:gd name="T32" fmla="*/ 23 w 128"/>
                <a:gd name="T33" fmla="*/ 104 h 203"/>
                <a:gd name="T34" fmla="*/ 64 w 128"/>
                <a:gd name="T35" fmla="*/ 183 h 203"/>
                <a:gd name="T36" fmla="*/ 105 w 128"/>
                <a:gd name="T37" fmla="*/ 102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0"/>
                  </a:moveTo>
                  <a:cubicBezTo>
                    <a:pt x="128" y="117"/>
                    <a:pt x="126" y="131"/>
                    <a:pt x="123" y="144"/>
                  </a:cubicBezTo>
                  <a:cubicBezTo>
                    <a:pt x="121" y="157"/>
                    <a:pt x="116" y="167"/>
                    <a:pt x="111" y="176"/>
                  </a:cubicBezTo>
                  <a:cubicBezTo>
                    <a:pt x="105" y="185"/>
                    <a:pt x="98" y="191"/>
                    <a:pt x="90" y="196"/>
                  </a:cubicBezTo>
                  <a:cubicBezTo>
                    <a:pt x="82" y="200"/>
                    <a:pt x="73" y="203"/>
                    <a:pt x="62" y="203"/>
                  </a:cubicBezTo>
                  <a:cubicBezTo>
                    <a:pt x="52" y="203"/>
                    <a:pt x="44" y="200"/>
                    <a:pt x="36" y="196"/>
                  </a:cubicBezTo>
                  <a:cubicBezTo>
                    <a:pt x="28" y="192"/>
                    <a:pt x="22" y="185"/>
                    <a:pt x="16" y="177"/>
                  </a:cubicBezTo>
                  <a:cubicBezTo>
                    <a:pt x="11" y="169"/>
                    <a:pt x="7" y="159"/>
                    <a:pt x="4" y="147"/>
                  </a:cubicBezTo>
                  <a:cubicBezTo>
                    <a:pt x="2" y="134"/>
                    <a:pt x="0" y="121"/>
                    <a:pt x="0" y="105"/>
                  </a:cubicBezTo>
                  <a:cubicBezTo>
                    <a:pt x="0" y="88"/>
                    <a:pt x="2" y="73"/>
                    <a:pt x="5" y="60"/>
                  </a:cubicBezTo>
                  <a:cubicBezTo>
                    <a:pt x="7" y="47"/>
                    <a:pt x="12" y="36"/>
                    <a:pt x="17" y="27"/>
                  </a:cubicBezTo>
                  <a:cubicBezTo>
                    <a:pt x="23" y="18"/>
                    <a:pt x="30" y="11"/>
                    <a:pt x="38" y="7"/>
                  </a:cubicBezTo>
                  <a:cubicBezTo>
                    <a:pt x="46" y="2"/>
                    <a:pt x="56" y="0"/>
                    <a:pt x="66" y="0"/>
                  </a:cubicBezTo>
                  <a:cubicBezTo>
                    <a:pt x="107" y="0"/>
                    <a:pt x="128" y="33"/>
                    <a:pt x="128" y="100"/>
                  </a:cubicBezTo>
                  <a:close/>
                  <a:moveTo>
                    <a:pt x="105" y="102"/>
                  </a:moveTo>
                  <a:cubicBezTo>
                    <a:pt x="105" y="47"/>
                    <a:pt x="92" y="19"/>
                    <a:pt x="65" y="19"/>
                  </a:cubicBezTo>
                  <a:cubicBezTo>
                    <a:pt x="37" y="19"/>
                    <a:pt x="23" y="47"/>
                    <a:pt x="23" y="104"/>
                  </a:cubicBezTo>
                  <a:cubicBezTo>
                    <a:pt x="23" y="157"/>
                    <a:pt x="37" y="183"/>
                    <a:pt x="64" y="183"/>
                  </a:cubicBezTo>
                  <a:cubicBezTo>
                    <a:pt x="91" y="183"/>
                    <a:pt x="105" y="156"/>
                    <a:pt x="105"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422"/>
            <p:cNvSpPr>
              <a:spLocks/>
            </p:cNvSpPr>
            <p:nvPr userDrawn="1"/>
          </p:nvSpPr>
          <p:spPr bwMode="auto">
            <a:xfrm>
              <a:off x="3788" y="1103"/>
              <a:ext cx="83" cy="244"/>
            </a:xfrm>
            <a:custGeom>
              <a:avLst/>
              <a:gdLst>
                <a:gd name="T0" fmla="*/ 68 w 68"/>
                <a:gd name="T1" fmla="*/ 200 h 200"/>
                <a:gd name="T2" fmla="*/ 46 w 68"/>
                <a:gd name="T3" fmla="*/ 200 h 200"/>
                <a:gd name="T4" fmla="*/ 46 w 68"/>
                <a:gd name="T5" fmla="*/ 31 h 200"/>
                <a:gd name="T6" fmla="*/ 38 w 68"/>
                <a:gd name="T7" fmla="*/ 37 h 200"/>
                <a:gd name="T8" fmla="*/ 27 w 68"/>
                <a:gd name="T9" fmla="*/ 43 h 200"/>
                <a:gd name="T10" fmla="*/ 14 w 68"/>
                <a:gd name="T11" fmla="*/ 49 h 200"/>
                <a:gd name="T12" fmla="*/ 0 w 68"/>
                <a:gd name="T13" fmla="*/ 54 h 200"/>
                <a:gd name="T14" fmla="*/ 0 w 68"/>
                <a:gd name="T15" fmla="*/ 31 h 200"/>
                <a:gd name="T16" fmla="*/ 16 w 68"/>
                <a:gd name="T17" fmla="*/ 26 h 200"/>
                <a:gd name="T18" fmla="*/ 32 w 68"/>
                <a:gd name="T19" fmla="*/ 18 h 200"/>
                <a:gd name="T20" fmla="*/ 47 w 68"/>
                <a:gd name="T21" fmla="*/ 9 h 200"/>
                <a:gd name="T22" fmla="*/ 60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6" y="200"/>
                    <a:pt x="46" y="200"/>
                    <a:pt x="46" y="200"/>
                  </a:cubicBezTo>
                  <a:cubicBezTo>
                    <a:pt x="46" y="31"/>
                    <a:pt x="46" y="31"/>
                    <a:pt x="46" y="31"/>
                  </a:cubicBezTo>
                  <a:cubicBezTo>
                    <a:pt x="44" y="32"/>
                    <a:pt x="41" y="34"/>
                    <a:pt x="38" y="37"/>
                  </a:cubicBezTo>
                  <a:cubicBezTo>
                    <a:pt x="35" y="39"/>
                    <a:pt x="31" y="41"/>
                    <a:pt x="27" y="43"/>
                  </a:cubicBezTo>
                  <a:cubicBezTo>
                    <a:pt x="23" y="46"/>
                    <a:pt x="18" y="48"/>
                    <a:pt x="14" y="49"/>
                  </a:cubicBezTo>
                  <a:cubicBezTo>
                    <a:pt x="9" y="51"/>
                    <a:pt x="5" y="53"/>
                    <a:pt x="0" y="54"/>
                  </a:cubicBezTo>
                  <a:cubicBezTo>
                    <a:pt x="0" y="31"/>
                    <a:pt x="0" y="31"/>
                    <a:pt x="0" y="31"/>
                  </a:cubicBezTo>
                  <a:cubicBezTo>
                    <a:pt x="5" y="30"/>
                    <a:pt x="10" y="28"/>
                    <a:pt x="16" y="26"/>
                  </a:cubicBezTo>
                  <a:cubicBezTo>
                    <a:pt x="21" y="23"/>
                    <a:pt x="27" y="21"/>
                    <a:pt x="32" y="18"/>
                  </a:cubicBezTo>
                  <a:cubicBezTo>
                    <a:pt x="38" y="15"/>
                    <a:pt x="43" y="12"/>
                    <a:pt x="47" y="9"/>
                  </a:cubicBezTo>
                  <a:cubicBezTo>
                    <a:pt x="52" y="6"/>
                    <a:pt x="56" y="3"/>
                    <a:pt x="60"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423"/>
            <p:cNvSpPr>
              <a:spLocks/>
            </p:cNvSpPr>
            <p:nvPr userDrawn="1"/>
          </p:nvSpPr>
          <p:spPr bwMode="auto">
            <a:xfrm>
              <a:off x="3938" y="1103"/>
              <a:ext cx="83" cy="244"/>
            </a:xfrm>
            <a:custGeom>
              <a:avLst/>
              <a:gdLst>
                <a:gd name="T0" fmla="*/ 68 w 68"/>
                <a:gd name="T1" fmla="*/ 200 h 200"/>
                <a:gd name="T2" fmla="*/ 45 w 68"/>
                <a:gd name="T3" fmla="*/ 200 h 200"/>
                <a:gd name="T4" fmla="*/ 45 w 68"/>
                <a:gd name="T5" fmla="*/ 31 h 200"/>
                <a:gd name="T6" fmla="*/ 38 w 68"/>
                <a:gd name="T7" fmla="*/ 37 h 200"/>
                <a:gd name="T8" fmla="*/ 26 w 68"/>
                <a:gd name="T9" fmla="*/ 43 h 200"/>
                <a:gd name="T10" fmla="*/ 13 w 68"/>
                <a:gd name="T11" fmla="*/ 49 h 200"/>
                <a:gd name="T12" fmla="*/ 0 w 68"/>
                <a:gd name="T13" fmla="*/ 54 h 200"/>
                <a:gd name="T14" fmla="*/ 0 w 68"/>
                <a:gd name="T15" fmla="*/ 31 h 200"/>
                <a:gd name="T16" fmla="*/ 16 w 68"/>
                <a:gd name="T17" fmla="*/ 26 h 200"/>
                <a:gd name="T18" fmla="*/ 32 w 68"/>
                <a:gd name="T19" fmla="*/ 18 h 200"/>
                <a:gd name="T20" fmla="*/ 47 w 68"/>
                <a:gd name="T21" fmla="*/ 9 h 200"/>
                <a:gd name="T22" fmla="*/ 59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5" y="200"/>
                    <a:pt x="45" y="200"/>
                    <a:pt x="45" y="200"/>
                  </a:cubicBezTo>
                  <a:cubicBezTo>
                    <a:pt x="45" y="31"/>
                    <a:pt x="45" y="31"/>
                    <a:pt x="45" y="31"/>
                  </a:cubicBezTo>
                  <a:cubicBezTo>
                    <a:pt x="44" y="32"/>
                    <a:pt x="41" y="34"/>
                    <a:pt x="38" y="37"/>
                  </a:cubicBezTo>
                  <a:cubicBezTo>
                    <a:pt x="34" y="39"/>
                    <a:pt x="31" y="41"/>
                    <a:pt x="26" y="43"/>
                  </a:cubicBezTo>
                  <a:cubicBezTo>
                    <a:pt x="22" y="46"/>
                    <a:pt x="18" y="48"/>
                    <a:pt x="13" y="49"/>
                  </a:cubicBezTo>
                  <a:cubicBezTo>
                    <a:pt x="9" y="51"/>
                    <a:pt x="4" y="53"/>
                    <a:pt x="0" y="54"/>
                  </a:cubicBezTo>
                  <a:cubicBezTo>
                    <a:pt x="0" y="31"/>
                    <a:pt x="0" y="31"/>
                    <a:pt x="0" y="31"/>
                  </a:cubicBezTo>
                  <a:cubicBezTo>
                    <a:pt x="5" y="30"/>
                    <a:pt x="10" y="28"/>
                    <a:pt x="16" y="26"/>
                  </a:cubicBezTo>
                  <a:cubicBezTo>
                    <a:pt x="21" y="23"/>
                    <a:pt x="26" y="21"/>
                    <a:pt x="32" y="18"/>
                  </a:cubicBezTo>
                  <a:cubicBezTo>
                    <a:pt x="37" y="15"/>
                    <a:pt x="42" y="12"/>
                    <a:pt x="47" y="9"/>
                  </a:cubicBezTo>
                  <a:cubicBezTo>
                    <a:pt x="52" y="6"/>
                    <a:pt x="56" y="3"/>
                    <a:pt x="59"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424"/>
            <p:cNvSpPr>
              <a:spLocks noEditPoints="1"/>
            </p:cNvSpPr>
            <p:nvPr userDrawn="1"/>
          </p:nvSpPr>
          <p:spPr bwMode="auto">
            <a:xfrm>
              <a:off x="4085" y="1104"/>
              <a:ext cx="156" cy="248"/>
            </a:xfrm>
            <a:custGeom>
              <a:avLst/>
              <a:gdLst>
                <a:gd name="T0" fmla="*/ 128 w 128"/>
                <a:gd name="T1" fmla="*/ 100 h 203"/>
                <a:gd name="T2" fmla="*/ 124 w 128"/>
                <a:gd name="T3" fmla="*/ 144 h 203"/>
                <a:gd name="T4" fmla="*/ 111 w 128"/>
                <a:gd name="T5" fmla="*/ 176 h 203"/>
                <a:gd name="T6" fmla="*/ 90 w 128"/>
                <a:gd name="T7" fmla="*/ 196 h 203"/>
                <a:gd name="T8" fmla="*/ 62 w 128"/>
                <a:gd name="T9" fmla="*/ 203 h 203"/>
                <a:gd name="T10" fmla="*/ 36 w 128"/>
                <a:gd name="T11" fmla="*/ 196 h 203"/>
                <a:gd name="T12" fmla="*/ 17 w 128"/>
                <a:gd name="T13" fmla="*/ 177 h 203"/>
                <a:gd name="T14" fmla="*/ 5 w 128"/>
                <a:gd name="T15" fmla="*/ 147 h 203"/>
                <a:gd name="T16" fmla="*/ 0 w 128"/>
                <a:gd name="T17" fmla="*/ 105 h 203"/>
                <a:gd name="T18" fmla="*/ 5 w 128"/>
                <a:gd name="T19" fmla="*/ 60 h 203"/>
                <a:gd name="T20" fmla="*/ 17 w 128"/>
                <a:gd name="T21" fmla="*/ 27 h 203"/>
                <a:gd name="T22" fmla="*/ 38 w 128"/>
                <a:gd name="T23" fmla="*/ 7 h 203"/>
                <a:gd name="T24" fmla="*/ 67 w 128"/>
                <a:gd name="T25" fmla="*/ 0 h 203"/>
                <a:gd name="T26" fmla="*/ 128 w 128"/>
                <a:gd name="T27" fmla="*/ 100 h 203"/>
                <a:gd name="T28" fmla="*/ 105 w 128"/>
                <a:gd name="T29" fmla="*/ 102 h 203"/>
                <a:gd name="T30" fmla="*/ 65 w 128"/>
                <a:gd name="T31" fmla="*/ 19 h 203"/>
                <a:gd name="T32" fmla="*/ 23 w 128"/>
                <a:gd name="T33" fmla="*/ 104 h 203"/>
                <a:gd name="T34" fmla="*/ 65 w 128"/>
                <a:gd name="T35" fmla="*/ 183 h 203"/>
                <a:gd name="T36" fmla="*/ 105 w 128"/>
                <a:gd name="T37" fmla="*/ 102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0"/>
                  </a:moveTo>
                  <a:cubicBezTo>
                    <a:pt x="128" y="117"/>
                    <a:pt x="127" y="131"/>
                    <a:pt x="124" y="144"/>
                  </a:cubicBezTo>
                  <a:cubicBezTo>
                    <a:pt x="121" y="157"/>
                    <a:pt x="116" y="167"/>
                    <a:pt x="111" y="176"/>
                  </a:cubicBezTo>
                  <a:cubicBezTo>
                    <a:pt x="105" y="185"/>
                    <a:pt x="98" y="191"/>
                    <a:pt x="90" y="196"/>
                  </a:cubicBezTo>
                  <a:cubicBezTo>
                    <a:pt x="82" y="200"/>
                    <a:pt x="73" y="203"/>
                    <a:pt x="62" y="203"/>
                  </a:cubicBezTo>
                  <a:cubicBezTo>
                    <a:pt x="53" y="203"/>
                    <a:pt x="44" y="200"/>
                    <a:pt x="36" y="196"/>
                  </a:cubicBezTo>
                  <a:cubicBezTo>
                    <a:pt x="28" y="192"/>
                    <a:pt x="22" y="185"/>
                    <a:pt x="17" y="177"/>
                  </a:cubicBezTo>
                  <a:cubicBezTo>
                    <a:pt x="11" y="169"/>
                    <a:pt x="7" y="159"/>
                    <a:pt x="5" y="147"/>
                  </a:cubicBezTo>
                  <a:cubicBezTo>
                    <a:pt x="2" y="134"/>
                    <a:pt x="0" y="121"/>
                    <a:pt x="0" y="105"/>
                  </a:cubicBezTo>
                  <a:cubicBezTo>
                    <a:pt x="0" y="88"/>
                    <a:pt x="2" y="73"/>
                    <a:pt x="5" y="60"/>
                  </a:cubicBezTo>
                  <a:cubicBezTo>
                    <a:pt x="8" y="47"/>
                    <a:pt x="12" y="36"/>
                    <a:pt x="17" y="27"/>
                  </a:cubicBezTo>
                  <a:cubicBezTo>
                    <a:pt x="23" y="18"/>
                    <a:pt x="30" y="11"/>
                    <a:pt x="38" y="7"/>
                  </a:cubicBezTo>
                  <a:cubicBezTo>
                    <a:pt x="46" y="2"/>
                    <a:pt x="56" y="0"/>
                    <a:pt x="67" y="0"/>
                  </a:cubicBezTo>
                  <a:cubicBezTo>
                    <a:pt x="108" y="0"/>
                    <a:pt x="128" y="33"/>
                    <a:pt x="128" y="100"/>
                  </a:cubicBezTo>
                  <a:close/>
                  <a:moveTo>
                    <a:pt x="105" y="102"/>
                  </a:moveTo>
                  <a:cubicBezTo>
                    <a:pt x="105" y="47"/>
                    <a:pt x="92" y="19"/>
                    <a:pt x="65" y="19"/>
                  </a:cubicBezTo>
                  <a:cubicBezTo>
                    <a:pt x="37" y="19"/>
                    <a:pt x="23" y="47"/>
                    <a:pt x="23" y="104"/>
                  </a:cubicBezTo>
                  <a:cubicBezTo>
                    <a:pt x="23" y="157"/>
                    <a:pt x="37" y="183"/>
                    <a:pt x="65" y="183"/>
                  </a:cubicBezTo>
                  <a:cubicBezTo>
                    <a:pt x="92" y="183"/>
                    <a:pt x="105" y="156"/>
                    <a:pt x="105"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425"/>
            <p:cNvSpPr>
              <a:spLocks/>
            </p:cNvSpPr>
            <p:nvPr userDrawn="1"/>
          </p:nvSpPr>
          <p:spPr bwMode="auto">
            <a:xfrm>
              <a:off x="4284" y="1103"/>
              <a:ext cx="82" cy="244"/>
            </a:xfrm>
            <a:custGeom>
              <a:avLst/>
              <a:gdLst>
                <a:gd name="T0" fmla="*/ 67 w 67"/>
                <a:gd name="T1" fmla="*/ 200 h 200"/>
                <a:gd name="T2" fmla="*/ 45 w 67"/>
                <a:gd name="T3" fmla="*/ 200 h 200"/>
                <a:gd name="T4" fmla="*/ 45 w 67"/>
                <a:gd name="T5" fmla="*/ 31 h 200"/>
                <a:gd name="T6" fmla="*/ 37 w 67"/>
                <a:gd name="T7" fmla="*/ 37 h 200"/>
                <a:gd name="T8" fmla="*/ 26 w 67"/>
                <a:gd name="T9" fmla="*/ 43 h 200"/>
                <a:gd name="T10" fmla="*/ 13 w 67"/>
                <a:gd name="T11" fmla="*/ 49 h 200"/>
                <a:gd name="T12" fmla="*/ 0 w 67"/>
                <a:gd name="T13" fmla="*/ 54 h 200"/>
                <a:gd name="T14" fmla="*/ 0 w 67"/>
                <a:gd name="T15" fmla="*/ 31 h 200"/>
                <a:gd name="T16" fmla="*/ 15 w 67"/>
                <a:gd name="T17" fmla="*/ 26 h 200"/>
                <a:gd name="T18" fmla="*/ 31 w 67"/>
                <a:gd name="T19" fmla="*/ 18 h 200"/>
                <a:gd name="T20" fmla="*/ 47 w 67"/>
                <a:gd name="T21" fmla="*/ 9 h 200"/>
                <a:gd name="T22" fmla="*/ 59 w 67"/>
                <a:gd name="T23" fmla="*/ 0 h 200"/>
                <a:gd name="T24" fmla="*/ 67 w 67"/>
                <a:gd name="T25" fmla="*/ 0 h 200"/>
                <a:gd name="T26" fmla="*/ 67 w 67"/>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7" h="200">
                  <a:moveTo>
                    <a:pt x="67" y="200"/>
                  </a:moveTo>
                  <a:cubicBezTo>
                    <a:pt x="45" y="200"/>
                    <a:pt x="45" y="200"/>
                    <a:pt x="45" y="200"/>
                  </a:cubicBezTo>
                  <a:cubicBezTo>
                    <a:pt x="45" y="31"/>
                    <a:pt x="45" y="31"/>
                    <a:pt x="45" y="31"/>
                  </a:cubicBezTo>
                  <a:cubicBezTo>
                    <a:pt x="43" y="32"/>
                    <a:pt x="41" y="34"/>
                    <a:pt x="37" y="37"/>
                  </a:cubicBezTo>
                  <a:cubicBezTo>
                    <a:pt x="34" y="39"/>
                    <a:pt x="30" y="41"/>
                    <a:pt x="26" y="43"/>
                  </a:cubicBezTo>
                  <a:cubicBezTo>
                    <a:pt x="22" y="46"/>
                    <a:pt x="18" y="48"/>
                    <a:pt x="13" y="49"/>
                  </a:cubicBezTo>
                  <a:cubicBezTo>
                    <a:pt x="8" y="51"/>
                    <a:pt x="4" y="53"/>
                    <a:pt x="0" y="54"/>
                  </a:cubicBezTo>
                  <a:cubicBezTo>
                    <a:pt x="0" y="31"/>
                    <a:pt x="0" y="31"/>
                    <a:pt x="0" y="31"/>
                  </a:cubicBezTo>
                  <a:cubicBezTo>
                    <a:pt x="4" y="30"/>
                    <a:pt x="10" y="28"/>
                    <a:pt x="15" y="26"/>
                  </a:cubicBezTo>
                  <a:cubicBezTo>
                    <a:pt x="21" y="23"/>
                    <a:pt x="26" y="21"/>
                    <a:pt x="31" y="18"/>
                  </a:cubicBezTo>
                  <a:cubicBezTo>
                    <a:pt x="37" y="15"/>
                    <a:pt x="42" y="12"/>
                    <a:pt x="47" y="9"/>
                  </a:cubicBezTo>
                  <a:cubicBezTo>
                    <a:pt x="51" y="6"/>
                    <a:pt x="55" y="3"/>
                    <a:pt x="59" y="0"/>
                  </a:cubicBezTo>
                  <a:cubicBezTo>
                    <a:pt x="67" y="0"/>
                    <a:pt x="67" y="0"/>
                    <a:pt x="67" y="0"/>
                  </a:cubicBezTo>
                  <a:lnTo>
                    <a:pt x="67"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426"/>
            <p:cNvSpPr>
              <a:spLocks/>
            </p:cNvSpPr>
            <p:nvPr userDrawn="1"/>
          </p:nvSpPr>
          <p:spPr bwMode="auto">
            <a:xfrm>
              <a:off x="4433" y="1103"/>
              <a:ext cx="82" cy="244"/>
            </a:xfrm>
            <a:custGeom>
              <a:avLst/>
              <a:gdLst>
                <a:gd name="T0" fmla="*/ 68 w 68"/>
                <a:gd name="T1" fmla="*/ 200 h 200"/>
                <a:gd name="T2" fmla="*/ 46 w 68"/>
                <a:gd name="T3" fmla="*/ 200 h 200"/>
                <a:gd name="T4" fmla="*/ 46 w 68"/>
                <a:gd name="T5" fmla="*/ 31 h 200"/>
                <a:gd name="T6" fmla="*/ 38 w 68"/>
                <a:gd name="T7" fmla="*/ 37 h 200"/>
                <a:gd name="T8" fmla="*/ 27 w 68"/>
                <a:gd name="T9" fmla="*/ 43 h 200"/>
                <a:gd name="T10" fmla="*/ 14 w 68"/>
                <a:gd name="T11" fmla="*/ 49 h 200"/>
                <a:gd name="T12" fmla="*/ 0 w 68"/>
                <a:gd name="T13" fmla="*/ 54 h 200"/>
                <a:gd name="T14" fmla="*/ 0 w 68"/>
                <a:gd name="T15" fmla="*/ 31 h 200"/>
                <a:gd name="T16" fmla="*/ 16 w 68"/>
                <a:gd name="T17" fmla="*/ 26 h 200"/>
                <a:gd name="T18" fmla="*/ 32 w 68"/>
                <a:gd name="T19" fmla="*/ 18 h 200"/>
                <a:gd name="T20" fmla="*/ 47 w 68"/>
                <a:gd name="T21" fmla="*/ 9 h 200"/>
                <a:gd name="T22" fmla="*/ 59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6" y="200"/>
                    <a:pt x="46" y="200"/>
                    <a:pt x="46" y="200"/>
                  </a:cubicBezTo>
                  <a:cubicBezTo>
                    <a:pt x="46" y="31"/>
                    <a:pt x="46" y="31"/>
                    <a:pt x="46" y="31"/>
                  </a:cubicBezTo>
                  <a:cubicBezTo>
                    <a:pt x="44" y="32"/>
                    <a:pt x="41" y="34"/>
                    <a:pt x="38" y="37"/>
                  </a:cubicBezTo>
                  <a:cubicBezTo>
                    <a:pt x="35" y="39"/>
                    <a:pt x="31" y="41"/>
                    <a:pt x="27" y="43"/>
                  </a:cubicBezTo>
                  <a:cubicBezTo>
                    <a:pt x="23" y="46"/>
                    <a:pt x="18" y="48"/>
                    <a:pt x="14" y="49"/>
                  </a:cubicBezTo>
                  <a:cubicBezTo>
                    <a:pt x="9" y="51"/>
                    <a:pt x="4" y="53"/>
                    <a:pt x="0" y="54"/>
                  </a:cubicBezTo>
                  <a:cubicBezTo>
                    <a:pt x="0" y="31"/>
                    <a:pt x="0" y="31"/>
                    <a:pt x="0" y="31"/>
                  </a:cubicBezTo>
                  <a:cubicBezTo>
                    <a:pt x="5" y="30"/>
                    <a:pt x="10" y="28"/>
                    <a:pt x="16" y="26"/>
                  </a:cubicBezTo>
                  <a:cubicBezTo>
                    <a:pt x="21" y="23"/>
                    <a:pt x="27" y="21"/>
                    <a:pt x="32" y="18"/>
                  </a:cubicBezTo>
                  <a:cubicBezTo>
                    <a:pt x="37" y="15"/>
                    <a:pt x="42" y="12"/>
                    <a:pt x="47" y="9"/>
                  </a:cubicBezTo>
                  <a:cubicBezTo>
                    <a:pt x="52" y="6"/>
                    <a:pt x="56" y="3"/>
                    <a:pt x="59"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427"/>
            <p:cNvSpPr>
              <a:spLocks noEditPoints="1"/>
            </p:cNvSpPr>
            <p:nvPr userDrawn="1"/>
          </p:nvSpPr>
          <p:spPr bwMode="auto">
            <a:xfrm>
              <a:off x="4581" y="1104"/>
              <a:ext cx="155" cy="248"/>
            </a:xfrm>
            <a:custGeom>
              <a:avLst/>
              <a:gdLst>
                <a:gd name="T0" fmla="*/ 127 w 127"/>
                <a:gd name="T1" fmla="*/ 100 h 203"/>
                <a:gd name="T2" fmla="*/ 123 w 127"/>
                <a:gd name="T3" fmla="*/ 144 h 203"/>
                <a:gd name="T4" fmla="*/ 110 w 127"/>
                <a:gd name="T5" fmla="*/ 176 h 203"/>
                <a:gd name="T6" fmla="*/ 89 w 127"/>
                <a:gd name="T7" fmla="*/ 196 h 203"/>
                <a:gd name="T8" fmla="*/ 62 w 127"/>
                <a:gd name="T9" fmla="*/ 203 h 203"/>
                <a:gd name="T10" fmla="*/ 35 w 127"/>
                <a:gd name="T11" fmla="*/ 196 h 203"/>
                <a:gd name="T12" fmla="*/ 16 w 127"/>
                <a:gd name="T13" fmla="*/ 177 h 203"/>
                <a:gd name="T14" fmla="*/ 4 w 127"/>
                <a:gd name="T15" fmla="*/ 147 h 203"/>
                <a:gd name="T16" fmla="*/ 0 w 127"/>
                <a:gd name="T17" fmla="*/ 105 h 203"/>
                <a:gd name="T18" fmla="*/ 4 w 127"/>
                <a:gd name="T19" fmla="*/ 60 h 203"/>
                <a:gd name="T20" fmla="*/ 17 w 127"/>
                <a:gd name="T21" fmla="*/ 27 h 203"/>
                <a:gd name="T22" fmla="*/ 37 w 127"/>
                <a:gd name="T23" fmla="*/ 7 h 203"/>
                <a:gd name="T24" fmla="*/ 66 w 127"/>
                <a:gd name="T25" fmla="*/ 0 h 203"/>
                <a:gd name="T26" fmla="*/ 127 w 127"/>
                <a:gd name="T27" fmla="*/ 100 h 203"/>
                <a:gd name="T28" fmla="*/ 104 w 127"/>
                <a:gd name="T29" fmla="*/ 102 h 203"/>
                <a:gd name="T30" fmla="*/ 65 w 127"/>
                <a:gd name="T31" fmla="*/ 19 h 203"/>
                <a:gd name="T32" fmla="*/ 23 w 127"/>
                <a:gd name="T33" fmla="*/ 104 h 203"/>
                <a:gd name="T34" fmla="*/ 64 w 127"/>
                <a:gd name="T35" fmla="*/ 183 h 203"/>
                <a:gd name="T36" fmla="*/ 104 w 127"/>
                <a:gd name="T37" fmla="*/ 102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7" h="203">
                  <a:moveTo>
                    <a:pt x="127" y="100"/>
                  </a:moveTo>
                  <a:cubicBezTo>
                    <a:pt x="127" y="117"/>
                    <a:pt x="126" y="131"/>
                    <a:pt x="123" y="144"/>
                  </a:cubicBezTo>
                  <a:cubicBezTo>
                    <a:pt x="120" y="157"/>
                    <a:pt x="116" y="167"/>
                    <a:pt x="110" y="176"/>
                  </a:cubicBezTo>
                  <a:cubicBezTo>
                    <a:pt x="105" y="185"/>
                    <a:pt x="98" y="191"/>
                    <a:pt x="89" y="196"/>
                  </a:cubicBezTo>
                  <a:cubicBezTo>
                    <a:pt x="81" y="200"/>
                    <a:pt x="72" y="203"/>
                    <a:pt x="62" y="203"/>
                  </a:cubicBezTo>
                  <a:cubicBezTo>
                    <a:pt x="52" y="203"/>
                    <a:pt x="43" y="200"/>
                    <a:pt x="35" y="196"/>
                  </a:cubicBezTo>
                  <a:cubicBezTo>
                    <a:pt x="28" y="192"/>
                    <a:pt x="21" y="185"/>
                    <a:pt x="16" y="177"/>
                  </a:cubicBezTo>
                  <a:cubicBezTo>
                    <a:pt x="11" y="169"/>
                    <a:pt x="7" y="159"/>
                    <a:pt x="4" y="147"/>
                  </a:cubicBezTo>
                  <a:cubicBezTo>
                    <a:pt x="1" y="134"/>
                    <a:pt x="0" y="121"/>
                    <a:pt x="0" y="105"/>
                  </a:cubicBezTo>
                  <a:cubicBezTo>
                    <a:pt x="0" y="88"/>
                    <a:pt x="1" y="73"/>
                    <a:pt x="4" y="60"/>
                  </a:cubicBezTo>
                  <a:cubicBezTo>
                    <a:pt x="7" y="47"/>
                    <a:pt x="11" y="36"/>
                    <a:pt x="17" y="27"/>
                  </a:cubicBezTo>
                  <a:cubicBezTo>
                    <a:pt x="22" y="18"/>
                    <a:pt x="29" y="11"/>
                    <a:pt x="37" y="7"/>
                  </a:cubicBezTo>
                  <a:cubicBezTo>
                    <a:pt x="46" y="2"/>
                    <a:pt x="55" y="0"/>
                    <a:pt x="66" y="0"/>
                  </a:cubicBezTo>
                  <a:cubicBezTo>
                    <a:pt x="107" y="0"/>
                    <a:pt x="127" y="33"/>
                    <a:pt x="127" y="100"/>
                  </a:cubicBezTo>
                  <a:close/>
                  <a:moveTo>
                    <a:pt x="104" y="102"/>
                  </a:moveTo>
                  <a:cubicBezTo>
                    <a:pt x="104" y="47"/>
                    <a:pt x="91" y="19"/>
                    <a:pt x="65" y="19"/>
                  </a:cubicBezTo>
                  <a:cubicBezTo>
                    <a:pt x="37" y="19"/>
                    <a:pt x="23" y="47"/>
                    <a:pt x="23" y="104"/>
                  </a:cubicBezTo>
                  <a:cubicBezTo>
                    <a:pt x="23" y="157"/>
                    <a:pt x="36" y="183"/>
                    <a:pt x="64" y="183"/>
                  </a:cubicBezTo>
                  <a:cubicBezTo>
                    <a:pt x="91" y="183"/>
                    <a:pt x="104" y="156"/>
                    <a:pt x="104"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428"/>
            <p:cNvSpPr>
              <a:spLocks/>
            </p:cNvSpPr>
            <p:nvPr userDrawn="1"/>
          </p:nvSpPr>
          <p:spPr bwMode="auto">
            <a:xfrm>
              <a:off x="4779" y="1103"/>
              <a:ext cx="83" cy="244"/>
            </a:xfrm>
            <a:custGeom>
              <a:avLst/>
              <a:gdLst>
                <a:gd name="T0" fmla="*/ 68 w 68"/>
                <a:gd name="T1" fmla="*/ 200 h 200"/>
                <a:gd name="T2" fmla="*/ 45 w 68"/>
                <a:gd name="T3" fmla="*/ 200 h 200"/>
                <a:gd name="T4" fmla="*/ 45 w 68"/>
                <a:gd name="T5" fmla="*/ 31 h 200"/>
                <a:gd name="T6" fmla="*/ 38 w 68"/>
                <a:gd name="T7" fmla="*/ 37 h 200"/>
                <a:gd name="T8" fmla="*/ 26 w 68"/>
                <a:gd name="T9" fmla="*/ 43 h 200"/>
                <a:gd name="T10" fmla="*/ 13 w 68"/>
                <a:gd name="T11" fmla="*/ 49 h 200"/>
                <a:gd name="T12" fmla="*/ 0 w 68"/>
                <a:gd name="T13" fmla="*/ 54 h 200"/>
                <a:gd name="T14" fmla="*/ 0 w 68"/>
                <a:gd name="T15" fmla="*/ 31 h 200"/>
                <a:gd name="T16" fmla="*/ 15 w 68"/>
                <a:gd name="T17" fmla="*/ 26 h 200"/>
                <a:gd name="T18" fmla="*/ 32 w 68"/>
                <a:gd name="T19" fmla="*/ 18 h 200"/>
                <a:gd name="T20" fmla="*/ 47 w 68"/>
                <a:gd name="T21" fmla="*/ 9 h 200"/>
                <a:gd name="T22" fmla="*/ 59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5" y="200"/>
                    <a:pt x="45" y="200"/>
                    <a:pt x="45" y="200"/>
                  </a:cubicBezTo>
                  <a:cubicBezTo>
                    <a:pt x="45" y="31"/>
                    <a:pt x="45" y="31"/>
                    <a:pt x="45" y="31"/>
                  </a:cubicBezTo>
                  <a:cubicBezTo>
                    <a:pt x="43" y="32"/>
                    <a:pt x="41" y="34"/>
                    <a:pt x="38" y="37"/>
                  </a:cubicBezTo>
                  <a:cubicBezTo>
                    <a:pt x="34" y="39"/>
                    <a:pt x="31" y="41"/>
                    <a:pt x="26" y="43"/>
                  </a:cubicBezTo>
                  <a:cubicBezTo>
                    <a:pt x="22" y="46"/>
                    <a:pt x="18" y="48"/>
                    <a:pt x="13" y="49"/>
                  </a:cubicBezTo>
                  <a:cubicBezTo>
                    <a:pt x="9" y="51"/>
                    <a:pt x="4" y="53"/>
                    <a:pt x="0" y="54"/>
                  </a:cubicBezTo>
                  <a:cubicBezTo>
                    <a:pt x="0" y="31"/>
                    <a:pt x="0" y="31"/>
                    <a:pt x="0" y="31"/>
                  </a:cubicBezTo>
                  <a:cubicBezTo>
                    <a:pt x="5" y="30"/>
                    <a:pt x="10" y="28"/>
                    <a:pt x="15" y="26"/>
                  </a:cubicBezTo>
                  <a:cubicBezTo>
                    <a:pt x="21" y="23"/>
                    <a:pt x="26" y="21"/>
                    <a:pt x="32" y="18"/>
                  </a:cubicBezTo>
                  <a:cubicBezTo>
                    <a:pt x="37" y="15"/>
                    <a:pt x="42" y="12"/>
                    <a:pt x="47" y="9"/>
                  </a:cubicBezTo>
                  <a:cubicBezTo>
                    <a:pt x="52" y="6"/>
                    <a:pt x="56" y="3"/>
                    <a:pt x="59"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429"/>
            <p:cNvSpPr>
              <a:spLocks noEditPoints="1"/>
            </p:cNvSpPr>
            <p:nvPr userDrawn="1"/>
          </p:nvSpPr>
          <p:spPr bwMode="auto">
            <a:xfrm>
              <a:off x="4926" y="1104"/>
              <a:ext cx="156" cy="248"/>
            </a:xfrm>
            <a:custGeom>
              <a:avLst/>
              <a:gdLst>
                <a:gd name="T0" fmla="*/ 128 w 128"/>
                <a:gd name="T1" fmla="*/ 100 h 203"/>
                <a:gd name="T2" fmla="*/ 124 w 128"/>
                <a:gd name="T3" fmla="*/ 144 h 203"/>
                <a:gd name="T4" fmla="*/ 111 w 128"/>
                <a:gd name="T5" fmla="*/ 176 h 203"/>
                <a:gd name="T6" fmla="*/ 90 w 128"/>
                <a:gd name="T7" fmla="*/ 196 h 203"/>
                <a:gd name="T8" fmla="*/ 62 w 128"/>
                <a:gd name="T9" fmla="*/ 203 h 203"/>
                <a:gd name="T10" fmla="*/ 36 w 128"/>
                <a:gd name="T11" fmla="*/ 196 h 203"/>
                <a:gd name="T12" fmla="*/ 17 w 128"/>
                <a:gd name="T13" fmla="*/ 177 h 203"/>
                <a:gd name="T14" fmla="*/ 5 w 128"/>
                <a:gd name="T15" fmla="*/ 147 h 203"/>
                <a:gd name="T16" fmla="*/ 0 w 128"/>
                <a:gd name="T17" fmla="*/ 105 h 203"/>
                <a:gd name="T18" fmla="*/ 5 w 128"/>
                <a:gd name="T19" fmla="*/ 60 h 203"/>
                <a:gd name="T20" fmla="*/ 17 w 128"/>
                <a:gd name="T21" fmla="*/ 27 h 203"/>
                <a:gd name="T22" fmla="*/ 38 w 128"/>
                <a:gd name="T23" fmla="*/ 7 h 203"/>
                <a:gd name="T24" fmla="*/ 66 w 128"/>
                <a:gd name="T25" fmla="*/ 0 h 203"/>
                <a:gd name="T26" fmla="*/ 128 w 128"/>
                <a:gd name="T27" fmla="*/ 100 h 203"/>
                <a:gd name="T28" fmla="*/ 105 w 128"/>
                <a:gd name="T29" fmla="*/ 102 h 203"/>
                <a:gd name="T30" fmla="*/ 65 w 128"/>
                <a:gd name="T31" fmla="*/ 19 h 203"/>
                <a:gd name="T32" fmla="*/ 23 w 128"/>
                <a:gd name="T33" fmla="*/ 104 h 203"/>
                <a:gd name="T34" fmla="*/ 65 w 128"/>
                <a:gd name="T35" fmla="*/ 183 h 203"/>
                <a:gd name="T36" fmla="*/ 105 w 128"/>
                <a:gd name="T37" fmla="*/ 102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0"/>
                  </a:moveTo>
                  <a:cubicBezTo>
                    <a:pt x="128" y="117"/>
                    <a:pt x="127" y="131"/>
                    <a:pt x="124" y="144"/>
                  </a:cubicBezTo>
                  <a:cubicBezTo>
                    <a:pt x="121" y="157"/>
                    <a:pt x="116" y="167"/>
                    <a:pt x="111" y="176"/>
                  </a:cubicBezTo>
                  <a:cubicBezTo>
                    <a:pt x="105" y="185"/>
                    <a:pt x="98" y="191"/>
                    <a:pt x="90" y="196"/>
                  </a:cubicBezTo>
                  <a:cubicBezTo>
                    <a:pt x="82" y="200"/>
                    <a:pt x="73" y="203"/>
                    <a:pt x="62" y="203"/>
                  </a:cubicBezTo>
                  <a:cubicBezTo>
                    <a:pt x="53" y="203"/>
                    <a:pt x="44" y="200"/>
                    <a:pt x="36" y="196"/>
                  </a:cubicBezTo>
                  <a:cubicBezTo>
                    <a:pt x="28" y="192"/>
                    <a:pt x="22" y="185"/>
                    <a:pt x="17" y="177"/>
                  </a:cubicBezTo>
                  <a:cubicBezTo>
                    <a:pt x="11" y="169"/>
                    <a:pt x="7" y="159"/>
                    <a:pt x="5" y="147"/>
                  </a:cubicBezTo>
                  <a:cubicBezTo>
                    <a:pt x="2" y="134"/>
                    <a:pt x="0" y="121"/>
                    <a:pt x="0" y="105"/>
                  </a:cubicBezTo>
                  <a:cubicBezTo>
                    <a:pt x="0" y="88"/>
                    <a:pt x="2" y="73"/>
                    <a:pt x="5" y="60"/>
                  </a:cubicBezTo>
                  <a:cubicBezTo>
                    <a:pt x="8" y="47"/>
                    <a:pt x="12" y="36"/>
                    <a:pt x="17" y="27"/>
                  </a:cubicBezTo>
                  <a:cubicBezTo>
                    <a:pt x="23" y="18"/>
                    <a:pt x="30" y="11"/>
                    <a:pt x="38" y="7"/>
                  </a:cubicBezTo>
                  <a:cubicBezTo>
                    <a:pt x="46" y="2"/>
                    <a:pt x="56" y="0"/>
                    <a:pt x="66" y="0"/>
                  </a:cubicBezTo>
                  <a:cubicBezTo>
                    <a:pt x="108" y="0"/>
                    <a:pt x="128" y="33"/>
                    <a:pt x="128" y="100"/>
                  </a:cubicBezTo>
                  <a:close/>
                  <a:moveTo>
                    <a:pt x="105" y="102"/>
                  </a:moveTo>
                  <a:cubicBezTo>
                    <a:pt x="105" y="47"/>
                    <a:pt x="92" y="19"/>
                    <a:pt x="65" y="19"/>
                  </a:cubicBezTo>
                  <a:cubicBezTo>
                    <a:pt x="37" y="19"/>
                    <a:pt x="23" y="47"/>
                    <a:pt x="23" y="104"/>
                  </a:cubicBezTo>
                  <a:cubicBezTo>
                    <a:pt x="23" y="157"/>
                    <a:pt x="37" y="183"/>
                    <a:pt x="65" y="183"/>
                  </a:cubicBezTo>
                  <a:cubicBezTo>
                    <a:pt x="92" y="183"/>
                    <a:pt x="105" y="156"/>
                    <a:pt x="105"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430"/>
            <p:cNvSpPr>
              <a:spLocks/>
            </p:cNvSpPr>
            <p:nvPr userDrawn="1"/>
          </p:nvSpPr>
          <p:spPr bwMode="auto">
            <a:xfrm>
              <a:off x="5125" y="1103"/>
              <a:ext cx="81" cy="244"/>
            </a:xfrm>
            <a:custGeom>
              <a:avLst/>
              <a:gdLst>
                <a:gd name="T0" fmla="*/ 67 w 67"/>
                <a:gd name="T1" fmla="*/ 200 h 200"/>
                <a:gd name="T2" fmla="*/ 45 w 67"/>
                <a:gd name="T3" fmla="*/ 200 h 200"/>
                <a:gd name="T4" fmla="*/ 45 w 67"/>
                <a:gd name="T5" fmla="*/ 31 h 200"/>
                <a:gd name="T6" fmla="*/ 37 w 67"/>
                <a:gd name="T7" fmla="*/ 37 h 200"/>
                <a:gd name="T8" fmla="*/ 26 w 67"/>
                <a:gd name="T9" fmla="*/ 43 h 200"/>
                <a:gd name="T10" fmla="*/ 13 w 67"/>
                <a:gd name="T11" fmla="*/ 49 h 200"/>
                <a:gd name="T12" fmla="*/ 0 w 67"/>
                <a:gd name="T13" fmla="*/ 54 h 200"/>
                <a:gd name="T14" fmla="*/ 0 w 67"/>
                <a:gd name="T15" fmla="*/ 31 h 200"/>
                <a:gd name="T16" fmla="*/ 15 w 67"/>
                <a:gd name="T17" fmla="*/ 26 h 200"/>
                <a:gd name="T18" fmla="*/ 31 w 67"/>
                <a:gd name="T19" fmla="*/ 18 h 200"/>
                <a:gd name="T20" fmla="*/ 47 w 67"/>
                <a:gd name="T21" fmla="*/ 9 h 200"/>
                <a:gd name="T22" fmla="*/ 59 w 67"/>
                <a:gd name="T23" fmla="*/ 0 h 200"/>
                <a:gd name="T24" fmla="*/ 67 w 67"/>
                <a:gd name="T25" fmla="*/ 0 h 200"/>
                <a:gd name="T26" fmla="*/ 67 w 67"/>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7" h="200">
                  <a:moveTo>
                    <a:pt x="67" y="200"/>
                  </a:moveTo>
                  <a:cubicBezTo>
                    <a:pt x="45" y="200"/>
                    <a:pt x="45" y="200"/>
                    <a:pt x="45" y="200"/>
                  </a:cubicBezTo>
                  <a:cubicBezTo>
                    <a:pt x="45" y="31"/>
                    <a:pt x="45" y="31"/>
                    <a:pt x="45" y="31"/>
                  </a:cubicBezTo>
                  <a:cubicBezTo>
                    <a:pt x="43" y="32"/>
                    <a:pt x="41" y="34"/>
                    <a:pt x="37" y="37"/>
                  </a:cubicBezTo>
                  <a:cubicBezTo>
                    <a:pt x="34" y="39"/>
                    <a:pt x="30" y="41"/>
                    <a:pt x="26" y="43"/>
                  </a:cubicBezTo>
                  <a:cubicBezTo>
                    <a:pt x="22" y="46"/>
                    <a:pt x="18" y="48"/>
                    <a:pt x="13" y="49"/>
                  </a:cubicBezTo>
                  <a:cubicBezTo>
                    <a:pt x="8" y="51"/>
                    <a:pt x="4" y="53"/>
                    <a:pt x="0" y="54"/>
                  </a:cubicBezTo>
                  <a:cubicBezTo>
                    <a:pt x="0" y="31"/>
                    <a:pt x="0" y="31"/>
                    <a:pt x="0" y="31"/>
                  </a:cubicBezTo>
                  <a:cubicBezTo>
                    <a:pt x="4" y="30"/>
                    <a:pt x="10" y="28"/>
                    <a:pt x="15" y="26"/>
                  </a:cubicBezTo>
                  <a:cubicBezTo>
                    <a:pt x="21" y="23"/>
                    <a:pt x="26" y="21"/>
                    <a:pt x="31" y="18"/>
                  </a:cubicBezTo>
                  <a:cubicBezTo>
                    <a:pt x="37" y="15"/>
                    <a:pt x="42" y="12"/>
                    <a:pt x="47" y="9"/>
                  </a:cubicBezTo>
                  <a:cubicBezTo>
                    <a:pt x="51" y="6"/>
                    <a:pt x="55" y="3"/>
                    <a:pt x="59" y="0"/>
                  </a:cubicBezTo>
                  <a:cubicBezTo>
                    <a:pt x="67" y="0"/>
                    <a:pt x="67" y="0"/>
                    <a:pt x="67" y="0"/>
                  </a:cubicBezTo>
                  <a:lnTo>
                    <a:pt x="67"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431"/>
            <p:cNvSpPr>
              <a:spLocks noEditPoints="1"/>
            </p:cNvSpPr>
            <p:nvPr userDrawn="1"/>
          </p:nvSpPr>
          <p:spPr bwMode="auto">
            <a:xfrm>
              <a:off x="5261" y="1108"/>
              <a:ext cx="188" cy="218"/>
            </a:xfrm>
            <a:custGeom>
              <a:avLst/>
              <a:gdLst>
                <a:gd name="T0" fmla="*/ 188 w 188"/>
                <a:gd name="T1" fmla="*/ 67 h 218"/>
                <a:gd name="T2" fmla="*/ 184 w 188"/>
                <a:gd name="T3" fmla="*/ 85 h 218"/>
                <a:gd name="T4" fmla="*/ 142 w 188"/>
                <a:gd name="T5" fmla="*/ 85 h 218"/>
                <a:gd name="T6" fmla="*/ 131 w 188"/>
                <a:gd name="T7" fmla="*/ 135 h 218"/>
                <a:gd name="T8" fmla="*/ 177 w 188"/>
                <a:gd name="T9" fmla="*/ 135 h 218"/>
                <a:gd name="T10" fmla="*/ 173 w 188"/>
                <a:gd name="T11" fmla="*/ 152 h 218"/>
                <a:gd name="T12" fmla="*/ 127 w 188"/>
                <a:gd name="T13" fmla="*/ 152 h 218"/>
                <a:gd name="T14" fmla="*/ 112 w 188"/>
                <a:gd name="T15" fmla="*/ 218 h 218"/>
                <a:gd name="T16" fmla="*/ 92 w 188"/>
                <a:gd name="T17" fmla="*/ 218 h 218"/>
                <a:gd name="T18" fmla="*/ 106 w 188"/>
                <a:gd name="T19" fmla="*/ 152 h 218"/>
                <a:gd name="T20" fmla="*/ 64 w 188"/>
                <a:gd name="T21" fmla="*/ 152 h 218"/>
                <a:gd name="T22" fmla="*/ 50 w 188"/>
                <a:gd name="T23" fmla="*/ 218 h 218"/>
                <a:gd name="T24" fmla="*/ 30 w 188"/>
                <a:gd name="T25" fmla="*/ 218 h 218"/>
                <a:gd name="T26" fmla="*/ 43 w 188"/>
                <a:gd name="T27" fmla="*/ 152 h 218"/>
                <a:gd name="T28" fmla="*/ 0 w 188"/>
                <a:gd name="T29" fmla="*/ 152 h 218"/>
                <a:gd name="T30" fmla="*/ 3 w 188"/>
                <a:gd name="T31" fmla="*/ 135 h 218"/>
                <a:gd name="T32" fmla="*/ 48 w 188"/>
                <a:gd name="T33" fmla="*/ 135 h 218"/>
                <a:gd name="T34" fmla="*/ 58 w 188"/>
                <a:gd name="T35" fmla="*/ 85 h 218"/>
                <a:gd name="T36" fmla="*/ 11 w 188"/>
                <a:gd name="T37" fmla="*/ 85 h 218"/>
                <a:gd name="T38" fmla="*/ 15 w 188"/>
                <a:gd name="T39" fmla="*/ 67 h 218"/>
                <a:gd name="T40" fmla="*/ 61 w 188"/>
                <a:gd name="T41" fmla="*/ 67 h 218"/>
                <a:gd name="T42" fmla="*/ 75 w 188"/>
                <a:gd name="T43" fmla="*/ 0 h 218"/>
                <a:gd name="T44" fmla="*/ 95 w 188"/>
                <a:gd name="T45" fmla="*/ 0 h 218"/>
                <a:gd name="T46" fmla="*/ 82 w 188"/>
                <a:gd name="T47" fmla="*/ 67 h 218"/>
                <a:gd name="T48" fmla="*/ 123 w 188"/>
                <a:gd name="T49" fmla="*/ 67 h 218"/>
                <a:gd name="T50" fmla="*/ 138 w 188"/>
                <a:gd name="T51" fmla="*/ 0 h 218"/>
                <a:gd name="T52" fmla="*/ 159 w 188"/>
                <a:gd name="T53" fmla="*/ 0 h 218"/>
                <a:gd name="T54" fmla="*/ 145 w 188"/>
                <a:gd name="T55" fmla="*/ 67 h 218"/>
                <a:gd name="T56" fmla="*/ 188 w 188"/>
                <a:gd name="T57" fmla="*/ 67 h 218"/>
                <a:gd name="T58" fmla="*/ 121 w 188"/>
                <a:gd name="T59" fmla="*/ 85 h 218"/>
                <a:gd name="T60" fmla="*/ 78 w 188"/>
                <a:gd name="T61" fmla="*/ 85 h 218"/>
                <a:gd name="T62" fmla="*/ 67 w 188"/>
                <a:gd name="T63" fmla="*/ 135 h 218"/>
                <a:gd name="T64" fmla="*/ 110 w 188"/>
                <a:gd name="T65" fmla="*/ 135 h 218"/>
                <a:gd name="T66" fmla="*/ 121 w 188"/>
                <a:gd name="T67" fmla="*/ 85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8" h="218">
                  <a:moveTo>
                    <a:pt x="188" y="67"/>
                  </a:moveTo>
                  <a:lnTo>
                    <a:pt x="184" y="85"/>
                  </a:lnTo>
                  <a:lnTo>
                    <a:pt x="142" y="85"/>
                  </a:lnTo>
                  <a:lnTo>
                    <a:pt x="131" y="135"/>
                  </a:lnTo>
                  <a:lnTo>
                    <a:pt x="177" y="135"/>
                  </a:lnTo>
                  <a:lnTo>
                    <a:pt x="173" y="152"/>
                  </a:lnTo>
                  <a:lnTo>
                    <a:pt x="127" y="152"/>
                  </a:lnTo>
                  <a:lnTo>
                    <a:pt x="112" y="218"/>
                  </a:lnTo>
                  <a:lnTo>
                    <a:pt x="92" y="218"/>
                  </a:lnTo>
                  <a:lnTo>
                    <a:pt x="106" y="152"/>
                  </a:lnTo>
                  <a:lnTo>
                    <a:pt x="64" y="152"/>
                  </a:lnTo>
                  <a:lnTo>
                    <a:pt x="50" y="218"/>
                  </a:lnTo>
                  <a:lnTo>
                    <a:pt x="30" y="218"/>
                  </a:lnTo>
                  <a:lnTo>
                    <a:pt x="43" y="152"/>
                  </a:lnTo>
                  <a:lnTo>
                    <a:pt x="0" y="152"/>
                  </a:lnTo>
                  <a:lnTo>
                    <a:pt x="3" y="135"/>
                  </a:lnTo>
                  <a:lnTo>
                    <a:pt x="48" y="135"/>
                  </a:lnTo>
                  <a:lnTo>
                    <a:pt x="58" y="85"/>
                  </a:lnTo>
                  <a:lnTo>
                    <a:pt x="11" y="85"/>
                  </a:lnTo>
                  <a:lnTo>
                    <a:pt x="15" y="67"/>
                  </a:lnTo>
                  <a:lnTo>
                    <a:pt x="61" y="67"/>
                  </a:lnTo>
                  <a:lnTo>
                    <a:pt x="75" y="0"/>
                  </a:lnTo>
                  <a:lnTo>
                    <a:pt x="95" y="0"/>
                  </a:lnTo>
                  <a:lnTo>
                    <a:pt x="82" y="67"/>
                  </a:lnTo>
                  <a:lnTo>
                    <a:pt x="123" y="67"/>
                  </a:lnTo>
                  <a:lnTo>
                    <a:pt x="138" y="0"/>
                  </a:lnTo>
                  <a:lnTo>
                    <a:pt x="159" y="0"/>
                  </a:lnTo>
                  <a:lnTo>
                    <a:pt x="145" y="67"/>
                  </a:lnTo>
                  <a:lnTo>
                    <a:pt x="188" y="67"/>
                  </a:lnTo>
                  <a:close/>
                  <a:moveTo>
                    <a:pt x="121" y="85"/>
                  </a:moveTo>
                  <a:lnTo>
                    <a:pt x="78" y="85"/>
                  </a:lnTo>
                  <a:lnTo>
                    <a:pt x="67" y="135"/>
                  </a:lnTo>
                  <a:lnTo>
                    <a:pt x="110" y="135"/>
                  </a:lnTo>
                  <a:lnTo>
                    <a:pt x="121" y="8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432"/>
            <p:cNvSpPr>
              <a:spLocks noEditPoints="1"/>
            </p:cNvSpPr>
            <p:nvPr userDrawn="1"/>
          </p:nvSpPr>
          <p:spPr bwMode="auto">
            <a:xfrm>
              <a:off x="5478" y="1104"/>
              <a:ext cx="156" cy="248"/>
            </a:xfrm>
            <a:custGeom>
              <a:avLst/>
              <a:gdLst>
                <a:gd name="T0" fmla="*/ 128 w 128"/>
                <a:gd name="T1" fmla="*/ 100 h 203"/>
                <a:gd name="T2" fmla="*/ 123 w 128"/>
                <a:gd name="T3" fmla="*/ 144 h 203"/>
                <a:gd name="T4" fmla="*/ 110 w 128"/>
                <a:gd name="T5" fmla="*/ 176 h 203"/>
                <a:gd name="T6" fmla="*/ 90 w 128"/>
                <a:gd name="T7" fmla="*/ 196 h 203"/>
                <a:gd name="T8" fmla="*/ 62 w 128"/>
                <a:gd name="T9" fmla="*/ 203 h 203"/>
                <a:gd name="T10" fmla="*/ 35 w 128"/>
                <a:gd name="T11" fmla="*/ 196 h 203"/>
                <a:gd name="T12" fmla="*/ 16 w 128"/>
                <a:gd name="T13" fmla="*/ 177 h 203"/>
                <a:gd name="T14" fmla="*/ 4 w 128"/>
                <a:gd name="T15" fmla="*/ 147 h 203"/>
                <a:gd name="T16" fmla="*/ 0 w 128"/>
                <a:gd name="T17" fmla="*/ 105 h 203"/>
                <a:gd name="T18" fmla="*/ 4 w 128"/>
                <a:gd name="T19" fmla="*/ 60 h 203"/>
                <a:gd name="T20" fmla="*/ 17 w 128"/>
                <a:gd name="T21" fmla="*/ 27 h 203"/>
                <a:gd name="T22" fmla="*/ 38 w 128"/>
                <a:gd name="T23" fmla="*/ 7 h 203"/>
                <a:gd name="T24" fmla="*/ 66 w 128"/>
                <a:gd name="T25" fmla="*/ 0 h 203"/>
                <a:gd name="T26" fmla="*/ 128 w 128"/>
                <a:gd name="T27" fmla="*/ 100 h 203"/>
                <a:gd name="T28" fmla="*/ 105 w 128"/>
                <a:gd name="T29" fmla="*/ 102 h 203"/>
                <a:gd name="T30" fmla="*/ 65 w 128"/>
                <a:gd name="T31" fmla="*/ 19 h 203"/>
                <a:gd name="T32" fmla="*/ 23 w 128"/>
                <a:gd name="T33" fmla="*/ 104 h 203"/>
                <a:gd name="T34" fmla="*/ 64 w 128"/>
                <a:gd name="T35" fmla="*/ 183 h 203"/>
                <a:gd name="T36" fmla="*/ 105 w 128"/>
                <a:gd name="T37" fmla="*/ 102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0"/>
                  </a:moveTo>
                  <a:cubicBezTo>
                    <a:pt x="128" y="117"/>
                    <a:pt x="126" y="131"/>
                    <a:pt x="123" y="144"/>
                  </a:cubicBezTo>
                  <a:cubicBezTo>
                    <a:pt x="120" y="157"/>
                    <a:pt x="116" y="167"/>
                    <a:pt x="110" y="176"/>
                  </a:cubicBezTo>
                  <a:cubicBezTo>
                    <a:pt x="105" y="185"/>
                    <a:pt x="98" y="191"/>
                    <a:pt x="90" y="196"/>
                  </a:cubicBezTo>
                  <a:cubicBezTo>
                    <a:pt x="81" y="200"/>
                    <a:pt x="72" y="203"/>
                    <a:pt x="62" y="203"/>
                  </a:cubicBezTo>
                  <a:cubicBezTo>
                    <a:pt x="52" y="203"/>
                    <a:pt x="43" y="200"/>
                    <a:pt x="35" y="196"/>
                  </a:cubicBezTo>
                  <a:cubicBezTo>
                    <a:pt x="28" y="192"/>
                    <a:pt x="21" y="185"/>
                    <a:pt x="16" y="177"/>
                  </a:cubicBezTo>
                  <a:cubicBezTo>
                    <a:pt x="11" y="169"/>
                    <a:pt x="7" y="159"/>
                    <a:pt x="4" y="147"/>
                  </a:cubicBezTo>
                  <a:cubicBezTo>
                    <a:pt x="1" y="134"/>
                    <a:pt x="0" y="121"/>
                    <a:pt x="0" y="105"/>
                  </a:cubicBezTo>
                  <a:cubicBezTo>
                    <a:pt x="0" y="88"/>
                    <a:pt x="1" y="73"/>
                    <a:pt x="4" y="60"/>
                  </a:cubicBezTo>
                  <a:cubicBezTo>
                    <a:pt x="7" y="47"/>
                    <a:pt x="11" y="36"/>
                    <a:pt x="17" y="27"/>
                  </a:cubicBezTo>
                  <a:cubicBezTo>
                    <a:pt x="22" y="18"/>
                    <a:pt x="29" y="11"/>
                    <a:pt x="38" y="7"/>
                  </a:cubicBezTo>
                  <a:cubicBezTo>
                    <a:pt x="46" y="2"/>
                    <a:pt x="55" y="0"/>
                    <a:pt x="66" y="0"/>
                  </a:cubicBezTo>
                  <a:cubicBezTo>
                    <a:pt x="107" y="0"/>
                    <a:pt x="128" y="33"/>
                    <a:pt x="128" y="100"/>
                  </a:cubicBezTo>
                  <a:close/>
                  <a:moveTo>
                    <a:pt x="105" y="102"/>
                  </a:moveTo>
                  <a:cubicBezTo>
                    <a:pt x="105" y="47"/>
                    <a:pt x="91" y="19"/>
                    <a:pt x="65" y="19"/>
                  </a:cubicBezTo>
                  <a:cubicBezTo>
                    <a:pt x="37" y="19"/>
                    <a:pt x="23" y="47"/>
                    <a:pt x="23" y="104"/>
                  </a:cubicBezTo>
                  <a:cubicBezTo>
                    <a:pt x="23" y="157"/>
                    <a:pt x="37" y="183"/>
                    <a:pt x="64" y="183"/>
                  </a:cubicBezTo>
                  <a:cubicBezTo>
                    <a:pt x="91" y="183"/>
                    <a:pt x="105" y="156"/>
                    <a:pt x="105"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433"/>
            <p:cNvSpPr>
              <a:spLocks/>
            </p:cNvSpPr>
            <p:nvPr userDrawn="1"/>
          </p:nvSpPr>
          <p:spPr bwMode="auto">
            <a:xfrm>
              <a:off x="5904" y="1103"/>
              <a:ext cx="82" cy="244"/>
            </a:xfrm>
            <a:custGeom>
              <a:avLst/>
              <a:gdLst>
                <a:gd name="T0" fmla="*/ 68 w 68"/>
                <a:gd name="T1" fmla="*/ 200 h 200"/>
                <a:gd name="T2" fmla="*/ 45 w 68"/>
                <a:gd name="T3" fmla="*/ 200 h 200"/>
                <a:gd name="T4" fmla="*/ 45 w 68"/>
                <a:gd name="T5" fmla="*/ 31 h 200"/>
                <a:gd name="T6" fmla="*/ 38 w 68"/>
                <a:gd name="T7" fmla="*/ 37 h 200"/>
                <a:gd name="T8" fmla="*/ 26 w 68"/>
                <a:gd name="T9" fmla="*/ 43 h 200"/>
                <a:gd name="T10" fmla="*/ 13 w 68"/>
                <a:gd name="T11" fmla="*/ 49 h 200"/>
                <a:gd name="T12" fmla="*/ 0 w 68"/>
                <a:gd name="T13" fmla="*/ 54 h 200"/>
                <a:gd name="T14" fmla="*/ 0 w 68"/>
                <a:gd name="T15" fmla="*/ 31 h 200"/>
                <a:gd name="T16" fmla="*/ 15 w 68"/>
                <a:gd name="T17" fmla="*/ 26 h 200"/>
                <a:gd name="T18" fmla="*/ 32 w 68"/>
                <a:gd name="T19" fmla="*/ 18 h 200"/>
                <a:gd name="T20" fmla="*/ 47 w 68"/>
                <a:gd name="T21" fmla="*/ 9 h 200"/>
                <a:gd name="T22" fmla="*/ 59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5" y="200"/>
                    <a:pt x="45" y="200"/>
                    <a:pt x="45" y="200"/>
                  </a:cubicBezTo>
                  <a:cubicBezTo>
                    <a:pt x="45" y="31"/>
                    <a:pt x="45" y="31"/>
                    <a:pt x="45" y="31"/>
                  </a:cubicBezTo>
                  <a:cubicBezTo>
                    <a:pt x="43" y="32"/>
                    <a:pt x="41" y="34"/>
                    <a:pt x="38" y="37"/>
                  </a:cubicBezTo>
                  <a:cubicBezTo>
                    <a:pt x="34" y="39"/>
                    <a:pt x="31" y="41"/>
                    <a:pt x="26" y="43"/>
                  </a:cubicBezTo>
                  <a:cubicBezTo>
                    <a:pt x="22" y="46"/>
                    <a:pt x="18" y="48"/>
                    <a:pt x="13" y="49"/>
                  </a:cubicBezTo>
                  <a:cubicBezTo>
                    <a:pt x="9" y="51"/>
                    <a:pt x="4" y="53"/>
                    <a:pt x="0" y="54"/>
                  </a:cubicBezTo>
                  <a:cubicBezTo>
                    <a:pt x="0" y="31"/>
                    <a:pt x="0" y="31"/>
                    <a:pt x="0" y="31"/>
                  </a:cubicBezTo>
                  <a:cubicBezTo>
                    <a:pt x="5" y="30"/>
                    <a:pt x="10" y="28"/>
                    <a:pt x="15" y="26"/>
                  </a:cubicBezTo>
                  <a:cubicBezTo>
                    <a:pt x="21" y="23"/>
                    <a:pt x="26" y="21"/>
                    <a:pt x="32" y="18"/>
                  </a:cubicBezTo>
                  <a:cubicBezTo>
                    <a:pt x="37" y="15"/>
                    <a:pt x="42" y="12"/>
                    <a:pt x="47" y="9"/>
                  </a:cubicBezTo>
                  <a:cubicBezTo>
                    <a:pt x="52" y="6"/>
                    <a:pt x="56" y="3"/>
                    <a:pt x="59"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434"/>
            <p:cNvSpPr>
              <a:spLocks noEditPoints="1"/>
            </p:cNvSpPr>
            <p:nvPr userDrawn="1"/>
          </p:nvSpPr>
          <p:spPr bwMode="auto">
            <a:xfrm>
              <a:off x="6051" y="1104"/>
              <a:ext cx="156" cy="248"/>
            </a:xfrm>
            <a:custGeom>
              <a:avLst/>
              <a:gdLst>
                <a:gd name="T0" fmla="*/ 128 w 128"/>
                <a:gd name="T1" fmla="*/ 100 h 203"/>
                <a:gd name="T2" fmla="*/ 124 w 128"/>
                <a:gd name="T3" fmla="*/ 144 h 203"/>
                <a:gd name="T4" fmla="*/ 111 w 128"/>
                <a:gd name="T5" fmla="*/ 176 h 203"/>
                <a:gd name="T6" fmla="*/ 90 w 128"/>
                <a:gd name="T7" fmla="*/ 196 h 203"/>
                <a:gd name="T8" fmla="*/ 62 w 128"/>
                <a:gd name="T9" fmla="*/ 203 h 203"/>
                <a:gd name="T10" fmla="*/ 36 w 128"/>
                <a:gd name="T11" fmla="*/ 196 h 203"/>
                <a:gd name="T12" fmla="*/ 17 w 128"/>
                <a:gd name="T13" fmla="*/ 177 h 203"/>
                <a:gd name="T14" fmla="*/ 5 w 128"/>
                <a:gd name="T15" fmla="*/ 147 h 203"/>
                <a:gd name="T16" fmla="*/ 0 w 128"/>
                <a:gd name="T17" fmla="*/ 105 h 203"/>
                <a:gd name="T18" fmla="*/ 5 w 128"/>
                <a:gd name="T19" fmla="*/ 60 h 203"/>
                <a:gd name="T20" fmla="*/ 17 w 128"/>
                <a:gd name="T21" fmla="*/ 27 h 203"/>
                <a:gd name="T22" fmla="*/ 38 w 128"/>
                <a:gd name="T23" fmla="*/ 7 h 203"/>
                <a:gd name="T24" fmla="*/ 66 w 128"/>
                <a:gd name="T25" fmla="*/ 0 h 203"/>
                <a:gd name="T26" fmla="*/ 128 w 128"/>
                <a:gd name="T27" fmla="*/ 100 h 203"/>
                <a:gd name="T28" fmla="*/ 105 w 128"/>
                <a:gd name="T29" fmla="*/ 102 h 203"/>
                <a:gd name="T30" fmla="*/ 65 w 128"/>
                <a:gd name="T31" fmla="*/ 19 h 203"/>
                <a:gd name="T32" fmla="*/ 23 w 128"/>
                <a:gd name="T33" fmla="*/ 104 h 203"/>
                <a:gd name="T34" fmla="*/ 65 w 128"/>
                <a:gd name="T35" fmla="*/ 183 h 203"/>
                <a:gd name="T36" fmla="*/ 105 w 128"/>
                <a:gd name="T37" fmla="*/ 102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0"/>
                  </a:moveTo>
                  <a:cubicBezTo>
                    <a:pt x="128" y="117"/>
                    <a:pt x="127" y="131"/>
                    <a:pt x="124" y="144"/>
                  </a:cubicBezTo>
                  <a:cubicBezTo>
                    <a:pt x="121" y="157"/>
                    <a:pt x="116" y="167"/>
                    <a:pt x="111" y="176"/>
                  </a:cubicBezTo>
                  <a:cubicBezTo>
                    <a:pt x="105" y="185"/>
                    <a:pt x="98" y="191"/>
                    <a:pt x="90" y="196"/>
                  </a:cubicBezTo>
                  <a:cubicBezTo>
                    <a:pt x="82" y="200"/>
                    <a:pt x="73" y="203"/>
                    <a:pt x="62" y="203"/>
                  </a:cubicBezTo>
                  <a:cubicBezTo>
                    <a:pt x="53" y="203"/>
                    <a:pt x="44" y="200"/>
                    <a:pt x="36" y="196"/>
                  </a:cubicBezTo>
                  <a:cubicBezTo>
                    <a:pt x="28" y="192"/>
                    <a:pt x="22" y="185"/>
                    <a:pt x="17" y="177"/>
                  </a:cubicBezTo>
                  <a:cubicBezTo>
                    <a:pt x="11" y="169"/>
                    <a:pt x="7" y="159"/>
                    <a:pt x="5" y="147"/>
                  </a:cubicBezTo>
                  <a:cubicBezTo>
                    <a:pt x="2" y="134"/>
                    <a:pt x="0" y="121"/>
                    <a:pt x="0" y="105"/>
                  </a:cubicBezTo>
                  <a:cubicBezTo>
                    <a:pt x="0" y="88"/>
                    <a:pt x="2" y="73"/>
                    <a:pt x="5" y="60"/>
                  </a:cubicBezTo>
                  <a:cubicBezTo>
                    <a:pt x="8" y="47"/>
                    <a:pt x="12" y="36"/>
                    <a:pt x="17" y="27"/>
                  </a:cubicBezTo>
                  <a:cubicBezTo>
                    <a:pt x="23" y="18"/>
                    <a:pt x="30" y="11"/>
                    <a:pt x="38" y="7"/>
                  </a:cubicBezTo>
                  <a:cubicBezTo>
                    <a:pt x="46" y="2"/>
                    <a:pt x="56" y="0"/>
                    <a:pt x="66" y="0"/>
                  </a:cubicBezTo>
                  <a:cubicBezTo>
                    <a:pt x="108" y="0"/>
                    <a:pt x="128" y="33"/>
                    <a:pt x="128" y="100"/>
                  </a:cubicBezTo>
                  <a:close/>
                  <a:moveTo>
                    <a:pt x="105" y="102"/>
                  </a:moveTo>
                  <a:cubicBezTo>
                    <a:pt x="105" y="47"/>
                    <a:pt x="92" y="19"/>
                    <a:pt x="65" y="19"/>
                  </a:cubicBezTo>
                  <a:cubicBezTo>
                    <a:pt x="37" y="19"/>
                    <a:pt x="23" y="47"/>
                    <a:pt x="23" y="104"/>
                  </a:cubicBezTo>
                  <a:cubicBezTo>
                    <a:pt x="23" y="157"/>
                    <a:pt x="37" y="183"/>
                    <a:pt x="65" y="183"/>
                  </a:cubicBezTo>
                  <a:cubicBezTo>
                    <a:pt x="92" y="183"/>
                    <a:pt x="105" y="156"/>
                    <a:pt x="105"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Freeform 435"/>
            <p:cNvSpPr>
              <a:spLocks/>
            </p:cNvSpPr>
            <p:nvPr userDrawn="1"/>
          </p:nvSpPr>
          <p:spPr bwMode="auto">
            <a:xfrm>
              <a:off x="6250" y="1103"/>
              <a:ext cx="81" cy="244"/>
            </a:xfrm>
            <a:custGeom>
              <a:avLst/>
              <a:gdLst>
                <a:gd name="T0" fmla="*/ 67 w 67"/>
                <a:gd name="T1" fmla="*/ 200 h 200"/>
                <a:gd name="T2" fmla="*/ 45 w 67"/>
                <a:gd name="T3" fmla="*/ 200 h 200"/>
                <a:gd name="T4" fmla="*/ 45 w 67"/>
                <a:gd name="T5" fmla="*/ 31 h 200"/>
                <a:gd name="T6" fmla="*/ 37 w 67"/>
                <a:gd name="T7" fmla="*/ 37 h 200"/>
                <a:gd name="T8" fmla="*/ 26 w 67"/>
                <a:gd name="T9" fmla="*/ 43 h 200"/>
                <a:gd name="T10" fmla="*/ 13 w 67"/>
                <a:gd name="T11" fmla="*/ 49 h 200"/>
                <a:gd name="T12" fmla="*/ 0 w 67"/>
                <a:gd name="T13" fmla="*/ 54 h 200"/>
                <a:gd name="T14" fmla="*/ 0 w 67"/>
                <a:gd name="T15" fmla="*/ 31 h 200"/>
                <a:gd name="T16" fmla="*/ 15 w 67"/>
                <a:gd name="T17" fmla="*/ 26 h 200"/>
                <a:gd name="T18" fmla="*/ 31 w 67"/>
                <a:gd name="T19" fmla="*/ 18 h 200"/>
                <a:gd name="T20" fmla="*/ 47 w 67"/>
                <a:gd name="T21" fmla="*/ 9 h 200"/>
                <a:gd name="T22" fmla="*/ 59 w 67"/>
                <a:gd name="T23" fmla="*/ 0 h 200"/>
                <a:gd name="T24" fmla="*/ 67 w 67"/>
                <a:gd name="T25" fmla="*/ 0 h 200"/>
                <a:gd name="T26" fmla="*/ 67 w 67"/>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7" h="200">
                  <a:moveTo>
                    <a:pt x="67" y="200"/>
                  </a:moveTo>
                  <a:cubicBezTo>
                    <a:pt x="45" y="200"/>
                    <a:pt x="45" y="200"/>
                    <a:pt x="45" y="200"/>
                  </a:cubicBezTo>
                  <a:cubicBezTo>
                    <a:pt x="45" y="31"/>
                    <a:pt x="45" y="31"/>
                    <a:pt x="45" y="31"/>
                  </a:cubicBezTo>
                  <a:cubicBezTo>
                    <a:pt x="43" y="32"/>
                    <a:pt x="41" y="34"/>
                    <a:pt x="37" y="37"/>
                  </a:cubicBezTo>
                  <a:cubicBezTo>
                    <a:pt x="34" y="39"/>
                    <a:pt x="30" y="41"/>
                    <a:pt x="26" y="43"/>
                  </a:cubicBezTo>
                  <a:cubicBezTo>
                    <a:pt x="22" y="46"/>
                    <a:pt x="18" y="48"/>
                    <a:pt x="13" y="49"/>
                  </a:cubicBezTo>
                  <a:cubicBezTo>
                    <a:pt x="8" y="51"/>
                    <a:pt x="4" y="53"/>
                    <a:pt x="0" y="54"/>
                  </a:cubicBezTo>
                  <a:cubicBezTo>
                    <a:pt x="0" y="31"/>
                    <a:pt x="0" y="31"/>
                    <a:pt x="0" y="31"/>
                  </a:cubicBezTo>
                  <a:cubicBezTo>
                    <a:pt x="4" y="30"/>
                    <a:pt x="10" y="28"/>
                    <a:pt x="15" y="26"/>
                  </a:cubicBezTo>
                  <a:cubicBezTo>
                    <a:pt x="21" y="23"/>
                    <a:pt x="26" y="21"/>
                    <a:pt x="31" y="18"/>
                  </a:cubicBezTo>
                  <a:cubicBezTo>
                    <a:pt x="37" y="15"/>
                    <a:pt x="42" y="12"/>
                    <a:pt x="47" y="9"/>
                  </a:cubicBezTo>
                  <a:cubicBezTo>
                    <a:pt x="51" y="6"/>
                    <a:pt x="55" y="3"/>
                    <a:pt x="59" y="0"/>
                  </a:cubicBezTo>
                  <a:cubicBezTo>
                    <a:pt x="67" y="0"/>
                    <a:pt x="67" y="0"/>
                    <a:pt x="67" y="0"/>
                  </a:cubicBezTo>
                  <a:lnTo>
                    <a:pt x="67"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436"/>
            <p:cNvSpPr>
              <a:spLocks/>
            </p:cNvSpPr>
            <p:nvPr userDrawn="1"/>
          </p:nvSpPr>
          <p:spPr bwMode="auto">
            <a:xfrm>
              <a:off x="6398" y="1103"/>
              <a:ext cx="83" cy="244"/>
            </a:xfrm>
            <a:custGeom>
              <a:avLst/>
              <a:gdLst>
                <a:gd name="T0" fmla="*/ 68 w 68"/>
                <a:gd name="T1" fmla="*/ 200 h 200"/>
                <a:gd name="T2" fmla="*/ 45 w 68"/>
                <a:gd name="T3" fmla="*/ 200 h 200"/>
                <a:gd name="T4" fmla="*/ 45 w 68"/>
                <a:gd name="T5" fmla="*/ 31 h 200"/>
                <a:gd name="T6" fmla="*/ 38 w 68"/>
                <a:gd name="T7" fmla="*/ 37 h 200"/>
                <a:gd name="T8" fmla="*/ 27 w 68"/>
                <a:gd name="T9" fmla="*/ 43 h 200"/>
                <a:gd name="T10" fmla="*/ 14 w 68"/>
                <a:gd name="T11" fmla="*/ 49 h 200"/>
                <a:gd name="T12" fmla="*/ 0 w 68"/>
                <a:gd name="T13" fmla="*/ 54 h 200"/>
                <a:gd name="T14" fmla="*/ 0 w 68"/>
                <a:gd name="T15" fmla="*/ 31 h 200"/>
                <a:gd name="T16" fmla="*/ 16 w 68"/>
                <a:gd name="T17" fmla="*/ 26 h 200"/>
                <a:gd name="T18" fmla="*/ 32 w 68"/>
                <a:gd name="T19" fmla="*/ 18 h 200"/>
                <a:gd name="T20" fmla="*/ 47 w 68"/>
                <a:gd name="T21" fmla="*/ 9 h 200"/>
                <a:gd name="T22" fmla="*/ 59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5" y="200"/>
                    <a:pt x="45" y="200"/>
                    <a:pt x="45" y="200"/>
                  </a:cubicBezTo>
                  <a:cubicBezTo>
                    <a:pt x="45" y="31"/>
                    <a:pt x="45" y="31"/>
                    <a:pt x="45" y="31"/>
                  </a:cubicBezTo>
                  <a:cubicBezTo>
                    <a:pt x="44" y="32"/>
                    <a:pt x="41" y="34"/>
                    <a:pt x="38" y="37"/>
                  </a:cubicBezTo>
                  <a:cubicBezTo>
                    <a:pt x="35" y="39"/>
                    <a:pt x="31" y="41"/>
                    <a:pt x="27" y="43"/>
                  </a:cubicBezTo>
                  <a:cubicBezTo>
                    <a:pt x="23" y="46"/>
                    <a:pt x="18" y="48"/>
                    <a:pt x="14" y="49"/>
                  </a:cubicBezTo>
                  <a:cubicBezTo>
                    <a:pt x="9" y="51"/>
                    <a:pt x="4" y="53"/>
                    <a:pt x="0" y="54"/>
                  </a:cubicBezTo>
                  <a:cubicBezTo>
                    <a:pt x="0" y="31"/>
                    <a:pt x="0" y="31"/>
                    <a:pt x="0" y="31"/>
                  </a:cubicBezTo>
                  <a:cubicBezTo>
                    <a:pt x="5" y="30"/>
                    <a:pt x="10" y="28"/>
                    <a:pt x="16" y="26"/>
                  </a:cubicBezTo>
                  <a:cubicBezTo>
                    <a:pt x="21" y="23"/>
                    <a:pt x="27" y="21"/>
                    <a:pt x="32" y="18"/>
                  </a:cubicBezTo>
                  <a:cubicBezTo>
                    <a:pt x="37" y="15"/>
                    <a:pt x="42" y="12"/>
                    <a:pt x="47" y="9"/>
                  </a:cubicBezTo>
                  <a:cubicBezTo>
                    <a:pt x="52" y="6"/>
                    <a:pt x="56" y="3"/>
                    <a:pt x="59"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 name="Freeform 437"/>
            <p:cNvSpPr>
              <a:spLocks noEditPoints="1"/>
            </p:cNvSpPr>
            <p:nvPr userDrawn="1"/>
          </p:nvSpPr>
          <p:spPr bwMode="auto">
            <a:xfrm>
              <a:off x="6547" y="1104"/>
              <a:ext cx="155" cy="248"/>
            </a:xfrm>
            <a:custGeom>
              <a:avLst/>
              <a:gdLst>
                <a:gd name="T0" fmla="*/ 127 w 127"/>
                <a:gd name="T1" fmla="*/ 100 h 203"/>
                <a:gd name="T2" fmla="*/ 123 w 127"/>
                <a:gd name="T3" fmla="*/ 144 h 203"/>
                <a:gd name="T4" fmla="*/ 110 w 127"/>
                <a:gd name="T5" fmla="*/ 176 h 203"/>
                <a:gd name="T6" fmla="*/ 89 w 127"/>
                <a:gd name="T7" fmla="*/ 196 h 203"/>
                <a:gd name="T8" fmla="*/ 62 w 127"/>
                <a:gd name="T9" fmla="*/ 203 h 203"/>
                <a:gd name="T10" fmla="*/ 35 w 127"/>
                <a:gd name="T11" fmla="*/ 196 h 203"/>
                <a:gd name="T12" fmla="*/ 16 w 127"/>
                <a:gd name="T13" fmla="*/ 177 h 203"/>
                <a:gd name="T14" fmla="*/ 4 w 127"/>
                <a:gd name="T15" fmla="*/ 147 h 203"/>
                <a:gd name="T16" fmla="*/ 0 w 127"/>
                <a:gd name="T17" fmla="*/ 105 h 203"/>
                <a:gd name="T18" fmla="*/ 4 w 127"/>
                <a:gd name="T19" fmla="*/ 60 h 203"/>
                <a:gd name="T20" fmla="*/ 17 w 127"/>
                <a:gd name="T21" fmla="*/ 27 h 203"/>
                <a:gd name="T22" fmla="*/ 37 w 127"/>
                <a:gd name="T23" fmla="*/ 7 h 203"/>
                <a:gd name="T24" fmla="*/ 66 w 127"/>
                <a:gd name="T25" fmla="*/ 0 h 203"/>
                <a:gd name="T26" fmla="*/ 127 w 127"/>
                <a:gd name="T27" fmla="*/ 100 h 203"/>
                <a:gd name="T28" fmla="*/ 104 w 127"/>
                <a:gd name="T29" fmla="*/ 102 h 203"/>
                <a:gd name="T30" fmla="*/ 65 w 127"/>
                <a:gd name="T31" fmla="*/ 19 h 203"/>
                <a:gd name="T32" fmla="*/ 23 w 127"/>
                <a:gd name="T33" fmla="*/ 104 h 203"/>
                <a:gd name="T34" fmla="*/ 64 w 127"/>
                <a:gd name="T35" fmla="*/ 183 h 203"/>
                <a:gd name="T36" fmla="*/ 104 w 127"/>
                <a:gd name="T37" fmla="*/ 102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7" h="203">
                  <a:moveTo>
                    <a:pt x="127" y="100"/>
                  </a:moveTo>
                  <a:cubicBezTo>
                    <a:pt x="127" y="117"/>
                    <a:pt x="126" y="131"/>
                    <a:pt x="123" y="144"/>
                  </a:cubicBezTo>
                  <a:cubicBezTo>
                    <a:pt x="120" y="157"/>
                    <a:pt x="116" y="167"/>
                    <a:pt x="110" y="176"/>
                  </a:cubicBezTo>
                  <a:cubicBezTo>
                    <a:pt x="104" y="185"/>
                    <a:pt x="98" y="191"/>
                    <a:pt x="89" y="196"/>
                  </a:cubicBezTo>
                  <a:cubicBezTo>
                    <a:pt x="81" y="200"/>
                    <a:pt x="72" y="203"/>
                    <a:pt x="62" y="203"/>
                  </a:cubicBezTo>
                  <a:cubicBezTo>
                    <a:pt x="52" y="203"/>
                    <a:pt x="43" y="200"/>
                    <a:pt x="35" y="196"/>
                  </a:cubicBezTo>
                  <a:cubicBezTo>
                    <a:pt x="28" y="192"/>
                    <a:pt x="21" y="185"/>
                    <a:pt x="16" y="177"/>
                  </a:cubicBezTo>
                  <a:cubicBezTo>
                    <a:pt x="11" y="169"/>
                    <a:pt x="7" y="159"/>
                    <a:pt x="4" y="147"/>
                  </a:cubicBezTo>
                  <a:cubicBezTo>
                    <a:pt x="1" y="134"/>
                    <a:pt x="0" y="121"/>
                    <a:pt x="0" y="105"/>
                  </a:cubicBezTo>
                  <a:cubicBezTo>
                    <a:pt x="0" y="88"/>
                    <a:pt x="1" y="73"/>
                    <a:pt x="4" y="60"/>
                  </a:cubicBezTo>
                  <a:cubicBezTo>
                    <a:pt x="7" y="47"/>
                    <a:pt x="11" y="36"/>
                    <a:pt x="17" y="27"/>
                  </a:cubicBezTo>
                  <a:cubicBezTo>
                    <a:pt x="22" y="18"/>
                    <a:pt x="29" y="11"/>
                    <a:pt x="37" y="7"/>
                  </a:cubicBezTo>
                  <a:cubicBezTo>
                    <a:pt x="46" y="2"/>
                    <a:pt x="55" y="0"/>
                    <a:pt x="66" y="0"/>
                  </a:cubicBezTo>
                  <a:cubicBezTo>
                    <a:pt x="107" y="0"/>
                    <a:pt x="127" y="33"/>
                    <a:pt x="127" y="100"/>
                  </a:cubicBezTo>
                  <a:close/>
                  <a:moveTo>
                    <a:pt x="104" y="102"/>
                  </a:moveTo>
                  <a:cubicBezTo>
                    <a:pt x="104" y="47"/>
                    <a:pt x="91" y="19"/>
                    <a:pt x="65" y="19"/>
                  </a:cubicBezTo>
                  <a:cubicBezTo>
                    <a:pt x="37" y="19"/>
                    <a:pt x="23" y="47"/>
                    <a:pt x="23" y="104"/>
                  </a:cubicBezTo>
                  <a:cubicBezTo>
                    <a:pt x="23" y="157"/>
                    <a:pt x="36" y="183"/>
                    <a:pt x="64" y="183"/>
                  </a:cubicBezTo>
                  <a:cubicBezTo>
                    <a:pt x="91" y="183"/>
                    <a:pt x="104" y="156"/>
                    <a:pt x="104"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Freeform 438"/>
            <p:cNvSpPr>
              <a:spLocks/>
            </p:cNvSpPr>
            <p:nvPr userDrawn="1"/>
          </p:nvSpPr>
          <p:spPr bwMode="auto">
            <a:xfrm>
              <a:off x="6744" y="1103"/>
              <a:ext cx="83" cy="244"/>
            </a:xfrm>
            <a:custGeom>
              <a:avLst/>
              <a:gdLst>
                <a:gd name="T0" fmla="*/ 68 w 68"/>
                <a:gd name="T1" fmla="*/ 200 h 200"/>
                <a:gd name="T2" fmla="*/ 45 w 68"/>
                <a:gd name="T3" fmla="*/ 200 h 200"/>
                <a:gd name="T4" fmla="*/ 45 w 68"/>
                <a:gd name="T5" fmla="*/ 31 h 200"/>
                <a:gd name="T6" fmla="*/ 38 w 68"/>
                <a:gd name="T7" fmla="*/ 37 h 200"/>
                <a:gd name="T8" fmla="*/ 26 w 68"/>
                <a:gd name="T9" fmla="*/ 43 h 200"/>
                <a:gd name="T10" fmla="*/ 13 w 68"/>
                <a:gd name="T11" fmla="*/ 49 h 200"/>
                <a:gd name="T12" fmla="*/ 0 w 68"/>
                <a:gd name="T13" fmla="*/ 54 h 200"/>
                <a:gd name="T14" fmla="*/ 0 w 68"/>
                <a:gd name="T15" fmla="*/ 31 h 200"/>
                <a:gd name="T16" fmla="*/ 15 w 68"/>
                <a:gd name="T17" fmla="*/ 26 h 200"/>
                <a:gd name="T18" fmla="*/ 32 w 68"/>
                <a:gd name="T19" fmla="*/ 18 h 200"/>
                <a:gd name="T20" fmla="*/ 47 w 68"/>
                <a:gd name="T21" fmla="*/ 9 h 200"/>
                <a:gd name="T22" fmla="*/ 59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5" y="200"/>
                    <a:pt x="45" y="200"/>
                    <a:pt x="45" y="200"/>
                  </a:cubicBezTo>
                  <a:cubicBezTo>
                    <a:pt x="45" y="31"/>
                    <a:pt x="45" y="31"/>
                    <a:pt x="45" y="31"/>
                  </a:cubicBezTo>
                  <a:cubicBezTo>
                    <a:pt x="43" y="32"/>
                    <a:pt x="41" y="34"/>
                    <a:pt x="38" y="37"/>
                  </a:cubicBezTo>
                  <a:cubicBezTo>
                    <a:pt x="34" y="39"/>
                    <a:pt x="31" y="41"/>
                    <a:pt x="26" y="43"/>
                  </a:cubicBezTo>
                  <a:cubicBezTo>
                    <a:pt x="22" y="46"/>
                    <a:pt x="18" y="48"/>
                    <a:pt x="13" y="49"/>
                  </a:cubicBezTo>
                  <a:cubicBezTo>
                    <a:pt x="9" y="51"/>
                    <a:pt x="4" y="53"/>
                    <a:pt x="0" y="54"/>
                  </a:cubicBezTo>
                  <a:cubicBezTo>
                    <a:pt x="0" y="31"/>
                    <a:pt x="0" y="31"/>
                    <a:pt x="0" y="31"/>
                  </a:cubicBezTo>
                  <a:cubicBezTo>
                    <a:pt x="5" y="30"/>
                    <a:pt x="10" y="28"/>
                    <a:pt x="15" y="26"/>
                  </a:cubicBezTo>
                  <a:cubicBezTo>
                    <a:pt x="21" y="23"/>
                    <a:pt x="26" y="21"/>
                    <a:pt x="32" y="18"/>
                  </a:cubicBezTo>
                  <a:cubicBezTo>
                    <a:pt x="37" y="15"/>
                    <a:pt x="42" y="12"/>
                    <a:pt x="47" y="9"/>
                  </a:cubicBezTo>
                  <a:cubicBezTo>
                    <a:pt x="52" y="6"/>
                    <a:pt x="56" y="3"/>
                    <a:pt x="59"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Freeform 439"/>
            <p:cNvSpPr>
              <a:spLocks/>
            </p:cNvSpPr>
            <p:nvPr userDrawn="1"/>
          </p:nvSpPr>
          <p:spPr bwMode="auto">
            <a:xfrm>
              <a:off x="6893" y="1103"/>
              <a:ext cx="83" cy="244"/>
            </a:xfrm>
            <a:custGeom>
              <a:avLst/>
              <a:gdLst>
                <a:gd name="T0" fmla="*/ 68 w 68"/>
                <a:gd name="T1" fmla="*/ 200 h 200"/>
                <a:gd name="T2" fmla="*/ 46 w 68"/>
                <a:gd name="T3" fmla="*/ 200 h 200"/>
                <a:gd name="T4" fmla="*/ 46 w 68"/>
                <a:gd name="T5" fmla="*/ 31 h 200"/>
                <a:gd name="T6" fmla="*/ 38 w 68"/>
                <a:gd name="T7" fmla="*/ 37 h 200"/>
                <a:gd name="T8" fmla="*/ 27 w 68"/>
                <a:gd name="T9" fmla="*/ 43 h 200"/>
                <a:gd name="T10" fmla="*/ 14 w 68"/>
                <a:gd name="T11" fmla="*/ 49 h 200"/>
                <a:gd name="T12" fmla="*/ 0 w 68"/>
                <a:gd name="T13" fmla="*/ 54 h 200"/>
                <a:gd name="T14" fmla="*/ 0 w 68"/>
                <a:gd name="T15" fmla="*/ 31 h 200"/>
                <a:gd name="T16" fmla="*/ 16 w 68"/>
                <a:gd name="T17" fmla="*/ 26 h 200"/>
                <a:gd name="T18" fmla="*/ 32 w 68"/>
                <a:gd name="T19" fmla="*/ 18 h 200"/>
                <a:gd name="T20" fmla="*/ 47 w 68"/>
                <a:gd name="T21" fmla="*/ 9 h 200"/>
                <a:gd name="T22" fmla="*/ 60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6" y="200"/>
                    <a:pt x="46" y="200"/>
                    <a:pt x="46" y="200"/>
                  </a:cubicBezTo>
                  <a:cubicBezTo>
                    <a:pt x="46" y="31"/>
                    <a:pt x="46" y="31"/>
                    <a:pt x="46" y="31"/>
                  </a:cubicBezTo>
                  <a:cubicBezTo>
                    <a:pt x="44" y="32"/>
                    <a:pt x="41" y="34"/>
                    <a:pt x="38" y="37"/>
                  </a:cubicBezTo>
                  <a:cubicBezTo>
                    <a:pt x="35" y="39"/>
                    <a:pt x="31" y="41"/>
                    <a:pt x="27" y="43"/>
                  </a:cubicBezTo>
                  <a:cubicBezTo>
                    <a:pt x="23" y="46"/>
                    <a:pt x="18" y="48"/>
                    <a:pt x="14" y="49"/>
                  </a:cubicBezTo>
                  <a:cubicBezTo>
                    <a:pt x="9" y="51"/>
                    <a:pt x="5" y="53"/>
                    <a:pt x="0" y="54"/>
                  </a:cubicBezTo>
                  <a:cubicBezTo>
                    <a:pt x="0" y="31"/>
                    <a:pt x="0" y="31"/>
                    <a:pt x="0" y="31"/>
                  </a:cubicBezTo>
                  <a:cubicBezTo>
                    <a:pt x="5" y="30"/>
                    <a:pt x="10" y="28"/>
                    <a:pt x="16" y="26"/>
                  </a:cubicBezTo>
                  <a:cubicBezTo>
                    <a:pt x="21" y="23"/>
                    <a:pt x="27" y="21"/>
                    <a:pt x="32" y="18"/>
                  </a:cubicBezTo>
                  <a:cubicBezTo>
                    <a:pt x="38" y="15"/>
                    <a:pt x="43" y="12"/>
                    <a:pt x="47" y="9"/>
                  </a:cubicBezTo>
                  <a:cubicBezTo>
                    <a:pt x="52" y="6"/>
                    <a:pt x="56" y="3"/>
                    <a:pt x="60"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440"/>
            <p:cNvSpPr>
              <a:spLocks/>
            </p:cNvSpPr>
            <p:nvPr userDrawn="1"/>
          </p:nvSpPr>
          <p:spPr bwMode="auto">
            <a:xfrm>
              <a:off x="7043" y="1103"/>
              <a:ext cx="83" cy="244"/>
            </a:xfrm>
            <a:custGeom>
              <a:avLst/>
              <a:gdLst>
                <a:gd name="T0" fmla="*/ 68 w 68"/>
                <a:gd name="T1" fmla="*/ 200 h 200"/>
                <a:gd name="T2" fmla="*/ 45 w 68"/>
                <a:gd name="T3" fmla="*/ 200 h 200"/>
                <a:gd name="T4" fmla="*/ 45 w 68"/>
                <a:gd name="T5" fmla="*/ 31 h 200"/>
                <a:gd name="T6" fmla="*/ 38 w 68"/>
                <a:gd name="T7" fmla="*/ 37 h 200"/>
                <a:gd name="T8" fmla="*/ 26 w 68"/>
                <a:gd name="T9" fmla="*/ 43 h 200"/>
                <a:gd name="T10" fmla="*/ 13 w 68"/>
                <a:gd name="T11" fmla="*/ 49 h 200"/>
                <a:gd name="T12" fmla="*/ 0 w 68"/>
                <a:gd name="T13" fmla="*/ 54 h 200"/>
                <a:gd name="T14" fmla="*/ 0 w 68"/>
                <a:gd name="T15" fmla="*/ 31 h 200"/>
                <a:gd name="T16" fmla="*/ 16 w 68"/>
                <a:gd name="T17" fmla="*/ 26 h 200"/>
                <a:gd name="T18" fmla="*/ 32 w 68"/>
                <a:gd name="T19" fmla="*/ 18 h 200"/>
                <a:gd name="T20" fmla="*/ 47 w 68"/>
                <a:gd name="T21" fmla="*/ 9 h 200"/>
                <a:gd name="T22" fmla="*/ 59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5" y="200"/>
                    <a:pt x="45" y="200"/>
                    <a:pt x="45" y="200"/>
                  </a:cubicBezTo>
                  <a:cubicBezTo>
                    <a:pt x="45" y="31"/>
                    <a:pt x="45" y="31"/>
                    <a:pt x="45" y="31"/>
                  </a:cubicBezTo>
                  <a:cubicBezTo>
                    <a:pt x="44" y="32"/>
                    <a:pt x="41" y="34"/>
                    <a:pt x="38" y="37"/>
                  </a:cubicBezTo>
                  <a:cubicBezTo>
                    <a:pt x="34" y="39"/>
                    <a:pt x="31" y="41"/>
                    <a:pt x="26" y="43"/>
                  </a:cubicBezTo>
                  <a:cubicBezTo>
                    <a:pt x="22" y="46"/>
                    <a:pt x="18" y="48"/>
                    <a:pt x="13" y="49"/>
                  </a:cubicBezTo>
                  <a:cubicBezTo>
                    <a:pt x="9" y="51"/>
                    <a:pt x="4" y="53"/>
                    <a:pt x="0" y="54"/>
                  </a:cubicBezTo>
                  <a:cubicBezTo>
                    <a:pt x="0" y="31"/>
                    <a:pt x="0" y="31"/>
                    <a:pt x="0" y="31"/>
                  </a:cubicBezTo>
                  <a:cubicBezTo>
                    <a:pt x="5" y="30"/>
                    <a:pt x="10" y="28"/>
                    <a:pt x="16" y="26"/>
                  </a:cubicBezTo>
                  <a:cubicBezTo>
                    <a:pt x="21" y="23"/>
                    <a:pt x="26" y="21"/>
                    <a:pt x="32" y="18"/>
                  </a:cubicBezTo>
                  <a:cubicBezTo>
                    <a:pt x="37" y="15"/>
                    <a:pt x="42" y="12"/>
                    <a:pt x="47" y="9"/>
                  </a:cubicBezTo>
                  <a:cubicBezTo>
                    <a:pt x="52" y="6"/>
                    <a:pt x="56" y="3"/>
                    <a:pt x="59"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Freeform 441"/>
            <p:cNvSpPr>
              <a:spLocks/>
            </p:cNvSpPr>
            <p:nvPr userDrawn="1"/>
          </p:nvSpPr>
          <p:spPr bwMode="auto">
            <a:xfrm>
              <a:off x="7192" y="1103"/>
              <a:ext cx="83" cy="244"/>
            </a:xfrm>
            <a:custGeom>
              <a:avLst/>
              <a:gdLst>
                <a:gd name="T0" fmla="*/ 68 w 68"/>
                <a:gd name="T1" fmla="*/ 200 h 200"/>
                <a:gd name="T2" fmla="*/ 46 w 68"/>
                <a:gd name="T3" fmla="*/ 200 h 200"/>
                <a:gd name="T4" fmla="*/ 46 w 68"/>
                <a:gd name="T5" fmla="*/ 31 h 200"/>
                <a:gd name="T6" fmla="*/ 38 w 68"/>
                <a:gd name="T7" fmla="*/ 37 h 200"/>
                <a:gd name="T8" fmla="*/ 27 w 68"/>
                <a:gd name="T9" fmla="*/ 43 h 200"/>
                <a:gd name="T10" fmla="*/ 14 w 68"/>
                <a:gd name="T11" fmla="*/ 49 h 200"/>
                <a:gd name="T12" fmla="*/ 0 w 68"/>
                <a:gd name="T13" fmla="*/ 54 h 200"/>
                <a:gd name="T14" fmla="*/ 0 w 68"/>
                <a:gd name="T15" fmla="*/ 31 h 200"/>
                <a:gd name="T16" fmla="*/ 16 w 68"/>
                <a:gd name="T17" fmla="*/ 26 h 200"/>
                <a:gd name="T18" fmla="*/ 32 w 68"/>
                <a:gd name="T19" fmla="*/ 18 h 200"/>
                <a:gd name="T20" fmla="*/ 47 w 68"/>
                <a:gd name="T21" fmla="*/ 9 h 200"/>
                <a:gd name="T22" fmla="*/ 60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6" y="200"/>
                    <a:pt x="46" y="200"/>
                    <a:pt x="46" y="200"/>
                  </a:cubicBezTo>
                  <a:cubicBezTo>
                    <a:pt x="46" y="31"/>
                    <a:pt x="46" y="31"/>
                    <a:pt x="46" y="31"/>
                  </a:cubicBezTo>
                  <a:cubicBezTo>
                    <a:pt x="44" y="32"/>
                    <a:pt x="42" y="34"/>
                    <a:pt x="38" y="37"/>
                  </a:cubicBezTo>
                  <a:cubicBezTo>
                    <a:pt x="35" y="39"/>
                    <a:pt x="31" y="41"/>
                    <a:pt x="27" y="43"/>
                  </a:cubicBezTo>
                  <a:cubicBezTo>
                    <a:pt x="23" y="46"/>
                    <a:pt x="18" y="48"/>
                    <a:pt x="14" y="49"/>
                  </a:cubicBezTo>
                  <a:cubicBezTo>
                    <a:pt x="9" y="51"/>
                    <a:pt x="5" y="53"/>
                    <a:pt x="0" y="54"/>
                  </a:cubicBezTo>
                  <a:cubicBezTo>
                    <a:pt x="0" y="31"/>
                    <a:pt x="0" y="31"/>
                    <a:pt x="0" y="31"/>
                  </a:cubicBezTo>
                  <a:cubicBezTo>
                    <a:pt x="5" y="30"/>
                    <a:pt x="11" y="28"/>
                    <a:pt x="16" y="26"/>
                  </a:cubicBezTo>
                  <a:cubicBezTo>
                    <a:pt x="22" y="23"/>
                    <a:pt x="27" y="21"/>
                    <a:pt x="32" y="18"/>
                  </a:cubicBezTo>
                  <a:cubicBezTo>
                    <a:pt x="38" y="15"/>
                    <a:pt x="43" y="12"/>
                    <a:pt x="47" y="9"/>
                  </a:cubicBezTo>
                  <a:cubicBezTo>
                    <a:pt x="52" y="6"/>
                    <a:pt x="56" y="3"/>
                    <a:pt x="60"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Freeform 442"/>
            <p:cNvSpPr>
              <a:spLocks noEditPoints="1"/>
            </p:cNvSpPr>
            <p:nvPr userDrawn="1"/>
          </p:nvSpPr>
          <p:spPr bwMode="auto">
            <a:xfrm>
              <a:off x="7340" y="1104"/>
              <a:ext cx="156" cy="248"/>
            </a:xfrm>
            <a:custGeom>
              <a:avLst/>
              <a:gdLst>
                <a:gd name="T0" fmla="*/ 128 w 128"/>
                <a:gd name="T1" fmla="*/ 100 h 203"/>
                <a:gd name="T2" fmla="*/ 123 w 128"/>
                <a:gd name="T3" fmla="*/ 144 h 203"/>
                <a:gd name="T4" fmla="*/ 110 w 128"/>
                <a:gd name="T5" fmla="*/ 176 h 203"/>
                <a:gd name="T6" fmla="*/ 90 w 128"/>
                <a:gd name="T7" fmla="*/ 196 h 203"/>
                <a:gd name="T8" fmla="*/ 62 w 128"/>
                <a:gd name="T9" fmla="*/ 203 h 203"/>
                <a:gd name="T10" fmla="*/ 36 w 128"/>
                <a:gd name="T11" fmla="*/ 196 h 203"/>
                <a:gd name="T12" fmla="*/ 16 w 128"/>
                <a:gd name="T13" fmla="*/ 177 h 203"/>
                <a:gd name="T14" fmla="*/ 4 w 128"/>
                <a:gd name="T15" fmla="*/ 147 h 203"/>
                <a:gd name="T16" fmla="*/ 0 w 128"/>
                <a:gd name="T17" fmla="*/ 105 h 203"/>
                <a:gd name="T18" fmla="*/ 4 w 128"/>
                <a:gd name="T19" fmla="*/ 60 h 203"/>
                <a:gd name="T20" fmla="*/ 17 w 128"/>
                <a:gd name="T21" fmla="*/ 27 h 203"/>
                <a:gd name="T22" fmla="*/ 38 w 128"/>
                <a:gd name="T23" fmla="*/ 7 h 203"/>
                <a:gd name="T24" fmla="*/ 66 w 128"/>
                <a:gd name="T25" fmla="*/ 0 h 203"/>
                <a:gd name="T26" fmla="*/ 128 w 128"/>
                <a:gd name="T27" fmla="*/ 100 h 203"/>
                <a:gd name="T28" fmla="*/ 105 w 128"/>
                <a:gd name="T29" fmla="*/ 102 h 203"/>
                <a:gd name="T30" fmla="*/ 65 w 128"/>
                <a:gd name="T31" fmla="*/ 19 h 203"/>
                <a:gd name="T32" fmla="*/ 23 w 128"/>
                <a:gd name="T33" fmla="*/ 104 h 203"/>
                <a:gd name="T34" fmla="*/ 64 w 128"/>
                <a:gd name="T35" fmla="*/ 183 h 203"/>
                <a:gd name="T36" fmla="*/ 105 w 128"/>
                <a:gd name="T37" fmla="*/ 102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0"/>
                  </a:moveTo>
                  <a:cubicBezTo>
                    <a:pt x="128" y="117"/>
                    <a:pt x="126" y="131"/>
                    <a:pt x="123" y="144"/>
                  </a:cubicBezTo>
                  <a:cubicBezTo>
                    <a:pt x="120" y="157"/>
                    <a:pt x="116" y="167"/>
                    <a:pt x="110" y="176"/>
                  </a:cubicBezTo>
                  <a:cubicBezTo>
                    <a:pt x="105" y="185"/>
                    <a:pt x="98" y="191"/>
                    <a:pt x="90" y="196"/>
                  </a:cubicBezTo>
                  <a:cubicBezTo>
                    <a:pt x="82" y="200"/>
                    <a:pt x="72" y="203"/>
                    <a:pt x="62" y="203"/>
                  </a:cubicBezTo>
                  <a:cubicBezTo>
                    <a:pt x="52" y="203"/>
                    <a:pt x="43" y="200"/>
                    <a:pt x="36" y="196"/>
                  </a:cubicBezTo>
                  <a:cubicBezTo>
                    <a:pt x="28" y="192"/>
                    <a:pt x="21" y="185"/>
                    <a:pt x="16" y="177"/>
                  </a:cubicBezTo>
                  <a:cubicBezTo>
                    <a:pt x="11" y="169"/>
                    <a:pt x="7" y="159"/>
                    <a:pt x="4" y="147"/>
                  </a:cubicBezTo>
                  <a:cubicBezTo>
                    <a:pt x="1" y="134"/>
                    <a:pt x="0" y="121"/>
                    <a:pt x="0" y="105"/>
                  </a:cubicBezTo>
                  <a:cubicBezTo>
                    <a:pt x="0" y="88"/>
                    <a:pt x="1" y="73"/>
                    <a:pt x="4" y="60"/>
                  </a:cubicBezTo>
                  <a:cubicBezTo>
                    <a:pt x="7" y="47"/>
                    <a:pt x="11" y="36"/>
                    <a:pt x="17" y="27"/>
                  </a:cubicBezTo>
                  <a:cubicBezTo>
                    <a:pt x="23" y="18"/>
                    <a:pt x="29" y="11"/>
                    <a:pt x="38" y="7"/>
                  </a:cubicBezTo>
                  <a:cubicBezTo>
                    <a:pt x="46" y="2"/>
                    <a:pt x="55" y="0"/>
                    <a:pt x="66" y="0"/>
                  </a:cubicBezTo>
                  <a:cubicBezTo>
                    <a:pt x="107" y="0"/>
                    <a:pt x="128" y="33"/>
                    <a:pt x="128" y="100"/>
                  </a:cubicBezTo>
                  <a:close/>
                  <a:moveTo>
                    <a:pt x="105" y="102"/>
                  </a:moveTo>
                  <a:cubicBezTo>
                    <a:pt x="105" y="47"/>
                    <a:pt x="91" y="19"/>
                    <a:pt x="65" y="19"/>
                  </a:cubicBezTo>
                  <a:cubicBezTo>
                    <a:pt x="37" y="19"/>
                    <a:pt x="23" y="47"/>
                    <a:pt x="23" y="104"/>
                  </a:cubicBezTo>
                  <a:cubicBezTo>
                    <a:pt x="23" y="157"/>
                    <a:pt x="37" y="183"/>
                    <a:pt x="64" y="183"/>
                  </a:cubicBezTo>
                  <a:cubicBezTo>
                    <a:pt x="91" y="183"/>
                    <a:pt x="105" y="156"/>
                    <a:pt x="105"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4" name="Freeform 443"/>
            <p:cNvSpPr>
              <a:spLocks/>
            </p:cNvSpPr>
            <p:nvPr userDrawn="1"/>
          </p:nvSpPr>
          <p:spPr bwMode="auto">
            <a:xfrm>
              <a:off x="7538" y="1103"/>
              <a:ext cx="83" cy="244"/>
            </a:xfrm>
            <a:custGeom>
              <a:avLst/>
              <a:gdLst>
                <a:gd name="T0" fmla="*/ 68 w 68"/>
                <a:gd name="T1" fmla="*/ 200 h 200"/>
                <a:gd name="T2" fmla="*/ 45 w 68"/>
                <a:gd name="T3" fmla="*/ 200 h 200"/>
                <a:gd name="T4" fmla="*/ 45 w 68"/>
                <a:gd name="T5" fmla="*/ 31 h 200"/>
                <a:gd name="T6" fmla="*/ 38 w 68"/>
                <a:gd name="T7" fmla="*/ 37 h 200"/>
                <a:gd name="T8" fmla="*/ 27 w 68"/>
                <a:gd name="T9" fmla="*/ 43 h 200"/>
                <a:gd name="T10" fmla="*/ 14 w 68"/>
                <a:gd name="T11" fmla="*/ 49 h 200"/>
                <a:gd name="T12" fmla="*/ 0 w 68"/>
                <a:gd name="T13" fmla="*/ 54 h 200"/>
                <a:gd name="T14" fmla="*/ 0 w 68"/>
                <a:gd name="T15" fmla="*/ 31 h 200"/>
                <a:gd name="T16" fmla="*/ 16 w 68"/>
                <a:gd name="T17" fmla="*/ 26 h 200"/>
                <a:gd name="T18" fmla="*/ 32 w 68"/>
                <a:gd name="T19" fmla="*/ 18 h 200"/>
                <a:gd name="T20" fmla="*/ 47 w 68"/>
                <a:gd name="T21" fmla="*/ 9 h 200"/>
                <a:gd name="T22" fmla="*/ 59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5" y="200"/>
                    <a:pt x="45" y="200"/>
                    <a:pt x="45" y="200"/>
                  </a:cubicBezTo>
                  <a:cubicBezTo>
                    <a:pt x="45" y="31"/>
                    <a:pt x="45" y="31"/>
                    <a:pt x="45" y="31"/>
                  </a:cubicBezTo>
                  <a:cubicBezTo>
                    <a:pt x="44" y="32"/>
                    <a:pt x="41" y="34"/>
                    <a:pt x="38" y="37"/>
                  </a:cubicBezTo>
                  <a:cubicBezTo>
                    <a:pt x="35" y="39"/>
                    <a:pt x="31" y="41"/>
                    <a:pt x="27" y="43"/>
                  </a:cubicBezTo>
                  <a:cubicBezTo>
                    <a:pt x="23" y="46"/>
                    <a:pt x="18" y="48"/>
                    <a:pt x="14" y="49"/>
                  </a:cubicBezTo>
                  <a:cubicBezTo>
                    <a:pt x="9" y="51"/>
                    <a:pt x="4" y="53"/>
                    <a:pt x="0" y="54"/>
                  </a:cubicBezTo>
                  <a:cubicBezTo>
                    <a:pt x="0" y="31"/>
                    <a:pt x="0" y="31"/>
                    <a:pt x="0" y="31"/>
                  </a:cubicBezTo>
                  <a:cubicBezTo>
                    <a:pt x="5" y="30"/>
                    <a:pt x="10" y="28"/>
                    <a:pt x="16" y="26"/>
                  </a:cubicBezTo>
                  <a:cubicBezTo>
                    <a:pt x="21" y="23"/>
                    <a:pt x="27" y="21"/>
                    <a:pt x="32" y="18"/>
                  </a:cubicBezTo>
                  <a:cubicBezTo>
                    <a:pt x="37" y="15"/>
                    <a:pt x="42" y="12"/>
                    <a:pt x="47" y="9"/>
                  </a:cubicBezTo>
                  <a:cubicBezTo>
                    <a:pt x="52" y="6"/>
                    <a:pt x="56" y="3"/>
                    <a:pt x="59"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5" name="Freeform 444"/>
            <p:cNvSpPr>
              <a:spLocks noEditPoints="1"/>
            </p:cNvSpPr>
            <p:nvPr userDrawn="1"/>
          </p:nvSpPr>
          <p:spPr bwMode="auto">
            <a:xfrm>
              <a:off x="7686" y="1104"/>
              <a:ext cx="155" cy="248"/>
            </a:xfrm>
            <a:custGeom>
              <a:avLst/>
              <a:gdLst>
                <a:gd name="T0" fmla="*/ 127 w 127"/>
                <a:gd name="T1" fmla="*/ 100 h 203"/>
                <a:gd name="T2" fmla="*/ 123 w 127"/>
                <a:gd name="T3" fmla="*/ 144 h 203"/>
                <a:gd name="T4" fmla="*/ 110 w 127"/>
                <a:gd name="T5" fmla="*/ 176 h 203"/>
                <a:gd name="T6" fmla="*/ 89 w 127"/>
                <a:gd name="T7" fmla="*/ 196 h 203"/>
                <a:gd name="T8" fmla="*/ 62 w 127"/>
                <a:gd name="T9" fmla="*/ 203 h 203"/>
                <a:gd name="T10" fmla="*/ 35 w 127"/>
                <a:gd name="T11" fmla="*/ 196 h 203"/>
                <a:gd name="T12" fmla="*/ 16 w 127"/>
                <a:gd name="T13" fmla="*/ 177 h 203"/>
                <a:gd name="T14" fmla="*/ 4 w 127"/>
                <a:gd name="T15" fmla="*/ 147 h 203"/>
                <a:gd name="T16" fmla="*/ 0 w 127"/>
                <a:gd name="T17" fmla="*/ 105 h 203"/>
                <a:gd name="T18" fmla="*/ 4 w 127"/>
                <a:gd name="T19" fmla="*/ 60 h 203"/>
                <a:gd name="T20" fmla="*/ 17 w 127"/>
                <a:gd name="T21" fmla="*/ 27 h 203"/>
                <a:gd name="T22" fmla="*/ 37 w 127"/>
                <a:gd name="T23" fmla="*/ 7 h 203"/>
                <a:gd name="T24" fmla="*/ 66 w 127"/>
                <a:gd name="T25" fmla="*/ 0 h 203"/>
                <a:gd name="T26" fmla="*/ 127 w 127"/>
                <a:gd name="T27" fmla="*/ 100 h 203"/>
                <a:gd name="T28" fmla="*/ 104 w 127"/>
                <a:gd name="T29" fmla="*/ 102 h 203"/>
                <a:gd name="T30" fmla="*/ 65 w 127"/>
                <a:gd name="T31" fmla="*/ 19 h 203"/>
                <a:gd name="T32" fmla="*/ 23 w 127"/>
                <a:gd name="T33" fmla="*/ 104 h 203"/>
                <a:gd name="T34" fmla="*/ 64 w 127"/>
                <a:gd name="T35" fmla="*/ 183 h 203"/>
                <a:gd name="T36" fmla="*/ 104 w 127"/>
                <a:gd name="T37" fmla="*/ 102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7" h="203">
                  <a:moveTo>
                    <a:pt x="127" y="100"/>
                  </a:moveTo>
                  <a:cubicBezTo>
                    <a:pt x="127" y="117"/>
                    <a:pt x="126" y="131"/>
                    <a:pt x="123" y="144"/>
                  </a:cubicBezTo>
                  <a:cubicBezTo>
                    <a:pt x="120" y="157"/>
                    <a:pt x="116" y="167"/>
                    <a:pt x="110" y="176"/>
                  </a:cubicBezTo>
                  <a:cubicBezTo>
                    <a:pt x="105" y="185"/>
                    <a:pt x="98" y="191"/>
                    <a:pt x="89" y="196"/>
                  </a:cubicBezTo>
                  <a:cubicBezTo>
                    <a:pt x="81" y="200"/>
                    <a:pt x="72" y="203"/>
                    <a:pt x="62" y="203"/>
                  </a:cubicBezTo>
                  <a:cubicBezTo>
                    <a:pt x="52" y="203"/>
                    <a:pt x="43" y="200"/>
                    <a:pt x="35" y="196"/>
                  </a:cubicBezTo>
                  <a:cubicBezTo>
                    <a:pt x="28" y="192"/>
                    <a:pt x="21" y="185"/>
                    <a:pt x="16" y="177"/>
                  </a:cubicBezTo>
                  <a:cubicBezTo>
                    <a:pt x="11" y="169"/>
                    <a:pt x="7" y="159"/>
                    <a:pt x="4" y="147"/>
                  </a:cubicBezTo>
                  <a:cubicBezTo>
                    <a:pt x="1" y="134"/>
                    <a:pt x="0" y="121"/>
                    <a:pt x="0" y="105"/>
                  </a:cubicBezTo>
                  <a:cubicBezTo>
                    <a:pt x="0" y="88"/>
                    <a:pt x="1" y="73"/>
                    <a:pt x="4" y="60"/>
                  </a:cubicBezTo>
                  <a:cubicBezTo>
                    <a:pt x="7" y="47"/>
                    <a:pt x="11" y="36"/>
                    <a:pt x="17" y="27"/>
                  </a:cubicBezTo>
                  <a:cubicBezTo>
                    <a:pt x="22" y="18"/>
                    <a:pt x="29" y="11"/>
                    <a:pt x="37" y="7"/>
                  </a:cubicBezTo>
                  <a:cubicBezTo>
                    <a:pt x="46" y="2"/>
                    <a:pt x="55" y="0"/>
                    <a:pt x="66" y="0"/>
                  </a:cubicBezTo>
                  <a:cubicBezTo>
                    <a:pt x="107" y="0"/>
                    <a:pt x="127" y="33"/>
                    <a:pt x="127" y="100"/>
                  </a:cubicBezTo>
                  <a:close/>
                  <a:moveTo>
                    <a:pt x="104" y="102"/>
                  </a:moveTo>
                  <a:cubicBezTo>
                    <a:pt x="104" y="47"/>
                    <a:pt x="91" y="19"/>
                    <a:pt x="65" y="19"/>
                  </a:cubicBezTo>
                  <a:cubicBezTo>
                    <a:pt x="37" y="19"/>
                    <a:pt x="23" y="47"/>
                    <a:pt x="23" y="104"/>
                  </a:cubicBezTo>
                  <a:cubicBezTo>
                    <a:pt x="23" y="157"/>
                    <a:pt x="36" y="183"/>
                    <a:pt x="64" y="183"/>
                  </a:cubicBezTo>
                  <a:cubicBezTo>
                    <a:pt x="91" y="183"/>
                    <a:pt x="104" y="156"/>
                    <a:pt x="104"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6" name="Freeform 445"/>
            <p:cNvSpPr>
              <a:spLocks noEditPoints="1"/>
            </p:cNvSpPr>
            <p:nvPr userDrawn="1"/>
          </p:nvSpPr>
          <p:spPr bwMode="auto">
            <a:xfrm>
              <a:off x="5672" y="1096"/>
              <a:ext cx="218" cy="255"/>
            </a:xfrm>
            <a:custGeom>
              <a:avLst/>
              <a:gdLst>
                <a:gd name="T0" fmla="*/ 175 w 179"/>
                <a:gd name="T1" fmla="*/ 173 h 209"/>
                <a:gd name="T2" fmla="*/ 134 w 179"/>
                <a:gd name="T3" fmla="*/ 208 h 209"/>
                <a:gd name="T4" fmla="*/ 81 w 179"/>
                <a:gd name="T5" fmla="*/ 198 h 209"/>
                <a:gd name="T6" fmla="*/ 32 w 179"/>
                <a:gd name="T7" fmla="*/ 201 h 209"/>
                <a:gd name="T8" fmla="*/ 2 w 179"/>
                <a:gd name="T9" fmla="*/ 184 h 209"/>
                <a:gd name="T10" fmla="*/ 14 w 179"/>
                <a:gd name="T11" fmla="*/ 159 h 209"/>
                <a:gd name="T12" fmla="*/ 9 w 179"/>
                <a:gd name="T13" fmla="*/ 162 h 209"/>
                <a:gd name="T14" fmla="*/ 6 w 179"/>
                <a:gd name="T15" fmla="*/ 183 h 209"/>
                <a:gd name="T16" fmla="*/ 45 w 179"/>
                <a:gd name="T17" fmla="*/ 202 h 209"/>
                <a:gd name="T18" fmla="*/ 42 w 179"/>
                <a:gd name="T19" fmla="*/ 152 h 209"/>
                <a:gd name="T20" fmla="*/ 25 w 179"/>
                <a:gd name="T21" fmla="*/ 133 h 209"/>
                <a:gd name="T22" fmla="*/ 52 w 179"/>
                <a:gd name="T23" fmla="*/ 83 h 209"/>
                <a:gd name="T24" fmla="*/ 58 w 179"/>
                <a:gd name="T25" fmla="*/ 27 h 209"/>
                <a:gd name="T26" fmla="*/ 117 w 179"/>
                <a:gd name="T27" fmla="*/ 17 h 209"/>
                <a:gd name="T28" fmla="*/ 159 w 179"/>
                <a:gd name="T29" fmla="*/ 128 h 209"/>
                <a:gd name="T30" fmla="*/ 153 w 179"/>
                <a:gd name="T31" fmla="*/ 152 h 209"/>
                <a:gd name="T32" fmla="*/ 128 w 179"/>
                <a:gd name="T33" fmla="*/ 150 h 209"/>
                <a:gd name="T34" fmla="*/ 122 w 179"/>
                <a:gd name="T35" fmla="*/ 186 h 209"/>
                <a:gd name="T36" fmla="*/ 165 w 179"/>
                <a:gd name="T37" fmla="*/ 186 h 209"/>
                <a:gd name="T38" fmla="*/ 171 w 179"/>
                <a:gd name="T39" fmla="*/ 173 h 209"/>
                <a:gd name="T40" fmla="*/ 161 w 179"/>
                <a:gd name="T41" fmla="*/ 152 h 209"/>
                <a:gd name="T42" fmla="*/ 88 w 179"/>
                <a:gd name="T43" fmla="*/ 71 h 209"/>
                <a:gd name="T44" fmla="*/ 102 w 179"/>
                <a:gd name="T45" fmla="*/ 67 h 209"/>
                <a:gd name="T46" fmla="*/ 73 w 179"/>
                <a:gd name="T47" fmla="*/ 79 h 209"/>
                <a:gd name="T48" fmla="*/ 63 w 179"/>
                <a:gd name="T49" fmla="*/ 76 h 209"/>
                <a:gd name="T50" fmla="*/ 56 w 179"/>
                <a:gd name="T51" fmla="*/ 100 h 209"/>
                <a:gd name="T52" fmla="*/ 45 w 179"/>
                <a:gd name="T53" fmla="*/ 140 h 209"/>
                <a:gd name="T54" fmla="*/ 38 w 179"/>
                <a:gd name="T55" fmla="*/ 121 h 209"/>
                <a:gd name="T56" fmla="*/ 40 w 179"/>
                <a:gd name="T57" fmla="*/ 142 h 209"/>
                <a:gd name="T58" fmla="*/ 64 w 179"/>
                <a:gd name="T59" fmla="*/ 177 h 209"/>
                <a:gd name="T60" fmla="*/ 70 w 179"/>
                <a:gd name="T61" fmla="*/ 197 h 209"/>
                <a:gd name="T62" fmla="*/ 68 w 179"/>
                <a:gd name="T63" fmla="*/ 182 h 209"/>
                <a:gd name="T64" fmla="*/ 109 w 179"/>
                <a:gd name="T65" fmla="*/ 179 h 209"/>
                <a:gd name="T66" fmla="*/ 115 w 179"/>
                <a:gd name="T67" fmla="*/ 185 h 209"/>
                <a:gd name="T68" fmla="*/ 119 w 179"/>
                <a:gd name="T69" fmla="*/ 171 h 209"/>
                <a:gd name="T70" fmla="*/ 126 w 179"/>
                <a:gd name="T71" fmla="*/ 145 h 209"/>
                <a:gd name="T72" fmla="*/ 126 w 179"/>
                <a:gd name="T73" fmla="*/ 91 h 209"/>
                <a:gd name="T74" fmla="*/ 128 w 179"/>
                <a:gd name="T75" fmla="*/ 134 h 209"/>
                <a:gd name="T76" fmla="*/ 117 w 179"/>
                <a:gd name="T77" fmla="*/ 93 h 209"/>
                <a:gd name="T78" fmla="*/ 104 w 179"/>
                <a:gd name="T79" fmla="*/ 53 h 209"/>
                <a:gd name="T80" fmla="*/ 98 w 179"/>
                <a:gd name="T81" fmla="*/ 36 h 209"/>
                <a:gd name="T82" fmla="*/ 107 w 179"/>
                <a:gd name="T83" fmla="*/ 48 h 209"/>
                <a:gd name="T84" fmla="*/ 87 w 179"/>
                <a:gd name="T85" fmla="*/ 42 h 209"/>
                <a:gd name="T86" fmla="*/ 78 w 179"/>
                <a:gd name="T87" fmla="*/ 44 h 209"/>
                <a:gd name="T88" fmla="*/ 66 w 179"/>
                <a:gd name="T89" fmla="*/ 34 h 209"/>
                <a:gd name="T90" fmla="*/ 67 w 179"/>
                <a:gd name="T91" fmla="*/ 47 h 209"/>
                <a:gd name="T92" fmla="*/ 73 w 179"/>
                <a:gd name="T93" fmla="*/ 48 h 209"/>
                <a:gd name="T94" fmla="*/ 65 w 179"/>
                <a:gd name="T95" fmla="*/ 59 h 209"/>
                <a:gd name="T96" fmla="*/ 101 w 179"/>
                <a:gd name="T97" fmla="*/ 58 h 209"/>
                <a:gd name="T98" fmla="*/ 86 w 179"/>
                <a:gd name="T99" fmla="*/ 67 h 209"/>
                <a:gd name="T100" fmla="*/ 72 w 179"/>
                <a:gd name="T101" fmla="*/ 40 h 209"/>
                <a:gd name="T102" fmla="*/ 73 w 179"/>
                <a:gd name="T103" fmla="*/ 45 h 209"/>
                <a:gd name="T104" fmla="*/ 99 w 179"/>
                <a:gd name="T105" fmla="*/ 39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79" h="209">
                  <a:moveTo>
                    <a:pt x="161" y="152"/>
                  </a:moveTo>
                  <a:cubicBezTo>
                    <a:pt x="161" y="155"/>
                    <a:pt x="162" y="158"/>
                    <a:pt x="163" y="161"/>
                  </a:cubicBezTo>
                  <a:cubicBezTo>
                    <a:pt x="164" y="165"/>
                    <a:pt x="167" y="168"/>
                    <a:pt x="170" y="170"/>
                  </a:cubicBezTo>
                  <a:cubicBezTo>
                    <a:pt x="172" y="171"/>
                    <a:pt x="174" y="172"/>
                    <a:pt x="175" y="173"/>
                  </a:cubicBezTo>
                  <a:cubicBezTo>
                    <a:pt x="179" y="176"/>
                    <a:pt x="179" y="179"/>
                    <a:pt x="176" y="182"/>
                  </a:cubicBezTo>
                  <a:cubicBezTo>
                    <a:pt x="173" y="185"/>
                    <a:pt x="170" y="187"/>
                    <a:pt x="166" y="189"/>
                  </a:cubicBezTo>
                  <a:cubicBezTo>
                    <a:pt x="157" y="193"/>
                    <a:pt x="148" y="199"/>
                    <a:pt x="141" y="206"/>
                  </a:cubicBezTo>
                  <a:cubicBezTo>
                    <a:pt x="139" y="207"/>
                    <a:pt x="137" y="208"/>
                    <a:pt x="134" y="208"/>
                  </a:cubicBezTo>
                  <a:cubicBezTo>
                    <a:pt x="131" y="209"/>
                    <a:pt x="128" y="208"/>
                    <a:pt x="125" y="208"/>
                  </a:cubicBezTo>
                  <a:cubicBezTo>
                    <a:pt x="122" y="207"/>
                    <a:pt x="119" y="205"/>
                    <a:pt x="118" y="203"/>
                  </a:cubicBezTo>
                  <a:cubicBezTo>
                    <a:pt x="116" y="199"/>
                    <a:pt x="113" y="198"/>
                    <a:pt x="110" y="198"/>
                  </a:cubicBezTo>
                  <a:cubicBezTo>
                    <a:pt x="100" y="198"/>
                    <a:pt x="90" y="198"/>
                    <a:pt x="81" y="198"/>
                  </a:cubicBezTo>
                  <a:cubicBezTo>
                    <a:pt x="76" y="198"/>
                    <a:pt x="72" y="199"/>
                    <a:pt x="68" y="201"/>
                  </a:cubicBezTo>
                  <a:cubicBezTo>
                    <a:pt x="66" y="202"/>
                    <a:pt x="64" y="203"/>
                    <a:pt x="63" y="205"/>
                  </a:cubicBezTo>
                  <a:cubicBezTo>
                    <a:pt x="58" y="208"/>
                    <a:pt x="54" y="209"/>
                    <a:pt x="48" y="207"/>
                  </a:cubicBezTo>
                  <a:cubicBezTo>
                    <a:pt x="43" y="205"/>
                    <a:pt x="38" y="203"/>
                    <a:pt x="32" y="201"/>
                  </a:cubicBezTo>
                  <a:cubicBezTo>
                    <a:pt x="25" y="200"/>
                    <a:pt x="18" y="198"/>
                    <a:pt x="11" y="197"/>
                  </a:cubicBezTo>
                  <a:cubicBezTo>
                    <a:pt x="9" y="196"/>
                    <a:pt x="7" y="196"/>
                    <a:pt x="5" y="195"/>
                  </a:cubicBezTo>
                  <a:cubicBezTo>
                    <a:pt x="1" y="193"/>
                    <a:pt x="0" y="191"/>
                    <a:pt x="1" y="187"/>
                  </a:cubicBezTo>
                  <a:cubicBezTo>
                    <a:pt x="1" y="186"/>
                    <a:pt x="2" y="185"/>
                    <a:pt x="2" y="184"/>
                  </a:cubicBezTo>
                  <a:cubicBezTo>
                    <a:pt x="4" y="180"/>
                    <a:pt x="4" y="176"/>
                    <a:pt x="3" y="171"/>
                  </a:cubicBezTo>
                  <a:cubicBezTo>
                    <a:pt x="3" y="170"/>
                    <a:pt x="2" y="168"/>
                    <a:pt x="2" y="166"/>
                  </a:cubicBezTo>
                  <a:cubicBezTo>
                    <a:pt x="1" y="162"/>
                    <a:pt x="3" y="160"/>
                    <a:pt x="7" y="159"/>
                  </a:cubicBezTo>
                  <a:cubicBezTo>
                    <a:pt x="10" y="159"/>
                    <a:pt x="12" y="159"/>
                    <a:pt x="14" y="159"/>
                  </a:cubicBezTo>
                  <a:cubicBezTo>
                    <a:pt x="19" y="158"/>
                    <a:pt x="22" y="154"/>
                    <a:pt x="23" y="149"/>
                  </a:cubicBezTo>
                  <a:cubicBezTo>
                    <a:pt x="23" y="149"/>
                    <a:pt x="23" y="149"/>
                    <a:pt x="23" y="149"/>
                  </a:cubicBezTo>
                  <a:cubicBezTo>
                    <a:pt x="25" y="153"/>
                    <a:pt x="23" y="159"/>
                    <a:pt x="17" y="161"/>
                  </a:cubicBezTo>
                  <a:cubicBezTo>
                    <a:pt x="15" y="162"/>
                    <a:pt x="12" y="162"/>
                    <a:pt x="9" y="162"/>
                  </a:cubicBezTo>
                  <a:cubicBezTo>
                    <a:pt x="9" y="162"/>
                    <a:pt x="9" y="162"/>
                    <a:pt x="9" y="162"/>
                  </a:cubicBezTo>
                  <a:cubicBezTo>
                    <a:pt x="5" y="162"/>
                    <a:pt x="3" y="163"/>
                    <a:pt x="4" y="167"/>
                  </a:cubicBezTo>
                  <a:cubicBezTo>
                    <a:pt x="5" y="169"/>
                    <a:pt x="6" y="170"/>
                    <a:pt x="6" y="172"/>
                  </a:cubicBezTo>
                  <a:cubicBezTo>
                    <a:pt x="8" y="176"/>
                    <a:pt x="8" y="179"/>
                    <a:pt x="6" y="183"/>
                  </a:cubicBezTo>
                  <a:cubicBezTo>
                    <a:pt x="6" y="184"/>
                    <a:pt x="5" y="186"/>
                    <a:pt x="4" y="187"/>
                  </a:cubicBezTo>
                  <a:cubicBezTo>
                    <a:pt x="4" y="190"/>
                    <a:pt x="4" y="191"/>
                    <a:pt x="7" y="192"/>
                  </a:cubicBezTo>
                  <a:cubicBezTo>
                    <a:pt x="9" y="193"/>
                    <a:pt x="11" y="193"/>
                    <a:pt x="13" y="194"/>
                  </a:cubicBezTo>
                  <a:cubicBezTo>
                    <a:pt x="24" y="196"/>
                    <a:pt x="35" y="199"/>
                    <a:pt x="45" y="202"/>
                  </a:cubicBezTo>
                  <a:cubicBezTo>
                    <a:pt x="49" y="203"/>
                    <a:pt x="52" y="204"/>
                    <a:pt x="55" y="203"/>
                  </a:cubicBezTo>
                  <a:cubicBezTo>
                    <a:pt x="63" y="202"/>
                    <a:pt x="66" y="197"/>
                    <a:pt x="65" y="189"/>
                  </a:cubicBezTo>
                  <a:cubicBezTo>
                    <a:pt x="64" y="185"/>
                    <a:pt x="62" y="182"/>
                    <a:pt x="60" y="178"/>
                  </a:cubicBezTo>
                  <a:cubicBezTo>
                    <a:pt x="54" y="169"/>
                    <a:pt x="49" y="160"/>
                    <a:pt x="42" y="152"/>
                  </a:cubicBezTo>
                  <a:cubicBezTo>
                    <a:pt x="40" y="149"/>
                    <a:pt x="37" y="147"/>
                    <a:pt x="35" y="144"/>
                  </a:cubicBezTo>
                  <a:cubicBezTo>
                    <a:pt x="32" y="143"/>
                    <a:pt x="29" y="142"/>
                    <a:pt x="27" y="144"/>
                  </a:cubicBezTo>
                  <a:cubicBezTo>
                    <a:pt x="26" y="145"/>
                    <a:pt x="25" y="144"/>
                    <a:pt x="25" y="143"/>
                  </a:cubicBezTo>
                  <a:cubicBezTo>
                    <a:pt x="24" y="140"/>
                    <a:pt x="24" y="136"/>
                    <a:pt x="25" y="133"/>
                  </a:cubicBezTo>
                  <a:cubicBezTo>
                    <a:pt x="26" y="132"/>
                    <a:pt x="26" y="131"/>
                    <a:pt x="27" y="130"/>
                  </a:cubicBezTo>
                  <a:cubicBezTo>
                    <a:pt x="30" y="124"/>
                    <a:pt x="32" y="118"/>
                    <a:pt x="35" y="112"/>
                  </a:cubicBezTo>
                  <a:cubicBezTo>
                    <a:pt x="37" y="106"/>
                    <a:pt x="39" y="99"/>
                    <a:pt x="43" y="94"/>
                  </a:cubicBezTo>
                  <a:cubicBezTo>
                    <a:pt x="46" y="90"/>
                    <a:pt x="49" y="86"/>
                    <a:pt x="52" y="83"/>
                  </a:cubicBezTo>
                  <a:cubicBezTo>
                    <a:pt x="54" y="80"/>
                    <a:pt x="56" y="76"/>
                    <a:pt x="58" y="73"/>
                  </a:cubicBezTo>
                  <a:cubicBezTo>
                    <a:pt x="60" y="70"/>
                    <a:pt x="60" y="67"/>
                    <a:pt x="60" y="64"/>
                  </a:cubicBezTo>
                  <a:cubicBezTo>
                    <a:pt x="59" y="57"/>
                    <a:pt x="59" y="51"/>
                    <a:pt x="59" y="44"/>
                  </a:cubicBezTo>
                  <a:cubicBezTo>
                    <a:pt x="58" y="38"/>
                    <a:pt x="58" y="32"/>
                    <a:pt x="58" y="27"/>
                  </a:cubicBezTo>
                  <a:cubicBezTo>
                    <a:pt x="59" y="16"/>
                    <a:pt x="63" y="8"/>
                    <a:pt x="73" y="2"/>
                  </a:cubicBezTo>
                  <a:cubicBezTo>
                    <a:pt x="77" y="0"/>
                    <a:pt x="81" y="0"/>
                    <a:pt x="85" y="0"/>
                  </a:cubicBezTo>
                  <a:cubicBezTo>
                    <a:pt x="91" y="0"/>
                    <a:pt x="97" y="1"/>
                    <a:pt x="102" y="3"/>
                  </a:cubicBezTo>
                  <a:cubicBezTo>
                    <a:pt x="109" y="6"/>
                    <a:pt x="114" y="11"/>
                    <a:pt x="117" y="17"/>
                  </a:cubicBezTo>
                  <a:cubicBezTo>
                    <a:pt x="120" y="23"/>
                    <a:pt x="122" y="29"/>
                    <a:pt x="122" y="36"/>
                  </a:cubicBezTo>
                  <a:cubicBezTo>
                    <a:pt x="122" y="39"/>
                    <a:pt x="122" y="43"/>
                    <a:pt x="123" y="47"/>
                  </a:cubicBezTo>
                  <a:cubicBezTo>
                    <a:pt x="124" y="61"/>
                    <a:pt x="128" y="74"/>
                    <a:pt x="138" y="84"/>
                  </a:cubicBezTo>
                  <a:cubicBezTo>
                    <a:pt x="150" y="97"/>
                    <a:pt x="156" y="112"/>
                    <a:pt x="159" y="128"/>
                  </a:cubicBezTo>
                  <a:cubicBezTo>
                    <a:pt x="161" y="133"/>
                    <a:pt x="161" y="138"/>
                    <a:pt x="160" y="143"/>
                  </a:cubicBezTo>
                  <a:cubicBezTo>
                    <a:pt x="160" y="144"/>
                    <a:pt x="159" y="145"/>
                    <a:pt x="159" y="146"/>
                  </a:cubicBezTo>
                  <a:cubicBezTo>
                    <a:pt x="158" y="147"/>
                    <a:pt x="158" y="147"/>
                    <a:pt x="157" y="148"/>
                  </a:cubicBezTo>
                  <a:cubicBezTo>
                    <a:pt x="155" y="148"/>
                    <a:pt x="154" y="150"/>
                    <a:pt x="153" y="152"/>
                  </a:cubicBezTo>
                  <a:cubicBezTo>
                    <a:pt x="151" y="154"/>
                    <a:pt x="149" y="156"/>
                    <a:pt x="147" y="157"/>
                  </a:cubicBezTo>
                  <a:cubicBezTo>
                    <a:pt x="143" y="160"/>
                    <a:pt x="139" y="160"/>
                    <a:pt x="135" y="159"/>
                  </a:cubicBezTo>
                  <a:cubicBezTo>
                    <a:pt x="133" y="158"/>
                    <a:pt x="132" y="157"/>
                    <a:pt x="131" y="155"/>
                  </a:cubicBezTo>
                  <a:cubicBezTo>
                    <a:pt x="130" y="153"/>
                    <a:pt x="129" y="152"/>
                    <a:pt x="128" y="150"/>
                  </a:cubicBezTo>
                  <a:cubicBezTo>
                    <a:pt x="127" y="149"/>
                    <a:pt x="126" y="147"/>
                    <a:pt x="125" y="148"/>
                  </a:cubicBezTo>
                  <a:cubicBezTo>
                    <a:pt x="123" y="148"/>
                    <a:pt x="122" y="149"/>
                    <a:pt x="121" y="151"/>
                  </a:cubicBezTo>
                  <a:cubicBezTo>
                    <a:pt x="120" y="155"/>
                    <a:pt x="120" y="159"/>
                    <a:pt x="121" y="163"/>
                  </a:cubicBezTo>
                  <a:cubicBezTo>
                    <a:pt x="123" y="170"/>
                    <a:pt x="123" y="178"/>
                    <a:pt x="122" y="186"/>
                  </a:cubicBezTo>
                  <a:cubicBezTo>
                    <a:pt x="121" y="188"/>
                    <a:pt x="121" y="191"/>
                    <a:pt x="122" y="194"/>
                  </a:cubicBezTo>
                  <a:cubicBezTo>
                    <a:pt x="123" y="201"/>
                    <a:pt x="129" y="204"/>
                    <a:pt x="136" y="202"/>
                  </a:cubicBezTo>
                  <a:cubicBezTo>
                    <a:pt x="139" y="201"/>
                    <a:pt x="142" y="199"/>
                    <a:pt x="144" y="197"/>
                  </a:cubicBezTo>
                  <a:cubicBezTo>
                    <a:pt x="150" y="191"/>
                    <a:pt x="158" y="188"/>
                    <a:pt x="165" y="186"/>
                  </a:cubicBezTo>
                  <a:cubicBezTo>
                    <a:pt x="168" y="185"/>
                    <a:pt x="170" y="183"/>
                    <a:pt x="173" y="182"/>
                  </a:cubicBezTo>
                  <a:cubicBezTo>
                    <a:pt x="174" y="182"/>
                    <a:pt x="174" y="181"/>
                    <a:pt x="175" y="180"/>
                  </a:cubicBezTo>
                  <a:cubicBezTo>
                    <a:pt x="176" y="179"/>
                    <a:pt x="176" y="178"/>
                    <a:pt x="175" y="176"/>
                  </a:cubicBezTo>
                  <a:cubicBezTo>
                    <a:pt x="174" y="175"/>
                    <a:pt x="172" y="174"/>
                    <a:pt x="171" y="173"/>
                  </a:cubicBezTo>
                  <a:cubicBezTo>
                    <a:pt x="170" y="173"/>
                    <a:pt x="169" y="172"/>
                    <a:pt x="168" y="172"/>
                  </a:cubicBezTo>
                  <a:cubicBezTo>
                    <a:pt x="163" y="171"/>
                    <a:pt x="161" y="167"/>
                    <a:pt x="160" y="163"/>
                  </a:cubicBezTo>
                  <a:cubicBezTo>
                    <a:pt x="159" y="160"/>
                    <a:pt x="160" y="157"/>
                    <a:pt x="160" y="155"/>
                  </a:cubicBezTo>
                  <a:cubicBezTo>
                    <a:pt x="160" y="154"/>
                    <a:pt x="160" y="153"/>
                    <a:pt x="161" y="152"/>
                  </a:cubicBezTo>
                  <a:close/>
                  <a:moveTo>
                    <a:pt x="71" y="68"/>
                  </a:moveTo>
                  <a:cubicBezTo>
                    <a:pt x="71" y="68"/>
                    <a:pt x="71" y="68"/>
                    <a:pt x="71" y="69"/>
                  </a:cubicBezTo>
                  <a:cubicBezTo>
                    <a:pt x="73" y="71"/>
                    <a:pt x="74" y="73"/>
                    <a:pt x="77" y="73"/>
                  </a:cubicBezTo>
                  <a:cubicBezTo>
                    <a:pt x="81" y="74"/>
                    <a:pt x="85" y="73"/>
                    <a:pt x="88" y="71"/>
                  </a:cubicBezTo>
                  <a:cubicBezTo>
                    <a:pt x="91" y="70"/>
                    <a:pt x="94" y="68"/>
                    <a:pt x="98" y="66"/>
                  </a:cubicBezTo>
                  <a:cubicBezTo>
                    <a:pt x="99" y="66"/>
                    <a:pt x="100" y="65"/>
                    <a:pt x="101" y="65"/>
                  </a:cubicBezTo>
                  <a:cubicBezTo>
                    <a:pt x="101" y="65"/>
                    <a:pt x="102" y="66"/>
                    <a:pt x="102" y="66"/>
                  </a:cubicBezTo>
                  <a:cubicBezTo>
                    <a:pt x="102" y="66"/>
                    <a:pt x="102" y="67"/>
                    <a:pt x="102" y="67"/>
                  </a:cubicBezTo>
                  <a:cubicBezTo>
                    <a:pt x="101" y="68"/>
                    <a:pt x="100" y="69"/>
                    <a:pt x="99" y="69"/>
                  </a:cubicBezTo>
                  <a:cubicBezTo>
                    <a:pt x="94" y="71"/>
                    <a:pt x="91" y="74"/>
                    <a:pt x="87" y="77"/>
                  </a:cubicBezTo>
                  <a:cubicBezTo>
                    <a:pt x="85" y="78"/>
                    <a:pt x="83" y="79"/>
                    <a:pt x="81" y="80"/>
                  </a:cubicBezTo>
                  <a:cubicBezTo>
                    <a:pt x="78" y="82"/>
                    <a:pt x="76" y="81"/>
                    <a:pt x="73" y="79"/>
                  </a:cubicBezTo>
                  <a:cubicBezTo>
                    <a:pt x="71" y="76"/>
                    <a:pt x="69" y="74"/>
                    <a:pt x="67" y="71"/>
                  </a:cubicBezTo>
                  <a:cubicBezTo>
                    <a:pt x="67" y="70"/>
                    <a:pt x="66" y="70"/>
                    <a:pt x="65" y="69"/>
                  </a:cubicBezTo>
                  <a:cubicBezTo>
                    <a:pt x="65" y="70"/>
                    <a:pt x="65" y="70"/>
                    <a:pt x="65" y="70"/>
                  </a:cubicBezTo>
                  <a:cubicBezTo>
                    <a:pt x="64" y="72"/>
                    <a:pt x="64" y="74"/>
                    <a:pt x="63" y="76"/>
                  </a:cubicBezTo>
                  <a:cubicBezTo>
                    <a:pt x="63" y="79"/>
                    <a:pt x="61" y="81"/>
                    <a:pt x="60" y="83"/>
                  </a:cubicBezTo>
                  <a:cubicBezTo>
                    <a:pt x="59" y="86"/>
                    <a:pt x="57" y="88"/>
                    <a:pt x="57" y="92"/>
                  </a:cubicBezTo>
                  <a:cubicBezTo>
                    <a:pt x="57" y="94"/>
                    <a:pt x="58" y="96"/>
                    <a:pt x="58" y="98"/>
                  </a:cubicBezTo>
                  <a:cubicBezTo>
                    <a:pt x="58" y="98"/>
                    <a:pt x="57" y="99"/>
                    <a:pt x="56" y="100"/>
                  </a:cubicBezTo>
                  <a:cubicBezTo>
                    <a:pt x="54" y="104"/>
                    <a:pt x="52" y="108"/>
                    <a:pt x="50" y="112"/>
                  </a:cubicBezTo>
                  <a:cubicBezTo>
                    <a:pt x="47" y="117"/>
                    <a:pt x="46" y="122"/>
                    <a:pt x="46" y="127"/>
                  </a:cubicBezTo>
                  <a:cubicBezTo>
                    <a:pt x="46" y="130"/>
                    <a:pt x="46" y="133"/>
                    <a:pt x="46" y="136"/>
                  </a:cubicBezTo>
                  <a:cubicBezTo>
                    <a:pt x="46" y="137"/>
                    <a:pt x="45" y="138"/>
                    <a:pt x="45" y="140"/>
                  </a:cubicBezTo>
                  <a:cubicBezTo>
                    <a:pt x="45" y="141"/>
                    <a:pt x="44" y="141"/>
                    <a:pt x="43" y="141"/>
                  </a:cubicBezTo>
                  <a:cubicBezTo>
                    <a:pt x="42" y="140"/>
                    <a:pt x="41" y="139"/>
                    <a:pt x="40" y="138"/>
                  </a:cubicBezTo>
                  <a:cubicBezTo>
                    <a:pt x="38" y="134"/>
                    <a:pt x="37" y="129"/>
                    <a:pt x="38" y="124"/>
                  </a:cubicBezTo>
                  <a:cubicBezTo>
                    <a:pt x="38" y="123"/>
                    <a:pt x="38" y="122"/>
                    <a:pt x="38" y="121"/>
                  </a:cubicBezTo>
                  <a:cubicBezTo>
                    <a:pt x="38" y="121"/>
                    <a:pt x="38" y="121"/>
                    <a:pt x="38" y="120"/>
                  </a:cubicBezTo>
                  <a:cubicBezTo>
                    <a:pt x="37" y="121"/>
                    <a:pt x="37" y="122"/>
                    <a:pt x="37" y="123"/>
                  </a:cubicBezTo>
                  <a:cubicBezTo>
                    <a:pt x="35" y="127"/>
                    <a:pt x="35" y="131"/>
                    <a:pt x="36" y="135"/>
                  </a:cubicBezTo>
                  <a:cubicBezTo>
                    <a:pt x="37" y="137"/>
                    <a:pt x="38" y="140"/>
                    <a:pt x="40" y="142"/>
                  </a:cubicBezTo>
                  <a:cubicBezTo>
                    <a:pt x="44" y="146"/>
                    <a:pt x="48" y="149"/>
                    <a:pt x="52" y="153"/>
                  </a:cubicBezTo>
                  <a:cubicBezTo>
                    <a:pt x="57" y="157"/>
                    <a:pt x="62" y="161"/>
                    <a:pt x="67" y="165"/>
                  </a:cubicBezTo>
                  <a:cubicBezTo>
                    <a:pt x="69" y="167"/>
                    <a:pt x="70" y="169"/>
                    <a:pt x="69" y="172"/>
                  </a:cubicBezTo>
                  <a:cubicBezTo>
                    <a:pt x="68" y="174"/>
                    <a:pt x="67" y="176"/>
                    <a:pt x="64" y="177"/>
                  </a:cubicBezTo>
                  <a:cubicBezTo>
                    <a:pt x="64" y="177"/>
                    <a:pt x="63" y="177"/>
                    <a:pt x="62" y="177"/>
                  </a:cubicBezTo>
                  <a:cubicBezTo>
                    <a:pt x="63" y="179"/>
                    <a:pt x="65" y="181"/>
                    <a:pt x="66" y="183"/>
                  </a:cubicBezTo>
                  <a:cubicBezTo>
                    <a:pt x="68" y="185"/>
                    <a:pt x="69" y="188"/>
                    <a:pt x="69" y="192"/>
                  </a:cubicBezTo>
                  <a:cubicBezTo>
                    <a:pt x="70" y="193"/>
                    <a:pt x="70" y="195"/>
                    <a:pt x="70" y="197"/>
                  </a:cubicBezTo>
                  <a:cubicBezTo>
                    <a:pt x="70" y="197"/>
                    <a:pt x="70" y="197"/>
                    <a:pt x="70" y="197"/>
                  </a:cubicBezTo>
                  <a:cubicBezTo>
                    <a:pt x="73" y="195"/>
                    <a:pt x="73" y="193"/>
                    <a:pt x="72" y="191"/>
                  </a:cubicBezTo>
                  <a:cubicBezTo>
                    <a:pt x="72" y="188"/>
                    <a:pt x="70" y="186"/>
                    <a:pt x="69" y="184"/>
                  </a:cubicBezTo>
                  <a:cubicBezTo>
                    <a:pt x="68" y="183"/>
                    <a:pt x="68" y="182"/>
                    <a:pt x="68" y="182"/>
                  </a:cubicBezTo>
                  <a:cubicBezTo>
                    <a:pt x="69" y="181"/>
                    <a:pt x="71" y="181"/>
                    <a:pt x="72" y="182"/>
                  </a:cubicBezTo>
                  <a:cubicBezTo>
                    <a:pt x="74" y="184"/>
                    <a:pt x="76" y="185"/>
                    <a:pt x="79" y="186"/>
                  </a:cubicBezTo>
                  <a:cubicBezTo>
                    <a:pt x="85" y="187"/>
                    <a:pt x="91" y="186"/>
                    <a:pt x="97" y="185"/>
                  </a:cubicBezTo>
                  <a:cubicBezTo>
                    <a:pt x="101" y="184"/>
                    <a:pt x="106" y="182"/>
                    <a:pt x="109" y="179"/>
                  </a:cubicBezTo>
                  <a:cubicBezTo>
                    <a:pt x="111" y="177"/>
                    <a:pt x="112" y="175"/>
                    <a:pt x="113" y="173"/>
                  </a:cubicBezTo>
                  <a:cubicBezTo>
                    <a:pt x="114" y="173"/>
                    <a:pt x="115" y="172"/>
                    <a:pt x="115" y="172"/>
                  </a:cubicBezTo>
                  <a:cubicBezTo>
                    <a:pt x="116" y="172"/>
                    <a:pt x="116" y="173"/>
                    <a:pt x="117" y="174"/>
                  </a:cubicBezTo>
                  <a:cubicBezTo>
                    <a:pt x="117" y="178"/>
                    <a:pt x="117" y="182"/>
                    <a:pt x="115" y="185"/>
                  </a:cubicBezTo>
                  <a:cubicBezTo>
                    <a:pt x="115" y="188"/>
                    <a:pt x="114" y="190"/>
                    <a:pt x="114" y="192"/>
                  </a:cubicBezTo>
                  <a:cubicBezTo>
                    <a:pt x="113" y="194"/>
                    <a:pt x="114" y="195"/>
                    <a:pt x="116" y="195"/>
                  </a:cubicBezTo>
                  <a:cubicBezTo>
                    <a:pt x="117" y="191"/>
                    <a:pt x="118" y="186"/>
                    <a:pt x="119" y="182"/>
                  </a:cubicBezTo>
                  <a:cubicBezTo>
                    <a:pt x="119" y="178"/>
                    <a:pt x="120" y="174"/>
                    <a:pt x="119" y="171"/>
                  </a:cubicBezTo>
                  <a:cubicBezTo>
                    <a:pt x="119" y="167"/>
                    <a:pt x="118" y="163"/>
                    <a:pt x="118" y="159"/>
                  </a:cubicBezTo>
                  <a:cubicBezTo>
                    <a:pt x="118" y="156"/>
                    <a:pt x="118" y="153"/>
                    <a:pt x="119" y="150"/>
                  </a:cubicBezTo>
                  <a:cubicBezTo>
                    <a:pt x="120" y="147"/>
                    <a:pt x="122" y="145"/>
                    <a:pt x="126" y="145"/>
                  </a:cubicBezTo>
                  <a:cubicBezTo>
                    <a:pt x="126" y="145"/>
                    <a:pt x="126" y="145"/>
                    <a:pt x="126" y="145"/>
                  </a:cubicBezTo>
                  <a:cubicBezTo>
                    <a:pt x="127" y="142"/>
                    <a:pt x="129" y="140"/>
                    <a:pt x="132" y="139"/>
                  </a:cubicBezTo>
                  <a:cubicBezTo>
                    <a:pt x="137" y="137"/>
                    <a:pt x="141" y="138"/>
                    <a:pt x="146" y="140"/>
                  </a:cubicBezTo>
                  <a:cubicBezTo>
                    <a:pt x="145" y="138"/>
                    <a:pt x="142" y="137"/>
                    <a:pt x="140" y="136"/>
                  </a:cubicBezTo>
                  <a:cubicBezTo>
                    <a:pt x="145" y="119"/>
                    <a:pt x="135" y="97"/>
                    <a:pt x="126" y="91"/>
                  </a:cubicBezTo>
                  <a:cubicBezTo>
                    <a:pt x="131" y="97"/>
                    <a:pt x="134" y="103"/>
                    <a:pt x="136" y="110"/>
                  </a:cubicBezTo>
                  <a:cubicBezTo>
                    <a:pt x="139" y="116"/>
                    <a:pt x="140" y="123"/>
                    <a:pt x="139" y="130"/>
                  </a:cubicBezTo>
                  <a:cubicBezTo>
                    <a:pt x="138" y="135"/>
                    <a:pt x="136" y="137"/>
                    <a:pt x="132" y="138"/>
                  </a:cubicBezTo>
                  <a:cubicBezTo>
                    <a:pt x="130" y="138"/>
                    <a:pt x="128" y="137"/>
                    <a:pt x="128" y="134"/>
                  </a:cubicBezTo>
                  <a:cubicBezTo>
                    <a:pt x="127" y="132"/>
                    <a:pt x="127" y="130"/>
                    <a:pt x="127" y="128"/>
                  </a:cubicBezTo>
                  <a:cubicBezTo>
                    <a:pt x="127" y="121"/>
                    <a:pt x="126" y="114"/>
                    <a:pt x="124" y="107"/>
                  </a:cubicBezTo>
                  <a:cubicBezTo>
                    <a:pt x="123" y="102"/>
                    <a:pt x="121" y="98"/>
                    <a:pt x="117" y="95"/>
                  </a:cubicBezTo>
                  <a:cubicBezTo>
                    <a:pt x="117" y="94"/>
                    <a:pt x="117" y="94"/>
                    <a:pt x="117" y="93"/>
                  </a:cubicBezTo>
                  <a:cubicBezTo>
                    <a:pt x="115" y="86"/>
                    <a:pt x="112" y="79"/>
                    <a:pt x="107" y="72"/>
                  </a:cubicBezTo>
                  <a:cubicBezTo>
                    <a:pt x="106" y="70"/>
                    <a:pt x="105" y="67"/>
                    <a:pt x="106" y="64"/>
                  </a:cubicBezTo>
                  <a:cubicBezTo>
                    <a:pt x="106" y="62"/>
                    <a:pt x="106" y="60"/>
                    <a:pt x="107" y="58"/>
                  </a:cubicBezTo>
                  <a:cubicBezTo>
                    <a:pt x="107" y="55"/>
                    <a:pt x="106" y="54"/>
                    <a:pt x="104" y="53"/>
                  </a:cubicBezTo>
                  <a:cubicBezTo>
                    <a:pt x="100" y="52"/>
                    <a:pt x="97" y="50"/>
                    <a:pt x="94" y="49"/>
                  </a:cubicBezTo>
                  <a:cubicBezTo>
                    <a:pt x="91" y="48"/>
                    <a:pt x="91" y="46"/>
                    <a:pt x="91" y="44"/>
                  </a:cubicBezTo>
                  <a:cubicBezTo>
                    <a:pt x="91" y="43"/>
                    <a:pt x="91" y="41"/>
                    <a:pt x="92" y="40"/>
                  </a:cubicBezTo>
                  <a:cubicBezTo>
                    <a:pt x="93" y="37"/>
                    <a:pt x="95" y="36"/>
                    <a:pt x="98" y="36"/>
                  </a:cubicBezTo>
                  <a:cubicBezTo>
                    <a:pt x="99" y="37"/>
                    <a:pt x="101" y="38"/>
                    <a:pt x="102" y="39"/>
                  </a:cubicBezTo>
                  <a:cubicBezTo>
                    <a:pt x="103" y="42"/>
                    <a:pt x="103" y="45"/>
                    <a:pt x="102" y="47"/>
                  </a:cubicBezTo>
                  <a:cubicBezTo>
                    <a:pt x="102" y="48"/>
                    <a:pt x="101" y="49"/>
                    <a:pt x="102" y="50"/>
                  </a:cubicBezTo>
                  <a:cubicBezTo>
                    <a:pt x="104" y="51"/>
                    <a:pt x="107" y="50"/>
                    <a:pt x="107" y="48"/>
                  </a:cubicBezTo>
                  <a:cubicBezTo>
                    <a:pt x="107" y="43"/>
                    <a:pt x="107" y="39"/>
                    <a:pt x="105" y="35"/>
                  </a:cubicBezTo>
                  <a:cubicBezTo>
                    <a:pt x="103" y="31"/>
                    <a:pt x="100" y="29"/>
                    <a:pt x="96" y="29"/>
                  </a:cubicBezTo>
                  <a:cubicBezTo>
                    <a:pt x="91" y="30"/>
                    <a:pt x="88" y="33"/>
                    <a:pt x="87" y="37"/>
                  </a:cubicBezTo>
                  <a:cubicBezTo>
                    <a:pt x="87" y="39"/>
                    <a:pt x="87" y="40"/>
                    <a:pt x="87" y="42"/>
                  </a:cubicBezTo>
                  <a:cubicBezTo>
                    <a:pt x="87" y="43"/>
                    <a:pt x="87" y="45"/>
                    <a:pt x="87" y="47"/>
                  </a:cubicBezTo>
                  <a:cubicBezTo>
                    <a:pt x="85" y="45"/>
                    <a:pt x="83" y="45"/>
                    <a:pt x="81" y="45"/>
                  </a:cubicBezTo>
                  <a:cubicBezTo>
                    <a:pt x="80" y="45"/>
                    <a:pt x="80" y="45"/>
                    <a:pt x="80" y="46"/>
                  </a:cubicBezTo>
                  <a:cubicBezTo>
                    <a:pt x="78" y="46"/>
                    <a:pt x="78" y="45"/>
                    <a:pt x="78" y="44"/>
                  </a:cubicBezTo>
                  <a:cubicBezTo>
                    <a:pt x="77" y="41"/>
                    <a:pt x="77" y="38"/>
                    <a:pt x="76" y="36"/>
                  </a:cubicBezTo>
                  <a:cubicBezTo>
                    <a:pt x="76" y="35"/>
                    <a:pt x="76" y="34"/>
                    <a:pt x="76" y="34"/>
                  </a:cubicBezTo>
                  <a:cubicBezTo>
                    <a:pt x="74" y="32"/>
                    <a:pt x="73" y="30"/>
                    <a:pt x="70" y="30"/>
                  </a:cubicBezTo>
                  <a:cubicBezTo>
                    <a:pt x="68" y="31"/>
                    <a:pt x="67" y="32"/>
                    <a:pt x="66" y="34"/>
                  </a:cubicBezTo>
                  <a:cubicBezTo>
                    <a:pt x="63" y="39"/>
                    <a:pt x="63" y="44"/>
                    <a:pt x="66" y="49"/>
                  </a:cubicBezTo>
                  <a:cubicBezTo>
                    <a:pt x="66" y="50"/>
                    <a:pt x="67" y="51"/>
                    <a:pt x="68" y="51"/>
                  </a:cubicBezTo>
                  <a:cubicBezTo>
                    <a:pt x="69" y="51"/>
                    <a:pt x="69" y="50"/>
                    <a:pt x="69" y="49"/>
                  </a:cubicBezTo>
                  <a:cubicBezTo>
                    <a:pt x="69" y="48"/>
                    <a:pt x="68" y="48"/>
                    <a:pt x="67" y="47"/>
                  </a:cubicBezTo>
                  <a:cubicBezTo>
                    <a:pt x="66" y="45"/>
                    <a:pt x="65" y="42"/>
                    <a:pt x="66" y="39"/>
                  </a:cubicBezTo>
                  <a:cubicBezTo>
                    <a:pt x="67" y="37"/>
                    <a:pt x="71" y="36"/>
                    <a:pt x="73" y="38"/>
                  </a:cubicBezTo>
                  <a:cubicBezTo>
                    <a:pt x="74" y="39"/>
                    <a:pt x="75" y="42"/>
                    <a:pt x="75" y="44"/>
                  </a:cubicBezTo>
                  <a:cubicBezTo>
                    <a:pt x="75" y="46"/>
                    <a:pt x="74" y="47"/>
                    <a:pt x="73" y="48"/>
                  </a:cubicBezTo>
                  <a:cubicBezTo>
                    <a:pt x="73" y="48"/>
                    <a:pt x="72" y="48"/>
                    <a:pt x="72" y="49"/>
                  </a:cubicBezTo>
                  <a:cubicBezTo>
                    <a:pt x="71" y="51"/>
                    <a:pt x="69" y="52"/>
                    <a:pt x="66" y="53"/>
                  </a:cubicBezTo>
                  <a:cubicBezTo>
                    <a:pt x="65" y="54"/>
                    <a:pt x="65" y="55"/>
                    <a:pt x="64" y="56"/>
                  </a:cubicBezTo>
                  <a:cubicBezTo>
                    <a:pt x="63" y="57"/>
                    <a:pt x="64" y="58"/>
                    <a:pt x="65" y="59"/>
                  </a:cubicBezTo>
                  <a:cubicBezTo>
                    <a:pt x="66" y="60"/>
                    <a:pt x="67" y="61"/>
                    <a:pt x="68" y="62"/>
                  </a:cubicBezTo>
                  <a:cubicBezTo>
                    <a:pt x="70" y="66"/>
                    <a:pt x="74" y="66"/>
                    <a:pt x="78" y="66"/>
                  </a:cubicBezTo>
                  <a:cubicBezTo>
                    <a:pt x="82" y="66"/>
                    <a:pt x="87" y="64"/>
                    <a:pt x="91" y="63"/>
                  </a:cubicBezTo>
                  <a:cubicBezTo>
                    <a:pt x="94" y="62"/>
                    <a:pt x="98" y="61"/>
                    <a:pt x="101" y="58"/>
                  </a:cubicBezTo>
                  <a:cubicBezTo>
                    <a:pt x="101" y="58"/>
                    <a:pt x="102" y="57"/>
                    <a:pt x="103" y="58"/>
                  </a:cubicBezTo>
                  <a:cubicBezTo>
                    <a:pt x="103" y="58"/>
                    <a:pt x="103" y="59"/>
                    <a:pt x="103" y="60"/>
                  </a:cubicBezTo>
                  <a:cubicBezTo>
                    <a:pt x="103" y="60"/>
                    <a:pt x="102" y="61"/>
                    <a:pt x="102" y="61"/>
                  </a:cubicBezTo>
                  <a:cubicBezTo>
                    <a:pt x="97" y="63"/>
                    <a:pt x="91" y="65"/>
                    <a:pt x="86" y="67"/>
                  </a:cubicBezTo>
                  <a:cubicBezTo>
                    <a:pt x="82" y="69"/>
                    <a:pt x="78" y="69"/>
                    <a:pt x="74" y="69"/>
                  </a:cubicBezTo>
                  <a:cubicBezTo>
                    <a:pt x="73" y="68"/>
                    <a:pt x="72" y="68"/>
                    <a:pt x="71" y="68"/>
                  </a:cubicBezTo>
                  <a:close/>
                  <a:moveTo>
                    <a:pt x="73" y="45"/>
                  </a:moveTo>
                  <a:cubicBezTo>
                    <a:pt x="73" y="43"/>
                    <a:pt x="73" y="41"/>
                    <a:pt x="72" y="40"/>
                  </a:cubicBezTo>
                  <a:cubicBezTo>
                    <a:pt x="71" y="39"/>
                    <a:pt x="71" y="39"/>
                    <a:pt x="70" y="39"/>
                  </a:cubicBezTo>
                  <a:cubicBezTo>
                    <a:pt x="70" y="40"/>
                    <a:pt x="70" y="40"/>
                    <a:pt x="70" y="40"/>
                  </a:cubicBezTo>
                  <a:cubicBezTo>
                    <a:pt x="72" y="41"/>
                    <a:pt x="71" y="42"/>
                    <a:pt x="71" y="43"/>
                  </a:cubicBezTo>
                  <a:cubicBezTo>
                    <a:pt x="71" y="44"/>
                    <a:pt x="72" y="45"/>
                    <a:pt x="73" y="45"/>
                  </a:cubicBezTo>
                  <a:close/>
                  <a:moveTo>
                    <a:pt x="97" y="39"/>
                  </a:moveTo>
                  <a:cubicBezTo>
                    <a:pt x="99" y="40"/>
                    <a:pt x="99" y="41"/>
                    <a:pt x="100" y="43"/>
                  </a:cubicBezTo>
                  <a:cubicBezTo>
                    <a:pt x="100" y="43"/>
                    <a:pt x="101" y="43"/>
                    <a:pt x="101" y="42"/>
                  </a:cubicBezTo>
                  <a:cubicBezTo>
                    <a:pt x="101" y="41"/>
                    <a:pt x="100" y="40"/>
                    <a:pt x="99" y="39"/>
                  </a:cubicBezTo>
                  <a:cubicBezTo>
                    <a:pt x="98" y="38"/>
                    <a:pt x="98" y="38"/>
                    <a:pt x="97" y="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7" name="Freeform 446"/>
            <p:cNvSpPr>
              <a:spLocks/>
            </p:cNvSpPr>
            <p:nvPr userDrawn="1"/>
          </p:nvSpPr>
          <p:spPr bwMode="auto">
            <a:xfrm>
              <a:off x="5762" y="1153"/>
              <a:ext cx="3" cy="4"/>
            </a:xfrm>
            <a:custGeom>
              <a:avLst/>
              <a:gdLst>
                <a:gd name="T0" fmla="*/ 2 w 2"/>
                <a:gd name="T1" fmla="*/ 1 h 3"/>
                <a:gd name="T2" fmla="*/ 1 w 2"/>
                <a:gd name="T3" fmla="*/ 2 h 3"/>
                <a:gd name="T4" fmla="*/ 0 w 2"/>
                <a:gd name="T5" fmla="*/ 3 h 3"/>
                <a:gd name="T6" fmla="*/ 0 w 2"/>
                <a:gd name="T7" fmla="*/ 1 h 3"/>
                <a:gd name="T8" fmla="*/ 2 w 2"/>
                <a:gd name="T9" fmla="*/ 0 h 3"/>
                <a:gd name="T10" fmla="*/ 2 w 2"/>
                <a:gd name="T11" fmla="*/ 1 h 3"/>
              </a:gdLst>
              <a:ahLst/>
              <a:cxnLst>
                <a:cxn ang="0">
                  <a:pos x="T0" y="T1"/>
                </a:cxn>
                <a:cxn ang="0">
                  <a:pos x="T2" y="T3"/>
                </a:cxn>
                <a:cxn ang="0">
                  <a:pos x="T4" y="T5"/>
                </a:cxn>
                <a:cxn ang="0">
                  <a:pos x="T6" y="T7"/>
                </a:cxn>
                <a:cxn ang="0">
                  <a:pos x="T8" y="T9"/>
                </a:cxn>
                <a:cxn ang="0">
                  <a:pos x="T10" y="T11"/>
                </a:cxn>
              </a:cxnLst>
              <a:rect l="0" t="0" r="r" b="b"/>
              <a:pathLst>
                <a:path w="2" h="3">
                  <a:moveTo>
                    <a:pt x="2" y="1"/>
                  </a:moveTo>
                  <a:cubicBezTo>
                    <a:pt x="2" y="1"/>
                    <a:pt x="2" y="2"/>
                    <a:pt x="1" y="2"/>
                  </a:cubicBezTo>
                  <a:cubicBezTo>
                    <a:pt x="1" y="3"/>
                    <a:pt x="0" y="3"/>
                    <a:pt x="0" y="3"/>
                  </a:cubicBezTo>
                  <a:cubicBezTo>
                    <a:pt x="0" y="2"/>
                    <a:pt x="0" y="2"/>
                    <a:pt x="0" y="1"/>
                  </a:cubicBezTo>
                  <a:cubicBezTo>
                    <a:pt x="1" y="1"/>
                    <a:pt x="1" y="1"/>
                    <a:pt x="2" y="0"/>
                  </a:cubicBezTo>
                  <a:cubicBezTo>
                    <a:pt x="2" y="0"/>
                    <a:pt x="2" y="1"/>
                    <a:pt x="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8" name="Freeform 447"/>
            <p:cNvSpPr>
              <a:spLocks/>
            </p:cNvSpPr>
            <p:nvPr userDrawn="1"/>
          </p:nvSpPr>
          <p:spPr bwMode="auto">
            <a:xfrm>
              <a:off x="5774" y="1153"/>
              <a:ext cx="5" cy="2"/>
            </a:xfrm>
            <a:custGeom>
              <a:avLst/>
              <a:gdLst>
                <a:gd name="T0" fmla="*/ 0 w 4"/>
                <a:gd name="T1" fmla="*/ 0 h 2"/>
                <a:gd name="T2" fmla="*/ 3 w 4"/>
                <a:gd name="T3" fmla="*/ 1 h 2"/>
                <a:gd name="T4" fmla="*/ 4 w 4"/>
                <a:gd name="T5" fmla="*/ 2 h 2"/>
                <a:gd name="T6" fmla="*/ 2 w 4"/>
                <a:gd name="T7" fmla="*/ 2 h 2"/>
                <a:gd name="T8" fmla="*/ 0 w 4"/>
                <a:gd name="T9" fmla="*/ 0 h 2"/>
              </a:gdLst>
              <a:ahLst/>
              <a:cxnLst>
                <a:cxn ang="0">
                  <a:pos x="T0" y="T1"/>
                </a:cxn>
                <a:cxn ang="0">
                  <a:pos x="T2" y="T3"/>
                </a:cxn>
                <a:cxn ang="0">
                  <a:pos x="T4" y="T5"/>
                </a:cxn>
                <a:cxn ang="0">
                  <a:pos x="T6" y="T7"/>
                </a:cxn>
                <a:cxn ang="0">
                  <a:pos x="T8" y="T9"/>
                </a:cxn>
              </a:cxnLst>
              <a:rect l="0" t="0" r="r" b="b"/>
              <a:pathLst>
                <a:path w="4" h="2">
                  <a:moveTo>
                    <a:pt x="0" y="0"/>
                  </a:moveTo>
                  <a:cubicBezTo>
                    <a:pt x="2" y="0"/>
                    <a:pt x="2" y="1"/>
                    <a:pt x="3" y="1"/>
                  </a:cubicBezTo>
                  <a:cubicBezTo>
                    <a:pt x="3" y="1"/>
                    <a:pt x="3" y="1"/>
                    <a:pt x="4" y="2"/>
                  </a:cubicBezTo>
                  <a:cubicBezTo>
                    <a:pt x="3" y="2"/>
                    <a:pt x="3" y="2"/>
                    <a:pt x="2" y="2"/>
                  </a:cubicBezTo>
                  <a:cubicBezTo>
                    <a:pt x="2" y="2"/>
                    <a:pt x="1" y="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485" name="Freeform: Shape 484"/>
          <p:cNvSpPr/>
          <p:nvPr/>
        </p:nvSpPr>
        <p:spPr bwMode="auto">
          <a:xfrm>
            <a:off x="-1" y="0"/>
            <a:ext cx="5072215" cy="6858000"/>
          </a:xfrm>
          <a:custGeom>
            <a:avLst/>
            <a:gdLst>
              <a:gd name="connsiteX0" fmla="*/ 0 w 7294818"/>
              <a:gd name="connsiteY0" fmla="*/ 0 h 6858000"/>
              <a:gd name="connsiteX1" fmla="*/ 3978914 w 7294818"/>
              <a:gd name="connsiteY1" fmla="*/ 0 h 6858000"/>
              <a:gd name="connsiteX2" fmla="*/ 4057397 w 7294818"/>
              <a:gd name="connsiteY2" fmla="*/ 0 h 6858000"/>
              <a:gd name="connsiteX3" fmla="*/ 5871241 w 7294818"/>
              <a:gd name="connsiteY3" fmla="*/ 0 h 6858000"/>
              <a:gd name="connsiteX4" fmla="*/ 7294818 w 7294818"/>
              <a:gd name="connsiteY4" fmla="*/ 0 h 6858000"/>
              <a:gd name="connsiteX5" fmla="*/ 5871241 w 7294818"/>
              <a:gd name="connsiteY5" fmla="*/ 6858000 h 6858000"/>
              <a:gd name="connsiteX6" fmla="*/ 4057397 w 7294818"/>
              <a:gd name="connsiteY6" fmla="*/ 6858000 h 6858000"/>
              <a:gd name="connsiteX7" fmla="*/ 3978914 w 7294818"/>
              <a:gd name="connsiteY7" fmla="*/ 6858000 h 6858000"/>
              <a:gd name="connsiteX8" fmla="*/ 0 w 7294818"/>
              <a:gd name="connsiteY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294818" h="6858000">
                <a:moveTo>
                  <a:pt x="0" y="0"/>
                </a:moveTo>
                <a:lnTo>
                  <a:pt x="3978914" y="0"/>
                </a:lnTo>
                <a:lnTo>
                  <a:pt x="4057397" y="0"/>
                </a:lnTo>
                <a:lnTo>
                  <a:pt x="5871241" y="0"/>
                </a:lnTo>
                <a:lnTo>
                  <a:pt x="7294818" y="0"/>
                </a:lnTo>
                <a:lnTo>
                  <a:pt x="5871241" y="6858000"/>
                </a:lnTo>
                <a:lnTo>
                  <a:pt x="4057397" y="6858000"/>
                </a:lnTo>
                <a:lnTo>
                  <a:pt x="3978914" y="6858000"/>
                </a:lnTo>
                <a:lnTo>
                  <a:pt x="0" y="6858000"/>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marL="257175" indent="-257175" algn="ctr" defTabSz="699354" fontAlgn="base">
              <a:lnSpc>
                <a:spcPct val="90000"/>
              </a:lnSpc>
              <a:spcBef>
                <a:spcPct val="0"/>
              </a:spcBef>
              <a:spcAft>
                <a:spcPct val="0"/>
              </a:spcAft>
              <a:buFont typeface="Wingdings 3" panose="05040102010807070707" pitchFamily="18" charset="2"/>
              <a:buChar char="Æ"/>
            </a:pPr>
            <a:endParaRPr lang="en-US" sz="1500" b="1" err="1">
              <a:solidFill>
                <a:schemeClr val="bg1"/>
              </a:solidFill>
              <a:latin typeface="+mj-lt"/>
              <a:ea typeface="Segoe UI" pitchFamily="34" charset="0"/>
              <a:cs typeface="Segoe UI" pitchFamily="34" charset="0"/>
            </a:endParaRPr>
          </a:p>
        </p:txBody>
      </p:sp>
      <p:sp>
        <p:nvSpPr>
          <p:cNvPr id="498" name="Title 1"/>
          <p:cNvSpPr>
            <a:spLocks noGrp="1"/>
          </p:cNvSpPr>
          <p:nvPr>
            <p:ph type="title"/>
          </p:nvPr>
        </p:nvSpPr>
        <p:spPr>
          <a:xfrm>
            <a:off x="512443" y="1562893"/>
            <a:ext cx="3944097" cy="3732214"/>
          </a:xfrm>
        </p:spPr>
        <p:txBody>
          <a:bodyPr bIns="274320" anchor="ctr" anchorCtr="0"/>
          <a:lstStyle>
            <a:lvl1pPr>
              <a:lnSpc>
                <a:spcPct val="80000"/>
              </a:lnSpc>
              <a:defRPr sz="5400">
                <a:solidFill>
                  <a:schemeClr val="tx1"/>
                </a:solidFill>
              </a:defRPr>
            </a:lvl1pPr>
          </a:lstStyle>
          <a:p>
            <a:r>
              <a:rPr lang="en-US"/>
              <a:t>Click to edit Master title style</a:t>
            </a:r>
          </a:p>
        </p:txBody>
      </p:sp>
      <p:sp>
        <p:nvSpPr>
          <p:cNvPr id="446" name="Freeform: Shape 445"/>
          <p:cNvSpPr/>
          <p:nvPr/>
        </p:nvSpPr>
        <p:spPr bwMode="auto">
          <a:xfrm>
            <a:off x="4000881" y="0"/>
            <a:ext cx="1142238" cy="6858000"/>
          </a:xfrm>
          <a:custGeom>
            <a:avLst/>
            <a:gdLst>
              <a:gd name="connsiteX0" fmla="*/ 1319784 w 1522984"/>
              <a:gd name="connsiteY0" fmla="*/ 0 h 6858000"/>
              <a:gd name="connsiteX1" fmla="*/ 1522984 w 1522984"/>
              <a:gd name="connsiteY1" fmla="*/ 0 h 6858000"/>
              <a:gd name="connsiteX2" fmla="*/ 203200 w 1522984"/>
              <a:gd name="connsiteY2" fmla="*/ 6858000 h 6858000"/>
              <a:gd name="connsiteX3" fmla="*/ 0 w 1522984"/>
              <a:gd name="connsiteY3" fmla="*/ 6858000 h 6858000"/>
              <a:gd name="connsiteX4" fmla="*/ 1319784 w 152298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2984" h="6858000">
                <a:moveTo>
                  <a:pt x="1319784" y="0"/>
                </a:moveTo>
                <a:lnTo>
                  <a:pt x="1522984" y="0"/>
                </a:lnTo>
                <a:lnTo>
                  <a:pt x="203200" y="6858000"/>
                </a:lnTo>
                <a:lnTo>
                  <a:pt x="0" y="6858000"/>
                </a:lnTo>
                <a:lnTo>
                  <a:pt x="1319784" y="0"/>
                </a:lnTo>
                <a:close/>
              </a:path>
            </a:pathLst>
          </a:cu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marL="257175" indent="-257175" algn="ctr" defTabSz="699354" fontAlgn="base">
              <a:lnSpc>
                <a:spcPct val="90000"/>
              </a:lnSpc>
              <a:spcBef>
                <a:spcPct val="0"/>
              </a:spcBef>
              <a:spcAft>
                <a:spcPct val="0"/>
              </a:spcAft>
              <a:buFont typeface="Wingdings 3" panose="05040102010807070707" pitchFamily="18" charset="2"/>
              <a:buChar char="Æ"/>
            </a:pPr>
            <a:endParaRPr lang="en-US" sz="1500" b="1" err="1">
              <a:solidFill>
                <a:schemeClr val="bg1"/>
              </a:solidFill>
              <a:latin typeface="+mj-lt"/>
              <a:ea typeface="Segoe UI" pitchFamily="34" charset="0"/>
              <a:cs typeface="Segoe UI" pitchFamily="34" charset="0"/>
            </a:endParaRPr>
          </a:p>
        </p:txBody>
      </p:sp>
    </p:spTree>
    <p:extLst>
      <p:ext uri="{BB962C8B-B14F-4D97-AF65-F5344CB8AC3E}">
        <p14:creationId xmlns:p14="http://schemas.microsoft.com/office/powerpoint/2010/main" val="2063607330"/>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Agenda Slide">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197962" y="289512"/>
            <a:ext cx="8745277" cy="1054884"/>
          </a:xfrm>
        </p:spPr>
        <p:txBody>
          <a:bodyPr lIns="146304" tIns="91440" rIns="146304" bIns="91440"/>
          <a:lstStyle>
            <a:lvl1pPr>
              <a:lnSpc>
                <a:spcPct val="100000"/>
              </a:lnSpc>
              <a:defRPr sz="3000" baseline="0">
                <a:solidFill>
                  <a:schemeClr val="tx1"/>
                </a:solidFill>
              </a:defRPr>
            </a:lvl1pPr>
          </a:lstStyle>
          <a:p>
            <a:r>
              <a:rPr lang="en-US"/>
              <a:t>Lorem ipsum dolor sit.</a:t>
            </a:r>
          </a:p>
        </p:txBody>
      </p:sp>
      <p:sp>
        <p:nvSpPr>
          <p:cNvPr id="3" name="Content Placeholder 2"/>
          <p:cNvSpPr>
            <a:spLocks noGrp="1"/>
          </p:cNvSpPr>
          <p:nvPr>
            <p:ph sz="quarter" idx="14"/>
          </p:nvPr>
        </p:nvSpPr>
        <p:spPr>
          <a:xfrm>
            <a:off x="197643" y="1420825"/>
            <a:ext cx="8745592" cy="4852747"/>
          </a:xfrm>
        </p:spPr>
        <p:txBody>
          <a:bodyPr tIns="91440" bIns="91440"/>
          <a:lstStyle>
            <a:lvl1pPr>
              <a:defRPr>
                <a:solidFill>
                  <a:srgbClr val="C00000"/>
                </a:solidFill>
                <a:latin typeface="Segoe UI Light" panose="020B0502040204020203" pitchFamily="34" charset="0"/>
                <a:ea typeface="Segoe UI Historic" panose="020B0502040204020203" pitchFamily="34" charset="0"/>
                <a:cs typeface="Segoe UI Light" panose="020B0502040204020203" pitchFamily="34" charset="0"/>
              </a:defRPr>
            </a:lvl1pPr>
            <a:lvl2pPr>
              <a:defRPr>
                <a:latin typeface="Segoe UI Light" panose="020B0502040204020203" pitchFamily="34" charset="0"/>
                <a:ea typeface="Segoe UI Historic" panose="020B0502040204020203" pitchFamily="34" charset="0"/>
                <a:cs typeface="Segoe UI Light" panose="020B0502040204020203" pitchFamily="34" charset="0"/>
              </a:defRPr>
            </a:lvl2pPr>
            <a:lvl3pPr>
              <a:defRPr>
                <a:latin typeface="Segoe UI Light" panose="020B0502040204020203" pitchFamily="34" charset="0"/>
                <a:ea typeface="Segoe UI Historic" panose="020B0502040204020203" pitchFamily="34" charset="0"/>
                <a:cs typeface="Segoe UI Light" panose="020B0502040204020203" pitchFamily="34" charset="0"/>
              </a:defRPr>
            </a:lvl3pPr>
            <a:lvl4pPr>
              <a:defRPr>
                <a:latin typeface="Segoe UI Light" panose="020B0502040204020203" pitchFamily="34" charset="0"/>
                <a:ea typeface="Segoe UI Historic" panose="020B0502040204020203" pitchFamily="34" charset="0"/>
                <a:cs typeface="Segoe UI Light" panose="020B0502040204020203" pitchFamily="34" charset="0"/>
              </a:defRPr>
            </a:lvl4pPr>
            <a:lvl5pPr>
              <a:defRPr>
                <a:latin typeface="Segoe UI Light" panose="020B0502040204020203" pitchFamily="34" charset="0"/>
                <a:ea typeface="Segoe UI Historic" panose="020B0502040204020203" pitchFamily="34" charset="0"/>
                <a:cs typeface="Segoe UI Light" panose="020B0502040204020203"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7" name="Group 6"/>
          <p:cNvGrpSpPr/>
          <p:nvPr/>
        </p:nvGrpSpPr>
        <p:grpSpPr>
          <a:xfrm>
            <a:off x="-883" y="6603024"/>
            <a:ext cx="9144235" cy="265884"/>
            <a:chOff x="-1200" y="6644680"/>
            <a:chExt cx="12436794" cy="360970"/>
          </a:xfrm>
        </p:grpSpPr>
        <p:sp>
          <p:nvSpPr>
            <p:cNvPr id="9" name="TextBox 8"/>
            <p:cNvSpPr txBox="1"/>
            <p:nvPr/>
          </p:nvSpPr>
          <p:spPr>
            <a:xfrm>
              <a:off x="-1200" y="6644680"/>
              <a:ext cx="4147213" cy="360970"/>
            </a:xfrm>
            <a:prstGeom prst="rect">
              <a:avLst/>
            </a:prstGeom>
            <a:solidFill>
              <a:schemeClr val="accent1"/>
            </a:solidFill>
          </p:spPr>
          <p:txBody>
            <a:bodyPr wrap="square" lIns="457135" tIns="137141" rIns="365707" rtlCol="0">
              <a:noAutofit/>
            </a:bodyPr>
            <a:lstStyle/>
            <a:p>
              <a:pPr defTabSz="685608" fontAlgn="auto">
                <a:lnSpc>
                  <a:spcPts val="2250"/>
                </a:lnSpc>
                <a:spcBef>
                  <a:spcPts val="0"/>
                </a:spcBef>
                <a:spcAft>
                  <a:spcPts val="0"/>
                </a:spcAft>
              </a:pPr>
              <a:r>
                <a:rPr lang="en-US" sz="2100">
                  <a:solidFill>
                    <a:srgbClr val="FFFFFF"/>
                  </a:solidFill>
                  <a:latin typeface="Segoe UI Light"/>
                  <a:ea typeface="+mn-ea"/>
                  <a:cs typeface="+mn-cs"/>
                </a:rPr>
                <a:t> </a:t>
              </a:r>
            </a:p>
          </p:txBody>
        </p:sp>
        <p:sp>
          <p:nvSpPr>
            <p:cNvPr id="10" name="TextBox 9"/>
            <p:cNvSpPr txBox="1"/>
            <p:nvPr/>
          </p:nvSpPr>
          <p:spPr>
            <a:xfrm>
              <a:off x="4146013" y="6644680"/>
              <a:ext cx="8289581" cy="360970"/>
            </a:xfrm>
            <a:prstGeom prst="rect">
              <a:avLst/>
            </a:prstGeom>
            <a:solidFill>
              <a:schemeClr val="accent1">
                <a:lumMod val="75000"/>
              </a:schemeClr>
            </a:solidFill>
          </p:spPr>
          <p:txBody>
            <a:bodyPr wrap="square" lIns="457135" tIns="137141" rIns="365707" rtlCol="0">
              <a:noAutofit/>
            </a:bodyPr>
            <a:lstStyle/>
            <a:p>
              <a:pPr defTabSz="685608" fontAlgn="auto">
                <a:lnSpc>
                  <a:spcPts val="2250"/>
                </a:lnSpc>
                <a:spcBef>
                  <a:spcPts val="0"/>
                </a:spcBef>
                <a:spcAft>
                  <a:spcPts val="0"/>
                </a:spcAft>
              </a:pPr>
              <a:r>
                <a:rPr lang="en-US" sz="2100">
                  <a:solidFill>
                    <a:srgbClr val="FFFFFF"/>
                  </a:solidFill>
                  <a:latin typeface="Segoe UI Light"/>
                  <a:ea typeface="+mn-ea"/>
                  <a:cs typeface="+mn-cs"/>
                </a:rPr>
                <a:t> </a:t>
              </a:r>
            </a:p>
          </p:txBody>
        </p:sp>
      </p:grpSp>
    </p:spTree>
    <p:extLst>
      <p:ext uri="{BB962C8B-B14F-4D97-AF65-F5344CB8AC3E}">
        <p14:creationId xmlns:p14="http://schemas.microsoft.com/office/powerpoint/2010/main" val="3441581430"/>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Content Slide">
    <p:spTree>
      <p:nvGrpSpPr>
        <p:cNvPr id="1" name=""/>
        <p:cNvGrpSpPr/>
        <p:nvPr/>
      </p:nvGrpSpPr>
      <p:grpSpPr>
        <a:xfrm>
          <a:off x="0" y="0"/>
          <a:ext cx="0" cy="0"/>
          <a:chOff x="0" y="0"/>
          <a:chExt cx="0" cy="0"/>
        </a:xfrm>
      </p:grpSpPr>
      <p:sp>
        <p:nvSpPr>
          <p:cNvPr id="3" name="Title 2"/>
          <p:cNvSpPr>
            <a:spLocks noGrp="1"/>
          </p:cNvSpPr>
          <p:nvPr>
            <p:ph type="title" hasCustomPrompt="1"/>
          </p:nvPr>
        </p:nvSpPr>
        <p:spPr>
          <a:xfrm>
            <a:off x="197962" y="289511"/>
            <a:ext cx="8741309" cy="1051560"/>
          </a:xfrm>
        </p:spPr>
        <p:txBody>
          <a:bodyPr/>
          <a:lstStyle>
            <a:lvl1pPr>
              <a:defRPr/>
            </a:lvl1pPr>
          </a:lstStyle>
          <a:p>
            <a:r>
              <a:rPr lang="en-US" dirty="0"/>
              <a:t>Lorem ipsum dolor sit.</a:t>
            </a:r>
            <a:endParaRPr lang="en-IN" dirty="0"/>
          </a:p>
        </p:txBody>
      </p:sp>
      <p:grpSp>
        <p:nvGrpSpPr>
          <p:cNvPr id="11" name="Group 10"/>
          <p:cNvGrpSpPr/>
          <p:nvPr/>
        </p:nvGrpSpPr>
        <p:grpSpPr>
          <a:xfrm>
            <a:off x="-883" y="6603024"/>
            <a:ext cx="9144235" cy="265884"/>
            <a:chOff x="-1200" y="6644680"/>
            <a:chExt cx="12436794" cy="360970"/>
          </a:xfrm>
        </p:grpSpPr>
        <p:sp>
          <p:nvSpPr>
            <p:cNvPr id="12" name="TextBox 11"/>
            <p:cNvSpPr txBox="1"/>
            <p:nvPr/>
          </p:nvSpPr>
          <p:spPr>
            <a:xfrm>
              <a:off x="-1200" y="6644680"/>
              <a:ext cx="4147213" cy="360970"/>
            </a:xfrm>
            <a:prstGeom prst="rect">
              <a:avLst/>
            </a:prstGeom>
            <a:solidFill>
              <a:schemeClr val="accent1"/>
            </a:solidFill>
          </p:spPr>
          <p:txBody>
            <a:bodyPr wrap="square" lIns="457135" tIns="137141" rIns="365707" rtlCol="0">
              <a:noAutofit/>
            </a:bodyPr>
            <a:lstStyle/>
            <a:p>
              <a:pPr defTabSz="685608" fontAlgn="auto">
                <a:lnSpc>
                  <a:spcPts val="2250"/>
                </a:lnSpc>
                <a:spcBef>
                  <a:spcPts val="0"/>
                </a:spcBef>
                <a:spcAft>
                  <a:spcPts val="0"/>
                </a:spcAft>
              </a:pPr>
              <a:r>
                <a:rPr lang="en-US" sz="2100">
                  <a:solidFill>
                    <a:srgbClr val="FFFFFF"/>
                  </a:solidFill>
                  <a:latin typeface="Segoe UI Light"/>
                  <a:ea typeface="+mn-ea"/>
                  <a:cs typeface="+mn-cs"/>
                </a:rPr>
                <a:t> </a:t>
              </a:r>
            </a:p>
          </p:txBody>
        </p:sp>
        <p:sp>
          <p:nvSpPr>
            <p:cNvPr id="13" name="TextBox 12"/>
            <p:cNvSpPr txBox="1"/>
            <p:nvPr/>
          </p:nvSpPr>
          <p:spPr>
            <a:xfrm>
              <a:off x="4146013" y="6644680"/>
              <a:ext cx="8289581" cy="360970"/>
            </a:xfrm>
            <a:prstGeom prst="rect">
              <a:avLst/>
            </a:prstGeom>
            <a:solidFill>
              <a:schemeClr val="accent1">
                <a:lumMod val="75000"/>
              </a:schemeClr>
            </a:solidFill>
          </p:spPr>
          <p:txBody>
            <a:bodyPr wrap="square" lIns="457135" tIns="137141" rIns="365707" rtlCol="0">
              <a:noAutofit/>
            </a:bodyPr>
            <a:lstStyle/>
            <a:p>
              <a:pPr defTabSz="685608" fontAlgn="auto">
                <a:lnSpc>
                  <a:spcPts val="2250"/>
                </a:lnSpc>
                <a:spcBef>
                  <a:spcPts val="0"/>
                </a:spcBef>
                <a:spcAft>
                  <a:spcPts val="0"/>
                </a:spcAft>
              </a:pPr>
              <a:r>
                <a:rPr lang="en-US" sz="2100">
                  <a:solidFill>
                    <a:srgbClr val="FFFFFF"/>
                  </a:solidFill>
                  <a:latin typeface="Segoe UI Light"/>
                  <a:ea typeface="+mn-ea"/>
                  <a:cs typeface="+mn-cs"/>
                </a:rPr>
                <a:t> </a:t>
              </a:r>
            </a:p>
          </p:txBody>
        </p:sp>
      </p:grpSp>
    </p:spTree>
    <p:extLst>
      <p:ext uri="{BB962C8B-B14F-4D97-AF65-F5344CB8AC3E}">
        <p14:creationId xmlns:p14="http://schemas.microsoft.com/office/powerpoint/2010/main" val="2032467699"/>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917">
          <p15:clr>
            <a:srgbClr val="FBAE40"/>
          </p15:clr>
        </p15:guide>
        <p15:guide id="3" orient="horz" pos="523">
          <p15:clr>
            <a:srgbClr val="FBAE40"/>
          </p15:clr>
        </p15:guide>
        <p15:guide id="4" pos="293">
          <p15:clr>
            <a:srgbClr val="FBAE4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Content Slide 2">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197962" y="289512"/>
            <a:ext cx="8745277" cy="1054884"/>
          </a:xfrm>
        </p:spPr>
        <p:txBody>
          <a:bodyPr lIns="146304" tIns="91440" rIns="146304" bIns="91440"/>
          <a:lstStyle>
            <a:lvl1pPr>
              <a:lnSpc>
                <a:spcPct val="100000"/>
              </a:lnSpc>
              <a:defRPr sz="3000" baseline="0">
                <a:solidFill>
                  <a:schemeClr val="tx1"/>
                </a:solidFill>
              </a:defRPr>
            </a:lvl1pPr>
          </a:lstStyle>
          <a:p>
            <a:r>
              <a:rPr lang="en-US" dirty="0"/>
              <a:t>Lorem ipsum dolor sit.</a:t>
            </a:r>
          </a:p>
        </p:txBody>
      </p:sp>
      <p:sp>
        <p:nvSpPr>
          <p:cNvPr id="3" name="Content Placeholder 2"/>
          <p:cNvSpPr>
            <a:spLocks noGrp="1"/>
          </p:cNvSpPr>
          <p:nvPr>
            <p:ph sz="quarter" idx="14"/>
          </p:nvPr>
        </p:nvSpPr>
        <p:spPr>
          <a:xfrm>
            <a:off x="197643" y="1420825"/>
            <a:ext cx="8745592" cy="4852747"/>
          </a:xfrm>
        </p:spPr>
        <p:txBody>
          <a:bodyPr tIns="91440" bIns="91440"/>
          <a:lstStyle>
            <a:lvl1pPr>
              <a:defRPr>
                <a:solidFill>
                  <a:srgbClr val="C00000"/>
                </a:solidFill>
                <a:latin typeface="Segoe UI Light" panose="020B0502040204020203" pitchFamily="34" charset="0"/>
                <a:cs typeface="Segoe UI Light" panose="020B0502040204020203" pitchFamily="34" charset="0"/>
              </a:defRPr>
            </a:lvl1pPr>
            <a:lvl2pPr>
              <a:defRPr>
                <a:latin typeface="Segoe UI Light" panose="020B0502040204020203" pitchFamily="34" charset="0"/>
                <a:cs typeface="Segoe UI Light" panose="020B0502040204020203" pitchFamily="34" charset="0"/>
              </a:defRPr>
            </a:lvl2pPr>
            <a:lvl3pPr>
              <a:defRPr>
                <a:latin typeface="Segoe UI Light" panose="020B0502040204020203" pitchFamily="34" charset="0"/>
                <a:cs typeface="Segoe UI Light" panose="020B0502040204020203" pitchFamily="34" charset="0"/>
              </a:defRPr>
            </a:lvl3pPr>
            <a:lvl4pPr>
              <a:defRPr>
                <a:latin typeface="Segoe UI Light" panose="020B0502040204020203" pitchFamily="34" charset="0"/>
                <a:cs typeface="Segoe UI Light" panose="020B0502040204020203" pitchFamily="34" charset="0"/>
              </a:defRPr>
            </a:lvl4pPr>
            <a:lvl5pPr>
              <a:defRPr>
                <a:latin typeface="Segoe UI Light" panose="020B0502040204020203" pitchFamily="34" charset="0"/>
                <a:cs typeface="Segoe UI Light" panose="020B0502040204020203"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17" name="Group 16"/>
          <p:cNvGrpSpPr/>
          <p:nvPr/>
        </p:nvGrpSpPr>
        <p:grpSpPr>
          <a:xfrm>
            <a:off x="-883" y="6603024"/>
            <a:ext cx="9144235" cy="265884"/>
            <a:chOff x="-1200" y="6644680"/>
            <a:chExt cx="12436794" cy="360970"/>
          </a:xfrm>
        </p:grpSpPr>
        <p:sp>
          <p:nvSpPr>
            <p:cNvPr id="18" name="TextBox 17"/>
            <p:cNvSpPr txBox="1"/>
            <p:nvPr/>
          </p:nvSpPr>
          <p:spPr>
            <a:xfrm>
              <a:off x="-1200" y="6644680"/>
              <a:ext cx="4147213" cy="360970"/>
            </a:xfrm>
            <a:prstGeom prst="rect">
              <a:avLst/>
            </a:prstGeom>
            <a:solidFill>
              <a:schemeClr val="accent1"/>
            </a:solidFill>
          </p:spPr>
          <p:txBody>
            <a:bodyPr wrap="square" lIns="457135" tIns="137141" rIns="365707" rtlCol="0">
              <a:noAutofit/>
            </a:bodyPr>
            <a:lstStyle/>
            <a:p>
              <a:pPr defTabSz="685608" fontAlgn="auto">
                <a:lnSpc>
                  <a:spcPts val="2250"/>
                </a:lnSpc>
                <a:spcBef>
                  <a:spcPts val="0"/>
                </a:spcBef>
                <a:spcAft>
                  <a:spcPts val="0"/>
                </a:spcAft>
              </a:pPr>
              <a:r>
                <a:rPr lang="en-US" sz="2100">
                  <a:solidFill>
                    <a:srgbClr val="FFFFFF"/>
                  </a:solidFill>
                  <a:latin typeface="Segoe UI Light"/>
                  <a:ea typeface="+mn-ea"/>
                  <a:cs typeface="+mn-cs"/>
                </a:rPr>
                <a:t> </a:t>
              </a:r>
            </a:p>
          </p:txBody>
        </p:sp>
        <p:sp>
          <p:nvSpPr>
            <p:cNvPr id="19" name="TextBox 18"/>
            <p:cNvSpPr txBox="1"/>
            <p:nvPr/>
          </p:nvSpPr>
          <p:spPr>
            <a:xfrm>
              <a:off x="4146013" y="6644680"/>
              <a:ext cx="8289581" cy="360970"/>
            </a:xfrm>
            <a:prstGeom prst="rect">
              <a:avLst/>
            </a:prstGeom>
            <a:solidFill>
              <a:schemeClr val="accent1">
                <a:lumMod val="75000"/>
              </a:schemeClr>
            </a:solidFill>
          </p:spPr>
          <p:txBody>
            <a:bodyPr wrap="square" lIns="457135" tIns="137141" rIns="365707" rtlCol="0">
              <a:noAutofit/>
            </a:bodyPr>
            <a:lstStyle/>
            <a:p>
              <a:pPr defTabSz="685608" fontAlgn="auto">
                <a:lnSpc>
                  <a:spcPts val="2250"/>
                </a:lnSpc>
                <a:spcBef>
                  <a:spcPts val="0"/>
                </a:spcBef>
                <a:spcAft>
                  <a:spcPts val="0"/>
                </a:spcAft>
              </a:pPr>
              <a:r>
                <a:rPr lang="en-US" sz="2100">
                  <a:solidFill>
                    <a:srgbClr val="FFFFFF"/>
                  </a:solidFill>
                  <a:latin typeface="Segoe UI Light"/>
                  <a:ea typeface="+mn-ea"/>
                  <a:cs typeface="+mn-cs"/>
                </a:rPr>
                <a:t> </a:t>
              </a:r>
            </a:p>
          </p:txBody>
        </p:sp>
      </p:grpSp>
    </p:spTree>
    <p:extLst>
      <p:ext uri="{BB962C8B-B14F-4D97-AF65-F5344CB8AC3E}">
        <p14:creationId xmlns:p14="http://schemas.microsoft.com/office/powerpoint/2010/main" val="3802868403"/>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Image Slide">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197962" y="289512"/>
            <a:ext cx="8745277" cy="1054884"/>
          </a:xfrm>
        </p:spPr>
        <p:txBody>
          <a:bodyPr lIns="146304" tIns="91440" rIns="146304" bIns="91440"/>
          <a:lstStyle>
            <a:lvl1pPr>
              <a:lnSpc>
                <a:spcPct val="100000"/>
              </a:lnSpc>
              <a:defRPr sz="3000" baseline="0">
                <a:solidFill>
                  <a:schemeClr val="tx1"/>
                </a:solidFill>
              </a:defRPr>
            </a:lvl1pPr>
          </a:lstStyle>
          <a:p>
            <a:r>
              <a:rPr lang="en-US"/>
              <a:t>Lorem ipsum dolor sit.</a:t>
            </a:r>
          </a:p>
        </p:txBody>
      </p:sp>
      <p:sp>
        <p:nvSpPr>
          <p:cNvPr id="7" name="Picture Placeholder 6"/>
          <p:cNvSpPr>
            <a:spLocks noGrp="1"/>
          </p:cNvSpPr>
          <p:nvPr>
            <p:ph type="pic" sz="quarter" idx="12" hasCustomPrompt="1"/>
          </p:nvPr>
        </p:nvSpPr>
        <p:spPr>
          <a:xfrm>
            <a:off x="198428" y="1420825"/>
            <a:ext cx="5363375" cy="4852747"/>
          </a:xfrm>
          <a:ln w="152400">
            <a:noFill/>
          </a:ln>
        </p:spPr>
        <p:txBody>
          <a:bodyPr tIns="91440" bIns="91440"/>
          <a:lstStyle>
            <a:lvl1pPr marL="0" indent="0">
              <a:buNone/>
              <a:defRPr>
                <a:solidFill>
                  <a:schemeClr val="tx1"/>
                </a:solidFill>
              </a:defRPr>
            </a:lvl1pPr>
          </a:lstStyle>
          <a:p>
            <a:r>
              <a:rPr lang="en-US"/>
              <a:t>Screen shot or image here</a:t>
            </a:r>
          </a:p>
        </p:txBody>
      </p:sp>
      <p:sp>
        <p:nvSpPr>
          <p:cNvPr id="16" name="Text Placeholder 2"/>
          <p:cNvSpPr>
            <a:spLocks noGrp="1"/>
          </p:cNvSpPr>
          <p:nvPr>
            <p:ph type="body" sz="quarter" idx="13"/>
          </p:nvPr>
        </p:nvSpPr>
        <p:spPr>
          <a:xfrm>
            <a:off x="5561803" y="1420825"/>
            <a:ext cx="3381436" cy="4852747"/>
          </a:xfrm>
        </p:spPr>
        <p:txBody>
          <a:bodyPr tIns="91440" bIns="91440"/>
          <a:lstStyle>
            <a:lvl1pPr marL="0" indent="0">
              <a:lnSpc>
                <a:spcPct val="100000"/>
              </a:lnSpc>
              <a:spcBef>
                <a:spcPts val="1471"/>
              </a:spcBef>
              <a:buFontTx/>
              <a:buNone/>
              <a:defRPr sz="2353">
                <a:solidFill>
                  <a:srgbClr val="C00000"/>
                </a:solidFill>
              </a:defRPr>
            </a:lvl1pPr>
            <a:lvl2pPr marL="252109" indent="0">
              <a:lnSpc>
                <a:spcPct val="100000"/>
              </a:lnSpc>
              <a:spcBef>
                <a:spcPts val="1471"/>
              </a:spcBef>
              <a:buFontTx/>
              <a:buNone/>
              <a:defRPr/>
            </a:lvl2pPr>
            <a:lvl3pPr marL="420181" indent="0">
              <a:lnSpc>
                <a:spcPct val="100000"/>
              </a:lnSpc>
              <a:spcBef>
                <a:spcPts val="1471"/>
              </a:spcBef>
              <a:buFontTx/>
              <a:buNone/>
              <a:defRPr/>
            </a:lvl3pPr>
            <a:lvl4pPr marL="588254" indent="0">
              <a:lnSpc>
                <a:spcPct val="100000"/>
              </a:lnSpc>
              <a:spcBef>
                <a:spcPts val="1471"/>
              </a:spcBef>
              <a:buFontTx/>
              <a:buNone/>
              <a:defRPr/>
            </a:lvl4pPr>
            <a:lvl5pPr marL="756326" indent="0">
              <a:lnSpc>
                <a:spcPct val="100000"/>
              </a:lnSpc>
              <a:spcBef>
                <a:spcPts val="1471"/>
              </a:spcBef>
              <a:buFontTx/>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22" name="Group 21"/>
          <p:cNvGrpSpPr/>
          <p:nvPr/>
        </p:nvGrpSpPr>
        <p:grpSpPr>
          <a:xfrm>
            <a:off x="-883" y="6603024"/>
            <a:ext cx="9144235" cy="265884"/>
            <a:chOff x="-1200" y="6644680"/>
            <a:chExt cx="12436794" cy="360970"/>
          </a:xfrm>
        </p:grpSpPr>
        <p:sp>
          <p:nvSpPr>
            <p:cNvPr id="23" name="TextBox 22"/>
            <p:cNvSpPr txBox="1"/>
            <p:nvPr/>
          </p:nvSpPr>
          <p:spPr>
            <a:xfrm>
              <a:off x="-1200" y="6644680"/>
              <a:ext cx="4147213" cy="360970"/>
            </a:xfrm>
            <a:prstGeom prst="rect">
              <a:avLst/>
            </a:prstGeom>
            <a:solidFill>
              <a:schemeClr val="accent1"/>
            </a:solidFill>
          </p:spPr>
          <p:txBody>
            <a:bodyPr wrap="square" lIns="457135" tIns="137141" rIns="365707" rtlCol="0">
              <a:noAutofit/>
            </a:bodyPr>
            <a:lstStyle/>
            <a:p>
              <a:pPr defTabSz="685608" fontAlgn="auto">
                <a:lnSpc>
                  <a:spcPts val="2250"/>
                </a:lnSpc>
                <a:spcBef>
                  <a:spcPts val="0"/>
                </a:spcBef>
                <a:spcAft>
                  <a:spcPts val="0"/>
                </a:spcAft>
              </a:pPr>
              <a:r>
                <a:rPr lang="en-US" sz="2100">
                  <a:solidFill>
                    <a:srgbClr val="FFFFFF"/>
                  </a:solidFill>
                  <a:latin typeface="Segoe UI Light"/>
                  <a:ea typeface="+mn-ea"/>
                  <a:cs typeface="+mn-cs"/>
                </a:rPr>
                <a:t> </a:t>
              </a:r>
            </a:p>
          </p:txBody>
        </p:sp>
        <p:sp>
          <p:nvSpPr>
            <p:cNvPr id="24" name="TextBox 23"/>
            <p:cNvSpPr txBox="1"/>
            <p:nvPr/>
          </p:nvSpPr>
          <p:spPr>
            <a:xfrm>
              <a:off x="4146013" y="6644680"/>
              <a:ext cx="8289581" cy="360970"/>
            </a:xfrm>
            <a:prstGeom prst="rect">
              <a:avLst/>
            </a:prstGeom>
            <a:solidFill>
              <a:schemeClr val="accent1">
                <a:lumMod val="75000"/>
              </a:schemeClr>
            </a:solidFill>
          </p:spPr>
          <p:txBody>
            <a:bodyPr wrap="square" lIns="457135" tIns="137141" rIns="365707" rtlCol="0">
              <a:noAutofit/>
            </a:bodyPr>
            <a:lstStyle/>
            <a:p>
              <a:pPr defTabSz="685608" fontAlgn="auto">
                <a:lnSpc>
                  <a:spcPts val="2250"/>
                </a:lnSpc>
                <a:spcBef>
                  <a:spcPts val="0"/>
                </a:spcBef>
                <a:spcAft>
                  <a:spcPts val="0"/>
                </a:spcAft>
              </a:pPr>
              <a:r>
                <a:rPr lang="en-US" sz="2100">
                  <a:solidFill>
                    <a:srgbClr val="FFFFFF"/>
                  </a:solidFill>
                  <a:latin typeface="Segoe UI Light"/>
                  <a:ea typeface="+mn-ea"/>
                  <a:cs typeface="+mn-cs"/>
                </a:rPr>
                <a:t> </a:t>
              </a:r>
            </a:p>
          </p:txBody>
        </p:sp>
      </p:grpSp>
    </p:spTree>
    <p:extLst>
      <p:ext uri="{BB962C8B-B14F-4D97-AF65-F5344CB8AC3E}">
        <p14:creationId xmlns:p14="http://schemas.microsoft.com/office/powerpoint/2010/main" val="620146393"/>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Content Slide 3">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197962" y="289512"/>
            <a:ext cx="8745277" cy="1054884"/>
          </a:xfrm>
        </p:spPr>
        <p:txBody>
          <a:bodyPr lIns="146304" tIns="91440" rIns="146304" bIns="91440"/>
          <a:lstStyle>
            <a:lvl1pPr>
              <a:lnSpc>
                <a:spcPct val="100000"/>
              </a:lnSpc>
              <a:defRPr sz="3000" baseline="0">
                <a:solidFill>
                  <a:schemeClr val="tx1"/>
                </a:solidFill>
              </a:defRPr>
            </a:lvl1pPr>
          </a:lstStyle>
          <a:p>
            <a:r>
              <a:rPr lang="en-US"/>
              <a:t>Lorem ipsum dolor sit.</a:t>
            </a:r>
          </a:p>
        </p:txBody>
      </p:sp>
      <p:sp>
        <p:nvSpPr>
          <p:cNvPr id="3" name="Content Placeholder 2"/>
          <p:cNvSpPr>
            <a:spLocks noGrp="1"/>
          </p:cNvSpPr>
          <p:nvPr>
            <p:ph sz="quarter" idx="14"/>
          </p:nvPr>
        </p:nvSpPr>
        <p:spPr>
          <a:xfrm>
            <a:off x="197644" y="1420825"/>
            <a:ext cx="4098132" cy="5094187"/>
          </a:xfrm>
        </p:spPr>
        <p:txBody>
          <a:bodyPr/>
          <a:lstStyle>
            <a:lvl1pPr>
              <a:defRPr>
                <a:solidFill>
                  <a:srgbClr val="C00000"/>
                </a:soli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98896115"/>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Content Slide 4">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197962" y="289512"/>
            <a:ext cx="8745277" cy="1054884"/>
          </a:xfrm>
        </p:spPr>
        <p:txBody>
          <a:bodyPr lIns="146304" tIns="91440" rIns="146304" bIns="91440"/>
          <a:lstStyle>
            <a:lvl1pPr>
              <a:lnSpc>
                <a:spcPct val="100000"/>
              </a:lnSpc>
              <a:defRPr sz="3000" baseline="0">
                <a:solidFill>
                  <a:schemeClr val="tx1"/>
                </a:solidFill>
              </a:defRPr>
            </a:lvl1pPr>
          </a:lstStyle>
          <a:p>
            <a:r>
              <a:rPr lang="en-US"/>
              <a:t>Lorem ipsum dolor sit.</a:t>
            </a:r>
          </a:p>
        </p:txBody>
      </p:sp>
      <p:sp>
        <p:nvSpPr>
          <p:cNvPr id="3" name="Content Placeholder 2"/>
          <p:cNvSpPr>
            <a:spLocks noGrp="1"/>
          </p:cNvSpPr>
          <p:nvPr>
            <p:ph sz="quarter" idx="14"/>
          </p:nvPr>
        </p:nvSpPr>
        <p:spPr>
          <a:xfrm>
            <a:off x="197643" y="1420825"/>
            <a:ext cx="8745595" cy="5094187"/>
          </a:xfrm>
        </p:spPr>
        <p:txBody>
          <a:bodyPr/>
          <a:lstStyle>
            <a:lvl1pPr>
              <a:defRPr>
                <a:solidFill>
                  <a:srgbClr val="C00000"/>
                </a:soli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50032423"/>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Bullet Slide">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197962" y="289512"/>
            <a:ext cx="8745277" cy="1054884"/>
          </a:xfrm>
        </p:spPr>
        <p:txBody>
          <a:bodyPr lIns="146304" tIns="91440" rIns="146304" bIns="91440"/>
          <a:lstStyle>
            <a:lvl1pPr>
              <a:lnSpc>
                <a:spcPct val="100000"/>
              </a:lnSpc>
              <a:defRPr sz="3000" baseline="0">
                <a:solidFill>
                  <a:schemeClr val="tx1"/>
                </a:solidFill>
              </a:defRPr>
            </a:lvl1pPr>
          </a:lstStyle>
          <a:p>
            <a:r>
              <a:rPr lang="en-US"/>
              <a:t>Lorem ipsum dolor sit.</a:t>
            </a:r>
          </a:p>
        </p:txBody>
      </p:sp>
      <p:sp>
        <p:nvSpPr>
          <p:cNvPr id="3" name="Content Placeholder 2"/>
          <p:cNvSpPr>
            <a:spLocks noGrp="1"/>
          </p:cNvSpPr>
          <p:nvPr>
            <p:ph sz="quarter" idx="14"/>
          </p:nvPr>
        </p:nvSpPr>
        <p:spPr>
          <a:xfrm>
            <a:off x="197962" y="1934309"/>
            <a:ext cx="4312492" cy="4580703"/>
          </a:xfrm>
        </p:spPr>
        <p:txBody>
          <a:bodyPr/>
          <a:lstStyle>
            <a:lvl1pPr>
              <a:defRPr sz="2400">
                <a:solidFill>
                  <a:schemeClr val="tx1"/>
                </a:solidFill>
              </a:defRPr>
            </a:lvl1pPr>
            <a:lvl2pPr>
              <a:defRPr sz="1500">
                <a:solidFill>
                  <a:schemeClr val="tx1"/>
                </a:solidFill>
              </a:defRPr>
            </a:lvl2pPr>
            <a:lvl3pPr>
              <a:defRPr sz="1350">
                <a:solidFill>
                  <a:schemeClr val="tx1"/>
                </a:solidFill>
              </a:defRPr>
            </a:lvl3pPr>
            <a:lvl4pPr>
              <a:defRPr sz="1200">
                <a:solidFill>
                  <a:schemeClr val="tx1"/>
                </a:solidFill>
              </a:defRPr>
            </a:lvl4pPr>
            <a:lvl5pPr>
              <a:defRPr sz="120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2"/>
          <p:cNvSpPr>
            <a:spLocks noGrp="1"/>
          </p:cNvSpPr>
          <p:nvPr>
            <p:ph sz="quarter" idx="15"/>
          </p:nvPr>
        </p:nvSpPr>
        <p:spPr>
          <a:xfrm>
            <a:off x="4615961" y="1934309"/>
            <a:ext cx="4327277" cy="4580703"/>
          </a:xfrm>
        </p:spPr>
        <p:txBody>
          <a:bodyPr/>
          <a:lstStyle>
            <a:lvl1pPr>
              <a:defRPr sz="2400">
                <a:solidFill>
                  <a:schemeClr val="tx1"/>
                </a:solidFill>
              </a:defRPr>
            </a:lvl1pPr>
            <a:lvl2pPr>
              <a:defRPr sz="1500">
                <a:solidFill>
                  <a:schemeClr val="tx1"/>
                </a:solidFill>
              </a:defRPr>
            </a:lvl2pPr>
            <a:lvl3pPr>
              <a:defRPr sz="1350">
                <a:solidFill>
                  <a:schemeClr val="tx1"/>
                </a:solidFill>
              </a:defRPr>
            </a:lvl3pPr>
            <a:lvl4pPr>
              <a:defRPr sz="1200">
                <a:solidFill>
                  <a:schemeClr val="tx1"/>
                </a:solidFill>
              </a:defRPr>
            </a:lvl4pPr>
            <a:lvl5pPr>
              <a:defRPr sz="120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8"/>
          <p:cNvSpPr>
            <a:spLocks noGrp="1"/>
          </p:cNvSpPr>
          <p:nvPr>
            <p:ph type="body" sz="quarter" idx="13" hasCustomPrompt="1"/>
          </p:nvPr>
        </p:nvSpPr>
        <p:spPr>
          <a:xfrm>
            <a:off x="197962" y="1495610"/>
            <a:ext cx="4312492" cy="438151"/>
          </a:xfrm>
        </p:spPr>
        <p:txBody>
          <a:bodyPr anchor="ctr"/>
          <a:lstStyle>
            <a:lvl1pPr marL="0" indent="0" algn="l">
              <a:defRPr lang="en-US" sz="1500" b="0" kern="1200" baseline="0" smtClean="0">
                <a:solidFill>
                  <a:schemeClr val="accent1"/>
                </a:solidFill>
                <a:latin typeface="+mj-lt"/>
                <a:ea typeface="+mn-ea"/>
                <a:cs typeface="Arial" panose="020B0604020202020204" pitchFamily="34" charset="0"/>
              </a:defRPr>
            </a:lvl1pPr>
            <a:lvl2pPr marL="0" indent="0">
              <a:defRPr lang="en-US" sz="1500" b="1" kern="1200" baseline="0" smtClean="0">
                <a:solidFill>
                  <a:schemeClr val="tx2"/>
                </a:solidFill>
                <a:latin typeface="Arial" panose="020B0604020202020204" pitchFamily="34" charset="0"/>
                <a:ea typeface="+mn-ea"/>
                <a:cs typeface="Arial" panose="020B0604020202020204" pitchFamily="34" charset="0"/>
              </a:defRPr>
            </a:lvl2pPr>
            <a:lvl3pPr marL="0" indent="0">
              <a:defRPr lang="en-US" sz="1500" b="1" kern="1200" baseline="0" smtClean="0">
                <a:solidFill>
                  <a:schemeClr val="tx2"/>
                </a:solidFill>
                <a:latin typeface="Arial" panose="020B0604020202020204" pitchFamily="34" charset="0"/>
                <a:ea typeface="+mn-ea"/>
                <a:cs typeface="Arial" panose="020B0604020202020204" pitchFamily="34" charset="0"/>
              </a:defRPr>
            </a:lvl3pPr>
            <a:lvl4pPr marL="0" indent="0">
              <a:defRPr lang="en-US" sz="1500" b="1" kern="1200" baseline="0" smtClean="0">
                <a:solidFill>
                  <a:schemeClr val="tx2"/>
                </a:solidFill>
                <a:latin typeface="Arial" panose="020B0604020202020204" pitchFamily="34" charset="0"/>
                <a:ea typeface="+mn-ea"/>
                <a:cs typeface="Arial" panose="020B0604020202020204" pitchFamily="34" charset="0"/>
              </a:defRPr>
            </a:lvl4pPr>
            <a:lvl5pPr marL="0" indent="0">
              <a:defRPr lang="en-US" sz="1500" b="1" kern="1200" baseline="0">
                <a:solidFill>
                  <a:schemeClr val="tx2"/>
                </a:solidFill>
                <a:latin typeface="Arial" panose="020B0604020202020204" pitchFamily="34" charset="0"/>
                <a:ea typeface="+mn-ea"/>
                <a:cs typeface="Arial" panose="020B0604020202020204" pitchFamily="34" charset="0"/>
              </a:defRPr>
            </a:lvl5pPr>
          </a:lstStyle>
          <a:p>
            <a:pPr lvl="0"/>
            <a:r>
              <a:rPr lang="en-US"/>
              <a:t>Column 1 Subhead (15pt)</a:t>
            </a:r>
          </a:p>
        </p:txBody>
      </p:sp>
      <p:sp>
        <p:nvSpPr>
          <p:cNvPr id="7" name="Text Placeholder 8"/>
          <p:cNvSpPr>
            <a:spLocks noGrp="1"/>
          </p:cNvSpPr>
          <p:nvPr>
            <p:ph type="body" sz="quarter" idx="16" hasCustomPrompt="1"/>
          </p:nvPr>
        </p:nvSpPr>
        <p:spPr>
          <a:xfrm>
            <a:off x="4615961" y="1496158"/>
            <a:ext cx="4315153" cy="438151"/>
          </a:xfrm>
        </p:spPr>
        <p:txBody>
          <a:bodyPr anchor="ctr"/>
          <a:lstStyle>
            <a:lvl1pPr marL="0" indent="0" algn="l">
              <a:defRPr lang="en-US" sz="1500" b="0" kern="1200" baseline="0" smtClean="0">
                <a:solidFill>
                  <a:schemeClr val="accent1"/>
                </a:solidFill>
                <a:latin typeface="+mj-lt"/>
                <a:ea typeface="+mn-ea"/>
                <a:cs typeface="Arial" panose="020B0604020202020204" pitchFamily="34" charset="0"/>
              </a:defRPr>
            </a:lvl1pPr>
            <a:lvl2pPr marL="0" indent="0">
              <a:defRPr lang="en-US" sz="1500" b="1" kern="1200" baseline="0" smtClean="0">
                <a:solidFill>
                  <a:schemeClr val="tx2"/>
                </a:solidFill>
                <a:latin typeface="Arial" panose="020B0604020202020204" pitchFamily="34" charset="0"/>
                <a:ea typeface="+mn-ea"/>
                <a:cs typeface="Arial" panose="020B0604020202020204" pitchFamily="34" charset="0"/>
              </a:defRPr>
            </a:lvl2pPr>
            <a:lvl3pPr marL="0" indent="0">
              <a:defRPr lang="en-US" sz="1500" b="1" kern="1200" baseline="0" smtClean="0">
                <a:solidFill>
                  <a:schemeClr val="tx2"/>
                </a:solidFill>
                <a:latin typeface="Arial" panose="020B0604020202020204" pitchFamily="34" charset="0"/>
                <a:ea typeface="+mn-ea"/>
                <a:cs typeface="Arial" panose="020B0604020202020204" pitchFamily="34" charset="0"/>
              </a:defRPr>
            </a:lvl3pPr>
            <a:lvl4pPr marL="0" indent="0">
              <a:defRPr lang="en-US" sz="1500" b="1" kern="1200" baseline="0" smtClean="0">
                <a:solidFill>
                  <a:schemeClr val="tx2"/>
                </a:solidFill>
                <a:latin typeface="Arial" panose="020B0604020202020204" pitchFamily="34" charset="0"/>
                <a:ea typeface="+mn-ea"/>
                <a:cs typeface="Arial" panose="020B0604020202020204" pitchFamily="34" charset="0"/>
              </a:defRPr>
            </a:lvl4pPr>
            <a:lvl5pPr marL="0" indent="0">
              <a:defRPr lang="en-US" sz="1500" b="1" kern="1200" baseline="0">
                <a:solidFill>
                  <a:schemeClr val="tx2"/>
                </a:solidFill>
                <a:latin typeface="Arial" panose="020B0604020202020204" pitchFamily="34" charset="0"/>
                <a:ea typeface="+mn-ea"/>
                <a:cs typeface="Arial" panose="020B0604020202020204" pitchFamily="34" charset="0"/>
              </a:defRPr>
            </a:lvl5pPr>
          </a:lstStyle>
          <a:p>
            <a:pPr lvl="0"/>
            <a:r>
              <a:rPr lang="en-US"/>
              <a:t>Column 2 Subhead (15pt)</a:t>
            </a:r>
          </a:p>
        </p:txBody>
      </p:sp>
    </p:spTree>
    <p:extLst>
      <p:ext uri="{BB962C8B-B14F-4D97-AF65-F5344CB8AC3E}">
        <p14:creationId xmlns:p14="http://schemas.microsoft.com/office/powerpoint/2010/main" val="4029765187"/>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cSld name="Pattern Layout">
    <p:spTree>
      <p:nvGrpSpPr>
        <p:cNvPr id="1" name=""/>
        <p:cNvGrpSpPr/>
        <p:nvPr/>
      </p:nvGrpSpPr>
      <p:grpSpPr>
        <a:xfrm>
          <a:off x="0" y="0"/>
          <a:ext cx="0" cy="0"/>
          <a:chOff x="0" y="0"/>
          <a:chExt cx="0" cy="0"/>
        </a:xfrm>
      </p:grpSpPr>
      <p:grpSp>
        <p:nvGrpSpPr>
          <p:cNvPr id="4" name="Group 2439"/>
          <p:cNvGrpSpPr/>
          <p:nvPr/>
        </p:nvGrpSpPr>
        <p:grpSpPr>
          <a:xfrm>
            <a:off x="55242" y="62261"/>
            <a:ext cx="9079421" cy="3362070"/>
            <a:chOff x="75133" y="63500"/>
            <a:chExt cx="12348642" cy="3429000"/>
          </a:xfrm>
        </p:grpSpPr>
        <p:grpSp>
          <p:nvGrpSpPr>
            <p:cNvPr id="5" name="Group 1364"/>
            <p:cNvGrpSpPr>
              <a:grpSpLocks noChangeAspect="1"/>
            </p:cNvGrpSpPr>
            <p:nvPr/>
          </p:nvGrpSpPr>
          <p:grpSpPr>
            <a:xfrm>
              <a:off x="75133" y="63500"/>
              <a:ext cx="6198230" cy="3429000"/>
              <a:chOff x="88900" y="16253"/>
              <a:chExt cx="12361342" cy="6838572"/>
            </a:xfrm>
          </p:grpSpPr>
          <p:sp>
            <p:nvSpPr>
              <p:cNvPr id="643"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644"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645"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646"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647"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648"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649"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650"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651"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652"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653"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654"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655"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656"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657"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658"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659"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660"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661"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662"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663"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664"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665"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666"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667"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668"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669"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670"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671"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672"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673"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674"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675"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676"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677"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678"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679"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680"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681"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682" name="Group 740"/>
              <p:cNvGrpSpPr/>
              <p:nvPr/>
            </p:nvGrpSpPr>
            <p:grpSpPr>
              <a:xfrm>
                <a:off x="2143112" y="6384174"/>
                <a:ext cx="348520" cy="470651"/>
                <a:chOff x="7011958" y="-48945"/>
                <a:chExt cx="557213" cy="752475"/>
              </a:xfrm>
              <a:solidFill>
                <a:schemeClr val="tx1">
                  <a:alpha val="12000"/>
                </a:schemeClr>
              </a:solidFill>
            </p:grpSpPr>
            <p:sp>
              <p:nvSpPr>
                <p:cNvPr id="127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7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683" name="Group 746"/>
              <p:cNvGrpSpPr/>
              <p:nvPr/>
            </p:nvGrpSpPr>
            <p:grpSpPr>
              <a:xfrm>
                <a:off x="4559759" y="6384174"/>
                <a:ext cx="348520" cy="470651"/>
                <a:chOff x="7011958" y="-48945"/>
                <a:chExt cx="557213" cy="752475"/>
              </a:xfrm>
              <a:solidFill>
                <a:schemeClr val="tx1">
                  <a:alpha val="7000"/>
                </a:schemeClr>
              </a:solidFill>
            </p:grpSpPr>
            <p:sp>
              <p:nvSpPr>
                <p:cNvPr id="127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7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684"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685"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686"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687"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688"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689"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690"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691"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692" name="Group 740"/>
              <p:cNvGrpSpPr/>
              <p:nvPr/>
            </p:nvGrpSpPr>
            <p:grpSpPr>
              <a:xfrm>
                <a:off x="5930616" y="6384174"/>
                <a:ext cx="348520" cy="470651"/>
                <a:chOff x="7011958" y="-48945"/>
                <a:chExt cx="557213" cy="752475"/>
              </a:xfrm>
              <a:solidFill>
                <a:schemeClr val="tx1">
                  <a:alpha val="12000"/>
                </a:schemeClr>
              </a:solidFill>
            </p:grpSpPr>
            <p:sp>
              <p:nvSpPr>
                <p:cNvPr id="127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7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693"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694"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695"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696"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697" name="Group 746"/>
              <p:cNvGrpSpPr/>
              <p:nvPr/>
            </p:nvGrpSpPr>
            <p:grpSpPr>
              <a:xfrm>
                <a:off x="10744892" y="6384174"/>
                <a:ext cx="348520" cy="470651"/>
                <a:chOff x="7011958" y="-48945"/>
                <a:chExt cx="557213" cy="752475"/>
              </a:xfrm>
              <a:solidFill>
                <a:schemeClr val="tx1">
                  <a:alpha val="7000"/>
                </a:schemeClr>
              </a:solidFill>
            </p:grpSpPr>
            <p:sp>
              <p:nvSpPr>
                <p:cNvPr id="12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698"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699"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700" name="Group 781"/>
              <p:cNvGrpSpPr/>
              <p:nvPr/>
            </p:nvGrpSpPr>
            <p:grpSpPr>
              <a:xfrm>
                <a:off x="520986" y="5766031"/>
                <a:ext cx="612096" cy="486108"/>
                <a:chOff x="9258271" y="-45770"/>
                <a:chExt cx="925513" cy="735013"/>
              </a:xfrm>
              <a:solidFill>
                <a:schemeClr val="bg2">
                  <a:alpha val="38000"/>
                </a:schemeClr>
              </a:solidFill>
            </p:grpSpPr>
            <p:sp>
              <p:nvSpPr>
                <p:cNvPr id="126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6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6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6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6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6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6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6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6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7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701"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sz="1765"/>
              </a:p>
            </p:txBody>
          </p:sp>
          <p:grpSp>
            <p:nvGrpSpPr>
              <p:cNvPr id="702"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125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5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5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5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5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5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5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5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5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6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703"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704"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705"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706"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707"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708"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709"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710"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711"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712" name="Group 740"/>
              <p:cNvGrpSpPr/>
              <p:nvPr/>
            </p:nvGrpSpPr>
            <p:grpSpPr>
              <a:xfrm>
                <a:off x="11309752" y="5781488"/>
                <a:ext cx="348520" cy="470651"/>
                <a:chOff x="7011958" y="-48945"/>
                <a:chExt cx="557213" cy="752475"/>
              </a:xfrm>
              <a:solidFill>
                <a:schemeClr val="tx1">
                  <a:alpha val="12000"/>
                </a:schemeClr>
              </a:solidFill>
            </p:grpSpPr>
            <p:sp>
              <p:nvSpPr>
                <p:cNvPr id="124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5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713"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714"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715"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716"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717"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718"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719"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720"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721"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722"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723" name="Group 746"/>
              <p:cNvGrpSpPr/>
              <p:nvPr/>
            </p:nvGrpSpPr>
            <p:grpSpPr>
              <a:xfrm>
                <a:off x="2852473" y="5781488"/>
                <a:ext cx="348520" cy="470651"/>
                <a:chOff x="7011958" y="-48945"/>
                <a:chExt cx="557213" cy="752475"/>
              </a:xfrm>
              <a:solidFill>
                <a:schemeClr val="tx1">
                  <a:alpha val="7000"/>
                </a:schemeClr>
              </a:solidFill>
            </p:grpSpPr>
            <p:sp>
              <p:nvSpPr>
                <p:cNvPr id="12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724"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725"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726"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727"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123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3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3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4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4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4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4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4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4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4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728"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729"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730"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731"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732" name="Group 740"/>
              <p:cNvGrpSpPr/>
              <p:nvPr/>
            </p:nvGrpSpPr>
            <p:grpSpPr>
              <a:xfrm>
                <a:off x="4495231" y="5781488"/>
                <a:ext cx="348520" cy="470651"/>
                <a:chOff x="7011958" y="-48945"/>
                <a:chExt cx="557213" cy="752475"/>
              </a:xfrm>
              <a:solidFill>
                <a:schemeClr val="tx1">
                  <a:alpha val="12000"/>
                </a:schemeClr>
              </a:solidFill>
            </p:grpSpPr>
            <p:sp>
              <p:nvSpPr>
                <p:cNvPr id="123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3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733"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734"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735"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736"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737"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738"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739"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740"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741"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742"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743"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744"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745"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746"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747" name="Group 740"/>
              <p:cNvGrpSpPr/>
              <p:nvPr/>
            </p:nvGrpSpPr>
            <p:grpSpPr>
              <a:xfrm>
                <a:off x="7781911" y="5093639"/>
                <a:ext cx="348520" cy="470651"/>
                <a:chOff x="7011958" y="-48945"/>
                <a:chExt cx="557213" cy="752475"/>
              </a:xfrm>
              <a:solidFill>
                <a:schemeClr val="tx1">
                  <a:alpha val="12000"/>
                </a:schemeClr>
              </a:solidFill>
            </p:grpSpPr>
            <p:sp>
              <p:nvSpPr>
                <p:cNvPr id="123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3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748" name="Group 746"/>
              <p:cNvGrpSpPr/>
              <p:nvPr/>
            </p:nvGrpSpPr>
            <p:grpSpPr>
              <a:xfrm>
                <a:off x="10201492" y="5093639"/>
                <a:ext cx="348520" cy="470651"/>
                <a:chOff x="7011958" y="-48945"/>
                <a:chExt cx="557213" cy="752475"/>
              </a:xfrm>
              <a:solidFill>
                <a:schemeClr val="tx1">
                  <a:alpha val="7000"/>
                </a:schemeClr>
              </a:solidFill>
            </p:grpSpPr>
            <p:sp>
              <p:nvSpPr>
                <p:cNvPr id="123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3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749"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750"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751"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752"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753" name="Group 740"/>
              <p:cNvGrpSpPr/>
              <p:nvPr/>
            </p:nvGrpSpPr>
            <p:grpSpPr>
              <a:xfrm>
                <a:off x="11574305" y="5093639"/>
                <a:ext cx="348520" cy="470651"/>
                <a:chOff x="7011958" y="-48945"/>
                <a:chExt cx="557213" cy="752475"/>
              </a:xfrm>
              <a:solidFill>
                <a:schemeClr val="tx1">
                  <a:alpha val="12000"/>
                </a:schemeClr>
              </a:solidFill>
            </p:grpSpPr>
            <p:sp>
              <p:nvSpPr>
                <p:cNvPr id="122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3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754" name="Group 781"/>
              <p:cNvGrpSpPr/>
              <p:nvPr/>
            </p:nvGrpSpPr>
            <p:grpSpPr>
              <a:xfrm>
                <a:off x="6103830" y="4470631"/>
                <a:ext cx="612096" cy="486108"/>
                <a:chOff x="9258271" y="-45770"/>
                <a:chExt cx="925513" cy="735013"/>
              </a:xfrm>
              <a:solidFill>
                <a:schemeClr val="bg2">
                  <a:alpha val="38000"/>
                </a:schemeClr>
              </a:solidFill>
            </p:grpSpPr>
            <p:sp>
              <p:nvSpPr>
                <p:cNvPr id="121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2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2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2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2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2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2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2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2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2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755"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120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1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1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1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1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1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1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1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1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1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756"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757"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758"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759" name="Group 746"/>
              <p:cNvGrpSpPr/>
              <p:nvPr/>
            </p:nvGrpSpPr>
            <p:grpSpPr>
              <a:xfrm>
                <a:off x="8463837" y="4486088"/>
                <a:ext cx="348520" cy="470651"/>
                <a:chOff x="7011958" y="-48945"/>
                <a:chExt cx="557213" cy="752475"/>
              </a:xfrm>
              <a:solidFill>
                <a:schemeClr val="tx1">
                  <a:alpha val="7000"/>
                </a:schemeClr>
              </a:solidFill>
            </p:grpSpPr>
            <p:sp>
              <p:nvSpPr>
                <p:cNvPr id="12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760"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761"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762"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763"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119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9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9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0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0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0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0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0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0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0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764"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765"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766"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767"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768" name="Group 740"/>
              <p:cNvGrpSpPr/>
              <p:nvPr/>
            </p:nvGrpSpPr>
            <p:grpSpPr>
              <a:xfrm>
                <a:off x="10109715" y="4486088"/>
                <a:ext cx="348520" cy="470651"/>
                <a:chOff x="7011958" y="-48945"/>
                <a:chExt cx="557213" cy="752475"/>
              </a:xfrm>
              <a:solidFill>
                <a:schemeClr val="tx1">
                  <a:alpha val="12000"/>
                </a:schemeClr>
              </a:solidFill>
            </p:grpSpPr>
            <p:sp>
              <p:nvSpPr>
                <p:cNvPr id="119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9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769"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770"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771"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772"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773"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774"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775"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776"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777"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778"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779"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780" name="Group 746"/>
              <p:cNvGrpSpPr/>
              <p:nvPr/>
            </p:nvGrpSpPr>
            <p:grpSpPr>
              <a:xfrm>
                <a:off x="4493794" y="5093639"/>
                <a:ext cx="348520" cy="470651"/>
                <a:chOff x="7011958" y="-48945"/>
                <a:chExt cx="557213" cy="752475"/>
              </a:xfrm>
              <a:solidFill>
                <a:schemeClr val="tx1">
                  <a:alpha val="7000"/>
                </a:schemeClr>
              </a:solidFill>
            </p:grpSpPr>
            <p:sp>
              <p:nvSpPr>
                <p:cNvPr id="119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9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781"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782"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783"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784"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785"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786"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787"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788"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789"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790"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791"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792"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793" name="Group 740"/>
              <p:cNvGrpSpPr/>
              <p:nvPr/>
            </p:nvGrpSpPr>
            <p:grpSpPr>
              <a:xfrm>
                <a:off x="5035577" y="4486088"/>
                <a:ext cx="348520" cy="470651"/>
                <a:chOff x="7011958" y="-48945"/>
                <a:chExt cx="557213" cy="752475"/>
              </a:xfrm>
              <a:solidFill>
                <a:schemeClr val="tx1">
                  <a:alpha val="12000"/>
                </a:schemeClr>
              </a:solidFill>
            </p:grpSpPr>
            <p:sp>
              <p:nvSpPr>
                <p:cNvPr id="119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9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794"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795"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796"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797"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798"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799"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800"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801"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802"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803"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804"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805"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dirty="0">
                  <a:solidFill>
                    <a:srgbClr val="000000"/>
                  </a:solidFill>
                </a:endParaRPr>
              </a:p>
            </p:txBody>
          </p:sp>
          <p:sp>
            <p:nvSpPr>
              <p:cNvPr id="806"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807"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808"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809"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810"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811"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812"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813"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814"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815"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816" name="Group 740"/>
              <p:cNvGrpSpPr/>
              <p:nvPr/>
            </p:nvGrpSpPr>
            <p:grpSpPr>
              <a:xfrm>
                <a:off x="2168512" y="3806074"/>
                <a:ext cx="348520" cy="470651"/>
                <a:chOff x="7011958" y="-48945"/>
                <a:chExt cx="557213" cy="752475"/>
              </a:xfrm>
              <a:solidFill>
                <a:schemeClr val="tx1">
                  <a:alpha val="12000"/>
                </a:schemeClr>
              </a:solidFill>
            </p:grpSpPr>
            <p:sp>
              <p:nvSpPr>
                <p:cNvPr id="118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9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817" name="Group 746"/>
              <p:cNvGrpSpPr/>
              <p:nvPr/>
            </p:nvGrpSpPr>
            <p:grpSpPr>
              <a:xfrm>
                <a:off x="4585159" y="3806074"/>
                <a:ext cx="348520" cy="470651"/>
                <a:chOff x="7011958" y="-48945"/>
                <a:chExt cx="557213" cy="752475"/>
              </a:xfrm>
              <a:solidFill>
                <a:schemeClr val="tx1">
                  <a:alpha val="7000"/>
                </a:schemeClr>
              </a:solidFill>
            </p:grpSpPr>
            <p:sp>
              <p:nvSpPr>
                <p:cNvPr id="118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8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818"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819"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820"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821"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822"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823"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824"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825"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826" name="Group 740"/>
              <p:cNvGrpSpPr/>
              <p:nvPr/>
            </p:nvGrpSpPr>
            <p:grpSpPr>
              <a:xfrm>
                <a:off x="5956016" y="3806074"/>
                <a:ext cx="348520" cy="470651"/>
                <a:chOff x="7011958" y="-48945"/>
                <a:chExt cx="557213" cy="752475"/>
              </a:xfrm>
              <a:solidFill>
                <a:schemeClr val="tx1">
                  <a:alpha val="12000"/>
                </a:schemeClr>
              </a:solidFill>
            </p:grpSpPr>
            <p:sp>
              <p:nvSpPr>
                <p:cNvPr id="118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8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827"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828"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829"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830"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831" name="Group 746"/>
              <p:cNvGrpSpPr/>
              <p:nvPr/>
            </p:nvGrpSpPr>
            <p:grpSpPr>
              <a:xfrm>
                <a:off x="10770292" y="3806074"/>
                <a:ext cx="348520" cy="470651"/>
                <a:chOff x="7011958" y="-48945"/>
                <a:chExt cx="557213" cy="752475"/>
              </a:xfrm>
              <a:solidFill>
                <a:schemeClr val="tx1">
                  <a:alpha val="7000"/>
                </a:schemeClr>
              </a:solidFill>
            </p:grpSpPr>
            <p:sp>
              <p:nvSpPr>
                <p:cNvPr id="118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8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832"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833"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834" name="Group 781"/>
              <p:cNvGrpSpPr/>
              <p:nvPr/>
            </p:nvGrpSpPr>
            <p:grpSpPr>
              <a:xfrm>
                <a:off x="520986" y="3124431"/>
                <a:ext cx="612096" cy="486108"/>
                <a:chOff x="9258271" y="-45770"/>
                <a:chExt cx="925513" cy="735013"/>
              </a:xfrm>
              <a:solidFill>
                <a:schemeClr val="bg2">
                  <a:alpha val="38000"/>
                </a:schemeClr>
              </a:solidFill>
            </p:grpSpPr>
            <p:sp>
              <p:nvSpPr>
                <p:cNvPr id="11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835"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sz="1765"/>
              </a:p>
            </p:txBody>
          </p:sp>
          <p:grpSp>
            <p:nvGrpSpPr>
              <p:cNvPr id="836"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116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6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6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6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6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6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6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7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7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7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837"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838"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839"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840"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841"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842"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843"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844"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845"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846" name="Group 740"/>
              <p:cNvGrpSpPr/>
              <p:nvPr/>
            </p:nvGrpSpPr>
            <p:grpSpPr>
              <a:xfrm>
                <a:off x="11335152" y="3139888"/>
                <a:ext cx="348520" cy="470651"/>
                <a:chOff x="7011958" y="-48945"/>
                <a:chExt cx="557213" cy="752475"/>
              </a:xfrm>
              <a:solidFill>
                <a:schemeClr val="tx1">
                  <a:alpha val="12000"/>
                </a:schemeClr>
              </a:solidFill>
            </p:grpSpPr>
            <p:sp>
              <p:nvSpPr>
                <p:cNvPr id="11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847"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848"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849"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850"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851"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852"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853"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854"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855"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856"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857" name="Group 746"/>
              <p:cNvGrpSpPr/>
              <p:nvPr/>
            </p:nvGrpSpPr>
            <p:grpSpPr>
              <a:xfrm>
                <a:off x="2877873" y="3139888"/>
                <a:ext cx="348520" cy="470651"/>
                <a:chOff x="7011958" y="-48945"/>
                <a:chExt cx="557213" cy="752475"/>
              </a:xfrm>
              <a:solidFill>
                <a:schemeClr val="tx1">
                  <a:alpha val="7000"/>
                </a:schemeClr>
              </a:solidFill>
            </p:grpSpPr>
            <p:sp>
              <p:nvSpPr>
                <p:cNvPr id="11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858"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859"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860"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861"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114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5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5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5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5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5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5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5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5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5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862"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863"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864"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865"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866" name="Group 740"/>
              <p:cNvGrpSpPr/>
              <p:nvPr/>
            </p:nvGrpSpPr>
            <p:grpSpPr>
              <a:xfrm>
                <a:off x="4520631" y="3139888"/>
                <a:ext cx="348520" cy="470651"/>
                <a:chOff x="7011958" y="-48945"/>
                <a:chExt cx="557213" cy="752475"/>
              </a:xfrm>
              <a:solidFill>
                <a:schemeClr val="tx1">
                  <a:alpha val="12000"/>
                </a:schemeClr>
              </a:solidFill>
            </p:grpSpPr>
            <p:sp>
              <p:nvSpPr>
                <p:cNvPr id="11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867"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868"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869"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870"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871"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872"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873"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874"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875"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876"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877"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878"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879"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880"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881" name="Group 740"/>
              <p:cNvGrpSpPr/>
              <p:nvPr/>
            </p:nvGrpSpPr>
            <p:grpSpPr>
              <a:xfrm>
                <a:off x="7807311" y="2515539"/>
                <a:ext cx="348520" cy="470651"/>
                <a:chOff x="7011958" y="-48945"/>
                <a:chExt cx="557213" cy="752475"/>
              </a:xfrm>
              <a:solidFill>
                <a:schemeClr val="tx1">
                  <a:alpha val="12000"/>
                </a:schemeClr>
              </a:solidFill>
            </p:grpSpPr>
            <p:sp>
              <p:nvSpPr>
                <p:cNvPr id="114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4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882" name="Group 746"/>
              <p:cNvGrpSpPr/>
              <p:nvPr/>
            </p:nvGrpSpPr>
            <p:grpSpPr>
              <a:xfrm>
                <a:off x="10226892" y="2515539"/>
                <a:ext cx="348520" cy="470651"/>
                <a:chOff x="7011958" y="-48945"/>
                <a:chExt cx="557213" cy="752475"/>
              </a:xfrm>
              <a:solidFill>
                <a:schemeClr val="tx1">
                  <a:alpha val="7000"/>
                </a:schemeClr>
              </a:solidFill>
            </p:grpSpPr>
            <p:sp>
              <p:nvSpPr>
                <p:cNvPr id="114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4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883"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884"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885"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886"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887" name="Group 740"/>
              <p:cNvGrpSpPr/>
              <p:nvPr/>
            </p:nvGrpSpPr>
            <p:grpSpPr>
              <a:xfrm>
                <a:off x="11599705" y="2515539"/>
                <a:ext cx="348520" cy="470651"/>
                <a:chOff x="7011958" y="-48945"/>
                <a:chExt cx="557213" cy="752475"/>
              </a:xfrm>
              <a:solidFill>
                <a:schemeClr val="tx1">
                  <a:alpha val="12000"/>
                </a:schemeClr>
              </a:solidFill>
            </p:grpSpPr>
            <p:sp>
              <p:nvSpPr>
                <p:cNvPr id="114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4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888" name="Group 781"/>
              <p:cNvGrpSpPr/>
              <p:nvPr/>
            </p:nvGrpSpPr>
            <p:grpSpPr>
              <a:xfrm>
                <a:off x="6129230" y="1892531"/>
                <a:ext cx="612096" cy="486108"/>
                <a:chOff x="9258271" y="-45770"/>
                <a:chExt cx="925513" cy="735013"/>
              </a:xfrm>
              <a:solidFill>
                <a:schemeClr val="bg2">
                  <a:alpha val="38000"/>
                </a:schemeClr>
              </a:solidFill>
            </p:grpSpPr>
            <p:sp>
              <p:nvSpPr>
                <p:cNvPr id="113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3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3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3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3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3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3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3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3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4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889"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112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2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2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2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2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2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2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2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2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3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890"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891"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892"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893" name="Group 746"/>
              <p:cNvGrpSpPr/>
              <p:nvPr/>
            </p:nvGrpSpPr>
            <p:grpSpPr>
              <a:xfrm>
                <a:off x="8489237" y="1907988"/>
                <a:ext cx="348520" cy="470651"/>
                <a:chOff x="7011958" y="-48945"/>
                <a:chExt cx="557213" cy="752475"/>
              </a:xfrm>
              <a:solidFill>
                <a:schemeClr val="tx1">
                  <a:alpha val="7000"/>
                </a:schemeClr>
              </a:solidFill>
            </p:grpSpPr>
            <p:sp>
              <p:nvSpPr>
                <p:cNvPr id="111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2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894"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895"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896"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897"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110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1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1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1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1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1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1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1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1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1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898"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899"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900"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901"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902" name="Group 740"/>
              <p:cNvGrpSpPr/>
              <p:nvPr/>
            </p:nvGrpSpPr>
            <p:grpSpPr>
              <a:xfrm>
                <a:off x="10135115" y="1907988"/>
                <a:ext cx="348520" cy="470651"/>
                <a:chOff x="7011958" y="-48945"/>
                <a:chExt cx="557213" cy="752475"/>
              </a:xfrm>
              <a:solidFill>
                <a:schemeClr val="tx1">
                  <a:alpha val="12000"/>
                </a:schemeClr>
              </a:solidFill>
            </p:grpSpPr>
            <p:sp>
              <p:nvSpPr>
                <p:cNvPr id="11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903"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904"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905"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906"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907"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908"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909"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910"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911"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912"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913"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914" name="Group 746"/>
              <p:cNvGrpSpPr/>
              <p:nvPr/>
            </p:nvGrpSpPr>
            <p:grpSpPr>
              <a:xfrm>
                <a:off x="4519194" y="2515539"/>
                <a:ext cx="348520" cy="470651"/>
                <a:chOff x="7011958" y="-48945"/>
                <a:chExt cx="557213" cy="752475"/>
              </a:xfrm>
              <a:solidFill>
                <a:schemeClr val="tx1">
                  <a:alpha val="7000"/>
                </a:schemeClr>
              </a:solidFill>
            </p:grpSpPr>
            <p:sp>
              <p:nvSpPr>
                <p:cNvPr id="110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0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915"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916"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917"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918"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919"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920"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921"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922"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923"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924"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925"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926"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927" name="Group 740"/>
              <p:cNvGrpSpPr/>
              <p:nvPr/>
            </p:nvGrpSpPr>
            <p:grpSpPr>
              <a:xfrm>
                <a:off x="5060977" y="1907988"/>
                <a:ext cx="348520" cy="470651"/>
                <a:chOff x="7011958" y="-48945"/>
                <a:chExt cx="557213" cy="752475"/>
              </a:xfrm>
              <a:solidFill>
                <a:schemeClr val="tx1">
                  <a:alpha val="12000"/>
                </a:schemeClr>
              </a:solidFill>
            </p:grpSpPr>
            <p:sp>
              <p:nvSpPr>
                <p:cNvPr id="110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0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928"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929"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930"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931"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932"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933"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934"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935"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936"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937"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938"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939"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940"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941"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942"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943"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944"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945"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946"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947"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948"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949"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950" name="Group 740"/>
              <p:cNvGrpSpPr/>
              <p:nvPr/>
            </p:nvGrpSpPr>
            <p:grpSpPr>
              <a:xfrm>
                <a:off x="7820011" y="1334439"/>
                <a:ext cx="348520" cy="470651"/>
                <a:chOff x="7011958" y="-48945"/>
                <a:chExt cx="557213" cy="752475"/>
              </a:xfrm>
              <a:solidFill>
                <a:schemeClr val="tx1">
                  <a:alpha val="12000"/>
                </a:schemeClr>
              </a:solidFill>
            </p:grpSpPr>
            <p:sp>
              <p:nvSpPr>
                <p:cNvPr id="110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0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951" name="Group 746"/>
              <p:cNvGrpSpPr/>
              <p:nvPr/>
            </p:nvGrpSpPr>
            <p:grpSpPr>
              <a:xfrm>
                <a:off x="10239592" y="1334439"/>
                <a:ext cx="348520" cy="470651"/>
                <a:chOff x="7011958" y="-48945"/>
                <a:chExt cx="557213" cy="752475"/>
              </a:xfrm>
              <a:solidFill>
                <a:schemeClr val="tx1">
                  <a:alpha val="7000"/>
                </a:schemeClr>
              </a:solidFill>
            </p:grpSpPr>
            <p:sp>
              <p:nvSpPr>
                <p:cNvPr id="109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0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952"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953"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954"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955"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956" name="Group 740"/>
              <p:cNvGrpSpPr/>
              <p:nvPr/>
            </p:nvGrpSpPr>
            <p:grpSpPr>
              <a:xfrm>
                <a:off x="11612405" y="1334439"/>
                <a:ext cx="348520" cy="470651"/>
                <a:chOff x="7011958" y="-48945"/>
                <a:chExt cx="557213" cy="752475"/>
              </a:xfrm>
              <a:solidFill>
                <a:schemeClr val="tx1">
                  <a:alpha val="12000"/>
                </a:schemeClr>
              </a:solidFill>
            </p:grpSpPr>
            <p:sp>
              <p:nvSpPr>
                <p:cNvPr id="109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9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957" name="Group 781"/>
              <p:cNvGrpSpPr/>
              <p:nvPr/>
            </p:nvGrpSpPr>
            <p:grpSpPr>
              <a:xfrm>
                <a:off x="6141930" y="711431"/>
                <a:ext cx="612096" cy="486108"/>
                <a:chOff x="9258271" y="-45770"/>
                <a:chExt cx="925513" cy="735013"/>
              </a:xfrm>
              <a:solidFill>
                <a:schemeClr val="bg2">
                  <a:alpha val="38000"/>
                </a:schemeClr>
              </a:solidFill>
            </p:grpSpPr>
            <p:sp>
              <p:nvSpPr>
                <p:cNvPr id="108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8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8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9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9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9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9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9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9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9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958"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107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7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7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8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8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8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8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8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8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8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959"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960"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961"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962" name="Group 746"/>
              <p:cNvGrpSpPr/>
              <p:nvPr/>
            </p:nvGrpSpPr>
            <p:grpSpPr>
              <a:xfrm>
                <a:off x="8501937" y="726888"/>
                <a:ext cx="348520" cy="470651"/>
                <a:chOff x="7011958" y="-48945"/>
                <a:chExt cx="557213" cy="752475"/>
              </a:xfrm>
              <a:solidFill>
                <a:schemeClr val="tx1">
                  <a:alpha val="7000"/>
                </a:schemeClr>
              </a:solidFill>
            </p:grpSpPr>
            <p:sp>
              <p:nvSpPr>
                <p:cNvPr id="107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7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963"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964"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965"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966"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106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6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6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6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6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7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7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7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7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7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967"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968"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969"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970"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971" name="Group 740"/>
              <p:cNvGrpSpPr/>
              <p:nvPr/>
            </p:nvGrpSpPr>
            <p:grpSpPr>
              <a:xfrm>
                <a:off x="10147815" y="726888"/>
                <a:ext cx="348520" cy="470651"/>
                <a:chOff x="7011958" y="-48945"/>
                <a:chExt cx="557213" cy="752475"/>
              </a:xfrm>
              <a:solidFill>
                <a:schemeClr val="tx1">
                  <a:alpha val="12000"/>
                </a:schemeClr>
              </a:solidFill>
            </p:grpSpPr>
            <p:sp>
              <p:nvSpPr>
                <p:cNvPr id="106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6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972"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973"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974"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975"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976"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977"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978"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979"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980"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981"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982"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983" name="Group 746"/>
              <p:cNvGrpSpPr/>
              <p:nvPr/>
            </p:nvGrpSpPr>
            <p:grpSpPr>
              <a:xfrm>
                <a:off x="4531894" y="1334439"/>
                <a:ext cx="348520" cy="470651"/>
                <a:chOff x="7011958" y="-48945"/>
                <a:chExt cx="557213" cy="752475"/>
              </a:xfrm>
              <a:solidFill>
                <a:schemeClr val="tx1">
                  <a:alpha val="7000"/>
                </a:schemeClr>
              </a:solidFill>
            </p:grpSpPr>
            <p:sp>
              <p:nvSpPr>
                <p:cNvPr id="10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984"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985"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986"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987"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988"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989"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990"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991"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992"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993"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994"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995"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996" name="Group 740"/>
              <p:cNvGrpSpPr/>
              <p:nvPr/>
            </p:nvGrpSpPr>
            <p:grpSpPr>
              <a:xfrm>
                <a:off x="5073677" y="726888"/>
                <a:ext cx="348520" cy="470651"/>
                <a:chOff x="7011958" y="-48945"/>
                <a:chExt cx="557213" cy="752475"/>
              </a:xfrm>
              <a:solidFill>
                <a:schemeClr val="tx1">
                  <a:alpha val="12000"/>
                </a:schemeClr>
              </a:solidFill>
            </p:grpSpPr>
            <p:sp>
              <p:nvSpPr>
                <p:cNvPr id="10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997"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998"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999"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000"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001"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002"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003"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004"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005"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006"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007"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008"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009"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010"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011"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012"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013"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014"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015"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016"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1017" name="Group 740"/>
              <p:cNvGrpSpPr/>
              <p:nvPr/>
            </p:nvGrpSpPr>
            <p:grpSpPr>
              <a:xfrm>
                <a:off x="2206612" y="46874"/>
                <a:ext cx="348520" cy="470651"/>
                <a:chOff x="7011958" y="-48945"/>
                <a:chExt cx="557213" cy="752475"/>
              </a:xfrm>
              <a:solidFill>
                <a:schemeClr val="tx1">
                  <a:alpha val="12000"/>
                </a:schemeClr>
              </a:solidFill>
            </p:grpSpPr>
            <p:sp>
              <p:nvSpPr>
                <p:cNvPr id="105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5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1018" name="Group 746"/>
              <p:cNvGrpSpPr/>
              <p:nvPr/>
            </p:nvGrpSpPr>
            <p:grpSpPr>
              <a:xfrm>
                <a:off x="4623259" y="46874"/>
                <a:ext cx="348520" cy="470651"/>
                <a:chOff x="7011958" y="-48945"/>
                <a:chExt cx="557213" cy="752475"/>
              </a:xfrm>
              <a:solidFill>
                <a:schemeClr val="tx1">
                  <a:alpha val="7000"/>
                </a:schemeClr>
              </a:solidFill>
            </p:grpSpPr>
            <p:sp>
              <p:nvSpPr>
                <p:cNvPr id="105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5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1019"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020"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021"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022"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023"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024"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025"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026"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1027" name="Group 740"/>
              <p:cNvGrpSpPr/>
              <p:nvPr/>
            </p:nvGrpSpPr>
            <p:grpSpPr>
              <a:xfrm>
                <a:off x="5994116" y="46874"/>
                <a:ext cx="348520" cy="470651"/>
                <a:chOff x="7011958" y="-48945"/>
                <a:chExt cx="557213" cy="752475"/>
              </a:xfrm>
              <a:solidFill>
                <a:schemeClr val="tx1">
                  <a:alpha val="12000"/>
                </a:schemeClr>
              </a:solidFill>
            </p:grpSpPr>
            <p:sp>
              <p:nvSpPr>
                <p:cNvPr id="105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5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1028"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029"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030"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031"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1032" name="Group 746"/>
              <p:cNvGrpSpPr/>
              <p:nvPr/>
            </p:nvGrpSpPr>
            <p:grpSpPr>
              <a:xfrm>
                <a:off x="10808392" y="46874"/>
                <a:ext cx="348520" cy="470651"/>
                <a:chOff x="7011958" y="-48945"/>
                <a:chExt cx="557213" cy="752475"/>
              </a:xfrm>
              <a:solidFill>
                <a:schemeClr val="tx1">
                  <a:alpha val="7000"/>
                </a:schemeClr>
              </a:solidFill>
            </p:grpSpPr>
            <p:sp>
              <p:nvSpPr>
                <p:cNvPr id="105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5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1033"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034"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035"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sz="1765"/>
              </a:p>
            </p:txBody>
          </p:sp>
          <p:grpSp>
            <p:nvGrpSpPr>
              <p:cNvPr id="1036"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104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4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4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4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4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4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4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4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4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5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1037"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038"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039"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040"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grpSp>
          <p:nvGrpSpPr>
            <p:cNvPr id="6" name="Group 1364"/>
            <p:cNvGrpSpPr>
              <a:grpSpLocks noChangeAspect="1"/>
            </p:cNvGrpSpPr>
            <p:nvPr/>
          </p:nvGrpSpPr>
          <p:grpSpPr>
            <a:xfrm>
              <a:off x="6225545" y="63500"/>
              <a:ext cx="6198230" cy="3429000"/>
              <a:chOff x="88900" y="16253"/>
              <a:chExt cx="12361342" cy="6838572"/>
            </a:xfrm>
          </p:grpSpPr>
          <p:sp>
            <p:nvSpPr>
              <p:cNvPr id="7"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8"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9"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0"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1"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2"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3"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4"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5"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6"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7"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8"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9"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0"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1"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2"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3"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4"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5"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6"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7"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8"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9"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30"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31"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32"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33"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34"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35"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36"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37"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38"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39"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40"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41"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42"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43"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44"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45"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46" name="Group 740"/>
              <p:cNvGrpSpPr/>
              <p:nvPr/>
            </p:nvGrpSpPr>
            <p:grpSpPr>
              <a:xfrm>
                <a:off x="2143125" y="6384174"/>
                <a:ext cx="348521" cy="470651"/>
                <a:chOff x="7011958" y="-48945"/>
                <a:chExt cx="557213" cy="752475"/>
              </a:xfrm>
              <a:solidFill>
                <a:schemeClr val="tx1">
                  <a:alpha val="12000"/>
                </a:schemeClr>
              </a:solidFill>
            </p:grpSpPr>
            <p:sp>
              <p:nvSpPr>
                <p:cNvPr id="64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47" name="Group 746"/>
              <p:cNvGrpSpPr/>
              <p:nvPr/>
            </p:nvGrpSpPr>
            <p:grpSpPr>
              <a:xfrm>
                <a:off x="4559772" y="6384174"/>
                <a:ext cx="348521" cy="470651"/>
                <a:chOff x="7011958" y="-48945"/>
                <a:chExt cx="557213" cy="752475"/>
              </a:xfrm>
              <a:solidFill>
                <a:schemeClr val="tx1">
                  <a:alpha val="7000"/>
                </a:schemeClr>
              </a:solidFill>
            </p:grpSpPr>
            <p:sp>
              <p:nvSpPr>
                <p:cNvPr id="63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48"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49"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50"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51"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52"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53"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54"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55"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56" name="Group 740"/>
              <p:cNvGrpSpPr/>
              <p:nvPr/>
            </p:nvGrpSpPr>
            <p:grpSpPr>
              <a:xfrm>
                <a:off x="5930629" y="6384174"/>
                <a:ext cx="348521" cy="470651"/>
                <a:chOff x="7011958" y="-48945"/>
                <a:chExt cx="557213" cy="752475"/>
              </a:xfrm>
              <a:solidFill>
                <a:schemeClr val="tx1">
                  <a:alpha val="12000"/>
                </a:schemeClr>
              </a:solidFill>
            </p:grpSpPr>
            <p:sp>
              <p:nvSpPr>
                <p:cNvPr id="63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57"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58"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59"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60"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61" name="Group 746"/>
              <p:cNvGrpSpPr/>
              <p:nvPr/>
            </p:nvGrpSpPr>
            <p:grpSpPr>
              <a:xfrm>
                <a:off x="10744905" y="6384174"/>
                <a:ext cx="348521" cy="470651"/>
                <a:chOff x="7011958" y="-48945"/>
                <a:chExt cx="557213" cy="752475"/>
              </a:xfrm>
              <a:solidFill>
                <a:schemeClr val="tx1">
                  <a:alpha val="7000"/>
                </a:schemeClr>
              </a:solidFill>
            </p:grpSpPr>
            <p:sp>
              <p:nvSpPr>
                <p:cNvPr id="63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62"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63"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64" name="Group 781"/>
              <p:cNvGrpSpPr/>
              <p:nvPr/>
            </p:nvGrpSpPr>
            <p:grpSpPr>
              <a:xfrm>
                <a:off x="520986" y="5766031"/>
                <a:ext cx="612096" cy="486108"/>
                <a:chOff x="9258271" y="-45770"/>
                <a:chExt cx="925513" cy="735013"/>
              </a:xfrm>
              <a:solidFill>
                <a:schemeClr val="bg2">
                  <a:alpha val="38000"/>
                </a:schemeClr>
              </a:solidFill>
            </p:grpSpPr>
            <p:sp>
              <p:nvSpPr>
                <p:cNvPr id="62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65"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sz="1765"/>
              </a:p>
            </p:txBody>
          </p:sp>
          <p:grpSp>
            <p:nvGrpSpPr>
              <p:cNvPr id="66"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61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67"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68"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69"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70"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71"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72"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73"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74"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75"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76" name="Group 740"/>
              <p:cNvGrpSpPr/>
              <p:nvPr/>
            </p:nvGrpSpPr>
            <p:grpSpPr>
              <a:xfrm>
                <a:off x="11309765" y="5781488"/>
                <a:ext cx="348521" cy="470651"/>
                <a:chOff x="7011958" y="-48945"/>
                <a:chExt cx="557213" cy="752475"/>
              </a:xfrm>
              <a:solidFill>
                <a:schemeClr val="tx1">
                  <a:alpha val="12000"/>
                </a:schemeClr>
              </a:solidFill>
            </p:grpSpPr>
            <p:sp>
              <p:nvSpPr>
                <p:cNvPr id="61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77"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78"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79"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80"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81"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82"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83"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84"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85"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86"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87" name="Group 746"/>
              <p:cNvGrpSpPr/>
              <p:nvPr/>
            </p:nvGrpSpPr>
            <p:grpSpPr>
              <a:xfrm>
                <a:off x="2852486" y="5781488"/>
                <a:ext cx="348521" cy="470651"/>
                <a:chOff x="7011958" y="-48945"/>
                <a:chExt cx="557213" cy="752475"/>
              </a:xfrm>
              <a:solidFill>
                <a:schemeClr val="tx1">
                  <a:alpha val="7000"/>
                </a:schemeClr>
              </a:solidFill>
            </p:grpSpPr>
            <p:sp>
              <p:nvSpPr>
                <p:cNvPr id="61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88"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89"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90"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91"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60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92"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93"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94"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95"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96" name="Group 740"/>
              <p:cNvGrpSpPr/>
              <p:nvPr/>
            </p:nvGrpSpPr>
            <p:grpSpPr>
              <a:xfrm>
                <a:off x="4495244" y="5781488"/>
                <a:ext cx="348521" cy="470651"/>
                <a:chOff x="7011958" y="-48945"/>
                <a:chExt cx="557213" cy="752475"/>
              </a:xfrm>
              <a:solidFill>
                <a:schemeClr val="tx1">
                  <a:alpha val="12000"/>
                </a:schemeClr>
              </a:solidFill>
            </p:grpSpPr>
            <p:sp>
              <p:nvSpPr>
                <p:cNvPr id="59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97"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98"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99"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00"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01"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02"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03"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04"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05"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06"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07"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08"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09"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10"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111" name="Group 740"/>
              <p:cNvGrpSpPr/>
              <p:nvPr/>
            </p:nvGrpSpPr>
            <p:grpSpPr>
              <a:xfrm>
                <a:off x="7781924" y="5093639"/>
                <a:ext cx="348521" cy="470651"/>
                <a:chOff x="7011958" y="-48945"/>
                <a:chExt cx="557213" cy="752475"/>
              </a:xfrm>
              <a:solidFill>
                <a:schemeClr val="tx1">
                  <a:alpha val="12000"/>
                </a:schemeClr>
              </a:solidFill>
            </p:grpSpPr>
            <p:sp>
              <p:nvSpPr>
                <p:cNvPr id="59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112" name="Group 746"/>
              <p:cNvGrpSpPr/>
              <p:nvPr/>
            </p:nvGrpSpPr>
            <p:grpSpPr>
              <a:xfrm>
                <a:off x="10201505" y="5093639"/>
                <a:ext cx="348521" cy="470651"/>
                <a:chOff x="7011958" y="-48945"/>
                <a:chExt cx="557213" cy="752475"/>
              </a:xfrm>
              <a:solidFill>
                <a:schemeClr val="tx1">
                  <a:alpha val="7000"/>
                </a:schemeClr>
              </a:solidFill>
            </p:grpSpPr>
            <p:sp>
              <p:nvSpPr>
                <p:cNvPr id="59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113"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14"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15"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16"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117" name="Group 740"/>
              <p:cNvGrpSpPr/>
              <p:nvPr/>
            </p:nvGrpSpPr>
            <p:grpSpPr>
              <a:xfrm>
                <a:off x="11574318" y="5093639"/>
                <a:ext cx="348521" cy="470651"/>
                <a:chOff x="7011958" y="-48945"/>
                <a:chExt cx="557213" cy="752475"/>
              </a:xfrm>
              <a:solidFill>
                <a:schemeClr val="tx1">
                  <a:alpha val="12000"/>
                </a:schemeClr>
              </a:solidFill>
            </p:grpSpPr>
            <p:sp>
              <p:nvSpPr>
                <p:cNvPr id="59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118" name="Group 781"/>
              <p:cNvGrpSpPr/>
              <p:nvPr/>
            </p:nvGrpSpPr>
            <p:grpSpPr>
              <a:xfrm>
                <a:off x="6103830" y="4470631"/>
                <a:ext cx="612096" cy="486108"/>
                <a:chOff x="9258271" y="-45770"/>
                <a:chExt cx="925513" cy="735013"/>
              </a:xfrm>
              <a:solidFill>
                <a:schemeClr val="bg2">
                  <a:alpha val="38000"/>
                </a:schemeClr>
              </a:solidFill>
            </p:grpSpPr>
            <p:sp>
              <p:nvSpPr>
                <p:cNvPr id="58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119"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5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120"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21"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22"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123" name="Group 746"/>
              <p:cNvGrpSpPr/>
              <p:nvPr/>
            </p:nvGrpSpPr>
            <p:grpSpPr>
              <a:xfrm>
                <a:off x="8463850" y="4486088"/>
                <a:ext cx="348521" cy="470651"/>
                <a:chOff x="7011958" y="-48945"/>
                <a:chExt cx="557213" cy="752475"/>
              </a:xfrm>
              <a:solidFill>
                <a:schemeClr val="tx1">
                  <a:alpha val="7000"/>
                </a:schemeClr>
              </a:solidFill>
            </p:grpSpPr>
            <p:sp>
              <p:nvSpPr>
                <p:cNvPr id="5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124"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25"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26"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127"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56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128"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29"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30"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31"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132" name="Group 740"/>
              <p:cNvGrpSpPr/>
              <p:nvPr/>
            </p:nvGrpSpPr>
            <p:grpSpPr>
              <a:xfrm>
                <a:off x="10109728" y="4486088"/>
                <a:ext cx="348521" cy="470651"/>
                <a:chOff x="7011958" y="-48945"/>
                <a:chExt cx="557213" cy="752475"/>
              </a:xfrm>
              <a:solidFill>
                <a:schemeClr val="tx1">
                  <a:alpha val="12000"/>
                </a:schemeClr>
              </a:solidFill>
            </p:grpSpPr>
            <p:sp>
              <p:nvSpPr>
                <p:cNvPr id="5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133"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34"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35"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36"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37"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38"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39"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40"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41"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42"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43"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144" name="Group 746"/>
              <p:cNvGrpSpPr/>
              <p:nvPr/>
            </p:nvGrpSpPr>
            <p:grpSpPr>
              <a:xfrm>
                <a:off x="4493807" y="5093639"/>
                <a:ext cx="348521" cy="470651"/>
                <a:chOff x="7011958" y="-48945"/>
                <a:chExt cx="557213" cy="752475"/>
              </a:xfrm>
              <a:solidFill>
                <a:schemeClr val="tx1">
                  <a:alpha val="7000"/>
                </a:schemeClr>
              </a:solidFill>
            </p:grpSpPr>
            <p:sp>
              <p:nvSpPr>
                <p:cNvPr id="55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145"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46"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47"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48"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49"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50"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51"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52"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53"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54"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55"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56"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157" name="Group 740"/>
              <p:cNvGrpSpPr/>
              <p:nvPr/>
            </p:nvGrpSpPr>
            <p:grpSpPr>
              <a:xfrm>
                <a:off x="5035590" y="4486088"/>
                <a:ext cx="348521" cy="470651"/>
                <a:chOff x="7011958" y="-48945"/>
                <a:chExt cx="557213" cy="752475"/>
              </a:xfrm>
              <a:solidFill>
                <a:schemeClr val="tx1">
                  <a:alpha val="12000"/>
                </a:schemeClr>
              </a:solidFill>
            </p:grpSpPr>
            <p:sp>
              <p:nvSpPr>
                <p:cNvPr id="55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158"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59"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60"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61"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62"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63"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64"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65"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66"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67"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68"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69"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dirty="0">
                  <a:solidFill>
                    <a:srgbClr val="000000"/>
                  </a:solidFill>
                </a:endParaRPr>
              </a:p>
            </p:txBody>
          </p:sp>
          <p:sp>
            <p:nvSpPr>
              <p:cNvPr id="170"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71"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72"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73"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74"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75"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76"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77"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78"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79"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180" name="Group 740"/>
              <p:cNvGrpSpPr/>
              <p:nvPr/>
            </p:nvGrpSpPr>
            <p:grpSpPr>
              <a:xfrm>
                <a:off x="2168525" y="3806074"/>
                <a:ext cx="348521" cy="470651"/>
                <a:chOff x="7011958" y="-48945"/>
                <a:chExt cx="557213" cy="752475"/>
              </a:xfrm>
              <a:solidFill>
                <a:schemeClr val="tx1">
                  <a:alpha val="12000"/>
                </a:schemeClr>
              </a:solidFill>
            </p:grpSpPr>
            <p:sp>
              <p:nvSpPr>
                <p:cNvPr id="55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181" name="Group 746"/>
              <p:cNvGrpSpPr/>
              <p:nvPr/>
            </p:nvGrpSpPr>
            <p:grpSpPr>
              <a:xfrm>
                <a:off x="4585172" y="3806074"/>
                <a:ext cx="348521" cy="470651"/>
                <a:chOff x="7011958" y="-48945"/>
                <a:chExt cx="557213" cy="752475"/>
              </a:xfrm>
              <a:solidFill>
                <a:schemeClr val="tx1">
                  <a:alpha val="7000"/>
                </a:schemeClr>
              </a:solidFill>
            </p:grpSpPr>
            <p:sp>
              <p:nvSpPr>
                <p:cNvPr id="55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182"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83"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84"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85"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86"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87"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88"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89"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190" name="Group 740"/>
              <p:cNvGrpSpPr/>
              <p:nvPr/>
            </p:nvGrpSpPr>
            <p:grpSpPr>
              <a:xfrm>
                <a:off x="5956029" y="3806074"/>
                <a:ext cx="348521" cy="470651"/>
                <a:chOff x="7011958" y="-48945"/>
                <a:chExt cx="557213" cy="752475"/>
              </a:xfrm>
              <a:solidFill>
                <a:schemeClr val="tx1">
                  <a:alpha val="12000"/>
                </a:schemeClr>
              </a:solidFill>
            </p:grpSpPr>
            <p:sp>
              <p:nvSpPr>
                <p:cNvPr id="54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191"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92"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93"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94"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195" name="Group 746"/>
              <p:cNvGrpSpPr/>
              <p:nvPr/>
            </p:nvGrpSpPr>
            <p:grpSpPr>
              <a:xfrm>
                <a:off x="10770305" y="3806074"/>
                <a:ext cx="348521" cy="470651"/>
                <a:chOff x="7011958" y="-48945"/>
                <a:chExt cx="557213" cy="752475"/>
              </a:xfrm>
              <a:solidFill>
                <a:schemeClr val="tx1">
                  <a:alpha val="7000"/>
                </a:schemeClr>
              </a:solidFill>
            </p:grpSpPr>
            <p:sp>
              <p:nvSpPr>
                <p:cNvPr id="5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196"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97"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198" name="Group 781"/>
              <p:cNvGrpSpPr/>
              <p:nvPr/>
            </p:nvGrpSpPr>
            <p:grpSpPr>
              <a:xfrm>
                <a:off x="520986" y="3124431"/>
                <a:ext cx="612096" cy="486108"/>
                <a:chOff x="9258271" y="-45770"/>
                <a:chExt cx="925513" cy="735013"/>
              </a:xfrm>
              <a:solidFill>
                <a:schemeClr val="bg2">
                  <a:alpha val="38000"/>
                </a:schemeClr>
              </a:solidFill>
            </p:grpSpPr>
            <p:sp>
              <p:nvSpPr>
                <p:cNvPr id="53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199"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sz="1765"/>
              </a:p>
            </p:txBody>
          </p:sp>
          <p:grpSp>
            <p:nvGrpSpPr>
              <p:cNvPr id="200"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52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201"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02"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03"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04"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05"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06"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07"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08"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09"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210" name="Group 740"/>
              <p:cNvGrpSpPr/>
              <p:nvPr/>
            </p:nvGrpSpPr>
            <p:grpSpPr>
              <a:xfrm>
                <a:off x="11335165" y="3139888"/>
                <a:ext cx="348521" cy="470651"/>
                <a:chOff x="7011958" y="-48945"/>
                <a:chExt cx="557213" cy="752475"/>
              </a:xfrm>
              <a:solidFill>
                <a:schemeClr val="tx1">
                  <a:alpha val="12000"/>
                </a:schemeClr>
              </a:solidFill>
            </p:grpSpPr>
            <p:sp>
              <p:nvSpPr>
                <p:cNvPr id="52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211"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12"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13"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14"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15"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16"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17"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18"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19"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20"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221" name="Group 746"/>
              <p:cNvGrpSpPr/>
              <p:nvPr/>
            </p:nvGrpSpPr>
            <p:grpSpPr>
              <a:xfrm>
                <a:off x="2877886" y="3139888"/>
                <a:ext cx="348521" cy="470651"/>
                <a:chOff x="7011958" y="-48945"/>
                <a:chExt cx="557213" cy="752475"/>
              </a:xfrm>
              <a:solidFill>
                <a:schemeClr val="tx1">
                  <a:alpha val="7000"/>
                </a:schemeClr>
              </a:solidFill>
            </p:grpSpPr>
            <p:sp>
              <p:nvSpPr>
                <p:cNvPr id="52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222"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23"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24"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225"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51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226"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27"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28"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29"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230" name="Group 740"/>
              <p:cNvGrpSpPr/>
              <p:nvPr/>
            </p:nvGrpSpPr>
            <p:grpSpPr>
              <a:xfrm>
                <a:off x="4520644" y="3139888"/>
                <a:ext cx="348521" cy="470651"/>
                <a:chOff x="7011958" y="-48945"/>
                <a:chExt cx="557213" cy="752475"/>
              </a:xfrm>
              <a:solidFill>
                <a:schemeClr val="tx1">
                  <a:alpha val="12000"/>
                </a:schemeClr>
              </a:solidFill>
            </p:grpSpPr>
            <p:sp>
              <p:nvSpPr>
                <p:cNvPr id="51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231"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32"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33"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34"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35"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36"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37"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38"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39"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40"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41"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42"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43"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44"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245" name="Group 740"/>
              <p:cNvGrpSpPr/>
              <p:nvPr/>
            </p:nvGrpSpPr>
            <p:grpSpPr>
              <a:xfrm>
                <a:off x="7807324" y="2515539"/>
                <a:ext cx="348521" cy="470651"/>
                <a:chOff x="7011958" y="-48945"/>
                <a:chExt cx="557213" cy="752475"/>
              </a:xfrm>
              <a:solidFill>
                <a:schemeClr val="tx1">
                  <a:alpha val="12000"/>
                </a:schemeClr>
              </a:solidFill>
            </p:grpSpPr>
            <p:sp>
              <p:nvSpPr>
                <p:cNvPr id="50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246" name="Group 746"/>
              <p:cNvGrpSpPr/>
              <p:nvPr/>
            </p:nvGrpSpPr>
            <p:grpSpPr>
              <a:xfrm>
                <a:off x="10226905" y="2515539"/>
                <a:ext cx="348521" cy="470651"/>
                <a:chOff x="7011958" y="-48945"/>
                <a:chExt cx="557213" cy="752475"/>
              </a:xfrm>
              <a:solidFill>
                <a:schemeClr val="tx1">
                  <a:alpha val="7000"/>
                </a:schemeClr>
              </a:solidFill>
            </p:grpSpPr>
            <p:sp>
              <p:nvSpPr>
                <p:cNvPr id="5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247"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48"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49"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50"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251" name="Group 740"/>
              <p:cNvGrpSpPr/>
              <p:nvPr/>
            </p:nvGrpSpPr>
            <p:grpSpPr>
              <a:xfrm>
                <a:off x="11599718" y="2515539"/>
                <a:ext cx="348521" cy="470651"/>
                <a:chOff x="7011958" y="-48945"/>
                <a:chExt cx="557213" cy="752475"/>
              </a:xfrm>
              <a:solidFill>
                <a:schemeClr val="tx1">
                  <a:alpha val="12000"/>
                </a:schemeClr>
              </a:solidFill>
            </p:grpSpPr>
            <p:sp>
              <p:nvSpPr>
                <p:cNvPr id="50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252" name="Group 781"/>
              <p:cNvGrpSpPr/>
              <p:nvPr/>
            </p:nvGrpSpPr>
            <p:grpSpPr>
              <a:xfrm>
                <a:off x="6129230" y="1892531"/>
                <a:ext cx="612096" cy="486108"/>
                <a:chOff x="9258271" y="-45770"/>
                <a:chExt cx="925513" cy="735013"/>
              </a:xfrm>
              <a:solidFill>
                <a:schemeClr val="bg2">
                  <a:alpha val="38000"/>
                </a:schemeClr>
              </a:solidFill>
            </p:grpSpPr>
            <p:sp>
              <p:nvSpPr>
                <p:cNvPr id="49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253"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48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254"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55"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56"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257" name="Group 746"/>
              <p:cNvGrpSpPr/>
              <p:nvPr/>
            </p:nvGrpSpPr>
            <p:grpSpPr>
              <a:xfrm>
                <a:off x="8489250" y="1907988"/>
                <a:ext cx="348521" cy="470651"/>
                <a:chOff x="7011958" y="-48945"/>
                <a:chExt cx="557213" cy="752475"/>
              </a:xfrm>
              <a:solidFill>
                <a:schemeClr val="tx1">
                  <a:alpha val="7000"/>
                </a:schemeClr>
              </a:solidFill>
            </p:grpSpPr>
            <p:sp>
              <p:nvSpPr>
                <p:cNvPr id="48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258"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59"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60"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261"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4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262"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63"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64"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65"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266" name="Group 740"/>
              <p:cNvGrpSpPr/>
              <p:nvPr/>
            </p:nvGrpSpPr>
            <p:grpSpPr>
              <a:xfrm>
                <a:off x="10135128" y="1907988"/>
                <a:ext cx="348521" cy="470651"/>
                <a:chOff x="7011958" y="-48945"/>
                <a:chExt cx="557213" cy="752475"/>
              </a:xfrm>
              <a:solidFill>
                <a:schemeClr val="tx1">
                  <a:alpha val="12000"/>
                </a:schemeClr>
              </a:solidFill>
            </p:grpSpPr>
            <p:sp>
              <p:nvSpPr>
                <p:cNvPr id="4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267"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68"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69"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70"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71"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72"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73"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74"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75"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76"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77"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278" name="Group 746"/>
              <p:cNvGrpSpPr/>
              <p:nvPr/>
            </p:nvGrpSpPr>
            <p:grpSpPr>
              <a:xfrm>
                <a:off x="4519207" y="2515539"/>
                <a:ext cx="348521" cy="470651"/>
                <a:chOff x="7011958" y="-48945"/>
                <a:chExt cx="557213" cy="752475"/>
              </a:xfrm>
              <a:solidFill>
                <a:schemeClr val="tx1">
                  <a:alpha val="7000"/>
                </a:schemeClr>
              </a:solidFill>
            </p:grpSpPr>
            <p:sp>
              <p:nvSpPr>
                <p:cNvPr id="46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279"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80"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81"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82"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83"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84"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85"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86"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87"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88"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89"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90"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291" name="Group 740"/>
              <p:cNvGrpSpPr/>
              <p:nvPr/>
            </p:nvGrpSpPr>
            <p:grpSpPr>
              <a:xfrm>
                <a:off x="5060990" y="1907988"/>
                <a:ext cx="348521" cy="470651"/>
                <a:chOff x="7011958" y="-48945"/>
                <a:chExt cx="557213" cy="752475"/>
              </a:xfrm>
              <a:solidFill>
                <a:schemeClr val="tx1">
                  <a:alpha val="12000"/>
                </a:schemeClr>
              </a:solidFill>
            </p:grpSpPr>
            <p:sp>
              <p:nvSpPr>
                <p:cNvPr id="46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292"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93"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94"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95"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96"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97"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98"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99"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300"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301"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302"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303"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304"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305"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306"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307"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308"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309"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310"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311"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312"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313"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314" name="Group 740"/>
              <p:cNvGrpSpPr/>
              <p:nvPr/>
            </p:nvGrpSpPr>
            <p:grpSpPr>
              <a:xfrm>
                <a:off x="7820024" y="1334439"/>
                <a:ext cx="348521" cy="470651"/>
                <a:chOff x="7011958" y="-48945"/>
                <a:chExt cx="557213" cy="752475"/>
              </a:xfrm>
              <a:solidFill>
                <a:schemeClr val="tx1">
                  <a:alpha val="12000"/>
                </a:schemeClr>
              </a:solidFill>
            </p:grpSpPr>
            <p:sp>
              <p:nvSpPr>
                <p:cNvPr id="46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315" name="Group 746"/>
              <p:cNvGrpSpPr/>
              <p:nvPr/>
            </p:nvGrpSpPr>
            <p:grpSpPr>
              <a:xfrm>
                <a:off x="10239605" y="1334439"/>
                <a:ext cx="348521" cy="470651"/>
                <a:chOff x="7011958" y="-48945"/>
                <a:chExt cx="557213" cy="752475"/>
              </a:xfrm>
              <a:solidFill>
                <a:schemeClr val="tx1">
                  <a:alpha val="7000"/>
                </a:schemeClr>
              </a:solidFill>
            </p:grpSpPr>
            <p:sp>
              <p:nvSpPr>
                <p:cNvPr id="46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316"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317"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318"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319"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320" name="Group 740"/>
              <p:cNvGrpSpPr/>
              <p:nvPr/>
            </p:nvGrpSpPr>
            <p:grpSpPr>
              <a:xfrm>
                <a:off x="11612418" y="1334439"/>
                <a:ext cx="348521" cy="470651"/>
                <a:chOff x="7011958" y="-48945"/>
                <a:chExt cx="557213" cy="752475"/>
              </a:xfrm>
              <a:solidFill>
                <a:schemeClr val="tx1">
                  <a:alpha val="12000"/>
                </a:schemeClr>
              </a:solidFill>
            </p:grpSpPr>
            <p:sp>
              <p:nvSpPr>
                <p:cNvPr id="4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321" name="Group 781"/>
              <p:cNvGrpSpPr/>
              <p:nvPr/>
            </p:nvGrpSpPr>
            <p:grpSpPr>
              <a:xfrm>
                <a:off x="6141930" y="711431"/>
                <a:ext cx="612096" cy="486108"/>
                <a:chOff x="9258271" y="-45770"/>
                <a:chExt cx="925513" cy="735013"/>
              </a:xfrm>
              <a:solidFill>
                <a:schemeClr val="bg2">
                  <a:alpha val="38000"/>
                </a:schemeClr>
              </a:solidFill>
            </p:grpSpPr>
            <p:sp>
              <p:nvSpPr>
                <p:cNvPr id="45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322"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44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323"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324"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325"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326" name="Group 746"/>
              <p:cNvGrpSpPr/>
              <p:nvPr/>
            </p:nvGrpSpPr>
            <p:grpSpPr>
              <a:xfrm>
                <a:off x="8501950" y="726888"/>
                <a:ext cx="348521" cy="470651"/>
                <a:chOff x="7011958" y="-48945"/>
                <a:chExt cx="557213" cy="752475"/>
              </a:xfrm>
              <a:solidFill>
                <a:schemeClr val="tx1">
                  <a:alpha val="7000"/>
                </a:schemeClr>
              </a:solidFill>
            </p:grpSpPr>
            <p:sp>
              <p:nvSpPr>
                <p:cNvPr id="43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327"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328"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329"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330"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42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331"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332"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333"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334"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335" name="Group 740"/>
              <p:cNvGrpSpPr/>
              <p:nvPr/>
            </p:nvGrpSpPr>
            <p:grpSpPr>
              <a:xfrm>
                <a:off x="10147828" y="726888"/>
                <a:ext cx="348521" cy="470651"/>
                <a:chOff x="7011958" y="-48945"/>
                <a:chExt cx="557213" cy="752475"/>
              </a:xfrm>
              <a:solidFill>
                <a:schemeClr val="tx1">
                  <a:alpha val="12000"/>
                </a:schemeClr>
              </a:solidFill>
            </p:grpSpPr>
            <p:sp>
              <p:nvSpPr>
                <p:cNvPr id="42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336"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337"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338"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339"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340"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341"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342"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343"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344"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345"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346"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347" name="Group 746"/>
              <p:cNvGrpSpPr/>
              <p:nvPr/>
            </p:nvGrpSpPr>
            <p:grpSpPr>
              <a:xfrm>
                <a:off x="4531907" y="1334439"/>
                <a:ext cx="348521" cy="470651"/>
                <a:chOff x="7011958" y="-48945"/>
                <a:chExt cx="557213" cy="752475"/>
              </a:xfrm>
              <a:solidFill>
                <a:schemeClr val="tx1">
                  <a:alpha val="7000"/>
                </a:schemeClr>
              </a:solidFill>
            </p:grpSpPr>
            <p:sp>
              <p:nvSpPr>
                <p:cNvPr id="42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348"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349"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350"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351"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352"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353"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354"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355"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356"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357"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358"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359"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360" name="Group 740"/>
              <p:cNvGrpSpPr/>
              <p:nvPr/>
            </p:nvGrpSpPr>
            <p:grpSpPr>
              <a:xfrm>
                <a:off x="5073690" y="726888"/>
                <a:ext cx="348521" cy="470651"/>
                <a:chOff x="7011958" y="-48945"/>
                <a:chExt cx="557213" cy="752475"/>
              </a:xfrm>
              <a:solidFill>
                <a:schemeClr val="tx1">
                  <a:alpha val="12000"/>
                </a:schemeClr>
              </a:solidFill>
            </p:grpSpPr>
            <p:sp>
              <p:nvSpPr>
                <p:cNvPr id="42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361"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362"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363"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364"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365"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366"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367"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368"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369"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370"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371"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372"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373"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374"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375"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376"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377"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378"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379"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380"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381" name="Group 740"/>
              <p:cNvGrpSpPr/>
              <p:nvPr/>
            </p:nvGrpSpPr>
            <p:grpSpPr>
              <a:xfrm>
                <a:off x="2206625" y="46874"/>
                <a:ext cx="348521" cy="470651"/>
                <a:chOff x="7011958" y="-48945"/>
                <a:chExt cx="557213" cy="752475"/>
              </a:xfrm>
              <a:solidFill>
                <a:schemeClr val="tx1">
                  <a:alpha val="12000"/>
                </a:schemeClr>
              </a:solidFill>
            </p:grpSpPr>
            <p:sp>
              <p:nvSpPr>
                <p:cNvPr id="42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382" name="Group 746"/>
              <p:cNvGrpSpPr/>
              <p:nvPr/>
            </p:nvGrpSpPr>
            <p:grpSpPr>
              <a:xfrm>
                <a:off x="4623272" y="46874"/>
                <a:ext cx="348521" cy="470651"/>
                <a:chOff x="7011958" y="-48945"/>
                <a:chExt cx="557213" cy="752475"/>
              </a:xfrm>
              <a:solidFill>
                <a:schemeClr val="tx1">
                  <a:alpha val="7000"/>
                </a:schemeClr>
              </a:solidFill>
            </p:grpSpPr>
            <p:sp>
              <p:nvSpPr>
                <p:cNvPr id="41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383"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384"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385"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386"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387"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388"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389"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390"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391" name="Group 740"/>
              <p:cNvGrpSpPr/>
              <p:nvPr/>
            </p:nvGrpSpPr>
            <p:grpSpPr>
              <a:xfrm>
                <a:off x="5994129" y="46874"/>
                <a:ext cx="348521" cy="470651"/>
                <a:chOff x="7011958" y="-48945"/>
                <a:chExt cx="557213" cy="752475"/>
              </a:xfrm>
              <a:solidFill>
                <a:schemeClr val="tx1">
                  <a:alpha val="12000"/>
                </a:schemeClr>
              </a:solidFill>
            </p:grpSpPr>
            <p:sp>
              <p:nvSpPr>
                <p:cNvPr id="41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392"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393"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394"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395"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396" name="Group 746"/>
              <p:cNvGrpSpPr/>
              <p:nvPr/>
            </p:nvGrpSpPr>
            <p:grpSpPr>
              <a:xfrm>
                <a:off x="10808405" y="46874"/>
                <a:ext cx="348521" cy="470651"/>
                <a:chOff x="7011958" y="-48945"/>
                <a:chExt cx="557213" cy="752475"/>
              </a:xfrm>
              <a:solidFill>
                <a:schemeClr val="tx1">
                  <a:alpha val="7000"/>
                </a:schemeClr>
              </a:solidFill>
            </p:grpSpPr>
            <p:sp>
              <p:nvSpPr>
                <p:cNvPr id="41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397"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398"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399"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sz="1765"/>
              </a:p>
            </p:txBody>
          </p:sp>
          <p:grpSp>
            <p:nvGrpSpPr>
              <p:cNvPr id="400"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40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401"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402"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403"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404"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grpSp>
      <p:grpSp>
        <p:nvGrpSpPr>
          <p:cNvPr id="1279" name="Group 2440"/>
          <p:cNvGrpSpPr/>
          <p:nvPr/>
        </p:nvGrpSpPr>
        <p:grpSpPr>
          <a:xfrm>
            <a:off x="65364" y="3446122"/>
            <a:ext cx="9079421" cy="3362070"/>
            <a:chOff x="75133" y="63500"/>
            <a:chExt cx="12348642" cy="3429000"/>
          </a:xfrm>
        </p:grpSpPr>
        <p:grpSp>
          <p:nvGrpSpPr>
            <p:cNvPr id="1280" name="Group 1364"/>
            <p:cNvGrpSpPr>
              <a:grpSpLocks noChangeAspect="1"/>
            </p:cNvGrpSpPr>
            <p:nvPr/>
          </p:nvGrpSpPr>
          <p:grpSpPr>
            <a:xfrm>
              <a:off x="75133" y="63500"/>
              <a:ext cx="6198188" cy="3428988"/>
              <a:chOff x="88900" y="16253"/>
              <a:chExt cx="12361342" cy="6838572"/>
            </a:xfrm>
          </p:grpSpPr>
          <p:sp>
            <p:nvSpPr>
              <p:cNvPr id="1918"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919"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920"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921"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922"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923"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924"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925"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926"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927"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928"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929"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930"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931"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932"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933"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934"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935"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936"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937"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938"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939"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940"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941"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942"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943"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944"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945"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946"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947"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948"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949"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950"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951"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952"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953"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954"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955"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956"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1957" name="Group 740"/>
              <p:cNvGrpSpPr/>
              <p:nvPr/>
            </p:nvGrpSpPr>
            <p:grpSpPr>
              <a:xfrm>
                <a:off x="2143125" y="6384174"/>
                <a:ext cx="348521" cy="470651"/>
                <a:chOff x="7011958" y="-48945"/>
                <a:chExt cx="557213" cy="752475"/>
              </a:xfrm>
              <a:solidFill>
                <a:schemeClr val="tx1">
                  <a:alpha val="12000"/>
                </a:schemeClr>
              </a:solidFill>
            </p:grpSpPr>
            <p:sp>
              <p:nvSpPr>
                <p:cNvPr id="255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5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1958" name="Group 746"/>
              <p:cNvGrpSpPr/>
              <p:nvPr/>
            </p:nvGrpSpPr>
            <p:grpSpPr>
              <a:xfrm>
                <a:off x="4559772" y="6384174"/>
                <a:ext cx="348521" cy="470651"/>
                <a:chOff x="7011958" y="-48945"/>
                <a:chExt cx="557213" cy="752475"/>
              </a:xfrm>
              <a:solidFill>
                <a:schemeClr val="tx1">
                  <a:alpha val="7000"/>
                </a:schemeClr>
              </a:solidFill>
            </p:grpSpPr>
            <p:sp>
              <p:nvSpPr>
                <p:cNvPr id="255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5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1959"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960"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961"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962"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963"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964"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965"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966"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1967" name="Group 740"/>
              <p:cNvGrpSpPr/>
              <p:nvPr/>
            </p:nvGrpSpPr>
            <p:grpSpPr>
              <a:xfrm>
                <a:off x="5930629" y="6384174"/>
                <a:ext cx="348521" cy="470651"/>
                <a:chOff x="7011958" y="-48945"/>
                <a:chExt cx="557213" cy="752475"/>
              </a:xfrm>
              <a:solidFill>
                <a:schemeClr val="tx1">
                  <a:alpha val="12000"/>
                </a:schemeClr>
              </a:solidFill>
            </p:grpSpPr>
            <p:sp>
              <p:nvSpPr>
                <p:cNvPr id="254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4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1968"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969"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970"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971"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1972" name="Group 746"/>
              <p:cNvGrpSpPr/>
              <p:nvPr/>
            </p:nvGrpSpPr>
            <p:grpSpPr>
              <a:xfrm>
                <a:off x="10744905" y="6384174"/>
                <a:ext cx="348521" cy="470651"/>
                <a:chOff x="7011958" y="-48945"/>
                <a:chExt cx="557213" cy="752475"/>
              </a:xfrm>
              <a:solidFill>
                <a:schemeClr val="tx1">
                  <a:alpha val="7000"/>
                </a:schemeClr>
              </a:solidFill>
            </p:grpSpPr>
            <p:sp>
              <p:nvSpPr>
                <p:cNvPr id="25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1973"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974"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1975" name="Group 781"/>
              <p:cNvGrpSpPr/>
              <p:nvPr/>
            </p:nvGrpSpPr>
            <p:grpSpPr>
              <a:xfrm>
                <a:off x="520986" y="5766031"/>
                <a:ext cx="612096" cy="486108"/>
                <a:chOff x="9258271" y="-45770"/>
                <a:chExt cx="925513" cy="735013"/>
              </a:xfrm>
              <a:solidFill>
                <a:schemeClr val="bg2">
                  <a:alpha val="38000"/>
                </a:schemeClr>
              </a:solidFill>
            </p:grpSpPr>
            <p:sp>
              <p:nvSpPr>
                <p:cNvPr id="253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3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3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3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4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4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4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4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4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4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1976"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sz="1765"/>
              </a:p>
            </p:txBody>
          </p:sp>
          <p:grpSp>
            <p:nvGrpSpPr>
              <p:cNvPr id="1977"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252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2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2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2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3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3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3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3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3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3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1978"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979"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980"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981"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982"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983"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984"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985"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986"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1987" name="Group 740"/>
              <p:cNvGrpSpPr/>
              <p:nvPr/>
            </p:nvGrpSpPr>
            <p:grpSpPr>
              <a:xfrm>
                <a:off x="11309765" y="5781488"/>
                <a:ext cx="348521" cy="470651"/>
                <a:chOff x="7011958" y="-48945"/>
                <a:chExt cx="557213" cy="752475"/>
              </a:xfrm>
              <a:solidFill>
                <a:schemeClr val="tx1">
                  <a:alpha val="12000"/>
                </a:schemeClr>
              </a:solidFill>
            </p:grpSpPr>
            <p:sp>
              <p:nvSpPr>
                <p:cNvPr id="252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2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1988"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989"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990"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991"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992"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993"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994"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995"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996"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997"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1998" name="Group 746"/>
              <p:cNvGrpSpPr/>
              <p:nvPr/>
            </p:nvGrpSpPr>
            <p:grpSpPr>
              <a:xfrm>
                <a:off x="2852486" y="5781488"/>
                <a:ext cx="348521" cy="470651"/>
                <a:chOff x="7011958" y="-48945"/>
                <a:chExt cx="557213" cy="752475"/>
              </a:xfrm>
              <a:solidFill>
                <a:schemeClr val="tx1">
                  <a:alpha val="7000"/>
                </a:schemeClr>
              </a:solidFill>
            </p:grpSpPr>
            <p:sp>
              <p:nvSpPr>
                <p:cNvPr id="25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1999"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000"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001"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2002"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251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1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1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1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1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1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1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1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2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2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2003"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004"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005"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006"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2007" name="Group 740"/>
              <p:cNvGrpSpPr/>
              <p:nvPr/>
            </p:nvGrpSpPr>
            <p:grpSpPr>
              <a:xfrm>
                <a:off x="4495244" y="5781488"/>
                <a:ext cx="348521" cy="470651"/>
                <a:chOff x="7011958" y="-48945"/>
                <a:chExt cx="557213" cy="752475"/>
              </a:xfrm>
              <a:solidFill>
                <a:schemeClr val="tx1">
                  <a:alpha val="12000"/>
                </a:schemeClr>
              </a:solidFill>
            </p:grpSpPr>
            <p:sp>
              <p:nvSpPr>
                <p:cNvPr id="251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1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2008"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009"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010"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011"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012"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013"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014"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015"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016"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017"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018"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019"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020"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021"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2022" name="Group 740"/>
              <p:cNvGrpSpPr/>
              <p:nvPr/>
            </p:nvGrpSpPr>
            <p:grpSpPr>
              <a:xfrm>
                <a:off x="7781924" y="5093639"/>
                <a:ext cx="348521" cy="470651"/>
                <a:chOff x="7011958" y="-48945"/>
                <a:chExt cx="557213" cy="752475"/>
              </a:xfrm>
              <a:solidFill>
                <a:schemeClr val="tx1">
                  <a:alpha val="12000"/>
                </a:schemeClr>
              </a:solidFill>
            </p:grpSpPr>
            <p:sp>
              <p:nvSpPr>
                <p:cNvPr id="250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0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2023" name="Group 746"/>
              <p:cNvGrpSpPr/>
              <p:nvPr/>
            </p:nvGrpSpPr>
            <p:grpSpPr>
              <a:xfrm>
                <a:off x="10201505" y="5093639"/>
                <a:ext cx="348521" cy="470651"/>
                <a:chOff x="7011958" y="-48945"/>
                <a:chExt cx="557213" cy="752475"/>
              </a:xfrm>
              <a:solidFill>
                <a:schemeClr val="tx1">
                  <a:alpha val="7000"/>
                </a:schemeClr>
              </a:solidFill>
            </p:grpSpPr>
            <p:sp>
              <p:nvSpPr>
                <p:cNvPr id="250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0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2024"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025"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026"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027"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2028" name="Group 740"/>
              <p:cNvGrpSpPr/>
              <p:nvPr/>
            </p:nvGrpSpPr>
            <p:grpSpPr>
              <a:xfrm>
                <a:off x="11574318" y="5093639"/>
                <a:ext cx="348521" cy="470651"/>
                <a:chOff x="7011958" y="-48945"/>
                <a:chExt cx="557213" cy="752475"/>
              </a:xfrm>
              <a:solidFill>
                <a:schemeClr val="tx1">
                  <a:alpha val="12000"/>
                </a:schemeClr>
              </a:solidFill>
            </p:grpSpPr>
            <p:sp>
              <p:nvSpPr>
                <p:cNvPr id="250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0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2029" name="Group 781"/>
              <p:cNvGrpSpPr/>
              <p:nvPr/>
            </p:nvGrpSpPr>
            <p:grpSpPr>
              <a:xfrm>
                <a:off x="6103830" y="4470631"/>
                <a:ext cx="612096" cy="486108"/>
                <a:chOff x="9258271" y="-45770"/>
                <a:chExt cx="925513" cy="735013"/>
              </a:xfrm>
              <a:solidFill>
                <a:schemeClr val="bg2">
                  <a:alpha val="38000"/>
                </a:schemeClr>
              </a:solidFill>
            </p:grpSpPr>
            <p:sp>
              <p:nvSpPr>
                <p:cNvPr id="249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9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9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9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9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9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0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0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0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0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2030"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248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8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8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8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8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8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9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9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9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9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2031"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032"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033"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2034" name="Group 746"/>
              <p:cNvGrpSpPr/>
              <p:nvPr/>
            </p:nvGrpSpPr>
            <p:grpSpPr>
              <a:xfrm>
                <a:off x="8463850" y="4486088"/>
                <a:ext cx="348521" cy="470651"/>
                <a:chOff x="7011958" y="-48945"/>
                <a:chExt cx="557213" cy="752475"/>
              </a:xfrm>
              <a:solidFill>
                <a:schemeClr val="tx1">
                  <a:alpha val="7000"/>
                </a:schemeClr>
              </a:solidFill>
            </p:grpSpPr>
            <p:sp>
              <p:nvSpPr>
                <p:cNvPr id="24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2035"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036"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037"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2038"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247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7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7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7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7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7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7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7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8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8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2039"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040"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041"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042"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2043" name="Group 740"/>
              <p:cNvGrpSpPr/>
              <p:nvPr/>
            </p:nvGrpSpPr>
            <p:grpSpPr>
              <a:xfrm>
                <a:off x="10109728" y="4486088"/>
                <a:ext cx="348521" cy="470651"/>
                <a:chOff x="7011958" y="-48945"/>
                <a:chExt cx="557213" cy="752475"/>
              </a:xfrm>
              <a:solidFill>
                <a:schemeClr val="tx1">
                  <a:alpha val="12000"/>
                </a:schemeClr>
              </a:solidFill>
            </p:grpSpPr>
            <p:sp>
              <p:nvSpPr>
                <p:cNvPr id="247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7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2044"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045"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046"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047"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048"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049"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050"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051"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052"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053"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054"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2055" name="Group 746"/>
              <p:cNvGrpSpPr/>
              <p:nvPr/>
            </p:nvGrpSpPr>
            <p:grpSpPr>
              <a:xfrm>
                <a:off x="4493807" y="5093639"/>
                <a:ext cx="348521" cy="470651"/>
                <a:chOff x="7011958" y="-48945"/>
                <a:chExt cx="557213" cy="752475"/>
              </a:xfrm>
              <a:solidFill>
                <a:schemeClr val="tx1">
                  <a:alpha val="7000"/>
                </a:schemeClr>
              </a:solidFill>
            </p:grpSpPr>
            <p:sp>
              <p:nvSpPr>
                <p:cNvPr id="2468" name="Freeform 2467"/>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69" name="Freeform 2468"/>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2056"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057"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058"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059"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060"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061"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062"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063"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064"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065"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066"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067"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2068" name="Group 740"/>
              <p:cNvGrpSpPr/>
              <p:nvPr/>
            </p:nvGrpSpPr>
            <p:grpSpPr>
              <a:xfrm>
                <a:off x="5035590" y="4486088"/>
                <a:ext cx="348521" cy="470651"/>
                <a:chOff x="7011958" y="-48945"/>
                <a:chExt cx="557213" cy="752475"/>
              </a:xfrm>
              <a:solidFill>
                <a:schemeClr val="tx1">
                  <a:alpha val="12000"/>
                </a:schemeClr>
              </a:solidFill>
            </p:grpSpPr>
            <p:sp>
              <p:nvSpPr>
                <p:cNvPr id="246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6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2069"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070"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071"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072"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073"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074"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075"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076"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077"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078"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079"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080"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dirty="0">
                  <a:solidFill>
                    <a:srgbClr val="000000"/>
                  </a:solidFill>
                </a:endParaRPr>
              </a:p>
            </p:txBody>
          </p:sp>
          <p:sp>
            <p:nvSpPr>
              <p:cNvPr id="2081"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082"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083"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084"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085"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086"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087"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088"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089"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090"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2091" name="Group 740"/>
              <p:cNvGrpSpPr/>
              <p:nvPr/>
            </p:nvGrpSpPr>
            <p:grpSpPr>
              <a:xfrm>
                <a:off x="2168525" y="3806074"/>
                <a:ext cx="348521" cy="470651"/>
                <a:chOff x="7011958" y="-48945"/>
                <a:chExt cx="557213" cy="752475"/>
              </a:xfrm>
              <a:solidFill>
                <a:schemeClr val="tx1">
                  <a:alpha val="12000"/>
                </a:schemeClr>
              </a:solidFill>
            </p:grpSpPr>
            <p:sp>
              <p:nvSpPr>
                <p:cNvPr id="246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6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2092" name="Group 746"/>
              <p:cNvGrpSpPr/>
              <p:nvPr/>
            </p:nvGrpSpPr>
            <p:grpSpPr>
              <a:xfrm>
                <a:off x="4585172" y="3806074"/>
                <a:ext cx="348521" cy="470651"/>
                <a:chOff x="7011958" y="-48945"/>
                <a:chExt cx="557213" cy="752475"/>
              </a:xfrm>
              <a:solidFill>
                <a:schemeClr val="tx1">
                  <a:alpha val="7000"/>
                </a:schemeClr>
              </a:solidFill>
            </p:grpSpPr>
            <p:sp>
              <p:nvSpPr>
                <p:cNvPr id="246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6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2093"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094"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095"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096"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097"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098"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099"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100"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2101" name="Group 740"/>
              <p:cNvGrpSpPr/>
              <p:nvPr/>
            </p:nvGrpSpPr>
            <p:grpSpPr>
              <a:xfrm>
                <a:off x="5956029" y="3806074"/>
                <a:ext cx="348521" cy="470651"/>
                <a:chOff x="7011958" y="-48945"/>
                <a:chExt cx="557213" cy="752475"/>
              </a:xfrm>
              <a:solidFill>
                <a:schemeClr val="tx1">
                  <a:alpha val="12000"/>
                </a:schemeClr>
              </a:solidFill>
            </p:grpSpPr>
            <p:sp>
              <p:nvSpPr>
                <p:cNvPr id="246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6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2102"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103"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104"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105"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2106" name="Group 746"/>
              <p:cNvGrpSpPr/>
              <p:nvPr/>
            </p:nvGrpSpPr>
            <p:grpSpPr>
              <a:xfrm>
                <a:off x="10770305" y="3806074"/>
                <a:ext cx="348521" cy="470651"/>
                <a:chOff x="7011958" y="-48945"/>
                <a:chExt cx="557213" cy="752475"/>
              </a:xfrm>
              <a:solidFill>
                <a:schemeClr val="tx1">
                  <a:alpha val="7000"/>
                </a:schemeClr>
              </a:solidFill>
            </p:grpSpPr>
            <p:sp>
              <p:nvSpPr>
                <p:cNvPr id="245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5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2107"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108"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2109" name="Group 781"/>
              <p:cNvGrpSpPr/>
              <p:nvPr/>
            </p:nvGrpSpPr>
            <p:grpSpPr>
              <a:xfrm>
                <a:off x="520986" y="3124431"/>
                <a:ext cx="612096" cy="486108"/>
                <a:chOff x="9258271" y="-45770"/>
                <a:chExt cx="925513" cy="735013"/>
              </a:xfrm>
              <a:solidFill>
                <a:schemeClr val="bg2">
                  <a:alpha val="38000"/>
                </a:schemeClr>
              </a:solidFill>
            </p:grpSpPr>
            <p:sp>
              <p:nvSpPr>
                <p:cNvPr id="24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2110"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sz="1765"/>
              </a:p>
            </p:txBody>
          </p:sp>
          <p:grpSp>
            <p:nvGrpSpPr>
              <p:cNvPr id="2111"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243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3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4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4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4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4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4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4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4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4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2112"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113"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114"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115"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116"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117"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118"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119"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120"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2121" name="Group 740"/>
              <p:cNvGrpSpPr/>
              <p:nvPr/>
            </p:nvGrpSpPr>
            <p:grpSpPr>
              <a:xfrm>
                <a:off x="11335165" y="3139888"/>
                <a:ext cx="348521" cy="470651"/>
                <a:chOff x="7011958" y="-48945"/>
                <a:chExt cx="557213" cy="752475"/>
              </a:xfrm>
              <a:solidFill>
                <a:schemeClr val="tx1">
                  <a:alpha val="12000"/>
                </a:schemeClr>
              </a:solidFill>
            </p:grpSpPr>
            <p:sp>
              <p:nvSpPr>
                <p:cNvPr id="24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2122"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123"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124"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125"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126"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127"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128"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129"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130"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131"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2132" name="Group 746"/>
              <p:cNvGrpSpPr/>
              <p:nvPr/>
            </p:nvGrpSpPr>
            <p:grpSpPr>
              <a:xfrm>
                <a:off x="2877886" y="3139888"/>
                <a:ext cx="348521" cy="470651"/>
                <a:chOff x="7011958" y="-48945"/>
                <a:chExt cx="557213" cy="752475"/>
              </a:xfrm>
              <a:solidFill>
                <a:schemeClr val="tx1">
                  <a:alpha val="7000"/>
                </a:schemeClr>
              </a:solidFill>
            </p:grpSpPr>
            <p:sp>
              <p:nvSpPr>
                <p:cNvPr id="24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2133"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134"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135"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2136"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242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2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2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2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2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2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3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3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3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3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2137"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138"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139"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140"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2141" name="Group 740"/>
              <p:cNvGrpSpPr/>
              <p:nvPr/>
            </p:nvGrpSpPr>
            <p:grpSpPr>
              <a:xfrm>
                <a:off x="4520644" y="3139888"/>
                <a:ext cx="348521" cy="470651"/>
                <a:chOff x="7011958" y="-48945"/>
                <a:chExt cx="557213" cy="752475"/>
              </a:xfrm>
              <a:solidFill>
                <a:schemeClr val="tx1">
                  <a:alpha val="12000"/>
                </a:schemeClr>
              </a:solidFill>
            </p:grpSpPr>
            <p:sp>
              <p:nvSpPr>
                <p:cNvPr id="24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2142"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143"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144"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145"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146"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147"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148"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149"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150"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151"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152"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153"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154"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155"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2156" name="Group 740"/>
              <p:cNvGrpSpPr/>
              <p:nvPr/>
            </p:nvGrpSpPr>
            <p:grpSpPr>
              <a:xfrm>
                <a:off x="7807324" y="2515539"/>
                <a:ext cx="348521" cy="470651"/>
                <a:chOff x="7011958" y="-48945"/>
                <a:chExt cx="557213" cy="752475"/>
              </a:xfrm>
              <a:solidFill>
                <a:schemeClr val="tx1">
                  <a:alpha val="12000"/>
                </a:schemeClr>
              </a:solidFill>
            </p:grpSpPr>
            <p:sp>
              <p:nvSpPr>
                <p:cNvPr id="242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2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2157" name="Group 746"/>
              <p:cNvGrpSpPr/>
              <p:nvPr/>
            </p:nvGrpSpPr>
            <p:grpSpPr>
              <a:xfrm>
                <a:off x="10226905" y="2515539"/>
                <a:ext cx="348521" cy="470651"/>
                <a:chOff x="7011958" y="-48945"/>
                <a:chExt cx="557213" cy="752475"/>
              </a:xfrm>
              <a:solidFill>
                <a:schemeClr val="tx1">
                  <a:alpha val="7000"/>
                </a:schemeClr>
              </a:solidFill>
            </p:grpSpPr>
            <p:sp>
              <p:nvSpPr>
                <p:cNvPr id="241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1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2158"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159"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160"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161"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2162" name="Group 740"/>
              <p:cNvGrpSpPr/>
              <p:nvPr/>
            </p:nvGrpSpPr>
            <p:grpSpPr>
              <a:xfrm>
                <a:off x="11599718" y="2515539"/>
                <a:ext cx="348521" cy="470651"/>
                <a:chOff x="7011958" y="-48945"/>
                <a:chExt cx="557213" cy="752475"/>
              </a:xfrm>
              <a:solidFill>
                <a:schemeClr val="tx1">
                  <a:alpha val="12000"/>
                </a:schemeClr>
              </a:solidFill>
            </p:grpSpPr>
            <p:sp>
              <p:nvSpPr>
                <p:cNvPr id="241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1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2163" name="Group 781"/>
              <p:cNvGrpSpPr/>
              <p:nvPr/>
            </p:nvGrpSpPr>
            <p:grpSpPr>
              <a:xfrm>
                <a:off x="6129230" y="1892531"/>
                <a:ext cx="612096" cy="486108"/>
                <a:chOff x="9258271" y="-45770"/>
                <a:chExt cx="925513" cy="735013"/>
              </a:xfrm>
              <a:solidFill>
                <a:schemeClr val="bg2">
                  <a:alpha val="38000"/>
                </a:schemeClr>
              </a:solidFill>
            </p:grpSpPr>
            <p:sp>
              <p:nvSpPr>
                <p:cNvPr id="240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0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0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0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1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1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1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1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1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1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2164"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239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9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9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9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0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0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0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0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0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0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2165"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166"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167"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2168" name="Group 746"/>
              <p:cNvGrpSpPr/>
              <p:nvPr/>
            </p:nvGrpSpPr>
            <p:grpSpPr>
              <a:xfrm>
                <a:off x="8489250" y="1907988"/>
                <a:ext cx="348521" cy="470651"/>
                <a:chOff x="7011958" y="-48945"/>
                <a:chExt cx="557213" cy="752475"/>
              </a:xfrm>
              <a:solidFill>
                <a:schemeClr val="tx1">
                  <a:alpha val="7000"/>
                </a:schemeClr>
              </a:solidFill>
            </p:grpSpPr>
            <p:sp>
              <p:nvSpPr>
                <p:cNvPr id="239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9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2169"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170"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171"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2172"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238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8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8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8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8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8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9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9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9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9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2173"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174"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175"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176"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2177" name="Group 740"/>
              <p:cNvGrpSpPr/>
              <p:nvPr/>
            </p:nvGrpSpPr>
            <p:grpSpPr>
              <a:xfrm>
                <a:off x="10135128" y="1907988"/>
                <a:ext cx="348521" cy="470651"/>
                <a:chOff x="7011958" y="-48945"/>
                <a:chExt cx="557213" cy="752475"/>
              </a:xfrm>
              <a:solidFill>
                <a:schemeClr val="tx1">
                  <a:alpha val="12000"/>
                </a:schemeClr>
              </a:solidFill>
            </p:grpSpPr>
            <p:sp>
              <p:nvSpPr>
                <p:cNvPr id="23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2178"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179"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180"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181"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182"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183"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184"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185"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186"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187"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188"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2189" name="Group 746"/>
              <p:cNvGrpSpPr/>
              <p:nvPr/>
            </p:nvGrpSpPr>
            <p:grpSpPr>
              <a:xfrm>
                <a:off x="4519207" y="2515539"/>
                <a:ext cx="348521" cy="470651"/>
                <a:chOff x="7011958" y="-48945"/>
                <a:chExt cx="557213" cy="752475"/>
              </a:xfrm>
              <a:solidFill>
                <a:schemeClr val="tx1">
                  <a:alpha val="7000"/>
                </a:schemeClr>
              </a:solidFill>
            </p:grpSpPr>
            <p:sp>
              <p:nvSpPr>
                <p:cNvPr id="238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8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2190"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191"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192"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193"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194"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195"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196"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197"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198"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199"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200"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201"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2202" name="Group 740"/>
              <p:cNvGrpSpPr/>
              <p:nvPr/>
            </p:nvGrpSpPr>
            <p:grpSpPr>
              <a:xfrm>
                <a:off x="5060990" y="1907988"/>
                <a:ext cx="348521" cy="470651"/>
                <a:chOff x="7011958" y="-48945"/>
                <a:chExt cx="557213" cy="752475"/>
              </a:xfrm>
              <a:solidFill>
                <a:schemeClr val="tx1">
                  <a:alpha val="12000"/>
                </a:schemeClr>
              </a:solidFill>
            </p:grpSpPr>
            <p:sp>
              <p:nvSpPr>
                <p:cNvPr id="237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7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2203"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204"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205"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206"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207"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208"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209"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210"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211"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212"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213"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214"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215"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216"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217"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218"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219"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220"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221"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222"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223"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224"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2225" name="Group 740"/>
              <p:cNvGrpSpPr/>
              <p:nvPr/>
            </p:nvGrpSpPr>
            <p:grpSpPr>
              <a:xfrm>
                <a:off x="7820024" y="1334439"/>
                <a:ext cx="348521" cy="470651"/>
                <a:chOff x="7011958" y="-48945"/>
                <a:chExt cx="557213" cy="752475"/>
              </a:xfrm>
              <a:solidFill>
                <a:schemeClr val="tx1">
                  <a:alpha val="12000"/>
                </a:schemeClr>
              </a:solidFill>
            </p:grpSpPr>
            <p:sp>
              <p:nvSpPr>
                <p:cNvPr id="237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7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2226" name="Group 746"/>
              <p:cNvGrpSpPr/>
              <p:nvPr/>
            </p:nvGrpSpPr>
            <p:grpSpPr>
              <a:xfrm>
                <a:off x="10239605" y="1334439"/>
                <a:ext cx="348521" cy="470651"/>
                <a:chOff x="7011958" y="-48945"/>
                <a:chExt cx="557213" cy="752475"/>
              </a:xfrm>
              <a:solidFill>
                <a:schemeClr val="tx1">
                  <a:alpha val="7000"/>
                </a:schemeClr>
              </a:solidFill>
            </p:grpSpPr>
            <p:sp>
              <p:nvSpPr>
                <p:cNvPr id="237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7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2227"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228"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229"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230"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2231" name="Group 740"/>
              <p:cNvGrpSpPr/>
              <p:nvPr/>
            </p:nvGrpSpPr>
            <p:grpSpPr>
              <a:xfrm>
                <a:off x="11612418" y="1334439"/>
                <a:ext cx="348521" cy="470651"/>
                <a:chOff x="7011958" y="-48945"/>
                <a:chExt cx="557213" cy="752475"/>
              </a:xfrm>
              <a:solidFill>
                <a:schemeClr val="tx1">
                  <a:alpha val="12000"/>
                </a:schemeClr>
              </a:solidFill>
            </p:grpSpPr>
            <p:sp>
              <p:nvSpPr>
                <p:cNvPr id="237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7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2232" name="Group 781"/>
              <p:cNvGrpSpPr/>
              <p:nvPr/>
            </p:nvGrpSpPr>
            <p:grpSpPr>
              <a:xfrm>
                <a:off x="6141930" y="711431"/>
                <a:ext cx="612096" cy="486108"/>
                <a:chOff x="9258271" y="-45770"/>
                <a:chExt cx="925513" cy="735013"/>
              </a:xfrm>
              <a:solidFill>
                <a:schemeClr val="bg2">
                  <a:alpha val="38000"/>
                </a:schemeClr>
              </a:solidFill>
            </p:grpSpPr>
            <p:sp>
              <p:nvSpPr>
                <p:cNvPr id="236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6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6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6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6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6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6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6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7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7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2233"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235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5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5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5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5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5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5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5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6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6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2234"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235"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236"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2237" name="Group 746"/>
              <p:cNvGrpSpPr/>
              <p:nvPr/>
            </p:nvGrpSpPr>
            <p:grpSpPr>
              <a:xfrm>
                <a:off x="8501950" y="726888"/>
                <a:ext cx="348521" cy="470651"/>
                <a:chOff x="7011958" y="-48945"/>
                <a:chExt cx="557213" cy="752475"/>
              </a:xfrm>
              <a:solidFill>
                <a:schemeClr val="tx1">
                  <a:alpha val="7000"/>
                </a:schemeClr>
              </a:solidFill>
            </p:grpSpPr>
            <p:sp>
              <p:nvSpPr>
                <p:cNvPr id="235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5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2238"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239"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240"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2241"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234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4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4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4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4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4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4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4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4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4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2242"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243"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244"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245"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2246" name="Group 740"/>
              <p:cNvGrpSpPr/>
              <p:nvPr/>
            </p:nvGrpSpPr>
            <p:grpSpPr>
              <a:xfrm>
                <a:off x="10147828" y="726888"/>
                <a:ext cx="348521" cy="470651"/>
                <a:chOff x="7011958" y="-48945"/>
                <a:chExt cx="557213" cy="752475"/>
              </a:xfrm>
              <a:solidFill>
                <a:schemeClr val="tx1">
                  <a:alpha val="12000"/>
                </a:schemeClr>
              </a:solidFill>
            </p:grpSpPr>
            <p:sp>
              <p:nvSpPr>
                <p:cNvPr id="233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3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2247"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248"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249"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250"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251"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252"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253"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254"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255"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256"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257"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2258" name="Group 746"/>
              <p:cNvGrpSpPr/>
              <p:nvPr/>
            </p:nvGrpSpPr>
            <p:grpSpPr>
              <a:xfrm>
                <a:off x="4531907" y="1334439"/>
                <a:ext cx="348521" cy="470651"/>
                <a:chOff x="7011958" y="-48945"/>
                <a:chExt cx="557213" cy="752475"/>
              </a:xfrm>
              <a:solidFill>
                <a:schemeClr val="tx1">
                  <a:alpha val="7000"/>
                </a:schemeClr>
              </a:solidFill>
            </p:grpSpPr>
            <p:sp>
              <p:nvSpPr>
                <p:cNvPr id="23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2259"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260"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261"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262"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263"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264"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265"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266"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267"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268"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269"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270"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2271" name="Group 740"/>
              <p:cNvGrpSpPr/>
              <p:nvPr/>
            </p:nvGrpSpPr>
            <p:grpSpPr>
              <a:xfrm>
                <a:off x="5073690" y="726888"/>
                <a:ext cx="348521" cy="470651"/>
                <a:chOff x="7011958" y="-48945"/>
                <a:chExt cx="557213" cy="752475"/>
              </a:xfrm>
              <a:solidFill>
                <a:schemeClr val="tx1">
                  <a:alpha val="12000"/>
                </a:schemeClr>
              </a:solidFill>
            </p:grpSpPr>
            <p:sp>
              <p:nvSpPr>
                <p:cNvPr id="23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2272"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273"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274"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275"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276"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277"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278"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279"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280"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281"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282"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283"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284"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285"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286"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287"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288"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289"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290"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291"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2292" name="Group 740"/>
              <p:cNvGrpSpPr/>
              <p:nvPr/>
            </p:nvGrpSpPr>
            <p:grpSpPr>
              <a:xfrm>
                <a:off x="2206625" y="46874"/>
                <a:ext cx="348521" cy="470651"/>
                <a:chOff x="7011958" y="-48945"/>
                <a:chExt cx="557213" cy="752475"/>
              </a:xfrm>
              <a:solidFill>
                <a:schemeClr val="tx1">
                  <a:alpha val="12000"/>
                </a:schemeClr>
              </a:solidFill>
            </p:grpSpPr>
            <p:sp>
              <p:nvSpPr>
                <p:cNvPr id="233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3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2293" name="Group 746"/>
              <p:cNvGrpSpPr/>
              <p:nvPr/>
            </p:nvGrpSpPr>
            <p:grpSpPr>
              <a:xfrm>
                <a:off x="4623272" y="46874"/>
                <a:ext cx="348521" cy="470651"/>
                <a:chOff x="7011958" y="-48945"/>
                <a:chExt cx="557213" cy="752475"/>
              </a:xfrm>
              <a:solidFill>
                <a:schemeClr val="tx1">
                  <a:alpha val="7000"/>
                </a:schemeClr>
              </a:solidFill>
            </p:grpSpPr>
            <p:sp>
              <p:nvSpPr>
                <p:cNvPr id="233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3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2294"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295"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296"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297"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298"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299"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300"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301"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2302" name="Group 740"/>
              <p:cNvGrpSpPr/>
              <p:nvPr/>
            </p:nvGrpSpPr>
            <p:grpSpPr>
              <a:xfrm>
                <a:off x="5994129" y="46874"/>
                <a:ext cx="348521" cy="470651"/>
                <a:chOff x="7011958" y="-48945"/>
                <a:chExt cx="557213" cy="752475"/>
              </a:xfrm>
              <a:solidFill>
                <a:schemeClr val="tx1">
                  <a:alpha val="12000"/>
                </a:schemeClr>
              </a:solidFill>
            </p:grpSpPr>
            <p:sp>
              <p:nvSpPr>
                <p:cNvPr id="232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2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2303"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304"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305"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306"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2307" name="Group 746"/>
              <p:cNvGrpSpPr/>
              <p:nvPr/>
            </p:nvGrpSpPr>
            <p:grpSpPr>
              <a:xfrm>
                <a:off x="10808405" y="46874"/>
                <a:ext cx="348521" cy="470651"/>
                <a:chOff x="7011958" y="-48945"/>
                <a:chExt cx="557213" cy="752475"/>
              </a:xfrm>
              <a:solidFill>
                <a:schemeClr val="tx1">
                  <a:alpha val="7000"/>
                </a:schemeClr>
              </a:solidFill>
            </p:grpSpPr>
            <p:sp>
              <p:nvSpPr>
                <p:cNvPr id="232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2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2308"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309"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310"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sz="1765"/>
              </a:p>
            </p:txBody>
          </p:sp>
          <p:grpSp>
            <p:nvGrpSpPr>
              <p:cNvPr id="2311"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231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1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1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1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2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2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2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2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2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2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2312"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313"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314"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315"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grpSp>
          <p:nvGrpSpPr>
            <p:cNvPr id="1281" name="Group 1364"/>
            <p:cNvGrpSpPr>
              <a:grpSpLocks noChangeAspect="1"/>
            </p:cNvGrpSpPr>
            <p:nvPr/>
          </p:nvGrpSpPr>
          <p:grpSpPr>
            <a:xfrm>
              <a:off x="6225545" y="63500"/>
              <a:ext cx="6198188" cy="3428988"/>
              <a:chOff x="88900" y="16253"/>
              <a:chExt cx="12361342" cy="6838572"/>
            </a:xfrm>
          </p:grpSpPr>
          <p:sp>
            <p:nvSpPr>
              <p:cNvPr id="1282"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283"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284"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285"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286"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287"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288"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289"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290"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291"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292"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293"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294"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295"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296"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297"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298"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299"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300"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301"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302"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303"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304"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305"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306"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307"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308"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309"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310"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311"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312"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313"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314"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315"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316"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317"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318"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319"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320"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1321" name="Group 740"/>
              <p:cNvGrpSpPr/>
              <p:nvPr/>
            </p:nvGrpSpPr>
            <p:grpSpPr>
              <a:xfrm>
                <a:off x="2143125" y="6384174"/>
                <a:ext cx="348521" cy="470651"/>
                <a:chOff x="7011958" y="-48945"/>
                <a:chExt cx="557213" cy="752475"/>
              </a:xfrm>
              <a:solidFill>
                <a:schemeClr val="tx1">
                  <a:alpha val="12000"/>
                </a:schemeClr>
              </a:solidFill>
            </p:grpSpPr>
            <p:sp>
              <p:nvSpPr>
                <p:cNvPr id="191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1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1322" name="Group 746"/>
              <p:cNvGrpSpPr/>
              <p:nvPr/>
            </p:nvGrpSpPr>
            <p:grpSpPr>
              <a:xfrm>
                <a:off x="4559772" y="6384174"/>
                <a:ext cx="348521" cy="470651"/>
                <a:chOff x="7011958" y="-48945"/>
                <a:chExt cx="557213" cy="752475"/>
              </a:xfrm>
              <a:solidFill>
                <a:schemeClr val="tx1">
                  <a:alpha val="7000"/>
                </a:schemeClr>
              </a:solidFill>
            </p:grpSpPr>
            <p:sp>
              <p:nvSpPr>
                <p:cNvPr id="191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1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1323"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324"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325"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326"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327"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328"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329"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330"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1331" name="Group 740"/>
              <p:cNvGrpSpPr/>
              <p:nvPr/>
            </p:nvGrpSpPr>
            <p:grpSpPr>
              <a:xfrm>
                <a:off x="5930629" y="6384174"/>
                <a:ext cx="348521" cy="470651"/>
                <a:chOff x="7011958" y="-48945"/>
                <a:chExt cx="557213" cy="752475"/>
              </a:xfrm>
              <a:solidFill>
                <a:schemeClr val="tx1">
                  <a:alpha val="12000"/>
                </a:schemeClr>
              </a:solidFill>
            </p:grpSpPr>
            <p:sp>
              <p:nvSpPr>
                <p:cNvPr id="191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1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1332"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333"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334"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335"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1336" name="Group 746"/>
              <p:cNvGrpSpPr/>
              <p:nvPr/>
            </p:nvGrpSpPr>
            <p:grpSpPr>
              <a:xfrm>
                <a:off x="10744905" y="6384174"/>
                <a:ext cx="348521" cy="470651"/>
                <a:chOff x="7011958" y="-48945"/>
                <a:chExt cx="557213" cy="752475"/>
              </a:xfrm>
              <a:solidFill>
                <a:schemeClr val="tx1">
                  <a:alpha val="7000"/>
                </a:schemeClr>
              </a:solidFill>
            </p:grpSpPr>
            <p:sp>
              <p:nvSpPr>
                <p:cNvPr id="191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1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1337"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338"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1339" name="Group 781"/>
              <p:cNvGrpSpPr/>
              <p:nvPr/>
            </p:nvGrpSpPr>
            <p:grpSpPr>
              <a:xfrm>
                <a:off x="520986" y="5766031"/>
                <a:ext cx="612096" cy="486108"/>
                <a:chOff x="9258271" y="-45770"/>
                <a:chExt cx="925513" cy="735013"/>
              </a:xfrm>
              <a:solidFill>
                <a:schemeClr val="bg2">
                  <a:alpha val="38000"/>
                </a:schemeClr>
              </a:solidFill>
            </p:grpSpPr>
            <p:sp>
              <p:nvSpPr>
                <p:cNvPr id="190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0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0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0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0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0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0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0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0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0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1340"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sz="1765"/>
              </a:p>
            </p:txBody>
          </p:sp>
          <p:grpSp>
            <p:nvGrpSpPr>
              <p:cNvPr id="1341"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189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9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9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9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9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9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9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9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9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9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1342"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343"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344"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345"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346"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347"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348"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349"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350"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1351" name="Group 740"/>
              <p:cNvGrpSpPr/>
              <p:nvPr/>
            </p:nvGrpSpPr>
            <p:grpSpPr>
              <a:xfrm>
                <a:off x="11309765" y="5781488"/>
                <a:ext cx="348521" cy="470651"/>
                <a:chOff x="7011958" y="-48945"/>
                <a:chExt cx="557213" cy="752475"/>
              </a:xfrm>
              <a:solidFill>
                <a:schemeClr val="tx1">
                  <a:alpha val="12000"/>
                </a:schemeClr>
              </a:solidFill>
            </p:grpSpPr>
            <p:sp>
              <p:nvSpPr>
                <p:cNvPr id="188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8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1352"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353"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354"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355"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356"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357"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358"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359"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360"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361"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1362" name="Group 746"/>
              <p:cNvGrpSpPr/>
              <p:nvPr/>
            </p:nvGrpSpPr>
            <p:grpSpPr>
              <a:xfrm>
                <a:off x="2852486" y="5781488"/>
                <a:ext cx="348521" cy="470651"/>
                <a:chOff x="7011958" y="-48945"/>
                <a:chExt cx="557213" cy="752475"/>
              </a:xfrm>
              <a:solidFill>
                <a:schemeClr val="tx1">
                  <a:alpha val="7000"/>
                </a:schemeClr>
              </a:solidFill>
            </p:grpSpPr>
            <p:sp>
              <p:nvSpPr>
                <p:cNvPr id="188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8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1363"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364"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365"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1366"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187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7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7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7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8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8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8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8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8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8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1367"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368"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369"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370"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1371" name="Group 740"/>
              <p:cNvGrpSpPr/>
              <p:nvPr/>
            </p:nvGrpSpPr>
            <p:grpSpPr>
              <a:xfrm>
                <a:off x="4495244" y="5781488"/>
                <a:ext cx="348521" cy="470651"/>
                <a:chOff x="7011958" y="-48945"/>
                <a:chExt cx="557213" cy="752475"/>
              </a:xfrm>
              <a:solidFill>
                <a:schemeClr val="tx1">
                  <a:alpha val="12000"/>
                </a:schemeClr>
              </a:solidFill>
            </p:grpSpPr>
            <p:sp>
              <p:nvSpPr>
                <p:cNvPr id="187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7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1372"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373"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374"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375"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376"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377"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378"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379"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380"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381"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382"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383"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384"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385"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1386" name="Group 740"/>
              <p:cNvGrpSpPr/>
              <p:nvPr/>
            </p:nvGrpSpPr>
            <p:grpSpPr>
              <a:xfrm>
                <a:off x="7781924" y="5093639"/>
                <a:ext cx="348521" cy="470651"/>
                <a:chOff x="7011958" y="-48945"/>
                <a:chExt cx="557213" cy="752475"/>
              </a:xfrm>
              <a:solidFill>
                <a:schemeClr val="tx1">
                  <a:alpha val="12000"/>
                </a:schemeClr>
              </a:solidFill>
            </p:grpSpPr>
            <p:sp>
              <p:nvSpPr>
                <p:cNvPr id="187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7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1387" name="Group 746"/>
              <p:cNvGrpSpPr/>
              <p:nvPr/>
            </p:nvGrpSpPr>
            <p:grpSpPr>
              <a:xfrm>
                <a:off x="10201505" y="5093639"/>
                <a:ext cx="348521" cy="470651"/>
                <a:chOff x="7011958" y="-48945"/>
                <a:chExt cx="557213" cy="752475"/>
              </a:xfrm>
              <a:solidFill>
                <a:schemeClr val="tx1">
                  <a:alpha val="7000"/>
                </a:schemeClr>
              </a:solidFill>
            </p:grpSpPr>
            <p:sp>
              <p:nvSpPr>
                <p:cNvPr id="187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7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1388"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389"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390"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391"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1392" name="Group 740"/>
              <p:cNvGrpSpPr/>
              <p:nvPr/>
            </p:nvGrpSpPr>
            <p:grpSpPr>
              <a:xfrm>
                <a:off x="11574318" y="5093639"/>
                <a:ext cx="348521" cy="470651"/>
                <a:chOff x="7011958" y="-48945"/>
                <a:chExt cx="557213" cy="752475"/>
              </a:xfrm>
              <a:solidFill>
                <a:schemeClr val="tx1">
                  <a:alpha val="12000"/>
                </a:schemeClr>
              </a:solidFill>
            </p:grpSpPr>
            <p:sp>
              <p:nvSpPr>
                <p:cNvPr id="186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6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1393" name="Group 781"/>
              <p:cNvGrpSpPr/>
              <p:nvPr/>
            </p:nvGrpSpPr>
            <p:grpSpPr>
              <a:xfrm>
                <a:off x="6103830" y="4470631"/>
                <a:ext cx="612096" cy="486108"/>
                <a:chOff x="9258271" y="-45770"/>
                <a:chExt cx="925513" cy="735013"/>
              </a:xfrm>
              <a:solidFill>
                <a:schemeClr val="bg2">
                  <a:alpha val="38000"/>
                </a:schemeClr>
              </a:solidFill>
            </p:grpSpPr>
            <p:sp>
              <p:nvSpPr>
                <p:cNvPr id="185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5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6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6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6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6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6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6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6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6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1394"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18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1395"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396"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397"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1398" name="Group 746"/>
              <p:cNvGrpSpPr/>
              <p:nvPr/>
            </p:nvGrpSpPr>
            <p:grpSpPr>
              <a:xfrm>
                <a:off x="8463850" y="4486088"/>
                <a:ext cx="348521" cy="470651"/>
                <a:chOff x="7011958" y="-48945"/>
                <a:chExt cx="557213" cy="752475"/>
              </a:xfrm>
              <a:solidFill>
                <a:schemeClr val="tx1">
                  <a:alpha val="7000"/>
                </a:schemeClr>
              </a:solidFill>
            </p:grpSpPr>
            <p:sp>
              <p:nvSpPr>
                <p:cNvPr id="18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1399"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400"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401"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1402"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183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3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3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3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4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4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4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4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4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4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1403"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404"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405"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406"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1407" name="Group 740"/>
              <p:cNvGrpSpPr/>
              <p:nvPr/>
            </p:nvGrpSpPr>
            <p:grpSpPr>
              <a:xfrm>
                <a:off x="10109728" y="4486088"/>
                <a:ext cx="348521" cy="470651"/>
                <a:chOff x="7011958" y="-48945"/>
                <a:chExt cx="557213" cy="752475"/>
              </a:xfrm>
              <a:solidFill>
                <a:schemeClr val="tx1">
                  <a:alpha val="12000"/>
                </a:schemeClr>
              </a:solidFill>
            </p:grpSpPr>
            <p:sp>
              <p:nvSpPr>
                <p:cNvPr id="18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1408"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409"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410"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411"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412"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413"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414"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415"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416"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417"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418"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1419" name="Group 746"/>
              <p:cNvGrpSpPr/>
              <p:nvPr/>
            </p:nvGrpSpPr>
            <p:grpSpPr>
              <a:xfrm>
                <a:off x="4493807" y="5093639"/>
                <a:ext cx="348521" cy="470651"/>
                <a:chOff x="7011958" y="-48945"/>
                <a:chExt cx="557213" cy="752475"/>
              </a:xfrm>
              <a:solidFill>
                <a:schemeClr val="tx1">
                  <a:alpha val="7000"/>
                </a:schemeClr>
              </a:solidFill>
            </p:grpSpPr>
            <p:sp>
              <p:nvSpPr>
                <p:cNvPr id="183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3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1420"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421"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422"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423"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424"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425"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426"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427"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428"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429"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430"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431"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1432" name="Group 740"/>
              <p:cNvGrpSpPr/>
              <p:nvPr/>
            </p:nvGrpSpPr>
            <p:grpSpPr>
              <a:xfrm>
                <a:off x="5035590" y="4486088"/>
                <a:ext cx="348521" cy="470651"/>
                <a:chOff x="7011958" y="-48945"/>
                <a:chExt cx="557213" cy="752475"/>
              </a:xfrm>
              <a:solidFill>
                <a:schemeClr val="tx1">
                  <a:alpha val="12000"/>
                </a:schemeClr>
              </a:solidFill>
            </p:grpSpPr>
            <p:sp>
              <p:nvSpPr>
                <p:cNvPr id="183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3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1433"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434"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435"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436"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437"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438"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439"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440"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441"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442"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443"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444"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dirty="0">
                  <a:solidFill>
                    <a:srgbClr val="000000"/>
                  </a:solidFill>
                </a:endParaRPr>
              </a:p>
            </p:txBody>
          </p:sp>
          <p:sp>
            <p:nvSpPr>
              <p:cNvPr id="1445"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446"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447"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448"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449"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450"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451"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452"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453"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454"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1455" name="Group 740"/>
              <p:cNvGrpSpPr/>
              <p:nvPr/>
            </p:nvGrpSpPr>
            <p:grpSpPr>
              <a:xfrm>
                <a:off x="2168525" y="3806074"/>
                <a:ext cx="348521" cy="470651"/>
                <a:chOff x="7011958" y="-48945"/>
                <a:chExt cx="557213" cy="752475"/>
              </a:xfrm>
              <a:solidFill>
                <a:schemeClr val="tx1">
                  <a:alpha val="12000"/>
                </a:schemeClr>
              </a:solidFill>
            </p:grpSpPr>
            <p:sp>
              <p:nvSpPr>
                <p:cNvPr id="182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2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1456" name="Group 746"/>
              <p:cNvGrpSpPr/>
              <p:nvPr/>
            </p:nvGrpSpPr>
            <p:grpSpPr>
              <a:xfrm>
                <a:off x="4585172" y="3806074"/>
                <a:ext cx="348521" cy="470651"/>
                <a:chOff x="7011958" y="-48945"/>
                <a:chExt cx="557213" cy="752475"/>
              </a:xfrm>
              <a:solidFill>
                <a:schemeClr val="tx1">
                  <a:alpha val="7000"/>
                </a:schemeClr>
              </a:solidFill>
            </p:grpSpPr>
            <p:sp>
              <p:nvSpPr>
                <p:cNvPr id="182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2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1457"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458"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459"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460"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461"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462"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463"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464"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1465" name="Group 740"/>
              <p:cNvGrpSpPr/>
              <p:nvPr/>
            </p:nvGrpSpPr>
            <p:grpSpPr>
              <a:xfrm>
                <a:off x="5956029" y="3806074"/>
                <a:ext cx="348521" cy="470651"/>
                <a:chOff x="7011958" y="-48945"/>
                <a:chExt cx="557213" cy="752475"/>
              </a:xfrm>
              <a:solidFill>
                <a:schemeClr val="tx1">
                  <a:alpha val="12000"/>
                </a:schemeClr>
              </a:solidFill>
            </p:grpSpPr>
            <p:sp>
              <p:nvSpPr>
                <p:cNvPr id="182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2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1466"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467"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468"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469"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1470" name="Group 746"/>
              <p:cNvGrpSpPr/>
              <p:nvPr/>
            </p:nvGrpSpPr>
            <p:grpSpPr>
              <a:xfrm>
                <a:off x="10770305" y="3806074"/>
                <a:ext cx="348521" cy="470651"/>
                <a:chOff x="7011958" y="-48945"/>
                <a:chExt cx="557213" cy="752475"/>
              </a:xfrm>
              <a:solidFill>
                <a:schemeClr val="tx1">
                  <a:alpha val="7000"/>
                </a:schemeClr>
              </a:solidFill>
            </p:grpSpPr>
            <p:sp>
              <p:nvSpPr>
                <p:cNvPr id="18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1471"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472"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1473" name="Group 781"/>
              <p:cNvGrpSpPr/>
              <p:nvPr/>
            </p:nvGrpSpPr>
            <p:grpSpPr>
              <a:xfrm>
                <a:off x="520986" y="3124431"/>
                <a:ext cx="612096" cy="486108"/>
                <a:chOff x="9258271" y="-45770"/>
                <a:chExt cx="925513" cy="735013"/>
              </a:xfrm>
              <a:solidFill>
                <a:schemeClr val="bg2">
                  <a:alpha val="38000"/>
                </a:schemeClr>
              </a:solidFill>
            </p:grpSpPr>
            <p:sp>
              <p:nvSpPr>
                <p:cNvPr id="181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1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1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1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1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1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1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1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2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2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1474"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sz="1765"/>
              </a:p>
            </p:txBody>
          </p:sp>
          <p:grpSp>
            <p:nvGrpSpPr>
              <p:cNvPr id="1475"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180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0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0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0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0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0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0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0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1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1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1476"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477"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478"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479"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480"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481"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482"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483"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484"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1485" name="Group 740"/>
              <p:cNvGrpSpPr/>
              <p:nvPr/>
            </p:nvGrpSpPr>
            <p:grpSpPr>
              <a:xfrm>
                <a:off x="11335165" y="3139888"/>
                <a:ext cx="348521" cy="470651"/>
                <a:chOff x="7011958" y="-48945"/>
                <a:chExt cx="557213" cy="752475"/>
              </a:xfrm>
              <a:solidFill>
                <a:schemeClr val="tx1">
                  <a:alpha val="12000"/>
                </a:schemeClr>
              </a:solidFill>
            </p:grpSpPr>
            <p:sp>
              <p:nvSpPr>
                <p:cNvPr id="180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0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1486"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487"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488"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489"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490"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491"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492"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493"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494"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495"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1496" name="Group 746"/>
              <p:cNvGrpSpPr/>
              <p:nvPr/>
            </p:nvGrpSpPr>
            <p:grpSpPr>
              <a:xfrm>
                <a:off x="2877886" y="3139888"/>
                <a:ext cx="348521" cy="470651"/>
                <a:chOff x="7011958" y="-48945"/>
                <a:chExt cx="557213" cy="752475"/>
              </a:xfrm>
              <a:solidFill>
                <a:schemeClr val="tx1">
                  <a:alpha val="7000"/>
                </a:schemeClr>
              </a:solidFill>
            </p:grpSpPr>
            <p:sp>
              <p:nvSpPr>
                <p:cNvPr id="179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9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1497"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498"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499"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1500"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178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8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9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9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9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9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9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9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9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9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1501"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502"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503"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504"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1505" name="Group 740"/>
              <p:cNvGrpSpPr/>
              <p:nvPr/>
            </p:nvGrpSpPr>
            <p:grpSpPr>
              <a:xfrm>
                <a:off x="4520644" y="3139888"/>
                <a:ext cx="348521" cy="470651"/>
                <a:chOff x="7011958" y="-48945"/>
                <a:chExt cx="557213" cy="752475"/>
              </a:xfrm>
              <a:solidFill>
                <a:schemeClr val="tx1">
                  <a:alpha val="12000"/>
                </a:schemeClr>
              </a:solidFill>
            </p:grpSpPr>
            <p:sp>
              <p:nvSpPr>
                <p:cNvPr id="178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8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1506"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507"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508"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509"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510"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511"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512"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513"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514"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515"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516"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517"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518"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519"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1520" name="Group 740"/>
              <p:cNvGrpSpPr/>
              <p:nvPr/>
            </p:nvGrpSpPr>
            <p:grpSpPr>
              <a:xfrm>
                <a:off x="7807324" y="2515539"/>
                <a:ext cx="348521" cy="470651"/>
                <a:chOff x="7011958" y="-48945"/>
                <a:chExt cx="557213" cy="752475"/>
              </a:xfrm>
              <a:solidFill>
                <a:schemeClr val="tx1">
                  <a:alpha val="12000"/>
                </a:schemeClr>
              </a:solidFill>
            </p:grpSpPr>
            <p:sp>
              <p:nvSpPr>
                <p:cNvPr id="178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8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1521" name="Group 746"/>
              <p:cNvGrpSpPr/>
              <p:nvPr/>
            </p:nvGrpSpPr>
            <p:grpSpPr>
              <a:xfrm>
                <a:off x="10226905" y="2515539"/>
                <a:ext cx="348521" cy="470651"/>
                <a:chOff x="7011958" y="-48945"/>
                <a:chExt cx="557213" cy="752475"/>
              </a:xfrm>
              <a:solidFill>
                <a:schemeClr val="tx1">
                  <a:alpha val="7000"/>
                </a:schemeClr>
              </a:solidFill>
            </p:grpSpPr>
            <p:sp>
              <p:nvSpPr>
                <p:cNvPr id="17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1522"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523"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524"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525"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1526" name="Group 740"/>
              <p:cNvGrpSpPr/>
              <p:nvPr/>
            </p:nvGrpSpPr>
            <p:grpSpPr>
              <a:xfrm>
                <a:off x="11599718" y="2515539"/>
                <a:ext cx="348521" cy="470651"/>
                <a:chOff x="7011958" y="-48945"/>
                <a:chExt cx="557213" cy="752475"/>
              </a:xfrm>
              <a:solidFill>
                <a:schemeClr val="tx1">
                  <a:alpha val="12000"/>
                </a:schemeClr>
              </a:solidFill>
            </p:grpSpPr>
            <p:sp>
              <p:nvSpPr>
                <p:cNvPr id="178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8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1527" name="Group 781"/>
              <p:cNvGrpSpPr/>
              <p:nvPr/>
            </p:nvGrpSpPr>
            <p:grpSpPr>
              <a:xfrm>
                <a:off x="6129230" y="1892531"/>
                <a:ext cx="612096" cy="486108"/>
                <a:chOff x="9258271" y="-45770"/>
                <a:chExt cx="925513" cy="735013"/>
              </a:xfrm>
              <a:solidFill>
                <a:schemeClr val="bg2">
                  <a:alpha val="38000"/>
                </a:schemeClr>
              </a:solidFill>
            </p:grpSpPr>
            <p:sp>
              <p:nvSpPr>
                <p:cNvPr id="177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7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7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7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7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7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7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7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7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7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1528"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176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6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6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6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6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6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6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6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6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6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1529"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530"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531"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1532" name="Group 746"/>
              <p:cNvGrpSpPr/>
              <p:nvPr/>
            </p:nvGrpSpPr>
            <p:grpSpPr>
              <a:xfrm>
                <a:off x="8489250" y="1907988"/>
                <a:ext cx="348521" cy="470651"/>
                <a:chOff x="7011958" y="-48945"/>
                <a:chExt cx="557213" cy="752475"/>
              </a:xfrm>
              <a:solidFill>
                <a:schemeClr val="tx1">
                  <a:alpha val="7000"/>
                </a:schemeClr>
              </a:solidFill>
            </p:grpSpPr>
            <p:sp>
              <p:nvSpPr>
                <p:cNvPr id="175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5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1533"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534"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535"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1536"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17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1537"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538"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539"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540"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1541" name="Group 740"/>
              <p:cNvGrpSpPr/>
              <p:nvPr/>
            </p:nvGrpSpPr>
            <p:grpSpPr>
              <a:xfrm>
                <a:off x="10135128" y="1907988"/>
                <a:ext cx="348521" cy="470651"/>
                <a:chOff x="7011958" y="-48945"/>
                <a:chExt cx="557213" cy="752475"/>
              </a:xfrm>
              <a:solidFill>
                <a:schemeClr val="tx1">
                  <a:alpha val="12000"/>
                </a:schemeClr>
              </a:solidFill>
            </p:grpSpPr>
            <p:sp>
              <p:nvSpPr>
                <p:cNvPr id="17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1542"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543"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544"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545"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546"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547"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548"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549"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550"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551"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552"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1553" name="Group 746"/>
              <p:cNvGrpSpPr/>
              <p:nvPr/>
            </p:nvGrpSpPr>
            <p:grpSpPr>
              <a:xfrm>
                <a:off x="4519207" y="2515539"/>
                <a:ext cx="348521" cy="470651"/>
                <a:chOff x="7011958" y="-48945"/>
                <a:chExt cx="557213" cy="752475"/>
              </a:xfrm>
              <a:solidFill>
                <a:schemeClr val="tx1">
                  <a:alpha val="7000"/>
                </a:schemeClr>
              </a:solidFill>
            </p:grpSpPr>
            <p:sp>
              <p:nvSpPr>
                <p:cNvPr id="174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4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1554"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555"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556"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557"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558"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559"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560"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561"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562"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563"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564"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565"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1566" name="Group 740"/>
              <p:cNvGrpSpPr/>
              <p:nvPr/>
            </p:nvGrpSpPr>
            <p:grpSpPr>
              <a:xfrm>
                <a:off x="5060990" y="1907988"/>
                <a:ext cx="348521" cy="470651"/>
                <a:chOff x="7011958" y="-48945"/>
                <a:chExt cx="557213" cy="752475"/>
              </a:xfrm>
              <a:solidFill>
                <a:schemeClr val="tx1">
                  <a:alpha val="12000"/>
                </a:schemeClr>
              </a:solidFill>
            </p:grpSpPr>
            <p:sp>
              <p:nvSpPr>
                <p:cNvPr id="174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4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1567"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568"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569"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570"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571"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572"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573"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574"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575"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576"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577"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578"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579"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580"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581"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582"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583"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584"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585"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586"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587"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588"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1589" name="Group 740"/>
              <p:cNvGrpSpPr/>
              <p:nvPr/>
            </p:nvGrpSpPr>
            <p:grpSpPr>
              <a:xfrm>
                <a:off x="7820024" y="1334439"/>
                <a:ext cx="348521" cy="470651"/>
                <a:chOff x="7011958" y="-48945"/>
                <a:chExt cx="557213" cy="752475"/>
              </a:xfrm>
              <a:solidFill>
                <a:schemeClr val="tx1">
                  <a:alpha val="12000"/>
                </a:schemeClr>
              </a:solidFill>
            </p:grpSpPr>
            <p:sp>
              <p:nvSpPr>
                <p:cNvPr id="174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4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1590" name="Group 746"/>
              <p:cNvGrpSpPr/>
              <p:nvPr/>
            </p:nvGrpSpPr>
            <p:grpSpPr>
              <a:xfrm>
                <a:off x="10239605" y="1334439"/>
                <a:ext cx="348521" cy="470651"/>
                <a:chOff x="7011958" y="-48945"/>
                <a:chExt cx="557213" cy="752475"/>
              </a:xfrm>
              <a:solidFill>
                <a:schemeClr val="tx1">
                  <a:alpha val="7000"/>
                </a:schemeClr>
              </a:solidFill>
            </p:grpSpPr>
            <p:sp>
              <p:nvSpPr>
                <p:cNvPr id="173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3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1591"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592"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593"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594"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1595" name="Group 740"/>
              <p:cNvGrpSpPr/>
              <p:nvPr/>
            </p:nvGrpSpPr>
            <p:grpSpPr>
              <a:xfrm>
                <a:off x="11612418" y="1334439"/>
                <a:ext cx="348521" cy="470651"/>
                <a:chOff x="7011958" y="-48945"/>
                <a:chExt cx="557213" cy="752475"/>
              </a:xfrm>
              <a:solidFill>
                <a:schemeClr val="tx1">
                  <a:alpha val="12000"/>
                </a:schemeClr>
              </a:solidFill>
            </p:grpSpPr>
            <p:sp>
              <p:nvSpPr>
                <p:cNvPr id="17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1596" name="Group 781"/>
              <p:cNvGrpSpPr/>
              <p:nvPr/>
            </p:nvGrpSpPr>
            <p:grpSpPr>
              <a:xfrm>
                <a:off x="6141930" y="711431"/>
                <a:ext cx="612096" cy="486108"/>
                <a:chOff x="9258271" y="-45770"/>
                <a:chExt cx="925513" cy="735013"/>
              </a:xfrm>
              <a:solidFill>
                <a:schemeClr val="bg2">
                  <a:alpha val="38000"/>
                </a:schemeClr>
              </a:solidFill>
            </p:grpSpPr>
            <p:sp>
              <p:nvSpPr>
                <p:cNvPr id="172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2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2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2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3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3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3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3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3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3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1597"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171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1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1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1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2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2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2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2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2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2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1598"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599"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600"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1601" name="Group 746"/>
              <p:cNvGrpSpPr/>
              <p:nvPr/>
            </p:nvGrpSpPr>
            <p:grpSpPr>
              <a:xfrm>
                <a:off x="8501950" y="726888"/>
                <a:ext cx="348521" cy="470651"/>
                <a:chOff x="7011958" y="-48945"/>
                <a:chExt cx="557213" cy="752475"/>
              </a:xfrm>
              <a:solidFill>
                <a:schemeClr val="tx1">
                  <a:alpha val="7000"/>
                </a:schemeClr>
              </a:solidFill>
            </p:grpSpPr>
            <p:sp>
              <p:nvSpPr>
                <p:cNvPr id="171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1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1602"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603"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604"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1605"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170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0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0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0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0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0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1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1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1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1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1606"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607"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608"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609"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1610" name="Group 740"/>
              <p:cNvGrpSpPr/>
              <p:nvPr/>
            </p:nvGrpSpPr>
            <p:grpSpPr>
              <a:xfrm>
                <a:off x="10147828" y="726888"/>
                <a:ext cx="348521" cy="470651"/>
                <a:chOff x="7011958" y="-48945"/>
                <a:chExt cx="557213" cy="752475"/>
              </a:xfrm>
              <a:solidFill>
                <a:schemeClr val="tx1">
                  <a:alpha val="12000"/>
                </a:schemeClr>
              </a:solidFill>
            </p:grpSpPr>
            <p:sp>
              <p:nvSpPr>
                <p:cNvPr id="170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0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1611"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612"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613"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614"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615"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616"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617"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618"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619"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620"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621"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1622" name="Group 746"/>
              <p:cNvGrpSpPr/>
              <p:nvPr/>
            </p:nvGrpSpPr>
            <p:grpSpPr>
              <a:xfrm>
                <a:off x="4531907" y="1334439"/>
                <a:ext cx="348521" cy="470651"/>
                <a:chOff x="7011958" y="-48945"/>
                <a:chExt cx="557213" cy="752475"/>
              </a:xfrm>
              <a:solidFill>
                <a:schemeClr val="tx1">
                  <a:alpha val="7000"/>
                </a:schemeClr>
              </a:solidFill>
            </p:grpSpPr>
            <p:sp>
              <p:nvSpPr>
                <p:cNvPr id="170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0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1623"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624"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625"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626"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627"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628"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629"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630"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631"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632"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633"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634"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1635" name="Group 740"/>
              <p:cNvGrpSpPr/>
              <p:nvPr/>
            </p:nvGrpSpPr>
            <p:grpSpPr>
              <a:xfrm>
                <a:off x="5073690" y="726888"/>
                <a:ext cx="348521" cy="470651"/>
                <a:chOff x="7011958" y="-48945"/>
                <a:chExt cx="557213" cy="752475"/>
              </a:xfrm>
              <a:solidFill>
                <a:schemeClr val="tx1">
                  <a:alpha val="12000"/>
                </a:schemeClr>
              </a:solidFill>
            </p:grpSpPr>
            <p:sp>
              <p:nvSpPr>
                <p:cNvPr id="169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9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1636"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637"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638"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639"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640"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641"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642"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643"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644"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645"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646"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647"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648"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649"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650"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651"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652"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653"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654"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655"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1656" name="Group 740"/>
              <p:cNvGrpSpPr/>
              <p:nvPr/>
            </p:nvGrpSpPr>
            <p:grpSpPr>
              <a:xfrm>
                <a:off x="2206625" y="46874"/>
                <a:ext cx="348521" cy="470651"/>
                <a:chOff x="7011958" y="-48945"/>
                <a:chExt cx="557213" cy="752475"/>
              </a:xfrm>
              <a:solidFill>
                <a:schemeClr val="tx1">
                  <a:alpha val="12000"/>
                </a:schemeClr>
              </a:solidFill>
            </p:grpSpPr>
            <p:sp>
              <p:nvSpPr>
                <p:cNvPr id="169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9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1657" name="Group 746"/>
              <p:cNvGrpSpPr/>
              <p:nvPr/>
            </p:nvGrpSpPr>
            <p:grpSpPr>
              <a:xfrm>
                <a:off x="4623272" y="46874"/>
                <a:ext cx="348521" cy="470651"/>
                <a:chOff x="7011958" y="-48945"/>
                <a:chExt cx="557213" cy="752475"/>
              </a:xfrm>
              <a:solidFill>
                <a:schemeClr val="tx1">
                  <a:alpha val="7000"/>
                </a:schemeClr>
              </a:solidFill>
            </p:grpSpPr>
            <p:sp>
              <p:nvSpPr>
                <p:cNvPr id="169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9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1658"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659"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660"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661"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662"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663"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664"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665"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1666" name="Group 740"/>
              <p:cNvGrpSpPr/>
              <p:nvPr/>
            </p:nvGrpSpPr>
            <p:grpSpPr>
              <a:xfrm>
                <a:off x="5994129" y="46874"/>
                <a:ext cx="348521" cy="470651"/>
                <a:chOff x="7011958" y="-48945"/>
                <a:chExt cx="557213" cy="752475"/>
              </a:xfrm>
              <a:solidFill>
                <a:schemeClr val="tx1">
                  <a:alpha val="12000"/>
                </a:schemeClr>
              </a:solidFill>
            </p:grpSpPr>
            <p:sp>
              <p:nvSpPr>
                <p:cNvPr id="169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9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1667"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668"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669"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670"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1671" name="Group 746"/>
              <p:cNvGrpSpPr/>
              <p:nvPr/>
            </p:nvGrpSpPr>
            <p:grpSpPr>
              <a:xfrm>
                <a:off x="10808405" y="46874"/>
                <a:ext cx="348521" cy="470651"/>
                <a:chOff x="7011958" y="-48945"/>
                <a:chExt cx="557213" cy="752475"/>
              </a:xfrm>
              <a:solidFill>
                <a:schemeClr val="tx1">
                  <a:alpha val="7000"/>
                </a:schemeClr>
              </a:solidFill>
            </p:grpSpPr>
            <p:sp>
              <p:nvSpPr>
                <p:cNvPr id="169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9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1672"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673"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674"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sz="1765"/>
              </a:p>
            </p:txBody>
          </p:sp>
          <p:grpSp>
            <p:nvGrpSpPr>
              <p:cNvPr id="1675"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168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8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8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8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8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8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8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8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8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8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1676"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677"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678"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679"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grpSp>
      <p:sp>
        <p:nvSpPr>
          <p:cNvPr id="2554" name="Rectangle 2553"/>
          <p:cNvSpPr/>
          <p:nvPr/>
        </p:nvSpPr>
        <p:spPr bwMode="auto">
          <a:xfrm>
            <a:off x="1998785" y="0"/>
            <a:ext cx="9144000" cy="6858000"/>
          </a:xfrm>
          <a:prstGeom prst="rect">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pPr>
            <a:endParaRPr lang="en-US" sz="1471" b="1" dirty="0">
              <a:solidFill>
                <a:schemeClr val="bg1"/>
              </a:solidFill>
              <a:latin typeface="+mj-lt"/>
              <a:ea typeface="Segoe UI" pitchFamily="34" charset="0"/>
              <a:cs typeface="Segoe UI" pitchFamily="34" charset="0"/>
            </a:endParaRPr>
          </a:p>
        </p:txBody>
      </p:sp>
      <p:sp>
        <p:nvSpPr>
          <p:cNvPr id="2" name="Footer Placeholder 1"/>
          <p:cNvSpPr>
            <a:spLocks noGrp="1"/>
          </p:cNvSpPr>
          <p:nvPr>
            <p:ph type="ftr" sz="quarter" idx="10"/>
          </p:nvPr>
        </p:nvSpPr>
        <p:spPr>
          <a:xfrm>
            <a:off x="336159" y="6437742"/>
            <a:ext cx="2894705" cy="133860"/>
          </a:xfrm>
          <a:prstGeom prst="rect">
            <a:avLst/>
          </a:prstGeom>
        </p:spPr>
        <p:txBody>
          <a:bodyPr/>
          <a:lstStyle>
            <a:lvl1pPr fontAlgn="base">
              <a:spcBef>
                <a:spcPct val="0"/>
              </a:spcBef>
              <a:spcAft>
                <a:spcPct val="0"/>
              </a:spcAft>
              <a:defRPr dirty="0" smtClean="0">
                <a:solidFill>
                  <a:srgbClr val="000000"/>
                </a:solidFill>
              </a:defRPr>
            </a:lvl1pPr>
          </a:lstStyle>
          <a:p>
            <a:pPr>
              <a:defRPr/>
            </a:pPr>
            <a:r>
              <a:t>Microsoft Confidential</a:t>
            </a:r>
          </a:p>
        </p:txBody>
      </p:sp>
      <p:sp>
        <p:nvSpPr>
          <p:cNvPr id="3" name="Slide Number Placeholder 2"/>
          <p:cNvSpPr>
            <a:spLocks noGrp="1"/>
          </p:cNvSpPr>
          <p:nvPr>
            <p:ph type="sldNum" sz="quarter" idx="11"/>
          </p:nvPr>
        </p:nvSpPr>
        <p:spPr/>
        <p:txBody>
          <a:bodyPr/>
          <a:lstStyle>
            <a:lvl1pPr defTabSz="685129" fontAlgn="base">
              <a:spcBef>
                <a:spcPct val="0"/>
              </a:spcBef>
              <a:spcAft>
                <a:spcPct val="0"/>
              </a:spcAft>
              <a:defRPr smtClean="0">
                <a:solidFill>
                  <a:srgbClr val="000000"/>
                </a:solidFill>
              </a:defRPr>
            </a:lvl1pPr>
          </a:lstStyle>
          <a:p>
            <a:pPr>
              <a:defRPr/>
            </a:pPr>
            <a:fld id="{F8A0AC42-AA1D-4944-8D96-660DE70C7E1B}" type="slidenum">
              <a:rPr/>
              <a:pPr>
                <a:defRPr/>
              </a:pPr>
              <a:t>‹#›</a:t>
            </a:fld>
            <a:endParaRPr dirty="0"/>
          </a:p>
        </p:txBody>
      </p:sp>
    </p:spTree>
    <p:extLst>
      <p:ext uri="{BB962C8B-B14F-4D97-AF65-F5344CB8AC3E}">
        <p14:creationId xmlns:p14="http://schemas.microsoft.com/office/powerpoint/2010/main" val="1760679964"/>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01930" y="1189178"/>
            <a:ext cx="8740142" cy="2396047"/>
          </a:xfrm>
          <a:prstGeom prst="rect">
            <a:avLst/>
          </a:prstGeom>
        </p:spPr>
        <p:txBody>
          <a:bodyPr/>
          <a:lstStyle>
            <a:lvl1pPr marL="213593" indent="-213593">
              <a:buClr>
                <a:schemeClr val="tx1"/>
              </a:buClr>
              <a:buSzPct val="90000"/>
              <a:buFont typeface="Arial" pitchFamily="34" charset="0"/>
              <a:buChar char="•"/>
              <a:defRPr sz="264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420181" indent="-206590">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633773" indent="-213593">
              <a:buClr>
                <a:schemeClr val="tx1"/>
              </a:buClr>
              <a:buSzPct val="90000"/>
              <a:buFont typeface="Arial" pitchFamily="34" charset="0"/>
              <a:buChar char="•"/>
              <a:defRPr sz="2059">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801846" indent="-168073">
              <a:buClr>
                <a:schemeClr val="tx1"/>
              </a:buClr>
              <a:buSzPct val="90000"/>
              <a:buFont typeface="Arial" pitchFamily="34" charset="0"/>
              <a:buChar char="•"/>
              <a:defRPr sz="1765">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969919" indent="-168073">
              <a:buClr>
                <a:schemeClr val="tx1"/>
              </a:buClr>
              <a:buSzPct val="90000"/>
              <a:buFont typeface="Arial" pitchFamily="34" charset="0"/>
              <a:buChar char="•"/>
              <a:defRPr sz="147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7"/>
            <a:ext cx="9144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2720" spc="-3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267872376"/>
      </p:ext>
    </p:extLst>
  </p:cSld>
  <p:clrMapOvr>
    <a:overrideClrMapping bg1="dk1" tx1="lt1" bg2="dk2" tx2="lt2" accent1="accent1" accent2="accent2" accent3="accent3" accent4="accent4" accent5="accent5" accent6="accent6" hlink="hlink" folHlink="folHlink"/>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92.xml"/><Relationship Id="rId13" Type="http://schemas.openxmlformats.org/officeDocument/2006/relationships/slideLayout" Target="../slideLayouts/slideLayout197.xml"/><Relationship Id="rId18" Type="http://schemas.openxmlformats.org/officeDocument/2006/relationships/slideLayout" Target="../slideLayouts/slideLayout202.xml"/><Relationship Id="rId3" Type="http://schemas.openxmlformats.org/officeDocument/2006/relationships/slideLayout" Target="../slideLayouts/slideLayout187.xml"/><Relationship Id="rId21" Type="http://schemas.openxmlformats.org/officeDocument/2006/relationships/tags" Target="../tags/tag7.xml"/><Relationship Id="rId7" Type="http://schemas.openxmlformats.org/officeDocument/2006/relationships/slideLayout" Target="../slideLayouts/slideLayout191.xml"/><Relationship Id="rId12" Type="http://schemas.openxmlformats.org/officeDocument/2006/relationships/slideLayout" Target="../slideLayouts/slideLayout196.xml"/><Relationship Id="rId17" Type="http://schemas.openxmlformats.org/officeDocument/2006/relationships/slideLayout" Target="../slideLayouts/slideLayout201.xml"/><Relationship Id="rId2" Type="http://schemas.openxmlformats.org/officeDocument/2006/relationships/slideLayout" Target="../slideLayouts/slideLayout186.xml"/><Relationship Id="rId16" Type="http://schemas.openxmlformats.org/officeDocument/2006/relationships/slideLayout" Target="../slideLayouts/slideLayout200.xml"/><Relationship Id="rId20" Type="http://schemas.openxmlformats.org/officeDocument/2006/relationships/vmlDrawing" Target="../drawings/vmlDrawing7.vml"/><Relationship Id="rId1" Type="http://schemas.openxmlformats.org/officeDocument/2006/relationships/slideLayout" Target="../slideLayouts/slideLayout185.xml"/><Relationship Id="rId6" Type="http://schemas.openxmlformats.org/officeDocument/2006/relationships/slideLayout" Target="../slideLayouts/slideLayout190.xml"/><Relationship Id="rId11" Type="http://schemas.openxmlformats.org/officeDocument/2006/relationships/slideLayout" Target="../slideLayouts/slideLayout195.xml"/><Relationship Id="rId24" Type="http://schemas.openxmlformats.org/officeDocument/2006/relationships/image" Target="../media/image5.emf"/><Relationship Id="rId5" Type="http://schemas.openxmlformats.org/officeDocument/2006/relationships/slideLayout" Target="../slideLayouts/slideLayout189.xml"/><Relationship Id="rId15" Type="http://schemas.openxmlformats.org/officeDocument/2006/relationships/slideLayout" Target="../slideLayouts/slideLayout199.xml"/><Relationship Id="rId23" Type="http://schemas.openxmlformats.org/officeDocument/2006/relationships/image" Target="../media/image12.emf"/><Relationship Id="rId10" Type="http://schemas.openxmlformats.org/officeDocument/2006/relationships/slideLayout" Target="../slideLayouts/slideLayout194.xml"/><Relationship Id="rId19" Type="http://schemas.openxmlformats.org/officeDocument/2006/relationships/theme" Target="../theme/theme10.xml"/><Relationship Id="rId4" Type="http://schemas.openxmlformats.org/officeDocument/2006/relationships/slideLayout" Target="../slideLayouts/slideLayout188.xml"/><Relationship Id="rId9" Type="http://schemas.openxmlformats.org/officeDocument/2006/relationships/slideLayout" Target="../slideLayouts/slideLayout193.xml"/><Relationship Id="rId14" Type="http://schemas.openxmlformats.org/officeDocument/2006/relationships/slideLayout" Target="../slideLayouts/slideLayout198.xml"/><Relationship Id="rId22"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slideLayout" Target="../slideLayouts/slideLayout37.xml"/><Relationship Id="rId18" Type="http://schemas.openxmlformats.org/officeDocument/2006/relationships/slideLayout" Target="../slideLayouts/slideLayout42.xml"/><Relationship Id="rId3" Type="http://schemas.openxmlformats.org/officeDocument/2006/relationships/slideLayout" Target="../slideLayouts/slideLayout27.xml"/><Relationship Id="rId21" Type="http://schemas.openxmlformats.org/officeDocument/2006/relationships/slideLayout" Target="../slideLayouts/slideLayout45.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17" Type="http://schemas.openxmlformats.org/officeDocument/2006/relationships/slideLayout" Target="../slideLayouts/slideLayout41.xml"/><Relationship Id="rId25" Type="http://schemas.openxmlformats.org/officeDocument/2006/relationships/theme" Target="../theme/theme2.xml"/><Relationship Id="rId2" Type="http://schemas.openxmlformats.org/officeDocument/2006/relationships/slideLayout" Target="../slideLayouts/slideLayout26.xml"/><Relationship Id="rId16" Type="http://schemas.openxmlformats.org/officeDocument/2006/relationships/slideLayout" Target="../slideLayouts/slideLayout40.xml"/><Relationship Id="rId20" Type="http://schemas.openxmlformats.org/officeDocument/2006/relationships/slideLayout" Target="../slideLayouts/slideLayout44.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24" Type="http://schemas.openxmlformats.org/officeDocument/2006/relationships/slideLayout" Target="../slideLayouts/slideLayout48.xml"/><Relationship Id="rId5" Type="http://schemas.openxmlformats.org/officeDocument/2006/relationships/slideLayout" Target="../slideLayouts/slideLayout29.xml"/><Relationship Id="rId15" Type="http://schemas.openxmlformats.org/officeDocument/2006/relationships/slideLayout" Target="../slideLayouts/slideLayout39.xml"/><Relationship Id="rId23" Type="http://schemas.openxmlformats.org/officeDocument/2006/relationships/slideLayout" Target="../slideLayouts/slideLayout47.xml"/><Relationship Id="rId10" Type="http://schemas.openxmlformats.org/officeDocument/2006/relationships/slideLayout" Target="../slideLayouts/slideLayout34.xml"/><Relationship Id="rId19" Type="http://schemas.openxmlformats.org/officeDocument/2006/relationships/slideLayout" Target="../slideLayouts/slideLayout43.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slideLayout" Target="../slideLayouts/slideLayout38.xml"/><Relationship Id="rId22" Type="http://schemas.openxmlformats.org/officeDocument/2006/relationships/slideLayout" Target="../slideLayouts/slideLayout46.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6.xml"/><Relationship Id="rId13" Type="http://schemas.openxmlformats.org/officeDocument/2006/relationships/slideLayout" Target="../slideLayouts/slideLayout61.xml"/><Relationship Id="rId18" Type="http://schemas.openxmlformats.org/officeDocument/2006/relationships/slideLayout" Target="../slideLayouts/slideLayout66.xml"/><Relationship Id="rId3" Type="http://schemas.openxmlformats.org/officeDocument/2006/relationships/slideLayout" Target="../slideLayouts/slideLayout51.xml"/><Relationship Id="rId21" Type="http://schemas.openxmlformats.org/officeDocument/2006/relationships/slideLayout" Target="../slideLayouts/slideLayout69.xml"/><Relationship Id="rId7" Type="http://schemas.openxmlformats.org/officeDocument/2006/relationships/slideLayout" Target="../slideLayouts/slideLayout55.xml"/><Relationship Id="rId12" Type="http://schemas.openxmlformats.org/officeDocument/2006/relationships/slideLayout" Target="../slideLayouts/slideLayout60.xml"/><Relationship Id="rId17" Type="http://schemas.openxmlformats.org/officeDocument/2006/relationships/slideLayout" Target="../slideLayouts/slideLayout65.xml"/><Relationship Id="rId2" Type="http://schemas.openxmlformats.org/officeDocument/2006/relationships/slideLayout" Target="../slideLayouts/slideLayout50.xml"/><Relationship Id="rId16" Type="http://schemas.openxmlformats.org/officeDocument/2006/relationships/slideLayout" Target="../slideLayouts/slideLayout64.xml"/><Relationship Id="rId20" Type="http://schemas.openxmlformats.org/officeDocument/2006/relationships/slideLayout" Target="../slideLayouts/slideLayout68.xml"/><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slideLayout" Target="../slideLayouts/slideLayout59.xml"/><Relationship Id="rId24" Type="http://schemas.openxmlformats.org/officeDocument/2006/relationships/theme" Target="../theme/theme3.xml"/><Relationship Id="rId5" Type="http://schemas.openxmlformats.org/officeDocument/2006/relationships/slideLayout" Target="../slideLayouts/slideLayout53.xml"/><Relationship Id="rId15" Type="http://schemas.openxmlformats.org/officeDocument/2006/relationships/slideLayout" Target="../slideLayouts/slideLayout63.xml"/><Relationship Id="rId23" Type="http://schemas.openxmlformats.org/officeDocument/2006/relationships/slideLayout" Target="../slideLayouts/slideLayout71.xml"/><Relationship Id="rId10" Type="http://schemas.openxmlformats.org/officeDocument/2006/relationships/slideLayout" Target="../slideLayouts/slideLayout58.xml"/><Relationship Id="rId19" Type="http://schemas.openxmlformats.org/officeDocument/2006/relationships/slideLayout" Target="../slideLayouts/slideLayout67.xml"/><Relationship Id="rId4" Type="http://schemas.openxmlformats.org/officeDocument/2006/relationships/slideLayout" Target="../slideLayouts/slideLayout52.xml"/><Relationship Id="rId9" Type="http://schemas.openxmlformats.org/officeDocument/2006/relationships/slideLayout" Target="../slideLayouts/slideLayout57.xml"/><Relationship Id="rId14" Type="http://schemas.openxmlformats.org/officeDocument/2006/relationships/slideLayout" Target="../slideLayouts/slideLayout62.xml"/><Relationship Id="rId22" Type="http://schemas.openxmlformats.org/officeDocument/2006/relationships/slideLayout" Target="../slideLayouts/slideLayout70.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9.xml"/><Relationship Id="rId13" Type="http://schemas.openxmlformats.org/officeDocument/2006/relationships/slideLayout" Target="../slideLayouts/slideLayout84.xml"/><Relationship Id="rId18" Type="http://schemas.openxmlformats.org/officeDocument/2006/relationships/slideLayout" Target="../slideLayouts/slideLayout89.xml"/><Relationship Id="rId3" Type="http://schemas.openxmlformats.org/officeDocument/2006/relationships/slideLayout" Target="../slideLayouts/slideLayout74.xml"/><Relationship Id="rId7" Type="http://schemas.openxmlformats.org/officeDocument/2006/relationships/slideLayout" Target="../slideLayouts/slideLayout78.xml"/><Relationship Id="rId12" Type="http://schemas.openxmlformats.org/officeDocument/2006/relationships/slideLayout" Target="../slideLayouts/slideLayout83.xml"/><Relationship Id="rId17" Type="http://schemas.openxmlformats.org/officeDocument/2006/relationships/slideLayout" Target="../slideLayouts/slideLayout88.xml"/><Relationship Id="rId2" Type="http://schemas.openxmlformats.org/officeDocument/2006/relationships/slideLayout" Target="../slideLayouts/slideLayout73.xml"/><Relationship Id="rId16" Type="http://schemas.openxmlformats.org/officeDocument/2006/relationships/slideLayout" Target="../slideLayouts/slideLayout87.xml"/><Relationship Id="rId20" Type="http://schemas.openxmlformats.org/officeDocument/2006/relationships/image" Target="../media/image5.emf"/><Relationship Id="rId1" Type="http://schemas.openxmlformats.org/officeDocument/2006/relationships/slideLayout" Target="../slideLayouts/slideLayout72.xml"/><Relationship Id="rId6" Type="http://schemas.openxmlformats.org/officeDocument/2006/relationships/slideLayout" Target="../slideLayouts/slideLayout77.xml"/><Relationship Id="rId11" Type="http://schemas.openxmlformats.org/officeDocument/2006/relationships/slideLayout" Target="../slideLayouts/slideLayout82.xml"/><Relationship Id="rId5" Type="http://schemas.openxmlformats.org/officeDocument/2006/relationships/slideLayout" Target="../slideLayouts/slideLayout76.xml"/><Relationship Id="rId15" Type="http://schemas.openxmlformats.org/officeDocument/2006/relationships/slideLayout" Target="../slideLayouts/slideLayout86.xml"/><Relationship Id="rId10" Type="http://schemas.openxmlformats.org/officeDocument/2006/relationships/slideLayout" Target="../slideLayouts/slideLayout81.xml"/><Relationship Id="rId19" Type="http://schemas.openxmlformats.org/officeDocument/2006/relationships/theme" Target="../theme/theme4.xml"/><Relationship Id="rId4" Type="http://schemas.openxmlformats.org/officeDocument/2006/relationships/slideLayout" Target="../slideLayouts/slideLayout75.xml"/><Relationship Id="rId9" Type="http://schemas.openxmlformats.org/officeDocument/2006/relationships/slideLayout" Target="../slideLayouts/slideLayout80.xml"/><Relationship Id="rId14" Type="http://schemas.openxmlformats.org/officeDocument/2006/relationships/slideLayout" Target="../slideLayouts/slideLayout85.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97.xml"/><Relationship Id="rId13" Type="http://schemas.openxmlformats.org/officeDocument/2006/relationships/slideLayout" Target="../slideLayouts/slideLayout102.xml"/><Relationship Id="rId18" Type="http://schemas.openxmlformats.org/officeDocument/2006/relationships/slideLayout" Target="../slideLayouts/slideLayout107.xml"/><Relationship Id="rId26" Type="http://schemas.openxmlformats.org/officeDocument/2006/relationships/slideLayout" Target="../slideLayouts/slideLayout115.xml"/><Relationship Id="rId3" Type="http://schemas.openxmlformats.org/officeDocument/2006/relationships/slideLayout" Target="../slideLayouts/slideLayout92.xml"/><Relationship Id="rId21" Type="http://schemas.openxmlformats.org/officeDocument/2006/relationships/slideLayout" Target="../slideLayouts/slideLayout110.xml"/><Relationship Id="rId7" Type="http://schemas.openxmlformats.org/officeDocument/2006/relationships/slideLayout" Target="../slideLayouts/slideLayout96.xml"/><Relationship Id="rId12" Type="http://schemas.openxmlformats.org/officeDocument/2006/relationships/slideLayout" Target="../slideLayouts/slideLayout101.xml"/><Relationship Id="rId17" Type="http://schemas.openxmlformats.org/officeDocument/2006/relationships/slideLayout" Target="../slideLayouts/slideLayout106.xml"/><Relationship Id="rId25" Type="http://schemas.openxmlformats.org/officeDocument/2006/relationships/slideLayout" Target="../slideLayouts/slideLayout114.xml"/><Relationship Id="rId2" Type="http://schemas.openxmlformats.org/officeDocument/2006/relationships/slideLayout" Target="../slideLayouts/slideLayout91.xml"/><Relationship Id="rId16" Type="http://schemas.openxmlformats.org/officeDocument/2006/relationships/slideLayout" Target="../slideLayouts/slideLayout105.xml"/><Relationship Id="rId20" Type="http://schemas.openxmlformats.org/officeDocument/2006/relationships/slideLayout" Target="../slideLayouts/slideLayout109.xml"/><Relationship Id="rId29" Type="http://schemas.openxmlformats.org/officeDocument/2006/relationships/slideLayout" Target="../slideLayouts/slideLayout118.xml"/><Relationship Id="rId1" Type="http://schemas.openxmlformats.org/officeDocument/2006/relationships/slideLayout" Target="../slideLayouts/slideLayout90.xml"/><Relationship Id="rId6" Type="http://schemas.openxmlformats.org/officeDocument/2006/relationships/slideLayout" Target="../slideLayouts/slideLayout95.xml"/><Relationship Id="rId11" Type="http://schemas.openxmlformats.org/officeDocument/2006/relationships/slideLayout" Target="../slideLayouts/slideLayout100.xml"/><Relationship Id="rId24" Type="http://schemas.openxmlformats.org/officeDocument/2006/relationships/slideLayout" Target="../slideLayouts/slideLayout113.xml"/><Relationship Id="rId5" Type="http://schemas.openxmlformats.org/officeDocument/2006/relationships/slideLayout" Target="../slideLayouts/slideLayout94.xml"/><Relationship Id="rId15" Type="http://schemas.openxmlformats.org/officeDocument/2006/relationships/slideLayout" Target="../slideLayouts/slideLayout104.xml"/><Relationship Id="rId23" Type="http://schemas.openxmlformats.org/officeDocument/2006/relationships/slideLayout" Target="../slideLayouts/slideLayout112.xml"/><Relationship Id="rId28" Type="http://schemas.openxmlformats.org/officeDocument/2006/relationships/slideLayout" Target="../slideLayouts/slideLayout117.xml"/><Relationship Id="rId10" Type="http://schemas.openxmlformats.org/officeDocument/2006/relationships/slideLayout" Target="../slideLayouts/slideLayout99.xml"/><Relationship Id="rId19" Type="http://schemas.openxmlformats.org/officeDocument/2006/relationships/slideLayout" Target="../slideLayouts/slideLayout108.xml"/><Relationship Id="rId31" Type="http://schemas.openxmlformats.org/officeDocument/2006/relationships/theme" Target="../theme/theme5.xml"/><Relationship Id="rId4" Type="http://schemas.openxmlformats.org/officeDocument/2006/relationships/slideLayout" Target="../slideLayouts/slideLayout93.xml"/><Relationship Id="rId9" Type="http://schemas.openxmlformats.org/officeDocument/2006/relationships/slideLayout" Target="../slideLayouts/slideLayout98.xml"/><Relationship Id="rId14" Type="http://schemas.openxmlformats.org/officeDocument/2006/relationships/slideLayout" Target="../slideLayouts/slideLayout103.xml"/><Relationship Id="rId22" Type="http://schemas.openxmlformats.org/officeDocument/2006/relationships/slideLayout" Target="../slideLayouts/slideLayout111.xml"/><Relationship Id="rId27" Type="http://schemas.openxmlformats.org/officeDocument/2006/relationships/slideLayout" Target="../slideLayouts/slideLayout116.xml"/><Relationship Id="rId30" Type="http://schemas.openxmlformats.org/officeDocument/2006/relationships/slideLayout" Target="../slideLayouts/slideLayout119.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27.xml"/><Relationship Id="rId13" Type="http://schemas.openxmlformats.org/officeDocument/2006/relationships/slideLayout" Target="../slideLayouts/slideLayout132.xml"/><Relationship Id="rId18" Type="http://schemas.openxmlformats.org/officeDocument/2006/relationships/slideLayout" Target="../slideLayouts/slideLayout137.xml"/><Relationship Id="rId3" Type="http://schemas.openxmlformats.org/officeDocument/2006/relationships/slideLayout" Target="../slideLayouts/slideLayout122.xml"/><Relationship Id="rId21" Type="http://schemas.openxmlformats.org/officeDocument/2006/relationships/tags" Target="../tags/tag1.xml"/><Relationship Id="rId7" Type="http://schemas.openxmlformats.org/officeDocument/2006/relationships/slideLayout" Target="../slideLayouts/slideLayout126.xml"/><Relationship Id="rId12" Type="http://schemas.openxmlformats.org/officeDocument/2006/relationships/slideLayout" Target="../slideLayouts/slideLayout131.xml"/><Relationship Id="rId17" Type="http://schemas.openxmlformats.org/officeDocument/2006/relationships/slideLayout" Target="../slideLayouts/slideLayout136.xml"/><Relationship Id="rId2" Type="http://schemas.openxmlformats.org/officeDocument/2006/relationships/slideLayout" Target="../slideLayouts/slideLayout121.xml"/><Relationship Id="rId16" Type="http://schemas.openxmlformats.org/officeDocument/2006/relationships/slideLayout" Target="../slideLayouts/slideLayout135.xml"/><Relationship Id="rId20" Type="http://schemas.openxmlformats.org/officeDocument/2006/relationships/vmlDrawing" Target="../drawings/vmlDrawing1.vml"/><Relationship Id="rId1" Type="http://schemas.openxmlformats.org/officeDocument/2006/relationships/slideLayout" Target="../slideLayouts/slideLayout120.xml"/><Relationship Id="rId6" Type="http://schemas.openxmlformats.org/officeDocument/2006/relationships/slideLayout" Target="../slideLayouts/slideLayout125.xml"/><Relationship Id="rId11" Type="http://schemas.openxmlformats.org/officeDocument/2006/relationships/slideLayout" Target="../slideLayouts/slideLayout130.xml"/><Relationship Id="rId24" Type="http://schemas.openxmlformats.org/officeDocument/2006/relationships/image" Target="../media/image5.emf"/><Relationship Id="rId5" Type="http://schemas.openxmlformats.org/officeDocument/2006/relationships/slideLayout" Target="../slideLayouts/slideLayout124.xml"/><Relationship Id="rId15" Type="http://schemas.openxmlformats.org/officeDocument/2006/relationships/slideLayout" Target="../slideLayouts/slideLayout134.xml"/><Relationship Id="rId23" Type="http://schemas.openxmlformats.org/officeDocument/2006/relationships/image" Target="../media/image12.emf"/><Relationship Id="rId10" Type="http://schemas.openxmlformats.org/officeDocument/2006/relationships/slideLayout" Target="../slideLayouts/slideLayout129.xml"/><Relationship Id="rId19" Type="http://schemas.openxmlformats.org/officeDocument/2006/relationships/theme" Target="../theme/theme6.xml"/><Relationship Id="rId4" Type="http://schemas.openxmlformats.org/officeDocument/2006/relationships/slideLayout" Target="../slideLayouts/slideLayout123.xml"/><Relationship Id="rId9" Type="http://schemas.openxmlformats.org/officeDocument/2006/relationships/slideLayout" Target="../slideLayouts/slideLayout128.xml"/><Relationship Id="rId14" Type="http://schemas.openxmlformats.org/officeDocument/2006/relationships/slideLayout" Target="../slideLayouts/slideLayout133.xml"/><Relationship Id="rId22" Type="http://schemas.openxmlformats.org/officeDocument/2006/relationships/oleObject" Target="../embeddings/oleObject1.bin"/></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45.xml"/><Relationship Id="rId13" Type="http://schemas.openxmlformats.org/officeDocument/2006/relationships/slideLayout" Target="../slideLayouts/slideLayout150.xml"/><Relationship Id="rId18" Type="http://schemas.openxmlformats.org/officeDocument/2006/relationships/slideLayout" Target="../slideLayouts/slideLayout155.xml"/><Relationship Id="rId3" Type="http://schemas.openxmlformats.org/officeDocument/2006/relationships/slideLayout" Target="../slideLayouts/slideLayout140.xml"/><Relationship Id="rId21" Type="http://schemas.openxmlformats.org/officeDocument/2006/relationships/tags" Target="../tags/tag3.xml"/><Relationship Id="rId7" Type="http://schemas.openxmlformats.org/officeDocument/2006/relationships/slideLayout" Target="../slideLayouts/slideLayout144.xml"/><Relationship Id="rId12" Type="http://schemas.openxmlformats.org/officeDocument/2006/relationships/slideLayout" Target="../slideLayouts/slideLayout149.xml"/><Relationship Id="rId17" Type="http://schemas.openxmlformats.org/officeDocument/2006/relationships/slideLayout" Target="../slideLayouts/slideLayout154.xml"/><Relationship Id="rId2" Type="http://schemas.openxmlformats.org/officeDocument/2006/relationships/slideLayout" Target="../slideLayouts/slideLayout139.xml"/><Relationship Id="rId16" Type="http://schemas.openxmlformats.org/officeDocument/2006/relationships/slideLayout" Target="../slideLayouts/slideLayout153.xml"/><Relationship Id="rId20" Type="http://schemas.openxmlformats.org/officeDocument/2006/relationships/vmlDrawing" Target="../drawings/vmlDrawing3.vml"/><Relationship Id="rId1" Type="http://schemas.openxmlformats.org/officeDocument/2006/relationships/slideLayout" Target="../slideLayouts/slideLayout138.xml"/><Relationship Id="rId6" Type="http://schemas.openxmlformats.org/officeDocument/2006/relationships/slideLayout" Target="../slideLayouts/slideLayout143.xml"/><Relationship Id="rId11" Type="http://schemas.openxmlformats.org/officeDocument/2006/relationships/slideLayout" Target="../slideLayouts/slideLayout148.xml"/><Relationship Id="rId24" Type="http://schemas.openxmlformats.org/officeDocument/2006/relationships/image" Target="../media/image5.emf"/><Relationship Id="rId5" Type="http://schemas.openxmlformats.org/officeDocument/2006/relationships/slideLayout" Target="../slideLayouts/slideLayout142.xml"/><Relationship Id="rId15" Type="http://schemas.openxmlformats.org/officeDocument/2006/relationships/slideLayout" Target="../slideLayouts/slideLayout152.xml"/><Relationship Id="rId23" Type="http://schemas.openxmlformats.org/officeDocument/2006/relationships/image" Target="../media/image12.emf"/><Relationship Id="rId10" Type="http://schemas.openxmlformats.org/officeDocument/2006/relationships/slideLayout" Target="../slideLayouts/slideLayout147.xml"/><Relationship Id="rId19" Type="http://schemas.openxmlformats.org/officeDocument/2006/relationships/theme" Target="../theme/theme7.xml"/><Relationship Id="rId4" Type="http://schemas.openxmlformats.org/officeDocument/2006/relationships/slideLayout" Target="../slideLayouts/slideLayout141.xml"/><Relationship Id="rId9" Type="http://schemas.openxmlformats.org/officeDocument/2006/relationships/slideLayout" Target="../slideLayouts/slideLayout146.xml"/><Relationship Id="rId14" Type="http://schemas.openxmlformats.org/officeDocument/2006/relationships/slideLayout" Target="../slideLayouts/slideLayout151.xml"/><Relationship Id="rId22" Type="http://schemas.openxmlformats.org/officeDocument/2006/relationships/oleObject" Target="../embeddings/oleObject1.bin"/></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63.xml"/><Relationship Id="rId13" Type="http://schemas.openxmlformats.org/officeDocument/2006/relationships/slideLayout" Target="../slideLayouts/slideLayout168.xml"/><Relationship Id="rId18" Type="http://schemas.openxmlformats.org/officeDocument/2006/relationships/slideLayout" Target="../slideLayouts/slideLayout173.xml"/><Relationship Id="rId3" Type="http://schemas.openxmlformats.org/officeDocument/2006/relationships/slideLayout" Target="../slideLayouts/slideLayout158.xml"/><Relationship Id="rId21" Type="http://schemas.openxmlformats.org/officeDocument/2006/relationships/tags" Target="../tags/tag5.xml"/><Relationship Id="rId7" Type="http://schemas.openxmlformats.org/officeDocument/2006/relationships/slideLayout" Target="../slideLayouts/slideLayout162.xml"/><Relationship Id="rId12" Type="http://schemas.openxmlformats.org/officeDocument/2006/relationships/slideLayout" Target="../slideLayouts/slideLayout167.xml"/><Relationship Id="rId17" Type="http://schemas.openxmlformats.org/officeDocument/2006/relationships/slideLayout" Target="../slideLayouts/slideLayout172.xml"/><Relationship Id="rId2" Type="http://schemas.openxmlformats.org/officeDocument/2006/relationships/slideLayout" Target="../slideLayouts/slideLayout157.xml"/><Relationship Id="rId16" Type="http://schemas.openxmlformats.org/officeDocument/2006/relationships/slideLayout" Target="../slideLayouts/slideLayout171.xml"/><Relationship Id="rId20" Type="http://schemas.openxmlformats.org/officeDocument/2006/relationships/vmlDrawing" Target="../drawings/vmlDrawing5.vml"/><Relationship Id="rId1" Type="http://schemas.openxmlformats.org/officeDocument/2006/relationships/slideLayout" Target="../slideLayouts/slideLayout156.xml"/><Relationship Id="rId6" Type="http://schemas.openxmlformats.org/officeDocument/2006/relationships/slideLayout" Target="../slideLayouts/slideLayout161.xml"/><Relationship Id="rId11" Type="http://schemas.openxmlformats.org/officeDocument/2006/relationships/slideLayout" Target="../slideLayouts/slideLayout166.xml"/><Relationship Id="rId24" Type="http://schemas.openxmlformats.org/officeDocument/2006/relationships/image" Target="../media/image5.emf"/><Relationship Id="rId5" Type="http://schemas.openxmlformats.org/officeDocument/2006/relationships/slideLayout" Target="../slideLayouts/slideLayout160.xml"/><Relationship Id="rId15" Type="http://schemas.openxmlformats.org/officeDocument/2006/relationships/slideLayout" Target="../slideLayouts/slideLayout170.xml"/><Relationship Id="rId23" Type="http://schemas.openxmlformats.org/officeDocument/2006/relationships/image" Target="../media/image12.emf"/><Relationship Id="rId10" Type="http://schemas.openxmlformats.org/officeDocument/2006/relationships/slideLayout" Target="../slideLayouts/slideLayout165.xml"/><Relationship Id="rId19" Type="http://schemas.openxmlformats.org/officeDocument/2006/relationships/theme" Target="../theme/theme8.xml"/><Relationship Id="rId4" Type="http://schemas.openxmlformats.org/officeDocument/2006/relationships/slideLayout" Target="../slideLayouts/slideLayout159.xml"/><Relationship Id="rId9" Type="http://schemas.openxmlformats.org/officeDocument/2006/relationships/slideLayout" Target="../slideLayouts/slideLayout164.xml"/><Relationship Id="rId14" Type="http://schemas.openxmlformats.org/officeDocument/2006/relationships/slideLayout" Target="../slideLayouts/slideLayout169.xml"/><Relationship Id="rId22" Type="http://schemas.openxmlformats.org/officeDocument/2006/relationships/oleObject" Target="../embeddings/oleObject1.bin"/></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81.xml"/><Relationship Id="rId3" Type="http://schemas.openxmlformats.org/officeDocument/2006/relationships/slideLayout" Target="../slideLayouts/slideLayout176.xml"/><Relationship Id="rId7" Type="http://schemas.openxmlformats.org/officeDocument/2006/relationships/slideLayout" Target="../slideLayouts/slideLayout180.xml"/><Relationship Id="rId12" Type="http://schemas.openxmlformats.org/officeDocument/2006/relationships/theme" Target="../theme/theme9.xml"/><Relationship Id="rId2" Type="http://schemas.openxmlformats.org/officeDocument/2006/relationships/slideLayout" Target="../slideLayouts/slideLayout175.xml"/><Relationship Id="rId1" Type="http://schemas.openxmlformats.org/officeDocument/2006/relationships/slideLayout" Target="../slideLayouts/slideLayout174.xml"/><Relationship Id="rId6" Type="http://schemas.openxmlformats.org/officeDocument/2006/relationships/slideLayout" Target="../slideLayouts/slideLayout179.xml"/><Relationship Id="rId11" Type="http://schemas.openxmlformats.org/officeDocument/2006/relationships/slideLayout" Target="../slideLayouts/slideLayout184.xml"/><Relationship Id="rId5" Type="http://schemas.openxmlformats.org/officeDocument/2006/relationships/slideLayout" Target="../slideLayouts/slideLayout178.xml"/><Relationship Id="rId10" Type="http://schemas.openxmlformats.org/officeDocument/2006/relationships/slideLayout" Target="../slideLayouts/slideLayout183.xml"/><Relationship Id="rId4" Type="http://schemas.openxmlformats.org/officeDocument/2006/relationships/slideLayout" Target="../slideLayouts/slideLayout177.xml"/><Relationship Id="rId9" Type="http://schemas.openxmlformats.org/officeDocument/2006/relationships/slideLayout" Target="../slideLayouts/slideLayout18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1"/>
            <a:ext cx="9144000" cy="1002323"/>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25001" name="Rectangle 9"/>
          <p:cNvSpPr>
            <a:spLocks noChangeArrowheads="1"/>
          </p:cNvSpPr>
          <p:nvPr/>
        </p:nvSpPr>
        <p:spPr bwMode="auto">
          <a:xfrm>
            <a:off x="4763" y="731838"/>
            <a:ext cx="9136062" cy="6111875"/>
          </a:xfrm>
          <a:prstGeom prst="rect">
            <a:avLst/>
          </a:prstGeom>
          <a:noFill/>
          <a:ln w="28575" algn="ctr">
            <a:noFill/>
            <a:miter lim="800000"/>
            <a:headEnd/>
            <a:tailEnd/>
          </a:ln>
          <a:effectLst/>
        </p:spPr>
        <p:txBody>
          <a:bodyPr wrap="none" anchor="ctr"/>
          <a:lstStyle/>
          <a:p>
            <a:pPr algn="ctr" eaLnBrk="0" hangingPunct="0">
              <a:defRPr/>
            </a:pPr>
            <a:endParaRPr lang="en-US" dirty="0">
              <a:cs typeface="+mn-cs"/>
            </a:endParaRPr>
          </a:p>
        </p:txBody>
      </p:sp>
      <p:sp>
        <p:nvSpPr>
          <p:cNvPr id="1029" name="Rectangle 4"/>
          <p:cNvSpPr>
            <a:spLocks noGrp="1" noChangeArrowheads="1"/>
          </p:cNvSpPr>
          <p:nvPr>
            <p:ph type="title"/>
          </p:nvPr>
        </p:nvSpPr>
        <p:spPr bwMode="auto">
          <a:xfrm>
            <a:off x="140678" y="-3"/>
            <a:ext cx="8827476" cy="896817"/>
          </a:xfrm>
          <a:prstGeom prst="rect">
            <a:avLst/>
          </a:prstGeom>
          <a:noFill/>
          <a:ln w="9525">
            <a:noFill/>
            <a:miter lim="800000"/>
            <a:headEnd/>
            <a:tailEnd/>
          </a:ln>
        </p:spPr>
        <p:txBody>
          <a:bodyPr vert="horz" wrap="square" lIns="0" tIns="45720" rIns="91440" bIns="45720" numCol="1" anchor="ctr" anchorCtr="0" compatLnSpc="1">
            <a:prstTxWarp prst="textNoShape">
              <a:avLst/>
            </a:prstTxWarp>
          </a:bodyPr>
          <a:lstStyle/>
          <a:p>
            <a:pPr lvl="0"/>
            <a:r>
              <a:rPr lang="en-US" dirty="0"/>
              <a:t>Slide Title</a:t>
            </a:r>
          </a:p>
        </p:txBody>
      </p:sp>
      <p:sp>
        <p:nvSpPr>
          <p:cNvPr id="1030" name="Rectangle 5"/>
          <p:cNvSpPr>
            <a:spLocks noGrp="1" noChangeArrowheads="1"/>
          </p:cNvSpPr>
          <p:nvPr>
            <p:ph type="body" idx="1"/>
          </p:nvPr>
        </p:nvSpPr>
        <p:spPr bwMode="auto">
          <a:xfrm>
            <a:off x="261253" y="1021215"/>
            <a:ext cx="8574837" cy="514735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a:t>Body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Box 7">
            <a:extLst>
              <a:ext uri="{FF2B5EF4-FFF2-40B4-BE49-F238E27FC236}">
                <a16:creationId xmlns:a16="http://schemas.microsoft.com/office/drawing/2014/main" id="{6F9E1F0F-225E-4E24-B49F-412C1037260E}"/>
              </a:ext>
            </a:extLst>
          </p:cNvPr>
          <p:cNvSpPr txBox="1"/>
          <p:nvPr userDrawn="1"/>
        </p:nvSpPr>
        <p:spPr>
          <a:xfrm>
            <a:off x="6750596" y="6566714"/>
            <a:ext cx="2388641" cy="276999"/>
          </a:xfrm>
          <a:prstGeom prst="rect">
            <a:avLst/>
          </a:prstGeom>
          <a:noFill/>
        </p:spPr>
        <p:txBody>
          <a:bodyPr wrap="square" rtlCol="0">
            <a:spAutoFit/>
          </a:bodyPr>
          <a:lstStyle/>
          <a:p>
            <a:pPr algn="r"/>
            <a:r>
              <a:rPr lang="en-US" sz="1200" b="0" dirty="0">
                <a:solidFill>
                  <a:schemeClr val="bg2">
                    <a:lumMod val="75000"/>
                  </a:schemeClr>
                </a:solidFill>
              </a:rPr>
              <a:t>#AzureArch  @stilldrey</a:t>
            </a:r>
          </a:p>
        </p:txBody>
      </p:sp>
    </p:spTree>
    <p:extLst>
      <p:ext uri="{BB962C8B-B14F-4D97-AF65-F5344CB8AC3E}">
        <p14:creationId xmlns:p14="http://schemas.microsoft.com/office/powerpoint/2010/main" val="2642523221"/>
      </p:ext>
    </p:extLst>
  </p:cSld>
  <p:clrMap bg1="lt1" tx1="dk1" bg2="lt2" tx2="dk2" accent1="accent1" accent2="accent2" accent3="accent3" accent4="accent4" accent5="accent5" accent6="accent6" hlink="hlink" folHlink="folHlink"/>
  <p:sldLayoutIdLst>
    <p:sldLayoutId id="2147483711" r:id="rId1"/>
    <p:sldLayoutId id="2147483709" r:id="rId2"/>
    <p:sldLayoutId id="2147483661" r:id="rId3"/>
    <p:sldLayoutId id="2147483672" r:id="rId4"/>
    <p:sldLayoutId id="2147483666" r:id="rId5"/>
    <p:sldLayoutId id="2147483701" r:id="rId6"/>
    <p:sldLayoutId id="2147483707" r:id="rId7"/>
    <p:sldLayoutId id="2147483662" r:id="rId8"/>
    <p:sldLayoutId id="2147483699" r:id="rId9"/>
    <p:sldLayoutId id="2147483708" r:id="rId10"/>
    <p:sldLayoutId id="2147483702" r:id="rId11"/>
    <p:sldLayoutId id="2147483700" r:id="rId12"/>
    <p:sldLayoutId id="2147483705" r:id="rId13"/>
    <p:sldLayoutId id="2147483703" r:id="rId14"/>
    <p:sldLayoutId id="2147483706" r:id="rId15"/>
    <p:sldLayoutId id="2147483663" r:id="rId16"/>
    <p:sldLayoutId id="2147483664" r:id="rId17"/>
    <p:sldLayoutId id="2147483665" r:id="rId18"/>
    <p:sldLayoutId id="2147483667" r:id="rId19"/>
    <p:sldLayoutId id="2147483668" r:id="rId20"/>
    <p:sldLayoutId id="2147483669" r:id="rId21"/>
    <p:sldLayoutId id="2147483670" r:id="rId22"/>
    <p:sldLayoutId id="2147483671" r:id="rId23"/>
    <p:sldLayoutId id="2147483710" r:id="rId24"/>
  </p:sldLayoutIdLst>
  <p:txStyles>
    <p:titleStyle>
      <a:lvl1pPr algn="l" rtl="0" eaLnBrk="1" fontAlgn="base" hangingPunct="1">
        <a:lnSpc>
          <a:spcPct val="85000"/>
        </a:lnSpc>
        <a:spcBef>
          <a:spcPct val="0"/>
        </a:spcBef>
        <a:spcAft>
          <a:spcPct val="0"/>
        </a:spcAft>
        <a:buClr>
          <a:srgbClr val="DC0081"/>
        </a:buClr>
        <a:buFont typeface="Wingdings" pitchFamily="2" charset="2"/>
        <a:defRPr sz="2800">
          <a:solidFill>
            <a:schemeClr val="bg1"/>
          </a:solidFill>
          <a:latin typeface="Segoe UI" pitchFamily="34" charset="0"/>
          <a:ea typeface="Segoe UI" pitchFamily="34" charset="0"/>
          <a:cs typeface="Segoe UI" pitchFamily="34" charset="0"/>
        </a:defRPr>
      </a:lvl1pPr>
      <a:lvl2pPr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2pPr>
      <a:lvl3pPr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3pPr>
      <a:lvl4pPr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4pPr>
      <a:lvl5pPr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5pPr>
      <a:lvl6pPr marL="457200"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6pPr>
      <a:lvl7pPr marL="914400"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7pPr>
      <a:lvl8pPr marL="1371600"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8pPr>
      <a:lvl9pPr marL="1828800"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9pPr>
    </p:titleStyle>
    <p:body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9F1C562-CCDF-45B5-93C6-6EE70794052A}"/>
              </a:ext>
            </a:extLst>
          </p:cNvPr>
          <p:cNvGraphicFramePr>
            <a:graphicFrameLocks noChangeAspect="1"/>
          </p:cNvGraphicFramePr>
          <p:nvPr userDrawn="1">
            <p:custDataLst>
              <p:tags r:id="rId21"/>
            </p:custDataLst>
            <p:extLst/>
          </p:nvPr>
        </p:nvGraphicFramePr>
        <p:xfrm>
          <a:off x="1168" y="1558"/>
          <a:ext cx="1167" cy="1556"/>
        </p:xfrm>
        <a:graphic>
          <a:graphicData uri="http://schemas.openxmlformats.org/presentationml/2006/ole">
            <mc:AlternateContent xmlns:mc="http://schemas.openxmlformats.org/markup-compatibility/2006">
              <mc:Choice xmlns:v="urn:schemas-microsoft-com:vml" Requires="v">
                <p:oleObj spid="_x0000_s7170" name="think-cell Slide" r:id="rId22" imgW="425" imgH="424" progId="TCLayout.ActiveDocument.1">
                  <p:embed/>
                </p:oleObj>
              </mc:Choice>
              <mc:Fallback>
                <p:oleObj name="think-cell Slide" r:id="rId22" imgW="425" imgH="424" progId="TCLayout.ActiveDocument.1">
                  <p:embed/>
                  <p:pic>
                    <p:nvPicPr>
                      <p:cNvPr id="3" name="Object 2" hidden="1">
                        <a:extLst>
                          <a:ext uri="{FF2B5EF4-FFF2-40B4-BE49-F238E27FC236}">
                            <a16:creationId xmlns:a16="http://schemas.microsoft.com/office/drawing/2014/main" id="{69F1C562-CCDF-45B5-93C6-6EE70794052A}"/>
                          </a:ext>
                        </a:extLst>
                      </p:cNvPr>
                      <p:cNvPicPr/>
                      <p:nvPr/>
                    </p:nvPicPr>
                    <p:blipFill>
                      <a:blip r:embed="rId23"/>
                      <a:stretch>
                        <a:fillRect/>
                      </a:stretch>
                    </p:blipFill>
                    <p:spPr>
                      <a:xfrm>
                        <a:off x="1168" y="1558"/>
                        <a:ext cx="1167" cy="1556"/>
                      </a:xfrm>
                      <a:prstGeom prst="rect">
                        <a:avLst/>
                      </a:prstGeom>
                    </p:spPr>
                  </p:pic>
                </p:oleObj>
              </mc:Fallback>
            </mc:AlternateContent>
          </a:graphicData>
        </a:graphic>
      </p:graphicFrame>
      <p:sp>
        <p:nvSpPr>
          <p:cNvPr id="2" name="Title Placeholder 1"/>
          <p:cNvSpPr>
            <a:spLocks noGrp="1"/>
          </p:cNvSpPr>
          <p:nvPr>
            <p:ph type="title"/>
          </p:nvPr>
        </p:nvSpPr>
        <p:spPr>
          <a:xfrm>
            <a:off x="201930" y="289512"/>
            <a:ext cx="874188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01931" y="1189178"/>
            <a:ext cx="8740141" cy="174644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4"/>
          <a:stretch>
            <a:fillRect/>
          </a:stretch>
        </p:blipFill>
        <p:spPr>
          <a:xfrm rot="5400000">
            <a:off x="6032982" y="3116543"/>
            <a:ext cx="6858623" cy="624914"/>
          </a:xfrm>
          <a:prstGeom prst="rect">
            <a:avLst/>
          </a:prstGeom>
        </p:spPr>
      </p:pic>
    </p:spTree>
    <p:extLst>
      <p:ext uri="{BB962C8B-B14F-4D97-AF65-F5344CB8AC3E}">
        <p14:creationId xmlns:p14="http://schemas.microsoft.com/office/powerpoint/2010/main" val="4252610941"/>
      </p:ext>
    </p:extLst>
  </p:cSld>
  <p:clrMap bg1="lt1" tx1="dk1" bg2="lt2" tx2="dk2" accent1="accent1" accent2="accent2" accent3="accent3" accent4="accent4" accent5="accent5" accent6="accent6" hlink="hlink" folHlink="folHlink"/>
  <p:sldLayoutIdLst>
    <p:sldLayoutId id="2147483893" r:id="rId1"/>
    <p:sldLayoutId id="2147483894" r:id="rId2"/>
    <p:sldLayoutId id="2147483895" r:id="rId3"/>
    <p:sldLayoutId id="2147483896" r:id="rId4"/>
    <p:sldLayoutId id="2147483897" r:id="rId5"/>
    <p:sldLayoutId id="2147483898" r:id="rId6"/>
    <p:sldLayoutId id="2147483899" r:id="rId7"/>
    <p:sldLayoutId id="2147483900" r:id="rId8"/>
    <p:sldLayoutId id="2147483901" r:id="rId9"/>
    <p:sldLayoutId id="2147483902" r:id="rId10"/>
    <p:sldLayoutId id="2147483903" r:id="rId11"/>
    <p:sldLayoutId id="2147483904" r:id="rId12"/>
    <p:sldLayoutId id="2147483905" r:id="rId13"/>
    <p:sldLayoutId id="2147483906" r:id="rId14"/>
    <p:sldLayoutId id="2147483907" r:id="rId15"/>
    <p:sldLayoutId id="2147483908" r:id="rId16"/>
    <p:sldLayoutId id="2147483909" r:id="rId17"/>
    <p:sldLayoutId id="2147483910" r:id="rId18"/>
  </p:sldLayoutIdLst>
  <p:transition>
    <p:fade/>
  </p:transition>
  <p:hf sldNum="0" hdr="0" ftr="0" dt="0"/>
  <p:txStyles>
    <p:titleStyle>
      <a:lvl1pPr algn="l" defTabSz="685775" rtl="0" eaLnBrk="1" latinLnBrk="0" hangingPunct="1">
        <a:lnSpc>
          <a:spcPct val="90000"/>
        </a:lnSpc>
        <a:spcBef>
          <a:spcPct val="0"/>
        </a:spcBef>
        <a:buNone/>
        <a:defRPr lang="en-US" sz="3529"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168073" marR="0" indent="-168073" algn="l" defTabSz="68577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647" kern="1200" spc="0" baseline="0">
          <a:gradFill>
            <a:gsLst>
              <a:gs pos="1250">
                <a:schemeClr val="tx1"/>
              </a:gs>
              <a:gs pos="100000">
                <a:schemeClr val="tx1"/>
              </a:gs>
            </a:gsLst>
            <a:lin ang="5400000" scaled="0"/>
          </a:gradFill>
          <a:latin typeface="+mj-lt"/>
          <a:ea typeface="+mn-ea"/>
          <a:cs typeface="+mn-cs"/>
        </a:defRPr>
      </a:lvl1pPr>
      <a:lvl2pPr marL="336145" marR="0" indent="-168073" algn="l" defTabSz="68577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59" kern="1200" spc="0" baseline="0">
          <a:gradFill>
            <a:gsLst>
              <a:gs pos="1250">
                <a:schemeClr val="tx1"/>
              </a:gs>
              <a:gs pos="100000">
                <a:schemeClr val="tx1"/>
              </a:gs>
            </a:gsLst>
            <a:lin ang="5400000" scaled="0"/>
          </a:gradFill>
          <a:latin typeface="+mn-lt"/>
          <a:ea typeface="+mn-ea"/>
          <a:cs typeface="+mn-cs"/>
        </a:defRPr>
      </a:lvl2pPr>
      <a:lvl3pPr marL="504218" marR="0" indent="-168073" algn="l" defTabSz="68577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3pPr>
      <a:lvl4pPr marL="672290" marR="0" indent="-168073" algn="l" defTabSz="68577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618" kern="1200" spc="0" baseline="0">
          <a:gradFill>
            <a:gsLst>
              <a:gs pos="1250">
                <a:schemeClr val="tx1"/>
              </a:gs>
              <a:gs pos="100000">
                <a:schemeClr val="tx1"/>
              </a:gs>
            </a:gsLst>
            <a:lin ang="5400000" scaled="0"/>
          </a:gradFill>
          <a:latin typeface="+mn-lt"/>
          <a:ea typeface="+mn-ea"/>
          <a:cs typeface="+mn-cs"/>
        </a:defRPr>
      </a:lvl4pPr>
      <a:lvl5pPr marL="840362" marR="0" indent="-168073" algn="l" defTabSz="68577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618" kern="1200" spc="0" baseline="0">
          <a:gradFill>
            <a:gsLst>
              <a:gs pos="1250">
                <a:schemeClr val="tx1"/>
              </a:gs>
              <a:gs pos="100000">
                <a:schemeClr val="tx1"/>
              </a:gs>
            </a:gsLst>
            <a:lin ang="5400000" scaled="0"/>
          </a:gradFill>
          <a:latin typeface="+mn-lt"/>
          <a:ea typeface="+mn-ea"/>
          <a:cs typeface="+mn-cs"/>
        </a:defRPr>
      </a:lvl5pPr>
      <a:lvl6pPr marL="1885882" indent="-171444" algn="l" defTabSz="685775" rtl="0" eaLnBrk="1" latinLnBrk="0" hangingPunct="1">
        <a:spcBef>
          <a:spcPct val="20000"/>
        </a:spcBef>
        <a:buFont typeface="Arial" pitchFamily="34" charset="0"/>
        <a:buChar char="•"/>
        <a:defRPr sz="1471" kern="1200">
          <a:solidFill>
            <a:schemeClr val="tx1"/>
          </a:solidFill>
          <a:latin typeface="+mn-lt"/>
          <a:ea typeface="+mn-ea"/>
          <a:cs typeface="+mn-cs"/>
        </a:defRPr>
      </a:lvl6pPr>
      <a:lvl7pPr marL="2228770" indent="-171444" algn="l" defTabSz="685775" rtl="0" eaLnBrk="1" latinLnBrk="0" hangingPunct="1">
        <a:spcBef>
          <a:spcPct val="20000"/>
        </a:spcBef>
        <a:buFont typeface="Arial" pitchFamily="34" charset="0"/>
        <a:buChar char="•"/>
        <a:defRPr sz="1471" kern="1200">
          <a:solidFill>
            <a:schemeClr val="tx1"/>
          </a:solidFill>
          <a:latin typeface="+mn-lt"/>
          <a:ea typeface="+mn-ea"/>
          <a:cs typeface="+mn-cs"/>
        </a:defRPr>
      </a:lvl7pPr>
      <a:lvl8pPr marL="2571658" indent="-171444" algn="l" defTabSz="685775" rtl="0" eaLnBrk="1" latinLnBrk="0" hangingPunct="1">
        <a:spcBef>
          <a:spcPct val="20000"/>
        </a:spcBef>
        <a:buFont typeface="Arial" pitchFamily="34" charset="0"/>
        <a:buChar char="•"/>
        <a:defRPr sz="1471" kern="1200">
          <a:solidFill>
            <a:schemeClr val="tx1"/>
          </a:solidFill>
          <a:latin typeface="+mn-lt"/>
          <a:ea typeface="+mn-ea"/>
          <a:cs typeface="+mn-cs"/>
        </a:defRPr>
      </a:lvl8pPr>
      <a:lvl9pPr marL="2914546" indent="-171444" algn="l" defTabSz="685775" rtl="0" eaLnBrk="1" latinLnBrk="0" hangingPunct="1">
        <a:spcBef>
          <a:spcPct val="20000"/>
        </a:spcBef>
        <a:buFont typeface="Arial" pitchFamily="34" charset="0"/>
        <a:buChar char="•"/>
        <a:defRPr sz="1471" kern="1200">
          <a:solidFill>
            <a:schemeClr val="tx1"/>
          </a:solidFill>
          <a:latin typeface="+mn-lt"/>
          <a:ea typeface="+mn-ea"/>
          <a:cs typeface="+mn-cs"/>
        </a:defRPr>
      </a:lvl9pPr>
    </p:bodyStyle>
    <p:otherStyle>
      <a:defPPr>
        <a:defRPr lang="en-US"/>
      </a:defPPr>
      <a:lvl1pPr marL="0" algn="l" defTabSz="685775" rtl="0" eaLnBrk="1" latinLnBrk="0" hangingPunct="1">
        <a:defRPr sz="1324" kern="1200">
          <a:solidFill>
            <a:schemeClr val="tx1"/>
          </a:solidFill>
          <a:latin typeface="+mn-lt"/>
          <a:ea typeface="+mn-ea"/>
          <a:cs typeface="+mn-cs"/>
        </a:defRPr>
      </a:lvl1pPr>
      <a:lvl2pPr marL="342887" algn="l" defTabSz="685775" rtl="0" eaLnBrk="1" latinLnBrk="0" hangingPunct="1">
        <a:defRPr sz="1324" kern="1200">
          <a:solidFill>
            <a:schemeClr val="tx1"/>
          </a:solidFill>
          <a:latin typeface="+mn-lt"/>
          <a:ea typeface="+mn-ea"/>
          <a:cs typeface="+mn-cs"/>
        </a:defRPr>
      </a:lvl2pPr>
      <a:lvl3pPr marL="685775" algn="l" defTabSz="685775" rtl="0" eaLnBrk="1" latinLnBrk="0" hangingPunct="1">
        <a:defRPr sz="1324" kern="1200">
          <a:solidFill>
            <a:schemeClr val="tx1"/>
          </a:solidFill>
          <a:latin typeface="+mn-lt"/>
          <a:ea typeface="+mn-ea"/>
          <a:cs typeface="+mn-cs"/>
        </a:defRPr>
      </a:lvl3pPr>
      <a:lvl4pPr marL="1028663" algn="l" defTabSz="685775" rtl="0" eaLnBrk="1" latinLnBrk="0" hangingPunct="1">
        <a:defRPr sz="1324" kern="1200">
          <a:solidFill>
            <a:schemeClr val="tx1"/>
          </a:solidFill>
          <a:latin typeface="+mn-lt"/>
          <a:ea typeface="+mn-ea"/>
          <a:cs typeface="+mn-cs"/>
        </a:defRPr>
      </a:lvl4pPr>
      <a:lvl5pPr marL="1371551" algn="l" defTabSz="685775" rtl="0" eaLnBrk="1" latinLnBrk="0" hangingPunct="1">
        <a:defRPr sz="1324" kern="1200">
          <a:solidFill>
            <a:schemeClr val="tx1"/>
          </a:solidFill>
          <a:latin typeface="+mn-lt"/>
          <a:ea typeface="+mn-ea"/>
          <a:cs typeface="+mn-cs"/>
        </a:defRPr>
      </a:lvl5pPr>
      <a:lvl6pPr marL="1714439" algn="l" defTabSz="685775" rtl="0" eaLnBrk="1" latinLnBrk="0" hangingPunct="1">
        <a:defRPr sz="1324" kern="1200">
          <a:solidFill>
            <a:schemeClr val="tx1"/>
          </a:solidFill>
          <a:latin typeface="+mn-lt"/>
          <a:ea typeface="+mn-ea"/>
          <a:cs typeface="+mn-cs"/>
        </a:defRPr>
      </a:lvl6pPr>
      <a:lvl7pPr marL="2057326" algn="l" defTabSz="685775" rtl="0" eaLnBrk="1" latinLnBrk="0" hangingPunct="1">
        <a:defRPr sz="1324" kern="1200">
          <a:solidFill>
            <a:schemeClr val="tx1"/>
          </a:solidFill>
          <a:latin typeface="+mn-lt"/>
          <a:ea typeface="+mn-ea"/>
          <a:cs typeface="+mn-cs"/>
        </a:defRPr>
      </a:lvl7pPr>
      <a:lvl8pPr marL="2400213" algn="l" defTabSz="685775" rtl="0" eaLnBrk="1" latinLnBrk="0" hangingPunct="1">
        <a:defRPr sz="1324" kern="1200">
          <a:solidFill>
            <a:schemeClr val="tx1"/>
          </a:solidFill>
          <a:latin typeface="+mn-lt"/>
          <a:ea typeface="+mn-ea"/>
          <a:cs typeface="+mn-cs"/>
        </a:defRPr>
      </a:lvl8pPr>
      <a:lvl9pPr marL="2743102" algn="l" defTabSz="685775" rtl="0" eaLnBrk="1" latinLnBrk="0" hangingPunct="1">
        <a:defRPr sz="132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01930" y="289512"/>
            <a:ext cx="874188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01931" y="1189178"/>
            <a:ext cx="8740141" cy="1447319"/>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43331475"/>
      </p:ext>
    </p:extLst>
  </p:cSld>
  <p:clrMap bg1="dk1" tx1="lt1" bg2="dk2" tx2="lt2" accent1="accent1" accent2="accent2" accent3="accent3" accent4="accent4" accent5="accent5" accent6="accent6" hlink="hlink" folHlink="folHlink"/>
  <p:sldLayoutIdLst>
    <p:sldLayoutId id="2147483725" r:id="rId1"/>
    <p:sldLayoutId id="2147483726" r:id="rId2"/>
    <p:sldLayoutId id="2147483727" r:id="rId3"/>
    <p:sldLayoutId id="2147483728" r:id="rId4"/>
    <p:sldLayoutId id="2147483729" r:id="rId5"/>
    <p:sldLayoutId id="2147483730" r:id="rId6"/>
    <p:sldLayoutId id="2147483731" r:id="rId7"/>
    <p:sldLayoutId id="2147483732" r:id="rId8"/>
    <p:sldLayoutId id="2147483733" r:id="rId9"/>
    <p:sldLayoutId id="2147483734" r:id="rId10"/>
    <p:sldLayoutId id="2147483735" r:id="rId11"/>
    <p:sldLayoutId id="2147483736" r:id="rId12"/>
    <p:sldLayoutId id="2147483737" r:id="rId13"/>
    <p:sldLayoutId id="2147483738" r:id="rId14"/>
    <p:sldLayoutId id="2147483739" r:id="rId15"/>
    <p:sldLayoutId id="2147483740" r:id="rId16"/>
    <p:sldLayoutId id="2147483741" r:id="rId17"/>
    <p:sldLayoutId id="2147483742" r:id="rId18"/>
    <p:sldLayoutId id="2147483743" r:id="rId19"/>
    <p:sldLayoutId id="2147483744" r:id="rId20"/>
    <p:sldLayoutId id="2147483745" r:id="rId21"/>
    <p:sldLayoutId id="2147483746" r:id="rId22"/>
    <p:sldLayoutId id="2147483747" r:id="rId23"/>
    <p:sldLayoutId id="2147483748" r:id="rId24"/>
  </p:sldLayoutIdLst>
  <p:transition>
    <p:fade/>
  </p:transition>
  <p:txStyles>
    <p:titleStyle>
      <a:lvl1pPr algn="l" defTabSz="685775" rtl="0" eaLnBrk="1" latinLnBrk="0" hangingPunct="1">
        <a:lnSpc>
          <a:spcPct val="90000"/>
        </a:lnSpc>
        <a:spcBef>
          <a:spcPct val="0"/>
        </a:spcBef>
        <a:buNone/>
        <a:defRPr lang="en-US" sz="3300"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52109" marR="0" indent="-252109" algn="l" defTabSz="685775" rtl="0" eaLnBrk="1" fontAlgn="auto" latinLnBrk="0" hangingPunct="1">
        <a:lnSpc>
          <a:spcPct val="90000"/>
        </a:lnSpc>
        <a:spcBef>
          <a:spcPct val="20000"/>
        </a:spcBef>
        <a:spcAft>
          <a:spcPts val="0"/>
        </a:spcAft>
        <a:buClrTx/>
        <a:buSzPct val="90000"/>
        <a:buFont typeface="Arial" pitchFamily="34" charset="0"/>
        <a:buChar char="•"/>
        <a:tabLst/>
        <a:defRPr sz="2700" kern="1200" spc="0" baseline="0">
          <a:gradFill>
            <a:gsLst>
              <a:gs pos="1250">
                <a:schemeClr val="tx1"/>
              </a:gs>
              <a:gs pos="100000">
                <a:schemeClr val="tx1"/>
              </a:gs>
            </a:gsLst>
            <a:lin ang="5400000" scaled="0"/>
          </a:gradFill>
          <a:latin typeface="+mj-lt"/>
          <a:ea typeface="+mn-ea"/>
          <a:cs typeface="+mn-cs"/>
        </a:defRPr>
      </a:lvl1pPr>
      <a:lvl2pPr marL="429518" marR="0" indent="-177410" algn="l" defTabSz="685775" rtl="0" eaLnBrk="1" fontAlgn="auto" latinLnBrk="0" hangingPunct="1">
        <a:lnSpc>
          <a:spcPct val="90000"/>
        </a:lnSpc>
        <a:spcBef>
          <a:spcPct val="20000"/>
        </a:spcBef>
        <a:spcAft>
          <a:spcPts val="0"/>
        </a:spcAft>
        <a:buClrTx/>
        <a:buSzPct val="90000"/>
        <a:buFont typeface="Arial" pitchFamily="34" charset="0"/>
        <a:buChar char="•"/>
        <a:tabLst/>
        <a:defRPr sz="1500" kern="1200" spc="0" baseline="0">
          <a:gradFill>
            <a:gsLst>
              <a:gs pos="1250">
                <a:schemeClr val="tx1"/>
              </a:gs>
              <a:gs pos="100000">
                <a:schemeClr val="tx1"/>
              </a:gs>
            </a:gsLst>
            <a:lin ang="5400000" scaled="0"/>
          </a:gradFill>
          <a:latin typeface="+mn-lt"/>
          <a:ea typeface="+mn-ea"/>
          <a:cs typeface="+mn-cs"/>
        </a:defRPr>
      </a:lvl2pPr>
      <a:lvl3pPr marL="588254" marR="0" indent="-168073" algn="l" defTabSz="685775" rtl="0" eaLnBrk="1" fontAlgn="auto" latinLnBrk="0" hangingPunct="1">
        <a:lnSpc>
          <a:spcPct val="90000"/>
        </a:lnSpc>
        <a:spcBef>
          <a:spcPct val="20000"/>
        </a:spcBef>
        <a:spcAft>
          <a:spcPts val="0"/>
        </a:spcAft>
        <a:buClrTx/>
        <a:buSzPct val="90000"/>
        <a:buFont typeface="Arial" pitchFamily="34" charset="0"/>
        <a:buChar char="•"/>
        <a:tabLst/>
        <a:defRPr sz="1350" kern="1200" spc="0" baseline="0">
          <a:gradFill>
            <a:gsLst>
              <a:gs pos="1250">
                <a:schemeClr val="tx1"/>
              </a:gs>
              <a:gs pos="100000">
                <a:schemeClr val="tx1"/>
              </a:gs>
            </a:gsLst>
            <a:lin ang="5400000" scaled="0"/>
          </a:gradFill>
          <a:latin typeface="+mn-lt"/>
          <a:ea typeface="+mn-ea"/>
          <a:cs typeface="+mn-cs"/>
        </a:defRPr>
      </a:lvl3pPr>
      <a:lvl4pPr marL="756326" marR="0" indent="-168073" algn="l" defTabSz="685775" rtl="0" eaLnBrk="1" fontAlgn="auto" latinLnBrk="0" hangingPunct="1">
        <a:lnSpc>
          <a:spcPct val="90000"/>
        </a:lnSpc>
        <a:spcBef>
          <a:spcPct val="20000"/>
        </a:spcBef>
        <a:spcAft>
          <a:spcPts val="0"/>
        </a:spcAft>
        <a:buClrTx/>
        <a:buSzPct val="90000"/>
        <a:buFont typeface="Arial" pitchFamily="34" charset="0"/>
        <a:buChar char="•"/>
        <a:tabLst/>
        <a:defRPr sz="1200" kern="1200" spc="0" baseline="0">
          <a:gradFill>
            <a:gsLst>
              <a:gs pos="1250">
                <a:schemeClr val="tx1"/>
              </a:gs>
              <a:gs pos="100000">
                <a:schemeClr val="tx1"/>
              </a:gs>
            </a:gsLst>
            <a:lin ang="5400000" scaled="0"/>
          </a:gradFill>
          <a:latin typeface="+mn-lt"/>
          <a:ea typeface="+mn-ea"/>
          <a:cs typeface="+mn-cs"/>
        </a:defRPr>
      </a:lvl4pPr>
      <a:lvl5pPr marL="924398" marR="0" indent="-168073" algn="l" defTabSz="685775" rtl="0" eaLnBrk="1" fontAlgn="auto" latinLnBrk="0" hangingPunct="1">
        <a:lnSpc>
          <a:spcPct val="90000"/>
        </a:lnSpc>
        <a:spcBef>
          <a:spcPct val="20000"/>
        </a:spcBef>
        <a:spcAft>
          <a:spcPts val="0"/>
        </a:spcAft>
        <a:buClrTx/>
        <a:buSzPct val="90000"/>
        <a:buFont typeface="Arial" pitchFamily="34" charset="0"/>
        <a:buChar char="•"/>
        <a:tabLst/>
        <a:defRPr sz="1200" kern="1200" spc="0" baseline="0">
          <a:gradFill>
            <a:gsLst>
              <a:gs pos="1250">
                <a:schemeClr val="tx1"/>
              </a:gs>
              <a:gs pos="100000">
                <a:schemeClr val="tx1"/>
              </a:gs>
            </a:gsLst>
            <a:lin ang="5400000" scaled="0"/>
          </a:gradFill>
          <a:latin typeface="+mn-lt"/>
          <a:ea typeface="+mn-ea"/>
          <a:cs typeface="+mn-cs"/>
        </a:defRPr>
      </a:lvl5pPr>
      <a:lvl6pPr marL="1885882" indent="-171444" algn="l" defTabSz="685775" rtl="0" eaLnBrk="1" latinLnBrk="0" hangingPunct="1">
        <a:spcBef>
          <a:spcPct val="20000"/>
        </a:spcBef>
        <a:buFont typeface="Arial" pitchFamily="34" charset="0"/>
        <a:buChar char="•"/>
        <a:defRPr sz="1471" kern="1200">
          <a:solidFill>
            <a:schemeClr val="tx1"/>
          </a:solidFill>
          <a:latin typeface="+mn-lt"/>
          <a:ea typeface="+mn-ea"/>
          <a:cs typeface="+mn-cs"/>
        </a:defRPr>
      </a:lvl6pPr>
      <a:lvl7pPr marL="2228770" indent="-171444" algn="l" defTabSz="685775" rtl="0" eaLnBrk="1" latinLnBrk="0" hangingPunct="1">
        <a:spcBef>
          <a:spcPct val="20000"/>
        </a:spcBef>
        <a:buFont typeface="Arial" pitchFamily="34" charset="0"/>
        <a:buChar char="•"/>
        <a:defRPr sz="1471" kern="1200">
          <a:solidFill>
            <a:schemeClr val="tx1"/>
          </a:solidFill>
          <a:latin typeface="+mn-lt"/>
          <a:ea typeface="+mn-ea"/>
          <a:cs typeface="+mn-cs"/>
        </a:defRPr>
      </a:lvl7pPr>
      <a:lvl8pPr marL="2571658" indent="-171444" algn="l" defTabSz="685775" rtl="0" eaLnBrk="1" latinLnBrk="0" hangingPunct="1">
        <a:spcBef>
          <a:spcPct val="20000"/>
        </a:spcBef>
        <a:buFont typeface="Arial" pitchFamily="34" charset="0"/>
        <a:buChar char="•"/>
        <a:defRPr sz="1471" kern="1200">
          <a:solidFill>
            <a:schemeClr val="tx1"/>
          </a:solidFill>
          <a:latin typeface="+mn-lt"/>
          <a:ea typeface="+mn-ea"/>
          <a:cs typeface="+mn-cs"/>
        </a:defRPr>
      </a:lvl8pPr>
      <a:lvl9pPr marL="2914546" indent="-171444" algn="l" defTabSz="685775" rtl="0" eaLnBrk="1" latinLnBrk="0" hangingPunct="1">
        <a:spcBef>
          <a:spcPct val="20000"/>
        </a:spcBef>
        <a:buFont typeface="Arial" pitchFamily="34" charset="0"/>
        <a:buChar char="•"/>
        <a:defRPr sz="1471" kern="1200">
          <a:solidFill>
            <a:schemeClr val="tx1"/>
          </a:solidFill>
          <a:latin typeface="+mn-lt"/>
          <a:ea typeface="+mn-ea"/>
          <a:cs typeface="+mn-cs"/>
        </a:defRPr>
      </a:lvl9pPr>
    </p:bodyStyle>
    <p:otherStyle>
      <a:defPPr>
        <a:defRPr lang="en-US"/>
      </a:defPPr>
      <a:lvl1pPr marL="0" algn="l" defTabSz="685775" rtl="0" eaLnBrk="1" latinLnBrk="0" hangingPunct="1">
        <a:defRPr sz="1324" kern="1200">
          <a:solidFill>
            <a:schemeClr val="tx1"/>
          </a:solidFill>
          <a:latin typeface="+mn-lt"/>
          <a:ea typeface="+mn-ea"/>
          <a:cs typeface="+mn-cs"/>
        </a:defRPr>
      </a:lvl1pPr>
      <a:lvl2pPr marL="342887" algn="l" defTabSz="685775" rtl="0" eaLnBrk="1" latinLnBrk="0" hangingPunct="1">
        <a:defRPr sz="1324" kern="1200">
          <a:solidFill>
            <a:schemeClr val="tx1"/>
          </a:solidFill>
          <a:latin typeface="+mn-lt"/>
          <a:ea typeface="+mn-ea"/>
          <a:cs typeface="+mn-cs"/>
        </a:defRPr>
      </a:lvl2pPr>
      <a:lvl3pPr marL="685775" algn="l" defTabSz="685775" rtl="0" eaLnBrk="1" latinLnBrk="0" hangingPunct="1">
        <a:defRPr sz="1324" kern="1200">
          <a:solidFill>
            <a:schemeClr val="tx1"/>
          </a:solidFill>
          <a:latin typeface="+mn-lt"/>
          <a:ea typeface="+mn-ea"/>
          <a:cs typeface="+mn-cs"/>
        </a:defRPr>
      </a:lvl3pPr>
      <a:lvl4pPr marL="1028663" algn="l" defTabSz="685775" rtl="0" eaLnBrk="1" latinLnBrk="0" hangingPunct="1">
        <a:defRPr sz="1324" kern="1200">
          <a:solidFill>
            <a:schemeClr val="tx1"/>
          </a:solidFill>
          <a:latin typeface="+mn-lt"/>
          <a:ea typeface="+mn-ea"/>
          <a:cs typeface="+mn-cs"/>
        </a:defRPr>
      </a:lvl4pPr>
      <a:lvl5pPr marL="1371551" algn="l" defTabSz="685775" rtl="0" eaLnBrk="1" latinLnBrk="0" hangingPunct="1">
        <a:defRPr sz="1324" kern="1200">
          <a:solidFill>
            <a:schemeClr val="tx1"/>
          </a:solidFill>
          <a:latin typeface="+mn-lt"/>
          <a:ea typeface="+mn-ea"/>
          <a:cs typeface="+mn-cs"/>
        </a:defRPr>
      </a:lvl5pPr>
      <a:lvl6pPr marL="1714439" algn="l" defTabSz="685775" rtl="0" eaLnBrk="1" latinLnBrk="0" hangingPunct="1">
        <a:defRPr sz="1324" kern="1200">
          <a:solidFill>
            <a:schemeClr val="tx1"/>
          </a:solidFill>
          <a:latin typeface="+mn-lt"/>
          <a:ea typeface="+mn-ea"/>
          <a:cs typeface="+mn-cs"/>
        </a:defRPr>
      </a:lvl6pPr>
      <a:lvl7pPr marL="2057326" algn="l" defTabSz="685775" rtl="0" eaLnBrk="1" latinLnBrk="0" hangingPunct="1">
        <a:defRPr sz="1324" kern="1200">
          <a:solidFill>
            <a:schemeClr val="tx1"/>
          </a:solidFill>
          <a:latin typeface="+mn-lt"/>
          <a:ea typeface="+mn-ea"/>
          <a:cs typeface="+mn-cs"/>
        </a:defRPr>
      </a:lvl7pPr>
      <a:lvl8pPr marL="2400213" algn="l" defTabSz="685775" rtl="0" eaLnBrk="1" latinLnBrk="0" hangingPunct="1">
        <a:defRPr sz="1324" kern="1200">
          <a:solidFill>
            <a:schemeClr val="tx1"/>
          </a:solidFill>
          <a:latin typeface="+mn-lt"/>
          <a:ea typeface="+mn-ea"/>
          <a:cs typeface="+mn-cs"/>
        </a:defRPr>
      </a:lvl8pPr>
      <a:lvl9pPr marL="2743102" algn="l" defTabSz="685775" rtl="0" eaLnBrk="1" latinLnBrk="0" hangingPunct="1">
        <a:defRPr sz="132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79">
          <p15:clr>
            <a:srgbClr val="C35EA4"/>
          </p15:clr>
        </p15:guide>
        <p15:guide id="17" pos="7400">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900">
                <a:solidFill>
                  <a:schemeClr val="tx1">
                    <a:tint val="75000"/>
                  </a:schemeClr>
                </a:solidFill>
              </a:defRPr>
            </a:lvl1pPr>
          </a:lstStyle>
          <a:p>
            <a:fld id="{C764DE79-268F-4C1A-8933-263129D2AF90}" type="datetimeFigureOut">
              <a:rPr lang="en-US" dirty="0"/>
              <a:t>6/5/2018</a:t>
            </a:fld>
            <a:endParaRPr lang="en-US" dirty="0"/>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48F63A3B-78C7-47BE-AE5E-E10140E04643}" type="slidenum">
              <a:rPr lang="en-US" dirty="0"/>
              <a:t>‹#›</a:t>
            </a:fld>
            <a:endParaRPr lang="en-US" dirty="0"/>
          </a:p>
        </p:txBody>
      </p:sp>
    </p:spTree>
    <p:extLst>
      <p:ext uri="{BB962C8B-B14F-4D97-AF65-F5344CB8AC3E}">
        <p14:creationId xmlns:p14="http://schemas.microsoft.com/office/powerpoint/2010/main" val="4273430147"/>
      </p:ext>
    </p:extLst>
  </p:cSld>
  <p:clrMap bg1="lt1" tx1="dk1" bg2="lt2" tx2="dk2" accent1="accent1" accent2="accent2" accent3="accent3" accent4="accent4" accent5="accent5" accent6="accent6" hlink="hlink" folHlink="folHlink"/>
  <p:sldLayoutIdLst>
    <p:sldLayoutId id="2147483750" r:id="rId1"/>
    <p:sldLayoutId id="2147483751" r:id="rId2"/>
    <p:sldLayoutId id="2147483752" r:id="rId3"/>
    <p:sldLayoutId id="2147483753" r:id="rId4"/>
    <p:sldLayoutId id="2147483754" r:id="rId5"/>
    <p:sldLayoutId id="2147483755" r:id="rId6"/>
    <p:sldLayoutId id="2147483756" r:id="rId7"/>
    <p:sldLayoutId id="2147483757" r:id="rId8"/>
    <p:sldLayoutId id="2147483758" r:id="rId9"/>
    <p:sldLayoutId id="2147483759" r:id="rId10"/>
    <p:sldLayoutId id="2147483760" r:id="rId11"/>
    <p:sldLayoutId id="2147483761" r:id="rId12"/>
    <p:sldLayoutId id="2147483762" r:id="rId13"/>
    <p:sldLayoutId id="2147483763" r:id="rId14"/>
    <p:sldLayoutId id="2147483764" r:id="rId15"/>
    <p:sldLayoutId id="2147483765" r:id="rId16"/>
    <p:sldLayoutId id="2147483766" r:id="rId17"/>
    <p:sldLayoutId id="2147483767" r:id="rId18"/>
    <p:sldLayoutId id="2147483768" r:id="rId19"/>
    <p:sldLayoutId id="2147483769" r:id="rId20"/>
    <p:sldLayoutId id="2147483770" r:id="rId21"/>
    <p:sldLayoutId id="2147483771" r:id="rId22"/>
    <p:sldLayoutId id="2147483772" r:id="rId23"/>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01930" y="289512"/>
            <a:ext cx="874188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01931" y="1189178"/>
            <a:ext cx="8740141" cy="174644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0"/>
          <a:stretch>
            <a:fillRect/>
          </a:stretch>
        </p:blipFill>
        <p:spPr>
          <a:xfrm rot="5400000">
            <a:off x="6032982" y="3116543"/>
            <a:ext cx="6858623" cy="624914"/>
          </a:xfrm>
          <a:prstGeom prst="rect">
            <a:avLst/>
          </a:prstGeom>
        </p:spPr>
      </p:pic>
    </p:spTree>
    <p:extLst>
      <p:ext uri="{BB962C8B-B14F-4D97-AF65-F5344CB8AC3E}">
        <p14:creationId xmlns:p14="http://schemas.microsoft.com/office/powerpoint/2010/main" val="1043651485"/>
      </p:ext>
    </p:extLst>
  </p:cSld>
  <p:clrMap bg1="lt1" tx1="dk1" bg2="lt2" tx2="dk2" accent1="accent1" accent2="accent2" accent3="accent3" accent4="accent4" accent5="accent5" accent6="accent6" hlink="hlink" folHlink="folHlink"/>
  <p:sldLayoutIdLst>
    <p:sldLayoutId id="2147483774" r:id="rId1"/>
    <p:sldLayoutId id="2147483775" r:id="rId2"/>
    <p:sldLayoutId id="2147483776" r:id="rId3"/>
    <p:sldLayoutId id="2147483777" r:id="rId4"/>
    <p:sldLayoutId id="2147483778" r:id="rId5"/>
    <p:sldLayoutId id="2147483779" r:id="rId6"/>
    <p:sldLayoutId id="2147483780" r:id="rId7"/>
    <p:sldLayoutId id="2147483781" r:id="rId8"/>
    <p:sldLayoutId id="2147483782" r:id="rId9"/>
    <p:sldLayoutId id="2147483783" r:id="rId10"/>
    <p:sldLayoutId id="2147483784" r:id="rId11"/>
    <p:sldLayoutId id="2147483785" r:id="rId12"/>
    <p:sldLayoutId id="2147483786" r:id="rId13"/>
    <p:sldLayoutId id="2147483787" r:id="rId14"/>
    <p:sldLayoutId id="2147483788" r:id="rId15"/>
    <p:sldLayoutId id="2147483789" r:id="rId16"/>
    <p:sldLayoutId id="2147483790" r:id="rId17"/>
    <p:sldLayoutId id="2147483791" r:id="rId18"/>
  </p:sldLayoutIdLst>
  <p:transition>
    <p:fade/>
  </p:transition>
  <p:hf sldNum="0" hdr="0" ftr="0" dt="0"/>
  <p:txStyles>
    <p:titleStyle>
      <a:lvl1pPr algn="l" defTabSz="685775" rtl="0" eaLnBrk="1" latinLnBrk="0" hangingPunct="1">
        <a:lnSpc>
          <a:spcPct val="90000"/>
        </a:lnSpc>
        <a:spcBef>
          <a:spcPct val="0"/>
        </a:spcBef>
        <a:buNone/>
        <a:defRPr lang="en-US" sz="3529"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168073" marR="0" indent="-168073" algn="l" defTabSz="68577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647" kern="1200" spc="0" baseline="0">
          <a:gradFill>
            <a:gsLst>
              <a:gs pos="1250">
                <a:schemeClr val="tx1"/>
              </a:gs>
              <a:gs pos="100000">
                <a:schemeClr val="tx1"/>
              </a:gs>
            </a:gsLst>
            <a:lin ang="5400000" scaled="0"/>
          </a:gradFill>
          <a:latin typeface="+mj-lt"/>
          <a:ea typeface="+mn-ea"/>
          <a:cs typeface="+mn-cs"/>
        </a:defRPr>
      </a:lvl1pPr>
      <a:lvl2pPr marL="336145" marR="0" indent="-168073" algn="l" defTabSz="68577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59" kern="1200" spc="0" baseline="0">
          <a:gradFill>
            <a:gsLst>
              <a:gs pos="1250">
                <a:schemeClr val="tx1"/>
              </a:gs>
              <a:gs pos="100000">
                <a:schemeClr val="tx1"/>
              </a:gs>
            </a:gsLst>
            <a:lin ang="5400000" scaled="0"/>
          </a:gradFill>
          <a:latin typeface="+mn-lt"/>
          <a:ea typeface="+mn-ea"/>
          <a:cs typeface="+mn-cs"/>
        </a:defRPr>
      </a:lvl2pPr>
      <a:lvl3pPr marL="504218" marR="0" indent="-168073" algn="l" defTabSz="68577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3pPr>
      <a:lvl4pPr marL="672290" marR="0" indent="-168073" algn="l" defTabSz="68577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618" kern="1200" spc="0" baseline="0">
          <a:gradFill>
            <a:gsLst>
              <a:gs pos="1250">
                <a:schemeClr val="tx1"/>
              </a:gs>
              <a:gs pos="100000">
                <a:schemeClr val="tx1"/>
              </a:gs>
            </a:gsLst>
            <a:lin ang="5400000" scaled="0"/>
          </a:gradFill>
          <a:latin typeface="+mn-lt"/>
          <a:ea typeface="+mn-ea"/>
          <a:cs typeface="+mn-cs"/>
        </a:defRPr>
      </a:lvl4pPr>
      <a:lvl5pPr marL="840362" marR="0" indent="-168073" algn="l" defTabSz="68577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618" kern="1200" spc="0" baseline="0">
          <a:gradFill>
            <a:gsLst>
              <a:gs pos="1250">
                <a:schemeClr val="tx1"/>
              </a:gs>
              <a:gs pos="100000">
                <a:schemeClr val="tx1"/>
              </a:gs>
            </a:gsLst>
            <a:lin ang="5400000" scaled="0"/>
          </a:gradFill>
          <a:latin typeface="+mn-lt"/>
          <a:ea typeface="+mn-ea"/>
          <a:cs typeface="+mn-cs"/>
        </a:defRPr>
      </a:lvl5pPr>
      <a:lvl6pPr marL="1885882" indent="-171444" algn="l" defTabSz="685775" rtl="0" eaLnBrk="1" latinLnBrk="0" hangingPunct="1">
        <a:spcBef>
          <a:spcPct val="20000"/>
        </a:spcBef>
        <a:buFont typeface="Arial" pitchFamily="34" charset="0"/>
        <a:buChar char="•"/>
        <a:defRPr sz="1471" kern="1200">
          <a:solidFill>
            <a:schemeClr val="tx1"/>
          </a:solidFill>
          <a:latin typeface="+mn-lt"/>
          <a:ea typeface="+mn-ea"/>
          <a:cs typeface="+mn-cs"/>
        </a:defRPr>
      </a:lvl6pPr>
      <a:lvl7pPr marL="2228770" indent="-171444" algn="l" defTabSz="685775" rtl="0" eaLnBrk="1" latinLnBrk="0" hangingPunct="1">
        <a:spcBef>
          <a:spcPct val="20000"/>
        </a:spcBef>
        <a:buFont typeface="Arial" pitchFamily="34" charset="0"/>
        <a:buChar char="•"/>
        <a:defRPr sz="1471" kern="1200">
          <a:solidFill>
            <a:schemeClr val="tx1"/>
          </a:solidFill>
          <a:latin typeface="+mn-lt"/>
          <a:ea typeface="+mn-ea"/>
          <a:cs typeface="+mn-cs"/>
        </a:defRPr>
      </a:lvl7pPr>
      <a:lvl8pPr marL="2571658" indent="-171444" algn="l" defTabSz="685775" rtl="0" eaLnBrk="1" latinLnBrk="0" hangingPunct="1">
        <a:spcBef>
          <a:spcPct val="20000"/>
        </a:spcBef>
        <a:buFont typeface="Arial" pitchFamily="34" charset="0"/>
        <a:buChar char="•"/>
        <a:defRPr sz="1471" kern="1200">
          <a:solidFill>
            <a:schemeClr val="tx1"/>
          </a:solidFill>
          <a:latin typeface="+mn-lt"/>
          <a:ea typeface="+mn-ea"/>
          <a:cs typeface="+mn-cs"/>
        </a:defRPr>
      </a:lvl8pPr>
      <a:lvl9pPr marL="2914546" indent="-171444" algn="l" defTabSz="685775" rtl="0" eaLnBrk="1" latinLnBrk="0" hangingPunct="1">
        <a:spcBef>
          <a:spcPct val="20000"/>
        </a:spcBef>
        <a:buFont typeface="Arial" pitchFamily="34" charset="0"/>
        <a:buChar char="•"/>
        <a:defRPr sz="1471" kern="1200">
          <a:solidFill>
            <a:schemeClr val="tx1"/>
          </a:solidFill>
          <a:latin typeface="+mn-lt"/>
          <a:ea typeface="+mn-ea"/>
          <a:cs typeface="+mn-cs"/>
        </a:defRPr>
      </a:lvl9pPr>
    </p:bodyStyle>
    <p:otherStyle>
      <a:defPPr>
        <a:defRPr lang="en-US"/>
      </a:defPPr>
      <a:lvl1pPr marL="0" algn="l" defTabSz="685775" rtl="0" eaLnBrk="1" latinLnBrk="0" hangingPunct="1">
        <a:defRPr sz="1324" kern="1200">
          <a:solidFill>
            <a:schemeClr val="tx1"/>
          </a:solidFill>
          <a:latin typeface="+mn-lt"/>
          <a:ea typeface="+mn-ea"/>
          <a:cs typeface="+mn-cs"/>
        </a:defRPr>
      </a:lvl1pPr>
      <a:lvl2pPr marL="342887" algn="l" defTabSz="685775" rtl="0" eaLnBrk="1" latinLnBrk="0" hangingPunct="1">
        <a:defRPr sz="1324" kern="1200">
          <a:solidFill>
            <a:schemeClr val="tx1"/>
          </a:solidFill>
          <a:latin typeface="+mn-lt"/>
          <a:ea typeface="+mn-ea"/>
          <a:cs typeface="+mn-cs"/>
        </a:defRPr>
      </a:lvl2pPr>
      <a:lvl3pPr marL="685775" algn="l" defTabSz="685775" rtl="0" eaLnBrk="1" latinLnBrk="0" hangingPunct="1">
        <a:defRPr sz="1324" kern="1200">
          <a:solidFill>
            <a:schemeClr val="tx1"/>
          </a:solidFill>
          <a:latin typeface="+mn-lt"/>
          <a:ea typeface="+mn-ea"/>
          <a:cs typeface="+mn-cs"/>
        </a:defRPr>
      </a:lvl3pPr>
      <a:lvl4pPr marL="1028663" algn="l" defTabSz="685775" rtl="0" eaLnBrk="1" latinLnBrk="0" hangingPunct="1">
        <a:defRPr sz="1324" kern="1200">
          <a:solidFill>
            <a:schemeClr val="tx1"/>
          </a:solidFill>
          <a:latin typeface="+mn-lt"/>
          <a:ea typeface="+mn-ea"/>
          <a:cs typeface="+mn-cs"/>
        </a:defRPr>
      </a:lvl4pPr>
      <a:lvl5pPr marL="1371551" algn="l" defTabSz="685775" rtl="0" eaLnBrk="1" latinLnBrk="0" hangingPunct="1">
        <a:defRPr sz="1324" kern="1200">
          <a:solidFill>
            <a:schemeClr val="tx1"/>
          </a:solidFill>
          <a:latin typeface="+mn-lt"/>
          <a:ea typeface="+mn-ea"/>
          <a:cs typeface="+mn-cs"/>
        </a:defRPr>
      </a:lvl5pPr>
      <a:lvl6pPr marL="1714439" algn="l" defTabSz="685775" rtl="0" eaLnBrk="1" latinLnBrk="0" hangingPunct="1">
        <a:defRPr sz="1324" kern="1200">
          <a:solidFill>
            <a:schemeClr val="tx1"/>
          </a:solidFill>
          <a:latin typeface="+mn-lt"/>
          <a:ea typeface="+mn-ea"/>
          <a:cs typeface="+mn-cs"/>
        </a:defRPr>
      </a:lvl6pPr>
      <a:lvl7pPr marL="2057326" algn="l" defTabSz="685775" rtl="0" eaLnBrk="1" latinLnBrk="0" hangingPunct="1">
        <a:defRPr sz="1324" kern="1200">
          <a:solidFill>
            <a:schemeClr val="tx1"/>
          </a:solidFill>
          <a:latin typeface="+mn-lt"/>
          <a:ea typeface="+mn-ea"/>
          <a:cs typeface="+mn-cs"/>
        </a:defRPr>
      </a:lvl7pPr>
      <a:lvl8pPr marL="2400213" algn="l" defTabSz="685775" rtl="0" eaLnBrk="1" latinLnBrk="0" hangingPunct="1">
        <a:defRPr sz="1324" kern="1200">
          <a:solidFill>
            <a:schemeClr val="tx1"/>
          </a:solidFill>
          <a:latin typeface="+mn-lt"/>
          <a:ea typeface="+mn-ea"/>
          <a:cs typeface="+mn-cs"/>
        </a:defRPr>
      </a:lvl8pPr>
      <a:lvl9pPr marL="2743102" algn="l" defTabSz="685775" rtl="0" eaLnBrk="1" latinLnBrk="0" hangingPunct="1">
        <a:defRPr sz="132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051" name="Text Placeholder 3"/>
          <p:cNvSpPr>
            <a:spLocks noGrp="1"/>
          </p:cNvSpPr>
          <p:nvPr>
            <p:ph type="body" idx="1"/>
          </p:nvPr>
        </p:nvSpPr>
        <p:spPr bwMode="auto">
          <a:xfrm>
            <a:off x="197962" y="1420825"/>
            <a:ext cx="8740142" cy="2051485"/>
          </a:xfrm>
          <a:prstGeom prst="rect">
            <a:avLst/>
          </a:prstGeom>
          <a:noFill/>
          <a:ln>
            <a:noFill/>
          </a:ln>
          <a:extLst>
            <a:ext uri="{909E8E84-426E-40dd-AFC4-6F175D3DCCD1}">
              <a14:hiddenFill xmlns:mc="http://schemas.openxmlformats.org/markup-compatibility/2006" xmlns:mv="urn:schemas-microsoft-com:mac:vml" xmlns:a14="http://schemas.microsoft.com/office/drawing/2010/main" xmlns="">
                <a:solidFill>
                  <a:srgbClr val="FFFFFF"/>
                </a:solidFill>
              </a14:hiddenFill>
            </a:ext>
            <a:ext uri="{91240B29-F687-4f45-9708-019B960494DF}">
              <a14:hiddenLine xmlns:mc="http://schemas.openxmlformats.org/markup-compatibility/2006" xmlns:mv="urn:schemas-microsoft-com:mac:vml" xmlns:a14="http://schemas.microsoft.com/office/drawing/2010/main" xmlns="" w="9525">
                <a:solidFill>
                  <a:srgbClr val="000000"/>
                </a:solidFill>
                <a:miter lim="800000"/>
                <a:headEnd/>
                <a:tailEnd/>
              </a14:hiddenLine>
            </a:ext>
            <a:ext uri="{FAA26D3D-D897-4be2-8F04-BA451C77F1D7}">
              <ma14:placeholderFlag xmlns:mc="http://schemas.openxmlformats.org/markup-compatibility/2006" xmlns:mv="urn:schemas-microsoft-com:mac:vml" xmlns:ma14="http://schemas.microsoft.com/office/mac/drawingml/2011/main" xmlns="" val="1"/>
            </a:ext>
          </a:extLst>
        </p:spPr>
        <p:txBody>
          <a:bodyPr vert="horz" wrap="square" lIns="182880" tIns="146304" rIns="182880" bIns="146304" numCol="1" anchor="t" anchorCtr="0" compatLnSpc="1">
            <a:prstTxWarp prst="textNoShape">
              <a:avLst/>
            </a:prstTxWarp>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Placeholder 1"/>
          <p:cNvSpPr>
            <a:spLocks noGrp="1"/>
          </p:cNvSpPr>
          <p:nvPr>
            <p:ph type="title"/>
          </p:nvPr>
        </p:nvSpPr>
        <p:spPr>
          <a:xfrm>
            <a:off x="197962" y="289511"/>
            <a:ext cx="8741309" cy="1051560"/>
          </a:xfrm>
          <a:prstGeom prst="rect">
            <a:avLst/>
          </a:prstGeom>
        </p:spPr>
        <p:txBody>
          <a:bodyPr vert="horz" wrap="square" lIns="146304" tIns="91440" rIns="146304" bIns="91440" rtlCol="0" anchor="t">
            <a:noAutofit/>
          </a:bodyPr>
          <a:lstStyle/>
          <a:p>
            <a:r>
              <a:rPr lang="en-US"/>
              <a:t>Click to edit Master title style</a:t>
            </a:r>
          </a:p>
        </p:txBody>
      </p:sp>
      <p:sp>
        <p:nvSpPr>
          <p:cNvPr id="5" name="Slide Number Placeholder 4"/>
          <p:cNvSpPr>
            <a:spLocks noGrp="1"/>
          </p:cNvSpPr>
          <p:nvPr>
            <p:ph type="sldNum" sz="quarter" idx="4"/>
          </p:nvPr>
        </p:nvSpPr>
        <p:spPr>
          <a:xfrm>
            <a:off x="8525374" y="6625016"/>
            <a:ext cx="416698" cy="133860"/>
          </a:xfrm>
          <a:prstGeom prst="rect">
            <a:avLst/>
          </a:prstGeom>
        </p:spPr>
        <p:txBody>
          <a:bodyPr vert="horz" lIns="91440" tIns="0" rIns="0" bIns="0" rtlCol="0" anchor="ctr"/>
          <a:lstStyle>
            <a:lvl1pPr algn="r" defTabSz="685775" fontAlgn="auto">
              <a:spcBef>
                <a:spcPts val="0"/>
              </a:spcBef>
              <a:spcAft>
                <a:spcPts val="0"/>
              </a:spcAft>
              <a:defRPr lang="en-US" sz="662" b="0" kern="1200">
                <a:solidFill>
                  <a:srgbClr val="505050"/>
                </a:solidFill>
                <a:latin typeface="+mn-lt"/>
                <a:ea typeface="+mn-ea"/>
                <a:cs typeface="+mn-cs"/>
              </a:defRPr>
            </a:lvl1pPr>
          </a:lstStyle>
          <a:p>
            <a:fld id="{229F7579-2E57-4B6B-A53E-1A311B57DA27}" type="slidenum">
              <a:rPr lang="en-US" smtClean="0"/>
              <a:t>‹#›</a:t>
            </a:fld>
            <a:endParaRPr lang="en-US"/>
          </a:p>
        </p:txBody>
      </p:sp>
    </p:spTree>
    <p:extLst>
      <p:ext uri="{BB962C8B-B14F-4D97-AF65-F5344CB8AC3E}">
        <p14:creationId xmlns:p14="http://schemas.microsoft.com/office/powerpoint/2010/main" val="2014179207"/>
      </p:ext>
    </p:extLst>
  </p:cSld>
  <p:clrMap bg1="lt1" tx1="dk1" bg2="lt2" tx2="dk2" accent1="accent1" accent2="accent2" accent3="accent3" accent4="accent4" accent5="accent5" accent6="accent6" hlink="hlink" folHlink="folHlink"/>
  <p:sldLayoutIdLst>
    <p:sldLayoutId id="2147483793" r:id="rId1"/>
    <p:sldLayoutId id="2147483794" r:id="rId2"/>
    <p:sldLayoutId id="2147483795" r:id="rId3"/>
    <p:sldLayoutId id="2147483796" r:id="rId4"/>
    <p:sldLayoutId id="2147483797" r:id="rId5"/>
    <p:sldLayoutId id="2147483798" r:id="rId6"/>
    <p:sldLayoutId id="2147483799" r:id="rId7"/>
    <p:sldLayoutId id="2147483800" r:id="rId8"/>
    <p:sldLayoutId id="2147483801" r:id="rId9"/>
    <p:sldLayoutId id="2147483802" r:id="rId10"/>
    <p:sldLayoutId id="2147483803" r:id="rId11"/>
    <p:sldLayoutId id="2147483804" r:id="rId12"/>
    <p:sldLayoutId id="2147483805" r:id="rId13"/>
    <p:sldLayoutId id="2147483806" r:id="rId14"/>
    <p:sldLayoutId id="2147483807" r:id="rId15"/>
    <p:sldLayoutId id="2147483808" r:id="rId16"/>
    <p:sldLayoutId id="2147483809" r:id="rId17"/>
    <p:sldLayoutId id="2147483810" r:id="rId18"/>
    <p:sldLayoutId id="2147483811" r:id="rId19"/>
    <p:sldLayoutId id="2147483812" r:id="rId20"/>
    <p:sldLayoutId id="2147483813" r:id="rId21"/>
    <p:sldLayoutId id="2147483814" r:id="rId22"/>
    <p:sldLayoutId id="2147483815" r:id="rId23"/>
    <p:sldLayoutId id="2147483816" r:id="rId24"/>
    <p:sldLayoutId id="2147483817" r:id="rId25"/>
    <p:sldLayoutId id="2147483818" r:id="rId26"/>
    <p:sldLayoutId id="2147483819" r:id="rId27"/>
    <p:sldLayoutId id="2147483820" r:id="rId28"/>
    <p:sldLayoutId id="2147483821" r:id="rId29"/>
    <p:sldLayoutId id="2147483822" r:id="rId30"/>
  </p:sldLayoutIdLst>
  <p:transition>
    <p:fade/>
  </p:transition>
  <p:txStyles>
    <p:titleStyle>
      <a:lvl1pPr algn="l" defTabSz="685129" rtl="0" eaLnBrk="1" fontAlgn="base" hangingPunct="1">
        <a:lnSpc>
          <a:spcPct val="100000"/>
        </a:lnSpc>
        <a:spcBef>
          <a:spcPct val="0"/>
        </a:spcBef>
        <a:spcAft>
          <a:spcPct val="0"/>
        </a:spcAft>
        <a:defRPr lang="en-US" sz="3000" kern="1200" spc="-75" dirty="0">
          <a:ln w="3175">
            <a:noFill/>
          </a:ln>
          <a:solidFill>
            <a:schemeClr val="tx1"/>
          </a:solidFill>
          <a:latin typeface="+mj-lt"/>
          <a:ea typeface="ＭＳ Ｐゴシック" charset="0"/>
          <a:cs typeface="Segoe UI" pitchFamily="34" charset="0"/>
        </a:defRPr>
      </a:lvl1pPr>
      <a:lvl2pPr algn="l" defTabSz="685129" rtl="0" eaLnBrk="1" fontAlgn="base" hangingPunct="1">
        <a:lnSpc>
          <a:spcPct val="90000"/>
        </a:lnSpc>
        <a:spcBef>
          <a:spcPct val="0"/>
        </a:spcBef>
        <a:spcAft>
          <a:spcPct val="0"/>
        </a:spcAft>
        <a:defRPr sz="3971">
          <a:solidFill>
            <a:schemeClr val="tx2"/>
          </a:solidFill>
          <a:latin typeface="Segoe UI Light" charset="0"/>
          <a:ea typeface="ＭＳ Ｐゴシック" charset="0"/>
          <a:cs typeface="Segoe UI" charset="0"/>
        </a:defRPr>
      </a:lvl2pPr>
      <a:lvl3pPr algn="l" defTabSz="685129" rtl="0" eaLnBrk="1" fontAlgn="base" hangingPunct="1">
        <a:lnSpc>
          <a:spcPct val="90000"/>
        </a:lnSpc>
        <a:spcBef>
          <a:spcPct val="0"/>
        </a:spcBef>
        <a:spcAft>
          <a:spcPct val="0"/>
        </a:spcAft>
        <a:defRPr sz="3971">
          <a:solidFill>
            <a:schemeClr val="tx2"/>
          </a:solidFill>
          <a:latin typeface="Segoe UI Light" charset="0"/>
          <a:ea typeface="ＭＳ Ｐゴシック" charset="0"/>
          <a:cs typeface="Segoe UI" charset="0"/>
        </a:defRPr>
      </a:lvl3pPr>
      <a:lvl4pPr algn="l" defTabSz="685129" rtl="0" eaLnBrk="1" fontAlgn="base" hangingPunct="1">
        <a:lnSpc>
          <a:spcPct val="90000"/>
        </a:lnSpc>
        <a:spcBef>
          <a:spcPct val="0"/>
        </a:spcBef>
        <a:spcAft>
          <a:spcPct val="0"/>
        </a:spcAft>
        <a:defRPr sz="3971">
          <a:solidFill>
            <a:schemeClr val="tx2"/>
          </a:solidFill>
          <a:latin typeface="Segoe UI Light" charset="0"/>
          <a:ea typeface="ＭＳ Ｐゴシック" charset="0"/>
          <a:cs typeface="Segoe UI" charset="0"/>
        </a:defRPr>
      </a:lvl4pPr>
      <a:lvl5pPr algn="l" defTabSz="685129" rtl="0" eaLnBrk="1" fontAlgn="base" hangingPunct="1">
        <a:lnSpc>
          <a:spcPct val="90000"/>
        </a:lnSpc>
        <a:spcBef>
          <a:spcPct val="0"/>
        </a:spcBef>
        <a:spcAft>
          <a:spcPct val="0"/>
        </a:spcAft>
        <a:defRPr sz="3971">
          <a:solidFill>
            <a:schemeClr val="tx2"/>
          </a:solidFill>
          <a:latin typeface="Segoe UI Light" charset="0"/>
          <a:ea typeface="ＭＳ Ｐゴシック" charset="0"/>
          <a:cs typeface="Segoe UI" charset="0"/>
        </a:defRPr>
      </a:lvl5pPr>
      <a:lvl6pPr marL="336145" algn="l" defTabSz="685129" rtl="0" eaLnBrk="1" fontAlgn="base" hangingPunct="1">
        <a:lnSpc>
          <a:spcPct val="90000"/>
        </a:lnSpc>
        <a:spcBef>
          <a:spcPct val="0"/>
        </a:spcBef>
        <a:spcAft>
          <a:spcPct val="0"/>
        </a:spcAft>
        <a:defRPr sz="3971">
          <a:solidFill>
            <a:schemeClr val="tx2"/>
          </a:solidFill>
          <a:latin typeface="Segoe UI Light" charset="0"/>
          <a:ea typeface="ＭＳ Ｐゴシック" charset="0"/>
          <a:cs typeface="Segoe UI" charset="0"/>
        </a:defRPr>
      </a:lvl6pPr>
      <a:lvl7pPr marL="672290" algn="l" defTabSz="685129" rtl="0" eaLnBrk="1" fontAlgn="base" hangingPunct="1">
        <a:lnSpc>
          <a:spcPct val="90000"/>
        </a:lnSpc>
        <a:spcBef>
          <a:spcPct val="0"/>
        </a:spcBef>
        <a:spcAft>
          <a:spcPct val="0"/>
        </a:spcAft>
        <a:defRPr sz="3971">
          <a:solidFill>
            <a:schemeClr val="tx2"/>
          </a:solidFill>
          <a:latin typeface="Segoe UI Light" charset="0"/>
          <a:ea typeface="ＭＳ Ｐゴシック" charset="0"/>
          <a:cs typeface="Segoe UI" charset="0"/>
        </a:defRPr>
      </a:lvl7pPr>
      <a:lvl8pPr marL="1008434" algn="l" defTabSz="685129" rtl="0" eaLnBrk="1" fontAlgn="base" hangingPunct="1">
        <a:lnSpc>
          <a:spcPct val="90000"/>
        </a:lnSpc>
        <a:spcBef>
          <a:spcPct val="0"/>
        </a:spcBef>
        <a:spcAft>
          <a:spcPct val="0"/>
        </a:spcAft>
        <a:defRPr sz="3971">
          <a:solidFill>
            <a:schemeClr val="tx2"/>
          </a:solidFill>
          <a:latin typeface="Segoe UI Light" charset="0"/>
          <a:ea typeface="ＭＳ Ｐゴシック" charset="0"/>
          <a:cs typeface="Segoe UI" charset="0"/>
        </a:defRPr>
      </a:lvl8pPr>
      <a:lvl9pPr marL="1344580" algn="l" defTabSz="685129" rtl="0" eaLnBrk="1" fontAlgn="base" hangingPunct="1">
        <a:lnSpc>
          <a:spcPct val="90000"/>
        </a:lnSpc>
        <a:spcBef>
          <a:spcPct val="0"/>
        </a:spcBef>
        <a:spcAft>
          <a:spcPct val="0"/>
        </a:spcAft>
        <a:defRPr sz="3971">
          <a:solidFill>
            <a:schemeClr val="tx2"/>
          </a:solidFill>
          <a:latin typeface="Segoe UI Light" charset="0"/>
          <a:ea typeface="ＭＳ Ｐゴシック" charset="0"/>
          <a:cs typeface="Segoe UI" charset="0"/>
        </a:defRPr>
      </a:lvl9pPr>
    </p:titleStyle>
    <p:bodyStyle>
      <a:lvl1pPr marL="0" indent="0" algn="l" defTabSz="685129" rtl="0" eaLnBrk="1" fontAlgn="base" hangingPunct="1">
        <a:lnSpc>
          <a:spcPct val="90000"/>
        </a:lnSpc>
        <a:spcBef>
          <a:spcPts val="450"/>
        </a:spcBef>
        <a:spcAft>
          <a:spcPct val="0"/>
        </a:spcAft>
        <a:buSzPct val="90000"/>
        <a:buFont typeface="Arial" charset="0"/>
        <a:buNone/>
        <a:defRPr sz="2700" kern="1200" spc="-38" baseline="0">
          <a:solidFill>
            <a:schemeClr val="accent1"/>
          </a:solidFill>
          <a:latin typeface="+mj-lt"/>
          <a:ea typeface="ＭＳ Ｐゴシック" charset="0"/>
          <a:cs typeface="ＭＳ Ｐゴシック" charset="0"/>
        </a:defRPr>
      </a:lvl1pPr>
      <a:lvl2pPr marL="252109" indent="0" algn="l" defTabSz="685129" rtl="0" eaLnBrk="1" fontAlgn="base" hangingPunct="1">
        <a:lnSpc>
          <a:spcPct val="90000"/>
        </a:lnSpc>
        <a:spcBef>
          <a:spcPts val="450"/>
        </a:spcBef>
        <a:spcAft>
          <a:spcPct val="0"/>
        </a:spcAft>
        <a:buSzPct val="90000"/>
        <a:buFont typeface="Arial" charset="0"/>
        <a:buNone/>
        <a:defRPr sz="1800" kern="1200" spc="-15" baseline="0">
          <a:solidFill>
            <a:schemeClr val="tx1"/>
          </a:solidFill>
          <a:latin typeface="+mj-lt"/>
          <a:ea typeface="ＭＳ Ｐゴシック" charset="0"/>
          <a:cs typeface="+mn-cs"/>
        </a:defRPr>
      </a:lvl2pPr>
      <a:lvl3pPr marL="420181" indent="0" algn="l" defTabSz="685129" rtl="0" eaLnBrk="1" fontAlgn="base" hangingPunct="1">
        <a:lnSpc>
          <a:spcPct val="90000"/>
        </a:lnSpc>
        <a:spcBef>
          <a:spcPts val="450"/>
        </a:spcBef>
        <a:spcAft>
          <a:spcPct val="0"/>
        </a:spcAft>
        <a:buSzPct val="90000"/>
        <a:buFont typeface="Arial" charset="0"/>
        <a:buNone/>
        <a:defRPr sz="1500" kern="1200">
          <a:solidFill>
            <a:schemeClr val="tx1"/>
          </a:solidFill>
          <a:latin typeface="Segoe UI Semilight" panose="020B0402040204020203" pitchFamily="34" charset="0"/>
          <a:ea typeface="ＭＳ Ｐゴシック" charset="0"/>
          <a:cs typeface="Segoe UI Semilight" panose="020B0402040204020203" pitchFamily="34" charset="0"/>
        </a:defRPr>
      </a:lvl3pPr>
      <a:lvl4pPr marL="588254" indent="0" algn="l" defTabSz="685129" rtl="0" eaLnBrk="1" fontAlgn="base" hangingPunct="1">
        <a:lnSpc>
          <a:spcPct val="90000"/>
        </a:lnSpc>
        <a:spcBef>
          <a:spcPts val="450"/>
        </a:spcBef>
        <a:spcAft>
          <a:spcPct val="0"/>
        </a:spcAft>
        <a:buSzPct val="90000"/>
        <a:buFont typeface="Arial" charset="0"/>
        <a:buNone/>
        <a:defRPr kern="1200">
          <a:solidFill>
            <a:schemeClr val="tx1"/>
          </a:solidFill>
          <a:latin typeface="+mn-lt"/>
          <a:ea typeface="ＭＳ Ｐゴシック" charset="0"/>
          <a:cs typeface="+mn-cs"/>
        </a:defRPr>
      </a:lvl4pPr>
      <a:lvl5pPr marL="756326" indent="0" algn="l" defTabSz="685129" rtl="0" eaLnBrk="1" fontAlgn="base" hangingPunct="1">
        <a:lnSpc>
          <a:spcPct val="90000"/>
        </a:lnSpc>
        <a:spcBef>
          <a:spcPts val="450"/>
        </a:spcBef>
        <a:spcAft>
          <a:spcPct val="0"/>
        </a:spcAft>
        <a:buSzPct val="90000"/>
        <a:buFont typeface="Arial" charset="0"/>
        <a:buNone/>
        <a:defRPr kern="1200">
          <a:solidFill>
            <a:schemeClr val="tx1"/>
          </a:solidFill>
          <a:latin typeface="+mn-lt"/>
          <a:ea typeface="ＭＳ Ｐゴシック" charset="0"/>
          <a:cs typeface="+mn-cs"/>
        </a:defRPr>
      </a:lvl5pPr>
      <a:lvl6pPr marL="1885882" indent="-171444" algn="l" defTabSz="685775" rtl="0" eaLnBrk="1" latinLnBrk="0" hangingPunct="1">
        <a:spcBef>
          <a:spcPct val="20000"/>
        </a:spcBef>
        <a:buFont typeface="Arial" pitchFamily="34" charset="0"/>
        <a:buChar char="•"/>
        <a:defRPr sz="1471" kern="1200">
          <a:solidFill>
            <a:schemeClr val="tx1"/>
          </a:solidFill>
          <a:latin typeface="+mn-lt"/>
          <a:ea typeface="+mn-ea"/>
          <a:cs typeface="+mn-cs"/>
        </a:defRPr>
      </a:lvl6pPr>
      <a:lvl7pPr marL="2228770" indent="-171444" algn="l" defTabSz="685775" rtl="0" eaLnBrk="1" latinLnBrk="0" hangingPunct="1">
        <a:spcBef>
          <a:spcPct val="20000"/>
        </a:spcBef>
        <a:buFont typeface="Arial" pitchFamily="34" charset="0"/>
        <a:buChar char="•"/>
        <a:defRPr sz="1471" kern="1200">
          <a:solidFill>
            <a:schemeClr val="tx1"/>
          </a:solidFill>
          <a:latin typeface="+mn-lt"/>
          <a:ea typeface="+mn-ea"/>
          <a:cs typeface="+mn-cs"/>
        </a:defRPr>
      </a:lvl7pPr>
      <a:lvl8pPr marL="2571658" indent="-171444" algn="l" defTabSz="685775" rtl="0" eaLnBrk="1" latinLnBrk="0" hangingPunct="1">
        <a:spcBef>
          <a:spcPct val="20000"/>
        </a:spcBef>
        <a:buFont typeface="Arial" pitchFamily="34" charset="0"/>
        <a:buChar char="•"/>
        <a:defRPr sz="1471" kern="1200">
          <a:solidFill>
            <a:schemeClr val="tx1"/>
          </a:solidFill>
          <a:latin typeface="+mn-lt"/>
          <a:ea typeface="+mn-ea"/>
          <a:cs typeface="+mn-cs"/>
        </a:defRPr>
      </a:lvl8pPr>
      <a:lvl9pPr marL="2914546" indent="-171444" algn="l" defTabSz="685775" rtl="0" eaLnBrk="1" latinLnBrk="0" hangingPunct="1">
        <a:spcBef>
          <a:spcPct val="20000"/>
        </a:spcBef>
        <a:buFont typeface="Arial" pitchFamily="34" charset="0"/>
        <a:buChar char="•"/>
        <a:defRPr sz="1471" kern="1200">
          <a:solidFill>
            <a:schemeClr val="tx1"/>
          </a:solidFill>
          <a:latin typeface="+mn-lt"/>
          <a:ea typeface="+mn-ea"/>
          <a:cs typeface="+mn-cs"/>
        </a:defRPr>
      </a:lvl9pPr>
    </p:bodyStyle>
    <p:otherStyle>
      <a:defPPr>
        <a:defRPr lang="en-US"/>
      </a:defPPr>
      <a:lvl1pPr marL="0" algn="l" defTabSz="685775" rtl="0" eaLnBrk="1" latinLnBrk="0" hangingPunct="1">
        <a:defRPr sz="1324" kern="1200">
          <a:solidFill>
            <a:schemeClr val="tx1"/>
          </a:solidFill>
          <a:latin typeface="+mn-lt"/>
          <a:ea typeface="+mn-ea"/>
          <a:cs typeface="+mn-cs"/>
        </a:defRPr>
      </a:lvl1pPr>
      <a:lvl2pPr marL="342887" algn="l" defTabSz="685775" rtl="0" eaLnBrk="1" latinLnBrk="0" hangingPunct="1">
        <a:defRPr sz="1324" kern="1200">
          <a:solidFill>
            <a:schemeClr val="tx1"/>
          </a:solidFill>
          <a:latin typeface="+mn-lt"/>
          <a:ea typeface="+mn-ea"/>
          <a:cs typeface="+mn-cs"/>
        </a:defRPr>
      </a:lvl2pPr>
      <a:lvl3pPr marL="685775" algn="l" defTabSz="685775" rtl="0" eaLnBrk="1" latinLnBrk="0" hangingPunct="1">
        <a:defRPr sz="1324" kern="1200">
          <a:solidFill>
            <a:schemeClr val="tx1"/>
          </a:solidFill>
          <a:latin typeface="+mn-lt"/>
          <a:ea typeface="+mn-ea"/>
          <a:cs typeface="+mn-cs"/>
        </a:defRPr>
      </a:lvl3pPr>
      <a:lvl4pPr marL="1028663" algn="l" defTabSz="685775" rtl="0" eaLnBrk="1" latinLnBrk="0" hangingPunct="1">
        <a:defRPr sz="1324" kern="1200">
          <a:solidFill>
            <a:schemeClr val="tx1"/>
          </a:solidFill>
          <a:latin typeface="+mn-lt"/>
          <a:ea typeface="+mn-ea"/>
          <a:cs typeface="+mn-cs"/>
        </a:defRPr>
      </a:lvl4pPr>
      <a:lvl5pPr marL="1371551" algn="l" defTabSz="685775" rtl="0" eaLnBrk="1" latinLnBrk="0" hangingPunct="1">
        <a:defRPr sz="1324" kern="1200">
          <a:solidFill>
            <a:schemeClr val="tx1"/>
          </a:solidFill>
          <a:latin typeface="+mn-lt"/>
          <a:ea typeface="+mn-ea"/>
          <a:cs typeface="+mn-cs"/>
        </a:defRPr>
      </a:lvl5pPr>
      <a:lvl6pPr marL="1714439" algn="l" defTabSz="685775" rtl="0" eaLnBrk="1" latinLnBrk="0" hangingPunct="1">
        <a:defRPr sz="1324" kern="1200">
          <a:solidFill>
            <a:schemeClr val="tx1"/>
          </a:solidFill>
          <a:latin typeface="+mn-lt"/>
          <a:ea typeface="+mn-ea"/>
          <a:cs typeface="+mn-cs"/>
        </a:defRPr>
      </a:lvl6pPr>
      <a:lvl7pPr marL="2057326" algn="l" defTabSz="685775" rtl="0" eaLnBrk="1" latinLnBrk="0" hangingPunct="1">
        <a:defRPr sz="1324" kern="1200">
          <a:solidFill>
            <a:schemeClr val="tx1"/>
          </a:solidFill>
          <a:latin typeface="+mn-lt"/>
          <a:ea typeface="+mn-ea"/>
          <a:cs typeface="+mn-cs"/>
        </a:defRPr>
      </a:lvl7pPr>
      <a:lvl8pPr marL="2400213" algn="l" defTabSz="685775" rtl="0" eaLnBrk="1" latinLnBrk="0" hangingPunct="1">
        <a:defRPr sz="1324" kern="1200">
          <a:solidFill>
            <a:schemeClr val="tx1"/>
          </a:solidFill>
          <a:latin typeface="+mn-lt"/>
          <a:ea typeface="+mn-ea"/>
          <a:cs typeface="+mn-cs"/>
        </a:defRPr>
      </a:lvl8pPr>
      <a:lvl9pPr marL="2743102" algn="l" defTabSz="685775" rtl="0" eaLnBrk="1" latinLnBrk="0" hangingPunct="1">
        <a:defRPr sz="1324"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9F1C562-CCDF-45B5-93C6-6EE70794052A}"/>
              </a:ext>
            </a:extLst>
          </p:cNvPr>
          <p:cNvGraphicFramePr>
            <a:graphicFrameLocks noChangeAspect="1"/>
          </p:cNvGraphicFramePr>
          <p:nvPr userDrawn="1">
            <p:custDataLst>
              <p:tags r:id="rId21"/>
            </p:custDataLst>
            <p:extLst/>
          </p:nvPr>
        </p:nvGraphicFramePr>
        <p:xfrm>
          <a:off x="1168" y="1558"/>
          <a:ext cx="1167" cy="1556"/>
        </p:xfrm>
        <a:graphic>
          <a:graphicData uri="http://schemas.openxmlformats.org/presentationml/2006/ole">
            <mc:AlternateContent xmlns:mc="http://schemas.openxmlformats.org/markup-compatibility/2006">
              <mc:Choice xmlns:v="urn:schemas-microsoft-com:vml" Requires="v">
                <p:oleObj spid="_x0000_s1026" name="think-cell Slide" r:id="rId22" imgW="425" imgH="424" progId="TCLayout.ActiveDocument.1">
                  <p:embed/>
                </p:oleObj>
              </mc:Choice>
              <mc:Fallback>
                <p:oleObj name="think-cell Slide" r:id="rId22" imgW="425" imgH="424" progId="TCLayout.ActiveDocument.1">
                  <p:embed/>
                  <p:pic>
                    <p:nvPicPr>
                      <p:cNvPr id="3" name="Object 2" hidden="1">
                        <a:extLst>
                          <a:ext uri="{FF2B5EF4-FFF2-40B4-BE49-F238E27FC236}">
                            <a16:creationId xmlns:a16="http://schemas.microsoft.com/office/drawing/2014/main" id="{69F1C562-CCDF-45B5-93C6-6EE70794052A}"/>
                          </a:ext>
                        </a:extLst>
                      </p:cNvPr>
                      <p:cNvPicPr/>
                      <p:nvPr/>
                    </p:nvPicPr>
                    <p:blipFill>
                      <a:blip r:embed="rId23"/>
                      <a:stretch>
                        <a:fillRect/>
                      </a:stretch>
                    </p:blipFill>
                    <p:spPr>
                      <a:xfrm>
                        <a:off x="1168" y="1558"/>
                        <a:ext cx="1167" cy="1556"/>
                      </a:xfrm>
                      <a:prstGeom prst="rect">
                        <a:avLst/>
                      </a:prstGeom>
                    </p:spPr>
                  </p:pic>
                </p:oleObj>
              </mc:Fallback>
            </mc:AlternateContent>
          </a:graphicData>
        </a:graphic>
      </p:graphicFrame>
      <p:sp>
        <p:nvSpPr>
          <p:cNvPr id="2" name="Title Placeholder 1"/>
          <p:cNvSpPr>
            <a:spLocks noGrp="1"/>
          </p:cNvSpPr>
          <p:nvPr>
            <p:ph type="title"/>
          </p:nvPr>
        </p:nvSpPr>
        <p:spPr>
          <a:xfrm>
            <a:off x="201930" y="289512"/>
            <a:ext cx="874188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01931" y="1189178"/>
            <a:ext cx="8740141" cy="174644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4"/>
          <a:stretch>
            <a:fillRect/>
          </a:stretch>
        </p:blipFill>
        <p:spPr>
          <a:xfrm rot="5400000">
            <a:off x="6032982" y="3116543"/>
            <a:ext cx="6858623" cy="624914"/>
          </a:xfrm>
          <a:prstGeom prst="rect">
            <a:avLst/>
          </a:prstGeom>
        </p:spPr>
      </p:pic>
    </p:spTree>
    <p:extLst>
      <p:ext uri="{BB962C8B-B14F-4D97-AF65-F5344CB8AC3E}">
        <p14:creationId xmlns:p14="http://schemas.microsoft.com/office/powerpoint/2010/main" val="899734576"/>
      </p:ext>
    </p:extLst>
  </p:cSld>
  <p:clrMap bg1="lt1" tx1="dk1" bg2="lt2" tx2="dk2" accent1="accent1" accent2="accent2" accent3="accent3" accent4="accent4" accent5="accent5" accent6="accent6" hlink="hlink" folHlink="folHlink"/>
  <p:sldLayoutIdLst>
    <p:sldLayoutId id="2147483824" r:id="rId1"/>
    <p:sldLayoutId id="2147483825" r:id="rId2"/>
    <p:sldLayoutId id="2147483826" r:id="rId3"/>
    <p:sldLayoutId id="2147483827" r:id="rId4"/>
    <p:sldLayoutId id="2147483828" r:id="rId5"/>
    <p:sldLayoutId id="2147483829" r:id="rId6"/>
    <p:sldLayoutId id="2147483830" r:id="rId7"/>
    <p:sldLayoutId id="2147483831" r:id="rId8"/>
    <p:sldLayoutId id="2147483832" r:id="rId9"/>
    <p:sldLayoutId id="2147483833" r:id="rId10"/>
    <p:sldLayoutId id="2147483834" r:id="rId11"/>
    <p:sldLayoutId id="2147483835" r:id="rId12"/>
    <p:sldLayoutId id="2147483836" r:id="rId13"/>
    <p:sldLayoutId id="2147483837" r:id="rId14"/>
    <p:sldLayoutId id="2147483838" r:id="rId15"/>
    <p:sldLayoutId id="2147483839" r:id="rId16"/>
    <p:sldLayoutId id="2147483840" r:id="rId17"/>
    <p:sldLayoutId id="2147483841" r:id="rId18"/>
  </p:sldLayoutIdLst>
  <p:transition>
    <p:fade/>
  </p:transition>
  <p:hf sldNum="0" hdr="0" ftr="0" dt="0"/>
  <p:txStyles>
    <p:titleStyle>
      <a:lvl1pPr algn="l" defTabSz="685775" rtl="0" eaLnBrk="1" latinLnBrk="0" hangingPunct="1">
        <a:lnSpc>
          <a:spcPct val="90000"/>
        </a:lnSpc>
        <a:spcBef>
          <a:spcPct val="0"/>
        </a:spcBef>
        <a:buNone/>
        <a:defRPr lang="en-US" sz="3529"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168073" marR="0" indent="-168073" algn="l" defTabSz="68577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647" kern="1200" spc="0" baseline="0">
          <a:gradFill>
            <a:gsLst>
              <a:gs pos="1250">
                <a:schemeClr val="tx1"/>
              </a:gs>
              <a:gs pos="100000">
                <a:schemeClr val="tx1"/>
              </a:gs>
            </a:gsLst>
            <a:lin ang="5400000" scaled="0"/>
          </a:gradFill>
          <a:latin typeface="+mj-lt"/>
          <a:ea typeface="+mn-ea"/>
          <a:cs typeface="+mn-cs"/>
        </a:defRPr>
      </a:lvl1pPr>
      <a:lvl2pPr marL="336145" marR="0" indent="-168073" algn="l" defTabSz="68577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59" kern="1200" spc="0" baseline="0">
          <a:gradFill>
            <a:gsLst>
              <a:gs pos="1250">
                <a:schemeClr val="tx1"/>
              </a:gs>
              <a:gs pos="100000">
                <a:schemeClr val="tx1"/>
              </a:gs>
            </a:gsLst>
            <a:lin ang="5400000" scaled="0"/>
          </a:gradFill>
          <a:latin typeface="+mn-lt"/>
          <a:ea typeface="+mn-ea"/>
          <a:cs typeface="+mn-cs"/>
        </a:defRPr>
      </a:lvl2pPr>
      <a:lvl3pPr marL="504218" marR="0" indent="-168073" algn="l" defTabSz="68577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3pPr>
      <a:lvl4pPr marL="672290" marR="0" indent="-168073" algn="l" defTabSz="68577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618" kern="1200" spc="0" baseline="0">
          <a:gradFill>
            <a:gsLst>
              <a:gs pos="1250">
                <a:schemeClr val="tx1"/>
              </a:gs>
              <a:gs pos="100000">
                <a:schemeClr val="tx1"/>
              </a:gs>
            </a:gsLst>
            <a:lin ang="5400000" scaled="0"/>
          </a:gradFill>
          <a:latin typeface="+mn-lt"/>
          <a:ea typeface="+mn-ea"/>
          <a:cs typeface="+mn-cs"/>
        </a:defRPr>
      </a:lvl4pPr>
      <a:lvl5pPr marL="840362" marR="0" indent="-168073" algn="l" defTabSz="68577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618" kern="1200" spc="0" baseline="0">
          <a:gradFill>
            <a:gsLst>
              <a:gs pos="1250">
                <a:schemeClr val="tx1"/>
              </a:gs>
              <a:gs pos="100000">
                <a:schemeClr val="tx1"/>
              </a:gs>
            </a:gsLst>
            <a:lin ang="5400000" scaled="0"/>
          </a:gradFill>
          <a:latin typeface="+mn-lt"/>
          <a:ea typeface="+mn-ea"/>
          <a:cs typeface="+mn-cs"/>
        </a:defRPr>
      </a:lvl5pPr>
      <a:lvl6pPr marL="1885882" indent="-171444" algn="l" defTabSz="685775" rtl="0" eaLnBrk="1" latinLnBrk="0" hangingPunct="1">
        <a:spcBef>
          <a:spcPct val="20000"/>
        </a:spcBef>
        <a:buFont typeface="Arial" pitchFamily="34" charset="0"/>
        <a:buChar char="•"/>
        <a:defRPr sz="1471" kern="1200">
          <a:solidFill>
            <a:schemeClr val="tx1"/>
          </a:solidFill>
          <a:latin typeface="+mn-lt"/>
          <a:ea typeface="+mn-ea"/>
          <a:cs typeface="+mn-cs"/>
        </a:defRPr>
      </a:lvl6pPr>
      <a:lvl7pPr marL="2228770" indent="-171444" algn="l" defTabSz="685775" rtl="0" eaLnBrk="1" latinLnBrk="0" hangingPunct="1">
        <a:spcBef>
          <a:spcPct val="20000"/>
        </a:spcBef>
        <a:buFont typeface="Arial" pitchFamily="34" charset="0"/>
        <a:buChar char="•"/>
        <a:defRPr sz="1471" kern="1200">
          <a:solidFill>
            <a:schemeClr val="tx1"/>
          </a:solidFill>
          <a:latin typeface="+mn-lt"/>
          <a:ea typeface="+mn-ea"/>
          <a:cs typeface="+mn-cs"/>
        </a:defRPr>
      </a:lvl7pPr>
      <a:lvl8pPr marL="2571658" indent="-171444" algn="l" defTabSz="685775" rtl="0" eaLnBrk="1" latinLnBrk="0" hangingPunct="1">
        <a:spcBef>
          <a:spcPct val="20000"/>
        </a:spcBef>
        <a:buFont typeface="Arial" pitchFamily="34" charset="0"/>
        <a:buChar char="•"/>
        <a:defRPr sz="1471" kern="1200">
          <a:solidFill>
            <a:schemeClr val="tx1"/>
          </a:solidFill>
          <a:latin typeface="+mn-lt"/>
          <a:ea typeface="+mn-ea"/>
          <a:cs typeface="+mn-cs"/>
        </a:defRPr>
      </a:lvl8pPr>
      <a:lvl9pPr marL="2914546" indent="-171444" algn="l" defTabSz="685775" rtl="0" eaLnBrk="1" latinLnBrk="0" hangingPunct="1">
        <a:spcBef>
          <a:spcPct val="20000"/>
        </a:spcBef>
        <a:buFont typeface="Arial" pitchFamily="34" charset="0"/>
        <a:buChar char="•"/>
        <a:defRPr sz="1471" kern="1200">
          <a:solidFill>
            <a:schemeClr val="tx1"/>
          </a:solidFill>
          <a:latin typeface="+mn-lt"/>
          <a:ea typeface="+mn-ea"/>
          <a:cs typeface="+mn-cs"/>
        </a:defRPr>
      </a:lvl9pPr>
    </p:bodyStyle>
    <p:otherStyle>
      <a:defPPr>
        <a:defRPr lang="en-US"/>
      </a:defPPr>
      <a:lvl1pPr marL="0" algn="l" defTabSz="685775" rtl="0" eaLnBrk="1" latinLnBrk="0" hangingPunct="1">
        <a:defRPr sz="1324" kern="1200">
          <a:solidFill>
            <a:schemeClr val="tx1"/>
          </a:solidFill>
          <a:latin typeface="+mn-lt"/>
          <a:ea typeface="+mn-ea"/>
          <a:cs typeface="+mn-cs"/>
        </a:defRPr>
      </a:lvl1pPr>
      <a:lvl2pPr marL="342887" algn="l" defTabSz="685775" rtl="0" eaLnBrk="1" latinLnBrk="0" hangingPunct="1">
        <a:defRPr sz="1324" kern="1200">
          <a:solidFill>
            <a:schemeClr val="tx1"/>
          </a:solidFill>
          <a:latin typeface="+mn-lt"/>
          <a:ea typeface="+mn-ea"/>
          <a:cs typeface="+mn-cs"/>
        </a:defRPr>
      </a:lvl2pPr>
      <a:lvl3pPr marL="685775" algn="l" defTabSz="685775" rtl="0" eaLnBrk="1" latinLnBrk="0" hangingPunct="1">
        <a:defRPr sz="1324" kern="1200">
          <a:solidFill>
            <a:schemeClr val="tx1"/>
          </a:solidFill>
          <a:latin typeface="+mn-lt"/>
          <a:ea typeface="+mn-ea"/>
          <a:cs typeface="+mn-cs"/>
        </a:defRPr>
      </a:lvl3pPr>
      <a:lvl4pPr marL="1028663" algn="l" defTabSz="685775" rtl="0" eaLnBrk="1" latinLnBrk="0" hangingPunct="1">
        <a:defRPr sz="1324" kern="1200">
          <a:solidFill>
            <a:schemeClr val="tx1"/>
          </a:solidFill>
          <a:latin typeface="+mn-lt"/>
          <a:ea typeface="+mn-ea"/>
          <a:cs typeface="+mn-cs"/>
        </a:defRPr>
      </a:lvl4pPr>
      <a:lvl5pPr marL="1371551" algn="l" defTabSz="685775" rtl="0" eaLnBrk="1" latinLnBrk="0" hangingPunct="1">
        <a:defRPr sz="1324" kern="1200">
          <a:solidFill>
            <a:schemeClr val="tx1"/>
          </a:solidFill>
          <a:latin typeface="+mn-lt"/>
          <a:ea typeface="+mn-ea"/>
          <a:cs typeface="+mn-cs"/>
        </a:defRPr>
      </a:lvl5pPr>
      <a:lvl6pPr marL="1714439" algn="l" defTabSz="685775" rtl="0" eaLnBrk="1" latinLnBrk="0" hangingPunct="1">
        <a:defRPr sz="1324" kern="1200">
          <a:solidFill>
            <a:schemeClr val="tx1"/>
          </a:solidFill>
          <a:latin typeface="+mn-lt"/>
          <a:ea typeface="+mn-ea"/>
          <a:cs typeface="+mn-cs"/>
        </a:defRPr>
      </a:lvl6pPr>
      <a:lvl7pPr marL="2057326" algn="l" defTabSz="685775" rtl="0" eaLnBrk="1" latinLnBrk="0" hangingPunct="1">
        <a:defRPr sz="1324" kern="1200">
          <a:solidFill>
            <a:schemeClr val="tx1"/>
          </a:solidFill>
          <a:latin typeface="+mn-lt"/>
          <a:ea typeface="+mn-ea"/>
          <a:cs typeface="+mn-cs"/>
        </a:defRPr>
      </a:lvl7pPr>
      <a:lvl8pPr marL="2400213" algn="l" defTabSz="685775" rtl="0" eaLnBrk="1" latinLnBrk="0" hangingPunct="1">
        <a:defRPr sz="1324" kern="1200">
          <a:solidFill>
            <a:schemeClr val="tx1"/>
          </a:solidFill>
          <a:latin typeface="+mn-lt"/>
          <a:ea typeface="+mn-ea"/>
          <a:cs typeface="+mn-cs"/>
        </a:defRPr>
      </a:lvl8pPr>
      <a:lvl9pPr marL="2743102" algn="l" defTabSz="685775" rtl="0" eaLnBrk="1" latinLnBrk="0" hangingPunct="1">
        <a:defRPr sz="132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9F1C562-CCDF-45B5-93C6-6EE70794052A}"/>
              </a:ext>
            </a:extLst>
          </p:cNvPr>
          <p:cNvGraphicFramePr>
            <a:graphicFrameLocks noChangeAspect="1"/>
          </p:cNvGraphicFramePr>
          <p:nvPr userDrawn="1">
            <p:custDataLst>
              <p:tags r:id="rId21"/>
            </p:custDataLst>
            <p:extLst/>
          </p:nvPr>
        </p:nvGraphicFramePr>
        <p:xfrm>
          <a:off x="1168" y="1558"/>
          <a:ext cx="1167" cy="1556"/>
        </p:xfrm>
        <a:graphic>
          <a:graphicData uri="http://schemas.openxmlformats.org/presentationml/2006/ole">
            <mc:AlternateContent xmlns:mc="http://schemas.openxmlformats.org/markup-compatibility/2006">
              <mc:Choice xmlns:v="urn:schemas-microsoft-com:vml" Requires="v">
                <p:oleObj spid="_x0000_s3074" name="think-cell Slide" r:id="rId22" imgW="425" imgH="424" progId="TCLayout.ActiveDocument.1">
                  <p:embed/>
                </p:oleObj>
              </mc:Choice>
              <mc:Fallback>
                <p:oleObj name="think-cell Slide" r:id="rId22" imgW="425" imgH="424" progId="TCLayout.ActiveDocument.1">
                  <p:embed/>
                  <p:pic>
                    <p:nvPicPr>
                      <p:cNvPr id="3" name="Object 2" hidden="1">
                        <a:extLst>
                          <a:ext uri="{FF2B5EF4-FFF2-40B4-BE49-F238E27FC236}">
                            <a16:creationId xmlns:a16="http://schemas.microsoft.com/office/drawing/2014/main" id="{69F1C562-CCDF-45B5-93C6-6EE70794052A}"/>
                          </a:ext>
                        </a:extLst>
                      </p:cNvPr>
                      <p:cNvPicPr/>
                      <p:nvPr/>
                    </p:nvPicPr>
                    <p:blipFill>
                      <a:blip r:embed="rId23"/>
                      <a:stretch>
                        <a:fillRect/>
                      </a:stretch>
                    </p:blipFill>
                    <p:spPr>
                      <a:xfrm>
                        <a:off x="1168" y="1558"/>
                        <a:ext cx="1167" cy="1556"/>
                      </a:xfrm>
                      <a:prstGeom prst="rect">
                        <a:avLst/>
                      </a:prstGeom>
                    </p:spPr>
                  </p:pic>
                </p:oleObj>
              </mc:Fallback>
            </mc:AlternateContent>
          </a:graphicData>
        </a:graphic>
      </p:graphicFrame>
      <p:sp>
        <p:nvSpPr>
          <p:cNvPr id="2" name="Title Placeholder 1"/>
          <p:cNvSpPr>
            <a:spLocks noGrp="1"/>
          </p:cNvSpPr>
          <p:nvPr>
            <p:ph type="title"/>
          </p:nvPr>
        </p:nvSpPr>
        <p:spPr>
          <a:xfrm>
            <a:off x="201930" y="289512"/>
            <a:ext cx="874188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01931" y="1189178"/>
            <a:ext cx="8740141" cy="174644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4"/>
          <a:stretch>
            <a:fillRect/>
          </a:stretch>
        </p:blipFill>
        <p:spPr>
          <a:xfrm rot="5400000">
            <a:off x="6032982" y="3116543"/>
            <a:ext cx="6858623" cy="624914"/>
          </a:xfrm>
          <a:prstGeom prst="rect">
            <a:avLst/>
          </a:prstGeom>
        </p:spPr>
      </p:pic>
    </p:spTree>
    <p:extLst>
      <p:ext uri="{BB962C8B-B14F-4D97-AF65-F5344CB8AC3E}">
        <p14:creationId xmlns:p14="http://schemas.microsoft.com/office/powerpoint/2010/main" val="597472463"/>
      </p:ext>
    </p:extLst>
  </p:cSld>
  <p:clrMap bg1="lt1" tx1="dk1" bg2="lt2" tx2="dk2" accent1="accent1" accent2="accent2" accent3="accent3" accent4="accent4" accent5="accent5" accent6="accent6" hlink="hlink" folHlink="folHlink"/>
  <p:sldLayoutIdLst>
    <p:sldLayoutId id="2147483843" r:id="rId1"/>
    <p:sldLayoutId id="2147483844" r:id="rId2"/>
    <p:sldLayoutId id="2147483845" r:id="rId3"/>
    <p:sldLayoutId id="2147483846" r:id="rId4"/>
    <p:sldLayoutId id="2147483847" r:id="rId5"/>
    <p:sldLayoutId id="2147483848" r:id="rId6"/>
    <p:sldLayoutId id="2147483849" r:id="rId7"/>
    <p:sldLayoutId id="2147483850" r:id="rId8"/>
    <p:sldLayoutId id="2147483851" r:id="rId9"/>
    <p:sldLayoutId id="2147483852" r:id="rId10"/>
    <p:sldLayoutId id="2147483853" r:id="rId11"/>
    <p:sldLayoutId id="2147483854" r:id="rId12"/>
    <p:sldLayoutId id="2147483855" r:id="rId13"/>
    <p:sldLayoutId id="2147483856" r:id="rId14"/>
    <p:sldLayoutId id="2147483857" r:id="rId15"/>
    <p:sldLayoutId id="2147483858" r:id="rId16"/>
    <p:sldLayoutId id="2147483859" r:id="rId17"/>
    <p:sldLayoutId id="2147483860" r:id="rId18"/>
  </p:sldLayoutIdLst>
  <p:transition>
    <p:fade/>
  </p:transition>
  <p:hf sldNum="0" hdr="0" ftr="0" dt="0"/>
  <p:txStyles>
    <p:titleStyle>
      <a:lvl1pPr algn="l" defTabSz="685775" rtl="0" eaLnBrk="1" latinLnBrk="0" hangingPunct="1">
        <a:lnSpc>
          <a:spcPct val="90000"/>
        </a:lnSpc>
        <a:spcBef>
          <a:spcPct val="0"/>
        </a:spcBef>
        <a:buNone/>
        <a:defRPr lang="en-US" sz="3529"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168073" marR="0" indent="-168073" algn="l" defTabSz="68577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647" kern="1200" spc="0" baseline="0">
          <a:gradFill>
            <a:gsLst>
              <a:gs pos="1250">
                <a:schemeClr val="tx1"/>
              </a:gs>
              <a:gs pos="100000">
                <a:schemeClr val="tx1"/>
              </a:gs>
            </a:gsLst>
            <a:lin ang="5400000" scaled="0"/>
          </a:gradFill>
          <a:latin typeface="+mj-lt"/>
          <a:ea typeface="+mn-ea"/>
          <a:cs typeface="+mn-cs"/>
        </a:defRPr>
      </a:lvl1pPr>
      <a:lvl2pPr marL="336145" marR="0" indent="-168073" algn="l" defTabSz="68577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59" kern="1200" spc="0" baseline="0">
          <a:gradFill>
            <a:gsLst>
              <a:gs pos="1250">
                <a:schemeClr val="tx1"/>
              </a:gs>
              <a:gs pos="100000">
                <a:schemeClr val="tx1"/>
              </a:gs>
            </a:gsLst>
            <a:lin ang="5400000" scaled="0"/>
          </a:gradFill>
          <a:latin typeface="+mn-lt"/>
          <a:ea typeface="+mn-ea"/>
          <a:cs typeface="+mn-cs"/>
        </a:defRPr>
      </a:lvl2pPr>
      <a:lvl3pPr marL="504218" marR="0" indent="-168073" algn="l" defTabSz="68577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3pPr>
      <a:lvl4pPr marL="672290" marR="0" indent="-168073" algn="l" defTabSz="68577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618" kern="1200" spc="0" baseline="0">
          <a:gradFill>
            <a:gsLst>
              <a:gs pos="1250">
                <a:schemeClr val="tx1"/>
              </a:gs>
              <a:gs pos="100000">
                <a:schemeClr val="tx1"/>
              </a:gs>
            </a:gsLst>
            <a:lin ang="5400000" scaled="0"/>
          </a:gradFill>
          <a:latin typeface="+mn-lt"/>
          <a:ea typeface="+mn-ea"/>
          <a:cs typeface="+mn-cs"/>
        </a:defRPr>
      </a:lvl4pPr>
      <a:lvl5pPr marL="840362" marR="0" indent="-168073" algn="l" defTabSz="68577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618" kern="1200" spc="0" baseline="0">
          <a:gradFill>
            <a:gsLst>
              <a:gs pos="1250">
                <a:schemeClr val="tx1"/>
              </a:gs>
              <a:gs pos="100000">
                <a:schemeClr val="tx1"/>
              </a:gs>
            </a:gsLst>
            <a:lin ang="5400000" scaled="0"/>
          </a:gradFill>
          <a:latin typeface="+mn-lt"/>
          <a:ea typeface="+mn-ea"/>
          <a:cs typeface="+mn-cs"/>
        </a:defRPr>
      </a:lvl5pPr>
      <a:lvl6pPr marL="1885882" indent="-171444" algn="l" defTabSz="685775" rtl="0" eaLnBrk="1" latinLnBrk="0" hangingPunct="1">
        <a:spcBef>
          <a:spcPct val="20000"/>
        </a:spcBef>
        <a:buFont typeface="Arial" pitchFamily="34" charset="0"/>
        <a:buChar char="•"/>
        <a:defRPr sz="1471" kern="1200">
          <a:solidFill>
            <a:schemeClr val="tx1"/>
          </a:solidFill>
          <a:latin typeface="+mn-lt"/>
          <a:ea typeface="+mn-ea"/>
          <a:cs typeface="+mn-cs"/>
        </a:defRPr>
      </a:lvl6pPr>
      <a:lvl7pPr marL="2228770" indent="-171444" algn="l" defTabSz="685775" rtl="0" eaLnBrk="1" latinLnBrk="0" hangingPunct="1">
        <a:spcBef>
          <a:spcPct val="20000"/>
        </a:spcBef>
        <a:buFont typeface="Arial" pitchFamily="34" charset="0"/>
        <a:buChar char="•"/>
        <a:defRPr sz="1471" kern="1200">
          <a:solidFill>
            <a:schemeClr val="tx1"/>
          </a:solidFill>
          <a:latin typeface="+mn-lt"/>
          <a:ea typeface="+mn-ea"/>
          <a:cs typeface="+mn-cs"/>
        </a:defRPr>
      </a:lvl7pPr>
      <a:lvl8pPr marL="2571658" indent="-171444" algn="l" defTabSz="685775" rtl="0" eaLnBrk="1" latinLnBrk="0" hangingPunct="1">
        <a:spcBef>
          <a:spcPct val="20000"/>
        </a:spcBef>
        <a:buFont typeface="Arial" pitchFamily="34" charset="0"/>
        <a:buChar char="•"/>
        <a:defRPr sz="1471" kern="1200">
          <a:solidFill>
            <a:schemeClr val="tx1"/>
          </a:solidFill>
          <a:latin typeface="+mn-lt"/>
          <a:ea typeface="+mn-ea"/>
          <a:cs typeface="+mn-cs"/>
        </a:defRPr>
      </a:lvl8pPr>
      <a:lvl9pPr marL="2914546" indent="-171444" algn="l" defTabSz="685775" rtl="0" eaLnBrk="1" latinLnBrk="0" hangingPunct="1">
        <a:spcBef>
          <a:spcPct val="20000"/>
        </a:spcBef>
        <a:buFont typeface="Arial" pitchFamily="34" charset="0"/>
        <a:buChar char="•"/>
        <a:defRPr sz="1471" kern="1200">
          <a:solidFill>
            <a:schemeClr val="tx1"/>
          </a:solidFill>
          <a:latin typeface="+mn-lt"/>
          <a:ea typeface="+mn-ea"/>
          <a:cs typeface="+mn-cs"/>
        </a:defRPr>
      </a:lvl9pPr>
    </p:bodyStyle>
    <p:otherStyle>
      <a:defPPr>
        <a:defRPr lang="en-US"/>
      </a:defPPr>
      <a:lvl1pPr marL="0" algn="l" defTabSz="685775" rtl="0" eaLnBrk="1" latinLnBrk="0" hangingPunct="1">
        <a:defRPr sz="1324" kern="1200">
          <a:solidFill>
            <a:schemeClr val="tx1"/>
          </a:solidFill>
          <a:latin typeface="+mn-lt"/>
          <a:ea typeface="+mn-ea"/>
          <a:cs typeface="+mn-cs"/>
        </a:defRPr>
      </a:lvl1pPr>
      <a:lvl2pPr marL="342887" algn="l" defTabSz="685775" rtl="0" eaLnBrk="1" latinLnBrk="0" hangingPunct="1">
        <a:defRPr sz="1324" kern="1200">
          <a:solidFill>
            <a:schemeClr val="tx1"/>
          </a:solidFill>
          <a:latin typeface="+mn-lt"/>
          <a:ea typeface="+mn-ea"/>
          <a:cs typeface="+mn-cs"/>
        </a:defRPr>
      </a:lvl2pPr>
      <a:lvl3pPr marL="685775" algn="l" defTabSz="685775" rtl="0" eaLnBrk="1" latinLnBrk="0" hangingPunct="1">
        <a:defRPr sz="1324" kern="1200">
          <a:solidFill>
            <a:schemeClr val="tx1"/>
          </a:solidFill>
          <a:latin typeface="+mn-lt"/>
          <a:ea typeface="+mn-ea"/>
          <a:cs typeface="+mn-cs"/>
        </a:defRPr>
      </a:lvl3pPr>
      <a:lvl4pPr marL="1028663" algn="l" defTabSz="685775" rtl="0" eaLnBrk="1" latinLnBrk="0" hangingPunct="1">
        <a:defRPr sz="1324" kern="1200">
          <a:solidFill>
            <a:schemeClr val="tx1"/>
          </a:solidFill>
          <a:latin typeface="+mn-lt"/>
          <a:ea typeface="+mn-ea"/>
          <a:cs typeface="+mn-cs"/>
        </a:defRPr>
      </a:lvl4pPr>
      <a:lvl5pPr marL="1371551" algn="l" defTabSz="685775" rtl="0" eaLnBrk="1" latinLnBrk="0" hangingPunct="1">
        <a:defRPr sz="1324" kern="1200">
          <a:solidFill>
            <a:schemeClr val="tx1"/>
          </a:solidFill>
          <a:latin typeface="+mn-lt"/>
          <a:ea typeface="+mn-ea"/>
          <a:cs typeface="+mn-cs"/>
        </a:defRPr>
      </a:lvl5pPr>
      <a:lvl6pPr marL="1714439" algn="l" defTabSz="685775" rtl="0" eaLnBrk="1" latinLnBrk="0" hangingPunct="1">
        <a:defRPr sz="1324" kern="1200">
          <a:solidFill>
            <a:schemeClr val="tx1"/>
          </a:solidFill>
          <a:latin typeface="+mn-lt"/>
          <a:ea typeface="+mn-ea"/>
          <a:cs typeface="+mn-cs"/>
        </a:defRPr>
      </a:lvl6pPr>
      <a:lvl7pPr marL="2057326" algn="l" defTabSz="685775" rtl="0" eaLnBrk="1" latinLnBrk="0" hangingPunct="1">
        <a:defRPr sz="1324" kern="1200">
          <a:solidFill>
            <a:schemeClr val="tx1"/>
          </a:solidFill>
          <a:latin typeface="+mn-lt"/>
          <a:ea typeface="+mn-ea"/>
          <a:cs typeface="+mn-cs"/>
        </a:defRPr>
      </a:lvl7pPr>
      <a:lvl8pPr marL="2400213" algn="l" defTabSz="685775" rtl="0" eaLnBrk="1" latinLnBrk="0" hangingPunct="1">
        <a:defRPr sz="1324" kern="1200">
          <a:solidFill>
            <a:schemeClr val="tx1"/>
          </a:solidFill>
          <a:latin typeface="+mn-lt"/>
          <a:ea typeface="+mn-ea"/>
          <a:cs typeface="+mn-cs"/>
        </a:defRPr>
      </a:lvl8pPr>
      <a:lvl9pPr marL="2743102" algn="l" defTabSz="685775" rtl="0" eaLnBrk="1" latinLnBrk="0" hangingPunct="1">
        <a:defRPr sz="132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9F1C562-CCDF-45B5-93C6-6EE70794052A}"/>
              </a:ext>
            </a:extLst>
          </p:cNvPr>
          <p:cNvGraphicFramePr>
            <a:graphicFrameLocks noChangeAspect="1"/>
          </p:cNvGraphicFramePr>
          <p:nvPr userDrawn="1">
            <p:custDataLst>
              <p:tags r:id="rId21"/>
            </p:custDataLst>
            <p:extLst/>
          </p:nvPr>
        </p:nvGraphicFramePr>
        <p:xfrm>
          <a:off x="1168" y="1558"/>
          <a:ext cx="1167" cy="1556"/>
        </p:xfrm>
        <a:graphic>
          <a:graphicData uri="http://schemas.openxmlformats.org/presentationml/2006/ole">
            <mc:AlternateContent xmlns:mc="http://schemas.openxmlformats.org/markup-compatibility/2006">
              <mc:Choice xmlns:v="urn:schemas-microsoft-com:vml" Requires="v">
                <p:oleObj spid="_x0000_s5122" name="think-cell Slide" r:id="rId22" imgW="425" imgH="424" progId="TCLayout.ActiveDocument.1">
                  <p:embed/>
                </p:oleObj>
              </mc:Choice>
              <mc:Fallback>
                <p:oleObj name="think-cell Slide" r:id="rId22" imgW="425" imgH="424" progId="TCLayout.ActiveDocument.1">
                  <p:embed/>
                  <p:pic>
                    <p:nvPicPr>
                      <p:cNvPr id="3" name="Object 2" hidden="1">
                        <a:extLst>
                          <a:ext uri="{FF2B5EF4-FFF2-40B4-BE49-F238E27FC236}">
                            <a16:creationId xmlns:a16="http://schemas.microsoft.com/office/drawing/2014/main" id="{69F1C562-CCDF-45B5-93C6-6EE70794052A}"/>
                          </a:ext>
                        </a:extLst>
                      </p:cNvPr>
                      <p:cNvPicPr/>
                      <p:nvPr/>
                    </p:nvPicPr>
                    <p:blipFill>
                      <a:blip r:embed="rId23"/>
                      <a:stretch>
                        <a:fillRect/>
                      </a:stretch>
                    </p:blipFill>
                    <p:spPr>
                      <a:xfrm>
                        <a:off x="1168" y="1558"/>
                        <a:ext cx="1167" cy="1556"/>
                      </a:xfrm>
                      <a:prstGeom prst="rect">
                        <a:avLst/>
                      </a:prstGeom>
                    </p:spPr>
                  </p:pic>
                </p:oleObj>
              </mc:Fallback>
            </mc:AlternateContent>
          </a:graphicData>
        </a:graphic>
      </p:graphicFrame>
      <p:sp>
        <p:nvSpPr>
          <p:cNvPr id="2" name="Title Placeholder 1"/>
          <p:cNvSpPr>
            <a:spLocks noGrp="1"/>
          </p:cNvSpPr>
          <p:nvPr>
            <p:ph type="title"/>
          </p:nvPr>
        </p:nvSpPr>
        <p:spPr>
          <a:xfrm>
            <a:off x="201930" y="289512"/>
            <a:ext cx="874188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01931" y="1189178"/>
            <a:ext cx="8740141" cy="174644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4"/>
          <a:stretch>
            <a:fillRect/>
          </a:stretch>
        </p:blipFill>
        <p:spPr>
          <a:xfrm rot="5400000">
            <a:off x="6032982" y="3116543"/>
            <a:ext cx="6858623" cy="624914"/>
          </a:xfrm>
          <a:prstGeom prst="rect">
            <a:avLst/>
          </a:prstGeom>
        </p:spPr>
      </p:pic>
    </p:spTree>
    <p:extLst>
      <p:ext uri="{BB962C8B-B14F-4D97-AF65-F5344CB8AC3E}">
        <p14:creationId xmlns:p14="http://schemas.microsoft.com/office/powerpoint/2010/main" val="4025694274"/>
      </p:ext>
    </p:extLst>
  </p:cSld>
  <p:clrMap bg1="lt1" tx1="dk1" bg2="lt2" tx2="dk2" accent1="accent1" accent2="accent2" accent3="accent3" accent4="accent4" accent5="accent5" accent6="accent6" hlink="hlink" folHlink="folHlink"/>
  <p:sldLayoutIdLst>
    <p:sldLayoutId id="2147483862" r:id="rId1"/>
    <p:sldLayoutId id="2147483863" r:id="rId2"/>
    <p:sldLayoutId id="2147483864" r:id="rId3"/>
    <p:sldLayoutId id="2147483865" r:id="rId4"/>
    <p:sldLayoutId id="2147483866" r:id="rId5"/>
    <p:sldLayoutId id="2147483867" r:id="rId6"/>
    <p:sldLayoutId id="2147483868" r:id="rId7"/>
    <p:sldLayoutId id="2147483869" r:id="rId8"/>
    <p:sldLayoutId id="2147483870" r:id="rId9"/>
    <p:sldLayoutId id="2147483871" r:id="rId10"/>
    <p:sldLayoutId id="2147483872" r:id="rId11"/>
    <p:sldLayoutId id="2147483873" r:id="rId12"/>
    <p:sldLayoutId id="2147483874" r:id="rId13"/>
    <p:sldLayoutId id="2147483875" r:id="rId14"/>
    <p:sldLayoutId id="2147483876" r:id="rId15"/>
    <p:sldLayoutId id="2147483877" r:id="rId16"/>
    <p:sldLayoutId id="2147483878" r:id="rId17"/>
    <p:sldLayoutId id="2147483879" r:id="rId18"/>
  </p:sldLayoutIdLst>
  <p:transition>
    <p:fade/>
  </p:transition>
  <p:hf sldNum="0" hdr="0" ftr="0" dt="0"/>
  <p:txStyles>
    <p:titleStyle>
      <a:lvl1pPr algn="l" defTabSz="685775" rtl="0" eaLnBrk="1" latinLnBrk="0" hangingPunct="1">
        <a:lnSpc>
          <a:spcPct val="90000"/>
        </a:lnSpc>
        <a:spcBef>
          <a:spcPct val="0"/>
        </a:spcBef>
        <a:buNone/>
        <a:defRPr lang="en-US" sz="3529"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168073" marR="0" indent="-168073" algn="l" defTabSz="68577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647" kern="1200" spc="0" baseline="0">
          <a:gradFill>
            <a:gsLst>
              <a:gs pos="1250">
                <a:schemeClr val="tx1"/>
              </a:gs>
              <a:gs pos="100000">
                <a:schemeClr val="tx1"/>
              </a:gs>
            </a:gsLst>
            <a:lin ang="5400000" scaled="0"/>
          </a:gradFill>
          <a:latin typeface="+mj-lt"/>
          <a:ea typeface="+mn-ea"/>
          <a:cs typeface="+mn-cs"/>
        </a:defRPr>
      </a:lvl1pPr>
      <a:lvl2pPr marL="336145" marR="0" indent="-168073" algn="l" defTabSz="68577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59" kern="1200" spc="0" baseline="0">
          <a:gradFill>
            <a:gsLst>
              <a:gs pos="1250">
                <a:schemeClr val="tx1"/>
              </a:gs>
              <a:gs pos="100000">
                <a:schemeClr val="tx1"/>
              </a:gs>
            </a:gsLst>
            <a:lin ang="5400000" scaled="0"/>
          </a:gradFill>
          <a:latin typeface="+mn-lt"/>
          <a:ea typeface="+mn-ea"/>
          <a:cs typeface="+mn-cs"/>
        </a:defRPr>
      </a:lvl2pPr>
      <a:lvl3pPr marL="504218" marR="0" indent="-168073" algn="l" defTabSz="68577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3pPr>
      <a:lvl4pPr marL="672290" marR="0" indent="-168073" algn="l" defTabSz="68577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618" kern="1200" spc="0" baseline="0">
          <a:gradFill>
            <a:gsLst>
              <a:gs pos="1250">
                <a:schemeClr val="tx1"/>
              </a:gs>
              <a:gs pos="100000">
                <a:schemeClr val="tx1"/>
              </a:gs>
            </a:gsLst>
            <a:lin ang="5400000" scaled="0"/>
          </a:gradFill>
          <a:latin typeface="+mn-lt"/>
          <a:ea typeface="+mn-ea"/>
          <a:cs typeface="+mn-cs"/>
        </a:defRPr>
      </a:lvl4pPr>
      <a:lvl5pPr marL="840362" marR="0" indent="-168073" algn="l" defTabSz="68577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618" kern="1200" spc="0" baseline="0">
          <a:gradFill>
            <a:gsLst>
              <a:gs pos="1250">
                <a:schemeClr val="tx1"/>
              </a:gs>
              <a:gs pos="100000">
                <a:schemeClr val="tx1"/>
              </a:gs>
            </a:gsLst>
            <a:lin ang="5400000" scaled="0"/>
          </a:gradFill>
          <a:latin typeface="+mn-lt"/>
          <a:ea typeface="+mn-ea"/>
          <a:cs typeface="+mn-cs"/>
        </a:defRPr>
      </a:lvl5pPr>
      <a:lvl6pPr marL="1885882" indent="-171444" algn="l" defTabSz="685775" rtl="0" eaLnBrk="1" latinLnBrk="0" hangingPunct="1">
        <a:spcBef>
          <a:spcPct val="20000"/>
        </a:spcBef>
        <a:buFont typeface="Arial" pitchFamily="34" charset="0"/>
        <a:buChar char="•"/>
        <a:defRPr sz="1471" kern="1200">
          <a:solidFill>
            <a:schemeClr val="tx1"/>
          </a:solidFill>
          <a:latin typeface="+mn-lt"/>
          <a:ea typeface="+mn-ea"/>
          <a:cs typeface="+mn-cs"/>
        </a:defRPr>
      </a:lvl6pPr>
      <a:lvl7pPr marL="2228770" indent="-171444" algn="l" defTabSz="685775" rtl="0" eaLnBrk="1" latinLnBrk="0" hangingPunct="1">
        <a:spcBef>
          <a:spcPct val="20000"/>
        </a:spcBef>
        <a:buFont typeface="Arial" pitchFamily="34" charset="0"/>
        <a:buChar char="•"/>
        <a:defRPr sz="1471" kern="1200">
          <a:solidFill>
            <a:schemeClr val="tx1"/>
          </a:solidFill>
          <a:latin typeface="+mn-lt"/>
          <a:ea typeface="+mn-ea"/>
          <a:cs typeface="+mn-cs"/>
        </a:defRPr>
      </a:lvl7pPr>
      <a:lvl8pPr marL="2571658" indent="-171444" algn="l" defTabSz="685775" rtl="0" eaLnBrk="1" latinLnBrk="0" hangingPunct="1">
        <a:spcBef>
          <a:spcPct val="20000"/>
        </a:spcBef>
        <a:buFont typeface="Arial" pitchFamily="34" charset="0"/>
        <a:buChar char="•"/>
        <a:defRPr sz="1471" kern="1200">
          <a:solidFill>
            <a:schemeClr val="tx1"/>
          </a:solidFill>
          <a:latin typeface="+mn-lt"/>
          <a:ea typeface="+mn-ea"/>
          <a:cs typeface="+mn-cs"/>
        </a:defRPr>
      </a:lvl8pPr>
      <a:lvl9pPr marL="2914546" indent="-171444" algn="l" defTabSz="685775" rtl="0" eaLnBrk="1" latinLnBrk="0" hangingPunct="1">
        <a:spcBef>
          <a:spcPct val="20000"/>
        </a:spcBef>
        <a:buFont typeface="Arial" pitchFamily="34" charset="0"/>
        <a:buChar char="•"/>
        <a:defRPr sz="1471" kern="1200">
          <a:solidFill>
            <a:schemeClr val="tx1"/>
          </a:solidFill>
          <a:latin typeface="+mn-lt"/>
          <a:ea typeface="+mn-ea"/>
          <a:cs typeface="+mn-cs"/>
        </a:defRPr>
      </a:lvl9pPr>
    </p:bodyStyle>
    <p:otherStyle>
      <a:defPPr>
        <a:defRPr lang="en-US"/>
      </a:defPPr>
      <a:lvl1pPr marL="0" algn="l" defTabSz="685775" rtl="0" eaLnBrk="1" latinLnBrk="0" hangingPunct="1">
        <a:defRPr sz="1324" kern="1200">
          <a:solidFill>
            <a:schemeClr val="tx1"/>
          </a:solidFill>
          <a:latin typeface="+mn-lt"/>
          <a:ea typeface="+mn-ea"/>
          <a:cs typeface="+mn-cs"/>
        </a:defRPr>
      </a:lvl1pPr>
      <a:lvl2pPr marL="342887" algn="l" defTabSz="685775" rtl="0" eaLnBrk="1" latinLnBrk="0" hangingPunct="1">
        <a:defRPr sz="1324" kern="1200">
          <a:solidFill>
            <a:schemeClr val="tx1"/>
          </a:solidFill>
          <a:latin typeface="+mn-lt"/>
          <a:ea typeface="+mn-ea"/>
          <a:cs typeface="+mn-cs"/>
        </a:defRPr>
      </a:lvl2pPr>
      <a:lvl3pPr marL="685775" algn="l" defTabSz="685775" rtl="0" eaLnBrk="1" latinLnBrk="0" hangingPunct="1">
        <a:defRPr sz="1324" kern="1200">
          <a:solidFill>
            <a:schemeClr val="tx1"/>
          </a:solidFill>
          <a:latin typeface="+mn-lt"/>
          <a:ea typeface="+mn-ea"/>
          <a:cs typeface="+mn-cs"/>
        </a:defRPr>
      </a:lvl3pPr>
      <a:lvl4pPr marL="1028663" algn="l" defTabSz="685775" rtl="0" eaLnBrk="1" latinLnBrk="0" hangingPunct="1">
        <a:defRPr sz="1324" kern="1200">
          <a:solidFill>
            <a:schemeClr val="tx1"/>
          </a:solidFill>
          <a:latin typeface="+mn-lt"/>
          <a:ea typeface="+mn-ea"/>
          <a:cs typeface="+mn-cs"/>
        </a:defRPr>
      </a:lvl4pPr>
      <a:lvl5pPr marL="1371551" algn="l" defTabSz="685775" rtl="0" eaLnBrk="1" latinLnBrk="0" hangingPunct="1">
        <a:defRPr sz="1324" kern="1200">
          <a:solidFill>
            <a:schemeClr val="tx1"/>
          </a:solidFill>
          <a:latin typeface="+mn-lt"/>
          <a:ea typeface="+mn-ea"/>
          <a:cs typeface="+mn-cs"/>
        </a:defRPr>
      </a:lvl5pPr>
      <a:lvl6pPr marL="1714439" algn="l" defTabSz="685775" rtl="0" eaLnBrk="1" latinLnBrk="0" hangingPunct="1">
        <a:defRPr sz="1324" kern="1200">
          <a:solidFill>
            <a:schemeClr val="tx1"/>
          </a:solidFill>
          <a:latin typeface="+mn-lt"/>
          <a:ea typeface="+mn-ea"/>
          <a:cs typeface="+mn-cs"/>
        </a:defRPr>
      </a:lvl6pPr>
      <a:lvl7pPr marL="2057326" algn="l" defTabSz="685775" rtl="0" eaLnBrk="1" latinLnBrk="0" hangingPunct="1">
        <a:defRPr sz="1324" kern="1200">
          <a:solidFill>
            <a:schemeClr val="tx1"/>
          </a:solidFill>
          <a:latin typeface="+mn-lt"/>
          <a:ea typeface="+mn-ea"/>
          <a:cs typeface="+mn-cs"/>
        </a:defRPr>
      </a:lvl7pPr>
      <a:lvl8pPr marL="2400213" algn="l" defTabSz="685775" rtl="0" eaLnBrk="1" latinLnBrk="0" hangingPunct="1">
        <a:defRPr sz="1324" kern="1200">
          <a:solidFill>
            <a:schemeClr val="tx1"/>
          </a:solidFill>
          <a:latin typeface="+mn-lt"/>
          <a:ea typeface="+mn-ea"/>
          <a:cs typeface="+mn-cs"/>
        </a:defRPr>
      </a:lvl8pPr>
      <a:lvl9pPr marL="2743102" algn="l" defTabSz="685775" rtl="0" eaLnBrk="1" latinLnBrk="0" hangingPunct="1">
        <a:defRPr sz="132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11541C7-28CA-4E29-97ED-728D92D3EA86}"/>
              </a:ext>
            </a:extLst>
          </p:cNvPr>
          <p:cNvSpPr>
            <a:spLocks noGrp="1"/>
          </p:cNvSpPr>
          <p:nvPr>
            <p:ph type="title"/>
          </p:nvPr>
        </p:nvSpPr>
        <p:spPr>
          <a:xfrm>
            <a:off x="628650" y="365127"/>
            <a:ext cx="78867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97FF47FF-19BD-4C18-AA93-6838EA1974CE}"/>
              </a:ext>
            </a:extLst>
          </p:cNvPr>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FF597AB-0266-4ADC-912D-980AAA5C7874}"/>
              </a:ext>
            </a:extLst>
          </p:cNvPr>
          <p:cNvSpPr>
            <a:spLocks noGrp="1"/>
          </p:cNvSpPr>
          <p:nvPr>
            <p:ph type="dt" sz="half" idx="2"/>
          </p:nvPr>
        </p:nvSpPr>
        <p:spPr>
          <a:xfrm>
            <a:off x="628651" y="6356352"/>
            <a:ext cx="2057400" cy="365125"/>
          </a:xfrm>
          <a:prstGeom prst="rect">
            <a:avLst/>
          </a:prstGeom>
        </p:spPr>
        <p:txBody>
          <a:bodyPr vert="horz" lIns="91440" tIns="45720" rIns="91440" bIns="45720" rtlCol="0" anchor="ctr"/>
          <a:lstStyle>
            <a:lvl1pPr algn="l">
              <a:defRPr sz="900">
                <a:solidFill>
                  <a:schemeClr val="tx1">
                    <a:tint val="75000"/>
                  </a:schemeClr>
                </a:solidFill>
              </a:defRPr>
            </a:lvl1pPr>
          </a:lstStyle>
          <a:p>
            <a:fld id="{9DCC949A-05BE-4541-92AD-7990D71AE3DB}" type="datetimeFigureOut">
              <a:rPr lang="en-US" smtClean="0"/>
              <a:t>6/5/2018</a:t>
            </a:fld>
            <a:endParaRPr lang="en-US"/>
          </a:p>
        </p:txBody>
      </p:sp>
      <p:sp>
        <p:nvSpPr>
          <p:cNvPr id="5" name="Footer Placeholder 4">
            <a:extLst>
              <a:ext uri="{FF2B5EF4-FFF2-40B4-BE49-F238E27FC236}">
                <a16:creationId xmlns:a16="http://schemas.microsoft.com/office/drawing/2014/main" id="{E3B75666-FC3C-43AF-BA78-E2821E165376}"/>
              </a:ext>
            </a:extLst>
          </p:cNvPr>
          <p:cNvSpPr>
            <a:spLocks noGrp="1"/>
          </p:cNvSpPr>
          <p:nvPr>
            <p:ph type="ftr" sz="quarter" idx="3"/>
          </p:nvPr>
        </p:nvSpPr>
        <p:spPr>
          <a:xfrm>
            <a:off x="3028950" y="6356352"/>
            <a:ext cx="30861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450F2710-5F19-4E0F-8A32-CE888968AD16}"/>
              </a:ext>
            </a:extLst>
          </p:cNvPr>
          <p:cNvSpPr>
            <a:spLocks noGrp="1"/>
          </p:cNvSpPr>
          <p:nvPr>
            <p:ph type="sldNum" sz="quarter" idx="4"/>
          </p:nvPr>
        </p:nvSpPr>
        <p:spPr>
          <a:xfrm>
            <a:off x="6457950" y="6356352"/>
            <a:ext cx="2057400"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8930DC99-17F8-465A-96BE-55A7CC3ABF9A}" type="slidenum">
              <a:rPr lang="en-US" smtClean="0"/>
              <a:t>‹#›</a:t>
            </a:fld>
            <a:endParaRPr lang="en-US"/>
          </a:p>
        </p:txBody>
      </p:sp>
    </p:spTree>
    <p:extLst>
      <p:ext uri="{BB962C8B-B14F-4D97-AF65-F5344CB8AC3E}">
        <p14:creationId xmlns:p14="http://schemas.microsoft.com/office/powerpoint/2010/main" val="2285294724"/>
      </p:ext>
    </p:extLst>
  </p:cSld>
  <p:clrMap bg1="lt1" tx1="dk1" bg2="lt2" tx2="dk2" accent1="accent1" accent2="accent2" accent3="accent3" accent4="accent4" accent5="accent5" accent6="accent6" hlink="hlink" folHlink="folHlink"/>
  <p:sldLayoutIdLst>
    <p:sldLayoutId id="2147483881" r:id="rId1"/>
    <p:sldLayoutId id="2147483882" r:id="rId2"/>
    <p:sldLayoutId id="2147483883" r:id="rId3"/>
    <p:sldLayoutId id="2147483884" r:id="rId4"/>
    <p:sldLayoutId id="2147483885" r:id="rId5"/>
    <p:sldLayoutId id="2147483886" r:id="rId6"/>
    <p:sldLayoutId id="2147483887" r:id="rId7"/>
    <p:sldLayoutId id="2147483888" r:id="rId8"/>
    <p:sldLayoutId id="2147483889" r:id="rId9"/>
    <p:sldLayoutId id="2147483890" r:id="rId10"/>
    <p:sldLayoutId id="2147483891" r:id="rId11"/>
  </p:sldLayoutIdLst>
  <p:txStyles>
    <p:titleStyle>
      <a:lvl1pPr algn="l" defTabSz="685669"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17" indent="-171417" algn="l" defTabSz="685669"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251" indent="-171417" algn="l" defTabSz="685669"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086" indent="-171417" algn="l" defTabSz="685669"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199920" indent="-171417" algn="l" defTabSz="685669"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2754" indent="-171417" algn="l" defTabSz="685669"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589" indent="-171417" algn="l" defTabSz="685669"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423" indent="-171417" algn="l" defTabSz="685669"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256" indent="-171417" algn="l" defTabSz="685669"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090" indent="-171417" algn="l" defTabSz="685669"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669" rtl="0" eaLnBrk="1" latinLnBrk="0" hangingPunct="1">
        <a:defRPr sz="1350" kern="1200">
          <a:solidFill>
            <a:schemeClr val="tx1"/>
          </a:solidFill>
          <a:latin typeface="+mn-lt"/>
          <a:ea typeface="+mn-ea"/>
          <a:cs typeface="+mn-cs"/>
        </a:defRPr>
      </a:lvl1pPr>
      <a:lvl2pPr marL="342834" algn="l" defTabSz="685669" rtl="0" eaLnBrk="1" latinLnBrk="0" hangingPunct="1">
        <a:defRPr sz="1350" kern="1200">
          <a:solidFill>
            <a:schemeClr val="tx1"/>
          </a:solidFill>
          <a:latin typeface="+mn-lt"/>
          <a:ea typeface="+mn-ea"/>
          <a:cs typeface="+mn-cs"/>
        </a:defRPr>
      </a:lvl2pPr>
      <a:lvl3pPr marL="685669" algn="l" defTabSz="685669" rtl="0" eaLnBrk="1" latinLnBrk="0" hangingPunct="1">
        <a:defRPr sz="1350" kern="1200">
          <a:solidFill>
            <a:schemeClr val="tx1"/>
          </a:solidFill>
          <a:latin typeface="+mn-lt"/>
          <a:ea typeface="+mn-ea"/>
          <a:cs typeface="+mn-cs"/>
        </a:defRPr>
      </a:lvl3pPr>
      <a:lvl4pPr marL="1028503" algn="l" defTabSz="685669" rtl="0" eaLnBrk="1" latinLnBrk="0" hangingPunct="1">
        <a:defRPr sz="1350" kern="1200">
          <a:solidFill>
            <a:schemeClr val="tx1"/>
          </a:solidFill>
          <a:latin typeface="+mn-lt"/>
          <a:ea typeface="+mn-ea"/>
          <a:cs typeface="+mn-cs"/>
        </a:defRPr>
      </a:lvl4pPr>
      <a:lvl5pPr marL="1371337" algn="l" defTabSz="685669" rtl="0" eaLnBrk="1" latinLnBrk="0" hangingPunct="1">
        <a:defRPr sz="1350" kern="1200">
          <a:solidFill>
            <a:schemeClr val="tx1"/>
          </a:solidFill>
          <a:latin typeface="+mn-lt"/>
          <a:ea typeface="+mn-ea"/>
          <a:cs typeface="+mn-cs"/>
        </a:defRPr>
      </a:lvl5pPr>
      <a:lvl6pPr marL="1714171" algn="l" defTabSz="685669" rtl="0" eaLnBrk="1" latinLnBrk="0" hangingPunct="1">
        <a:defRPr sz="1350" kern="1200">
          <a:solidFill>
            <a:schemeClr val="tx1"/>
          </a:solidFill>
          <a:latin typeface="+mn-lt"/>
          <a:ea typeface="+mn-ea"/>
          <a:cs typeface="+mn-cs"/>
        </a:defRPr>
      </a:lvl6pPr>
      <a:lvl7pPr marL="2057006" algn="l" defTabSz="685669" rtl="0" eaLnBrk="1" latinLnBrk="0" hangingPunct="1">
        <a:defRPr sz="1350" kern="1200">
          <a:solidFill>
            <a:schemeClr val="tx1"/>
          </a:solidFill>
          <a:latin typeface="+mn-lt"/>
          <a:ea typeface="+mn-ea"/>
          <a:cs typeface="+mn-cs"/>
        </a:defRPr>
      </a:lvl7pPr>
      <a:lvl8pPr marL="2399839" algn="l" defTabSz="685669" rtl="0" eaLnBrk="1" latinLnBrk="0" hangingPunct="1">
        <a:defRPr sz="1350" kern="1200">
          <a:solidFill>
            <a:schemeClr val="tx1"/>
          </a:solidFill>
          <a:latin typeface="+mn-lt"/>
          <a:ea typeface="+mn-ea"/>
          <a:cs typeface="+mn-cs"/>
        </a:defRPr>
      </a:lvl8pPr>
      <a:lvl9pPr marL="2742673" algn="l" defTabSz="685669"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11.xml"/><Relationship Id="rId1" Type="http://schemas.openxmlformats.org/officeDocument/2006/relationships/slideLayout" Target="../slideLayouts/slideLayout61.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56.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56.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56.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56.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56.xml"/></Relationships>
</file>

<file path=ppt/slides/_rels/slide19.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19.xml"/><Relationship Id="rId1" Type="http://schemas.openxmlformats.org/officeDocument/2006/relationships/slideLayout" Target="../slideLayouts/slideLayout5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20.xml"/><Relationship Id="rId1" Type="http://schemas.openxmlformats.org/officeDocument/2006/relationships/slideLayout" Target="../slideLayouts/slideLayout56.xml"/></Relationships>
</file>

<file path=ppt/slides/_rels/slide21.xml.rels><?xml version="1.0" encoding="UTF-8" standalone="yes"?>
<Relationships xmlns="http://schemas.openxmlformats.org/package/2006/relationships"><Relationship Id="rId3" Type="http://schemas.openxmlformats.org/officeDocument/2006/relationships/hyperlink" Target="https://docs.microsoft.com/en-us/azure/virtual-machines/windows/managed-disks-overview" TargetMode="External"/><Relationship Id="rId2" Type="http://schemas.openxmlformats.org/officeDocument/2006/relationships/notesSlide" Target="../notesSlides/notesSlide21.xml"/><Relationship Id="rId1" Type="http://schemas.openxmlformats.org/officeDocument/2006/relationships/slideLayout" Target="../slideLayouts/slideLayout59.xml"/></Relationships>
</file>

<file path=ppt/slides/_rels/slide22.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22.xml"/><Relationship Id="rId1" Type="http://schemas.openxmlformats.org/officeDocument/2006/relationships/slideLayout" Target="../slideLayouts/slideLayout50.xml"/></Relationships>
</file>

<file path=ppt/slides/_rels/slide23.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23.xml"/><Relationship Id="rId1" Type="http://schemas.openxmlformats.org/officeDocument/2006/relationships/slideLayout" Target="../slideLayouts/slideLayout50.xml"/></Relationships>
</file>

<file path=ppt/slides/_rels/slide24.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24.xml"/><Relationship Id="rId1" Type="http://schemas.openxmlformats.org/officeDocument/2006/relationships/slideLayout" Target="../slideLayouts/slideLayout50.xml"/></Relationships>
</file>

<file path=ppt/slides/_rels/slide25.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25.xml"/><Relationship Id="rId1" Type="http://schemas.openxmlformats.org/officeDocument/2006/relationships/slideLayout" Target="../slideLayouts/slideLayout56.xml"/><Relationship Id="rId4" Type="http://schemas.openxmlformats.org/officeDocument/2006/relationships/image" Target="../media/image90.png"/></Relationships>
</file>

<file path=ppt/slides/_rels/slide26.xml.rels><?xml version="1.0" encoding="UTF-8" standalone="yes"?>
<Relationships xmlns="http://schemas.openxmlformats.org/package/2006/relationships"><Relationship Id="rId3" Type="http://schemas.openxmlformats.org/officeDocument/2006/relationships/hyperlink" Target="https://docs.microsoft.com/en-us/azure/storage/storage-scalability-targets" TargetMode="External"/><Relationship Id="rId2" Type="http://schemas.openxmlformats.org/officeDocument/2006/relationships/notesSlide" Target="../notesSlides/notesSlide26.xml"/><Relationship Id="rId1" Type="http://schemas.openxmlformats.org/officeDocument/2006/relationships/slideLayout" Target="../slideLayouts/slideLayout58.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56.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56.xml"/></Relationships>
</file>

<file path=ppt/slides/_rels/slide29.xml.rels><?xml version="1.0" encoding="UTF-8" standalone="yes"?>
<Relationships xmlns="http://schemas.openxmlformats.org/package/2006/relationships"><Relationship Id="rId3" Type="http://schemas.openxmlformats.org/officeDocument/2006/relationships/hyperlink" Target="https://docs.microsoft.com/en-us/azure/storage/storage-premium-storage#premium-storage-supported-vms" TargetMode="External"/><Relationship Id="rId2" Type="http://schemas.openxmlformats.org/officeDocument/2006/relationships/notesSlide" Target="../notesSlides/notesSlide29.xml"/><Relationship Id="rId1" Type="http://schemas.openxmlformats.org/officeDocument/2006/relationships/slideLayout" Target="../slideLayouts/slideLayout71.xml"/><Relationship Id="rId4" Type="http://schemas.openxmlformats.org/officeDocument/2006/relationships/hyperlink" Target="https://docs.microsoft.com/en-us/azure/storage/storage-premium-storage#scalability-and-performance-targets" TargetMode="External"/></Relationships>
</file>

<file path=ppt/slides/_rels/slide3.xml.rels><?xml version="1.0" encoding="UTF-8" standalone="yes"?>
<Relationships xmlns="http://schemas.openxmlformats.org/package/2006/relationships"><Relationship Id="rId26" Type="http://schemas.openxmlformats.org/officeDocument/2006/relationships/image" Target="../media/image36.png"/><Relationship Id="rId21" Type="http://schemas.openxmlformats.org/officeDocument/2006/relationships/image" Target="../media/image31.png"/><Relationship Id="rId34" Type="http://schemas.openxmlformats.org/officeDocument/2006/relationships/image" Target="../media/image44.png"/><Relationship Id="rId42" Type="http://schemas.openxmlformats.org/officeDocument/2006/relationships/image" Target="../media/image52.png"/><Relationship Id="rId47" Type="http://schemas.openxmlformats.org/officeDocument/2006/relationships/image" Target="../media/image57.png"/><Relationship Id="rId50" Type="http://schemas.openxmlformats.org/officeDocument/2006/relationships/image" Target="../media/image59.png"/><Relationship Id="rId55" Type="http://schemas.openxmlformats.org/officeDocument/2006/relationships/image" Target="../media/image63.png"/><Relationship Id="rId63" Type="http://schemas.openxmlformats.org/officeDocument/2006/relationships/image" Target="../media/image71.png"/><Relationship Id="rId68" Type="http://schemas.openxmlformats.org/officeDocument/2006/relationships/image" Target="../media/image76.png"/><Relationship Id="rId7" Type="http://schemas.openxmlformats.org/officeDocument/2006/relationships/image" Target="../media/image17.png"/><Relationship Id="rId2" Type="http://schemas.openxmlformats.org/officeDocument/2006/relationships/notesSlide" Target="../notesSlides/notesSlide3.xml"/><Relationship Id="rId16" Type="http://schemas.openxmlformats.org/officeDocument/2006/relationships/image" Target="../media/image26.png"/><Relationship Id="rId29" Type="http://schemas.openxmlformats.org/officeDocument/2006/relationships/image" Target="../media/image39.png"/><Relationship Id="rId11" Type="http://schemas.openxmlformats.org/officeDocument/2006/relationships/image" Target="../media/image21.png"/><Relationship Id="rId24" Type="http://schemas.openxmlformats.org/officeDocument/2006/relationships/image" Target="../media/image34.png"/><Relationship Id="rId32" Type="http://schemas.openxmlformats.org/officeDocument/2006/relationships/image" Target="../media/image42.png"/><Relationship Id="rId37" Type="http://schemas.openxmlformats.org/officeDocument/2006/relationships/image" Target="../media/image47.png"/><Relationship Id="rId40" Type="http://schemas.openxmlformats.org/officeDocument/2006/relationships/image" Target="../media/image50.png"/><Relationship Id="rId45" Type="http://schemas.openxmlformats.org/officeDocument/2006/relationships/image" Target="../media/image55.png"/><Relationship Id="rId53" Type="http://schemas.openxmlformats.org/officeDocument/2006/relationships/image" Target="../media/image61.png"/><Relationship Id="rId58" Type="http://schemas.openxmlformats.org/officeDocument/2006/relationships/image" Target="../media/image66.png"/><Relationship Id="rId66" Type="http://schemas.openxmlformats.org/officeDocument/2006/relationships/image" Target="../media/image74.png"/><Relationship Id="rId5" Type="http://schemas.openxmlformats.org/officeDocument/2006/relationships/image" Target="../media/image15.png"/><Relationship Id="rId61" Type="http://schemas.openxmlformats.org/officeDocument/2006/relationships/image" Target="../media/image69.png"/><Relationship Id="rId19" Type="http://schemas.openxmlformats.org/officeDocument/2006/relationships/image" Target="../media/image29.png"/><Relationship Id="rId14" Type="http://schemas.openxmlformats.org/officeDocument/2006/relationships/image" Target="../media/image24.png"/><Relationship Id="rId22" Type="http://schemas.openxmlformats.org/officeDocument/2006/relationships/image" Target="../media/image32.png"/><Relationship Id="rId27" Type="http://schemas.openxmlformats.org/officeDocument/2006/relationships/image" Target="../media/image37.png"/><Relationship Id="rId30" Type="http://schemas.openxmlformats.org/officeDocument/2006/relationships/image" Target="../media/image40.png"/><Relationship Id="rId35" Type="http://schemas.openxmlformats.org/officeDocument/2006/relationships/image" Target="../media/image45.png"/><Relationship Id="rId43" Type="http://schemas.openxmlformats.org/officeDocument/2006/relationships/image" Target="../media/image53.png"/><Relationship Id="rId48" Type="http://schemas.openxmlformats.org/officeDocument/2006/relationships/image" Target="../media/image58.png"/><Relationship Id="rId56" Type="http://schemas.openxmlformats.org/officeDocument/2006/relationships/image" Target="../media/image64.png"/><Relationship Id="rId64" Type="http://schemas.openxmlformats.org/officeDocument/2006/relationships/image" Target="../media/image72.png"/><Relationship Id="rId8" Type="http://schemas.openxmlformats.org/officeDocument/2006/relationships/image" Target="../media/image18.png"/><Relationship Id="rId51" Type="http://schemas.openxmlformats.org/officeDocument/2006/relationships/hyperlink" Target="https://www.google.com/url?sa=i&amp;rct=j&amp;q=&amp;esrc=s&amp;source=images&amp;cd=&amp;cad=rja&amp;uact=8&amp;ved=0ahUKEwijrpzbm9DNAhVU52MKHRcjAxMQjRwIBw&amp;url=https://azure.microsoft.com/en-gb/services/power-bi-embedded/&amp;psig=AFQjCNGAz6ASOEuOFwrvcGbgivFPur_t7w&amp;ust=1467392103935851" TargetMode="External"/><Relationship Id="rId3" Type="http://schemas.openxmlformats.org/officeDocument/2006/relationships/image" Target="../media/image13.png"/><Relationship Id="rId12" Type="http://schemas.openxmlformats.org/officeDocument/2006/relationships/image" Target="../media/image22.png"/><Relationship Id="rId17" Type="http://schemas.openxmlformats.org/officeDocument/2006/relationships/image" Target="../media/image27.png"/><Relationship Id="rId25" Type="http://schemas.openxmlformats.org/officeDocument/2006/relationships/image" Target="../media/image35.png"/><Relationship Id="rId33" Type="http://schemas.openxmlformats.org/officeDocument/2006/relationships/image" Target="../media/image43.png"/><Relationship Id="rId38" Type="http://schemas.openxmlformats.org/officeDocument/2006/relationships/image" Target="../media/image48.png"/><Relationship Id="rId46" Type="http://schemas.openxmlformats.org/officeDocument/2006/relationships/image" Target="../media/image56.png"/><Relationship Id="rId59" Type="http://schemas.openxmlformats.org/officeDocument/2006/relationships/image" Target="../media/image67.png"/><Relationship Id="rId67" Type="http://schemas.openxmlformats.org/officeDocument/2006/relationships/image" Target="../media/image75.png"/><Relationship Id="rId20" Type="http://schemas.openxmlformats.org/officeDocument/2006/relationships/image" Target="../media/image30.png"/><Relationship Id="rId41" Type="http://schemas.openxmlformats.org/officeDocument/2006/relationships/image" Target="../media/image51.png"/><Relationship Id="rId54" Type="http://schemas.openxmlformats.org/officeDocument/2006/relationships/image" Target="../media/image62.png"/><Relationship Id="rId62" Type="http://schemas.openxmlformats.org/officeDocument/2006/relationships/image" Target="../media/image70.png"/><Relationship Id="rId1" Type="http://schemas.openxmlformats.org/officeDocument/2006/relationships/slideLayout" Target="../slideLayouts/slideLayout32.xml"/><Relationship Id="rId6" Type="http://schemas.openxmlformats.org/officeDocument/2006/relationships/image" Target="../media/image16.png"/><Relationship Id="rId15" Type="http://schemas.openxmlformats.org/officeDocument/2006/relationships/image" Target="../media/image25.png"/><Relationship Id="rId23" Type="http://schemas.openxmlformats.org/officeDocument/2006/relationships/image" Target="../media/image33.png"/><Relationship Id="rId28" Type="http://schemas.openxmlformats.org/officeDocument/2006/relationships/image" Target="../media/image38.png"/><Relationship Id="rId36" Type="http://schemas.openxmlformats.org/officeDocument/2006/relationships/image" Target="../media/image46.png"/><Relationship Id="rId49" Type="http://schemas.openxmlformats.org/officeDocument/2006/relationships/hyperlink" Target="https://www.google.com/url?sa=i&amp;rct=j&amp;q=&amp;esrc=s&amp;source=images&amp;cd=&amp;cad=rja&amp;uact=8&amp;ved=0ahUKEwiy6vj9mtDNAhVB4mMKHUztCUcQjRwIBw&amp;url=https://developer.microsoft.com/en-us/app-middleware-partners&amp;psig=AFQjCNFdctU6OJlviMmzVX3AK3wCAgJKIw&amp;ust=1467391908422760" TargetMode="External"/><Relationship Id="rId57" Type="http://schemas.openxmlformats.org/officeDocument/2006/relationships/image" Target="../media/image65.png"/><Relationship Id="rId10" Type="http://schemas.openxmlformats.org/officeDocument/2006/relationships/image" Target="../media/image20.png"/><Relationship Id="rId31" Type="http://schemas.openxmlformats.org/officeDocument/2006/relationships/image" Target="../media/image41.png"/><Relationship Id="rId44" Type="http://schemas.openxmlformats.org/officeDocument/2006/relationships/image" Target="../media/image54.png"/><Relationship Id="rId52" Type="http://schemas.openxmlformats.org/officeDocument/2006/relationships/image" Target="../media/image60.png"/><Relationship Id="rId60" Type="http://schemas.openxmlformats.org/officeDocument/2006/relationships/image" Target="../media/image68.png"/><Relationship Id="rId65" Type="http://schemas.openxmlformats.org/officeDocument/2006/relationships/image" Target="../media/image73.png"/><Relationship Id="rId4" Type="http://schemas.openxmlformats.org/officeDocument/2006/relationships/image" Target="../media/image14.png"/><Relationship Id="rId9" Type="http://schemas.openxmlformats.org/officeDocument/2006/relationships/image" Target="../media/image19.png"/><Relationship Id="rId13" Type="http://schemas.openxmlformats.org/officeDocument/2006/relationships/image" Target="../media/image23.png"/><Relationship Id="rId18" Type="http://schemas.openxmlformats.org/officeDocument/2006/relationships/image" Target="../media/image28.png"/><Relationship Id="rId39" Type="http://schemas.openxmlformats.org/officeDocument/2006/relationships/image" Target="../media/image49.png"/></Relationships>
</file>

<file path=ppt/slides/_rels/slide30.xml.rels><?xml version="1.0" encoding="UTF-8" standalone="yes"?>
<Relationships xmlns="http://schemas.openxmlformats.org/package/2006/relationships"><Relationship Id="rId3" Type="http://schemas.openxmlformats.org/officeDocument/2006/relationships/hyperlink" Target="https://docs.microsoft.com/en-us/azure/storage/storage-premium-storage#scalability-and-performance-targets" TargetMode="External"/><Relationship Id="rId2" Type="http://schemas.openxmlformats.org/officeDocument/2006/relationships/notesSlide" Target="../notesSlides/notesSlide30.xml"/><Relationship Id="rId1" Type="http://schemas.openxmlformats.org/officeDocument/2006/relationships/slideLayout" Target="../slideLayouts/slideLayout71.xml"/></Relationships>
</file>

<file path=ppt/slides/_rels/slide31.xml.rels><?xml version="1.0" encoding="UTF-8" standalone="yes"?>
<Relationships xmlns="http://schemas.openxmlformats.org/package/2006/relationships"><Relationship Id="rId3" Type="http://schemas.openxmlformats.org/officeDocument/2006/relationships/hyperlink" Target="http://technet.microsoft.com/library/hh831739.aspx" TargetMode="External"/><Relationship Id="rId2" Type="http://schemas.openxmlformats.org/officeDocument/2006/relationships/notesSlide" Target="../notesSlides/notesSlide31.xml"/><Relationship Id="rId1" Type="http://schemas.openxmlformats.org/officeDocument/2006/relationships/slideLayout" Target="../slideLayouts/slideLayout71.xml"/><Relationship Id="rId6" Type="http://schemas.openxmlformats.org/officeDocument/2006/relationships/hyperlink" Target="https://docs.microsoft.com/en-us/azure/storage/storage-premium-storage#scalability-and-performance-targets" TargetMode="External"/><Relationship Id="rId5" Type="http://schemas.openxmlformats.org/officeDocument/2006/relationships/hyperlink" Target="http://social.technet.microsoft.com/wiki/contents/articles/11382.storage-spaces-frequently-asked-questions-faq.aspx" TargetMode="External"/><Relationship Id="rId4" Type="http://schemas.openxmlformats.org/officeDocument/2006/relationships/hyperlink" Target="http://technet.microsoft.com/library/hh848643.aspx" TargetMode="External"/></Relationships>
</file>

<file path=ppt/slides/_rels/slide32.xml.rels><?xml version="1.0" encoding="UTF-8" standalone="yes"?>
<Relationships xmlns="http://schemas.openxmlformats.org/package/2006/relationships"><Relationship Id="rId3" Type="http://schemas.openxmlformats.org/officeDocument/2006/relationships/hyperlink" Target="https://docs.microsoft.com/en-us/azure/storage/storage-premium-storage#scalability-and-performance-targets" TargetMode="External"/><Relationship Id="rId2" Type="http://schemas.openxmlformats.org/officeDocument/2006/relationships/notesSlide" Target="../notesSlides/notesSlide32.xml"/><Relationship Id="rId1" Type="http://schemas.openxmlformats.org/officeDocument/2006/relationships/slideLayout" Target="../slideLayouts/slideLayout71.xml"/></Relationships>
</file>

<file path=ppt/slides/_rels/slide33.xml.rels><?xml version="1.0" encoding="UTF-8" standalone="yes"?>
<Relationships xmlns="http://schemas.openxmlformats.org/package/2006/relationships"><Relationship Id="rId3" Type="http://schemas.openxmlformats.org/officeDocument/2006/relationships/hyperlink" Target="https://azure.microsoft.com/en-us/resources/samples/?service=storage" TargetMode="External"/><Relationship Id="rId2" Type="http://schemas.openxmlformats.org/officeDocument/2006/relationships/notesSlide" Target="../notesSlides/notesSlide33.xml"/><Relationship Id="rId1" Type="http://schemas.openxmlformats.org/officeDocument/2006/relationships/slideLayout" Target="../slideLayouts/slideLayout58.xml"/></Relationships>
</file>

<file path=ppt/slides/_rels/slide34.xml.rels><?xml version="1.0" encoding="UTF-8" standalone="yes"?>
<Relationships xmlns="http://schemas.openxmlformats.org/package/2006/relationships"><Relationship Id="rId3" Type="http://schemas.openxmlformats.org/officeDocument/2006/relationships/hyperlink" Target="https://github.com/Azure-Samples/storage-table-dotnet-getting-started" TargetMode="External"/><Relationship Id="rId2" Type="http://schemas.openxmlformats.org/officeDocument/2006/relationships/notesSlide" Target="../notesSlides/notesSlide34.xml"/><Relationship Id="rId1" Type="http://schemas.openxmlformats.org/officeDocument/2006/relationships/slideLayout" Target="../slideLayouts/slideLayout58.xml"/></Relationships>
</file>

<file path=ppt/slides/_rels/slide35.xml.rels><?xml version="1.0" encoding="UTF-8" standalone="yes"?>
<Relationships xmlns="http://schemas.openxmlformats.org/package/2006/relationships"><Relationship Id="rId3" Type="http://schemas.openxmlformats.org/officeDocument/2006/relationships/hyperlink" Target="https://azure.microsoft.com/en-us/resources/samples/storage-blob-dotnet-getting-started/" TargetMode="External"/><Relationship Id="rId2" Type="http://schemas.openxmlformats.org/officeDocument/2006/relationships/notesSlide" Target="../notesSlides/notesSlide35.xml"/><Relationship Id="rId1" Type="http://schemas.openxmlformats.org/officeDocument/2006/relationships/slideLayout" Target="../slideLayouts/slideLayout58.xml"/><Relationship Id="rId4" Type="http://schemas.openxmlformats.org/officeDocument/2006/relationships/hyperlink" Target="https://github.com/Azure-Samples/storage-blob-dotnet-getting-started" TargetMode="External"/></Relationships>
</file>

<file path=ppt/slides/_rels/slide36.xml.rels><?xml version="1.0" encoding="UTF-8" standalone="yes"?>
<Relationships xmlns="http://schemas.openxmlformats.org/package/2006/relationships"><Relationship Id="rId3" Type="http://schemas.openxmlformats.org/officeDocument/2006/relationships/hyperlink" Target="https://azure.microsoft.com/en-us/resources/samples/storage-dotnet-sas-getting-started/" TargetMode="External"/><Relationship Id="rId2" Type="http://schemas.openxmlformats.org/officeDocument/2006/relationships/notesSlide" Target="../notesSlides/notesSlide36.xml"/><Relationship Id="rId1" Type="http://schemas.openxmlformats.org/officeDocument/2006/relationships/slideLayout" Target="../slideLayouts/slideLayout58.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56.xml"/></Relationships>
</file>

<file path=ppt/slides/_rels/slide38.xml.rels><?xml version="1.0" encoding="UTF-8" standalone="yes"?>
<Relationships xmlns="http://schemas.openxmlformats.org/package/2006/relationships"><Relationship Id="rId8" Type="http://schemas.openxmlformats.org/officeDocument/2006/relationships/image" Target="../media/image95.tmp"/><Relationship Id="rId3" Type="http://schemas.openxmlformats.org/officeDocument/2006/relationships/image" Target="../media/image91.png"/><Relationship Id="rId7" Type="http://schemas.microsoft.com/office/2007/relationships/hdphoto" Target="../media/hdphoto2.wdp"/><Relationship Id="rId2" Type="http://schemas.openxmlformats.org/officeDocument/2006/relationships/notesSlide" Target="../notesSlides/notesSlide38.xml"/><Relationship Id="rId1" Type="http://schemas.openxmlformats.org/officeDocument/2006/relationships/slideLayout" Target="../slideLayouts/slideLayout78.xml"/><Relationship Id="rId6" Type="http://schemas.openxmlformats.org/officeDocument/2006/relationships/image" Target="../media/image94.png"/><Relationship Id="rId5" Type="http://schemas.openxmlformats.org/officeDocument/2006/relationships/image" Target="../media/image93.png"/><Relationship Id="rId4" Type="http://schemas.openxmlformats.org/officeDocument/2006/relationships/image" Target="../media/image92.png"/></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58.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9.xml"/></Relationships>
</file>

<file path=ppt/slides/_rels/slide40.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notesSlide" Target="../notesSlides/notesSlide40.xml"/><Relationship Id="rId1" Type="http://schemas.openxmlformats.org/officeDocument/2006/relationships/slideLayout" Target="../slideLayouts/slideLayout56.xml"/><Relationship Id="rId4" Type="http://schemas.openxmlformats.org/officeDocument/2006/relationships/image" Target="../media/image97.png"/></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59.xml"/></Relationships>
</file>

<file path=ppt/slides/_rels/slide42.xml.rels><?xml version="1.0" encoding="UTF-8" standalone="yes"?>
<Relationships xmlns="http://schemas.openxmlformats.org/package/2006/relationships"><Relationship Id="rId3" Type="http://schemas.openxmlformats.org/officeDocument/2006/relationships/hyperlink" Target="https://docs.microsoft.com/en-us/azure/sql-database/sql-database-service-tiers" TargetMode="External"/><Relationship Id="rId2" Type="http://schemas.openxmlformats.org/officeDocument/2006/relationships/notesSlide" Target="../notesSlides/notesSlide42.xml"/><Relationship Id="rId1" Type="http://schemas.openxmlformats.org/officeDocument/2006/relationships/slideLayout" Target="../slideLayouts/slideLayout56.xml"/></Relationships>
</file>

<file path=ppt/slides/_rels/slide43.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notesSlide" Target="../notesSlides/notesSlide43.xml"/><Relationship Id="rId1" Type="http://schemas.openxmlformats.org/officeDocument/2006/relationships/slideLayout" Target="../slideLayouts/slideLayout56.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56.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92.xml"/></Relationships>
</file>

<file path=ppt/slides/_rels/slide46.xml.rels><?xml version="1.0" encoding="UTF-8" standalone="yes"?>
<Relationships xmlns="http://schemas.openxmlformats.org/package/2006/relationships"><Relationship Id="rId3" Type="http://schemas.openxmlformats.org/officeDocument/2006/relationships/image" Target="../media/image99.tmp"/><Relationship Id="rId2" Type="http://schemas.openxmlformats.org/officeDocument/2006/relationships/notesSlide" Target="../notesSlides/notesSlide46.xml"/><Relationship Id="rId1" Type="http://schemas.openxmlformats.org/officeDocument/2006/relationships/slideLayout" Target="../slideLayouts/slideLayout92.xml"/></Relationships>
</file>

<file path=ppt/slides/_rels/slide47.xml.rels><?xml version="1.0" encoding="UTF-8" standalone="yes"?>
<Relationships xmlns="http://schemas.openxmlformats.org/package/2006/relationships"><Relationship Id="rId3" Type="http://schemas.openxmlformats.org/officeDocument/2006/relationships/hyperlink" Target="https://azure.microsoft.com/en-us/resources/videos/index/?services=sql-database" TargetMode="External"/><Relationship Id="rId2" Type="http://schemas.openxmlformats.org/officeDocument/2006/relationships/notesSlide" Target="../notesSlides/notesSlide47.xml"/><Relationship Id="rId1" Type="http://schemas.openxmlformats.org/officeDocument/2006/relationships/slideLayout" Target="../slideLayouts/slideLayout58.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50.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50.xml"/></Relationships>
</file>

<file path=ppt/slides/_rels/slide5.xml.rels><?xml version="1.0" encoding="UTF-8" standalone="yes"?>
<Relationships xmlns="http://schemas.openxmlformats.org/package/2006/relationships"><Relationship Id="rId3" Type="http://schemas.openxmlformats.org/officeDocument/2006/relationships/hyperlink" Target="https://aka.ms/azure/storage" TargetMode="External"/><Relationship Id="rId2" Type="http://schemas.openxmlformats.org/officeDocument/2006/relationships/notesSlide" Target="../notesSlides/notesSlide5.xml"/><Relationship Id="rId1" Type="http://schemas.openxmlformats.org/officeDocument/2006/relationships/slideLayout" Target="../slideLayouts/slideLayout50.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58.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52.xml.rels><?xml version="1.0" encoding="UTF-8" standalone="yes"?>
<Relationships xmlns="http://schemas.openxmlformats.org/package/2006/relationships"><Relationship Id="rId8" Type="http://schemas.openxmlformats.org/officeDocument/2006/relationships/image" Target="../media/image103.png"/><Relationship Id="rId3" Type="http://schemas.openxmlformats.org/officeDocument/2006/relationships/image" Target="../media/image100.png"/><Relationship Id="rId7" Type="http://schemas.openxmlformats.org/officeDocument/2006/relationships/image" Target="../media/image91.png"/><Relationship Id="rId2" Type="http://schemas.openxmlformats.org/officeDocument/2006/relationships/notesSlide" Target="../notesSlides/notesSlide51.xml"/><Relationship Id="rId1" Type="http://schemas.openxmlformats.org/officeDocument/2006/relationships/slideLayout" Target="../slideLayouts/slideLayout78.xml"/><Relationship Id="rId6" Type="http://schemas.openxmlformats.org/officeDocument/2006/relationships/image" Target="../media/image93.png"/><Relationship Id="rId5" Type="http://schemas.openxmlformats.org/officeDocument/2006/relationships/image" Target="../media/image102.png"/><Relationship Id="rId4" Type="http://schemas.openxmlformats.org/officeDocument/2006/relationships/image" Target="../media/image101.png"/><Relationship Id="rId9" Type="http://schemas.openxmlformats.org/officeDocument/2006/relationships/image" Target="../media/image104.svg"/></Relationships>
</file>

<file path=ppt/slides/_rels/slide53.xml.rels><?xml version="1.0" encoding="UTF-8" standalone="yes"?>
<Relationships xmlns="http://schemas.openxmlformats.org/package/2006/relationships"><Relationship Id="rId3" Type="http://schemas.openxmlformats.org/officeDocument/2006/relationships/image" Target="../media/image105.tmp"/><Relationship Id="rId2" Type="http://schemas.openxmlformats.org/officeDocument/2006/relationships/notesSlide" Target="../notesSlides/notesSlide52.xml"/><Relationship Id="rId1" Type="http://schemas.openxmlformats.org/officeDocument/2006/relationships/slideLayout" Target="../slideLayouts/slideLayout78.xml"/></Relationships>
</file>

<file path=ppt/slides/_rels/slide54.xml.rels><?xml version="1.0" encoding="UTF-8" standalone="yes"?>
<Relationships xmlns="http://schemas.openxmlformats.org/package/2006/relationships"><Relationship Id="rId3" Type="http://schemas.openxmlformats.org/officeDocument/2006/relationships/image" Target="../media/image106.tmp"/><Relationship Id="rId2" Type="http://schemas.openxmlformats.org/officeDocument/2006/relationships/notesSlide" Target="../notesSlides/notesSlide53.xml"/><Relationship Id="rId1" Type="http://schemas.openxmlformats.org/officeDocument/2006/relationships/slideLayout" Target="../slideLayouts/slideLayout78.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56.xml"/></Relationships>
</file>

<file path=ppt/slides/_rels/slide56.xml.rels><?xml version="1.0" encoding="UTF-8" standalone="yes"?>
<Relationships xmlns="http://schemas.openxmlformats.org/package/2006/relationships"><Relationship Id="rId3" Type="http://schemas.openxmlformats.org/officeDocument/2006/relationships/hyperlink" Target="https://docs.microsoft.com/en-us/azure/cosmos-db/programming" TargetMode="External"/><Relationship Id="rId2" Type="http://schemas.openxmlformats.org/officeDocument/2006/relationships/notesSlide" Target="../notesSlides/notesSlide55.xml"/><Relationship Id="rId1" Type="http://schemas.openxmlformats.org/officeDocument/2006/relationships/slideLayout" Target="../slideLayouts/slideLayout56.xml"/></Relationships>
</file>

<file path=ppt/slides/_rels/slide57.xml.rels><?xml version="1.0" encoding="UTF-8" standalone="yes"?>
<Relationships xmlns="http://schemas.openxmlformats.org/package/2006/relationships"><Relationship Id="rId3" Type="http://schemas.openxmlformats.org/officeDocument/2006/relationships/hyperlink" Target="https://docs.microsoft.com/en-us/azure/cosmos-db/programming" TargetMode="External"/><Relationship Id="rId2" Type="http://schemas.openxmlformats.org/officeDocument/2006/relationships/notesSlide" Target="../notesSlides/notesSlide56.xml"/><Relationship Id="rId1" Type="http://schemas.openxmlformats.org/officeDocument/2006/relationships/slideLayout" Target="../slideLayouts/slideLayout56.xml"/><Relationship Id="rId5" Type="http://schemas.openxmlformats.org/officeDocument/2006/relationships/hyperlink" Target="https://docs.microsoft.com/en-us/azure/cosmos-db/documentdb-get-started" TargetMode="External"/><Relationship Id="rId4" Type="http://schemas.openxmlformats.org/officeDocument/2006/relationships/hyperlink" Target="https://medium.com/@th0maswe1ss/azure-documentdb-vs-mongodb-6d5806c16239" TargetMode="Externa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56.xml"/></Relationships>
</file>

<file path=ppt/slides/_rels/slide59.xml.rels><?xml version="1.0" encoding="UTF-8" standalone="yes"?>
<Relationships xmlns="http://schemas.openxmlformats.org/package/2006/relationships"><Relationship Id="rId8" Type="http://schemas.openxmlformats.org/officeDocument/2006/relationships/image" Target="../media/image112.png"/><Relationship Id="rId3" Type="http://schemas.openxmlformats.org/officeDocument/2006/relationships/image" Target="../media/image107.png"/><Relationship Id="rId7" Type="http://schemas.openxmlformats.org/officeDocument/2006/relationships/image" Target="../media/image111.png"/><Relationship Id="rId2" Type="http://schemas.openxmlformats.org/officeDocument/2006/relationships/notesSlide" Target="../notesSlides/notesSlide58.xml"/><Relationship Id="rId1" Type="http://schemas.openxmlformats.org/officeDocument/2006/relationships/slideLayout" Target="../slideLayouts/slideLayout126.xml"/><Relationship Id="rId6" Type="http://schemas.openxmlformats.org/officeDocument/2006/relationships/image" Target="../media/image110.png"/><Relationship Id="rId5" Type="http://schemas.openxmlformats.org/officeDocument/2006/relationships/image" Target="../media/image109.png"/><Relationship Id="rId10" Type="http://schemas.openxmlformats.org/officeDocument/2006/relationships/image" Target="../media/image114.png"/><Relationship Id="rId4" Type="http://schemas.openxmlformats.org/officeDocument/2006/relationships/image" Target="../media/image108.svg"/><Relationship Id="rId9" Type="http://schemas.openxmlformats.org/officeDocument/2006/relationships/image" Target="../media/image113.png"/></Relationships>
</file>

<file path=ppt/slides/_rels/slide6.xml.rels><?xml version="1.0" encoding="UTF-8" standalone="yes"?>
<Relationships xmlns="http://schemas.openxmlformats.org/package/2006/relationships"><Relationship Id="rId3" Type="http://schemas.openxmlformats.org/officeDocument/2006/relationships/hyperlink" Target="http://azure.microsoft.com/en-us/documentation/articles/storage-dotnet-shared-access-signature-part-1/" TargetMode="External"/><Relationship Id="rId2" Type="http://schemas.openxmlformats.org/officeDocument/2006/relationships/notesSlide" Target="../notesSlides/notesSlide6.xml"/><Relationship Id="rId1" Type="http://schemas.openxmlformats.org/officeDocument/2006/relationships/slideLayout" Target="../slideLayouts/slideLayout50.xml"/><Relationship Id="rId4" Type="http://schemas.openxmlformats.org/officeDocument/2006/relationships/hyperlink" Target="http://storageexplorer.com/" TargetMode="External"/></Relationships>
</file>

<file path=ppt/slides/_rels/slide60.xml.rels><?xml version="1.0" encoding="UTF-8" standalone="yes"?>
<Relationships xmlns="http://schemas.openxmlformats.org/package/2006/relationships"><Relationship Id="rId8" Type="http://schemas.openxmlformats.org/officeDocument/2006/relationships/image" Target="../media/image116.png"/><Relationship Id="rId3" Type="http://schemas.openxmlformats.org/officeDocument/2006/relationships/slideLayout" Target="../slideLayouts/slideLayout144.xml"/><Relationship Id="rId7" Type="http://schemas.openxmlformats.org/officeDocument/2006/relationships/image" Target="../media/image115.png"/><Relationship Id="rId2" Type="http://schemas.openxmlformats.org/officeDocument/2006/relationships/tags" Target="../tags/tag9.xml"/><Relationship Id="rId1" Type="http://schemas.openxmlformats.org/officeDocument/2006/relationships/vmlDrawing" Target="../drawings/vmlDrawing9.vml"/><Relationship Id="rId6" Type="http://schemas.openxmlformats.org/officeDocument/2006/relationships/image" Target="../media/image12.emf"/><Relationship Id="rId11" Type="http://schemas.openxmlformats.org/officeDocument/2006/relationships/image" Target="../media/image119.png"/><Relationship Id="rId5" Type="http://schemas.openxmlformats.org/officeDocument/2006/relationships/oleObject" Target="../embeddings/oleObject3.bin"/><Relationship Id="rId10" Type="http://schemas.openxmlformats.org/officeDocument/2006/relationships/image" Target="../media/image118.png"/><Relationship Id="rId4" Type="http://schemas.openxmlformats.org/officeDocument/2006/relationships/notesSlide" Target="../notesSlides/notesSlide59.xml"/><Relationship Id="rId9" Type="http://schemas.openxmlformats.org/officeDocument/2006/relationships/image" Target="../media/image117.png"/></Relationships>
</file>

<file path=ppt/slides/_rels/slide61.xml.rels><?xml version="1.0" encoding="UTF-8" standalone="yes"?>
<Relationships xmlns="http://schemas.openxmlformats.org/package/2006/relationships"><Relationship Id="rId8" Type="http://schemas.openxmlformats.org/officeDocument/2006/relationships/image" Target="../media/image121.png"/><Relationship Id="rId13" Type="http://schemas.openxmlformats.org/officeDocument/2006/relationships/image" Target="../media/image114.png"/><Relationship Id="rId3" Type="http://schemas.openxmlformats.org/officeDocument/2006/relationships/slideLayout" Target="../slideLayouts/slideLayout162.xml"/><Relationship Id="rId7" Type="http://schemas.openxmlformats.org/officeDocument/2006/relationships/image" Target="../media/image120.png"/><Relationship Id="rId12" Type="http://schemas.openxmlformats.org/officeDocument/2006/relationships/image" Target="../media/image125.png"/><Relationship Id="rId2" Type="http://schemas.openxmlformats.org/officeDocument/2006/relationships/tags" Target="../tags/tag10.xml"/><Relationship Id="rId16" Type="http://schemas.openxmlformats.org/officeDocument/2006/relationships/image" Target="../media/image126.png"/><Relationship Id="rId1" Type="http://schemas.openxmlformats.org/officeDocument/2006/relationships/vmlDrawing" Target="../drawings/vmlDrawing10.vml"/><Relationship Id="rId6" Type="http://schemas.openxmlformats.org/officeDocument/2006/relationships/image" Target="../media/image12.emf"/><Relationship Id="rId11" Type="http://schemas.openxmlformats.org/officeDocument/2006/relationships/image" Target="../media/image124.png"/><Relationship Id="rId5" Type="http://schemas.openxmlformats.org/officeDocument/2006/relationships/oleObject" Target="../embeddings/oleObject4.bin"/><Relationship Id="rId15" Type="http://schemas.openxmlformats.org/officeDocument/2006/relationships/image" Target="../media/image108.svg"/><Relationship Id="rId10" Type="http://schemas.openxmlformats.org/officeDocument/2006/relationships/image" Target="../media/image123.png"/><Relationship Id="rId4" Type="http://schemas.openxmlformats.org/officeDocument/2006/relationships/notesSlide" Target="../notesSlides/notesSlide60.xml"/><Relationship Id="rId9" Type="http://schemas.openxmlformats.org/officeDocument/2006/relationships/image" Target="../media/image122.png"/><Relationship Id="rId14" Type="http://schemas.openxmlformats.org/officeDocument/2006/relationships/image" Target="../media/image107.png"/></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61.xml"/><Relationship Id="rId1" Type="http://schemas.openxmlformats.org/officeDocument/2006/relationships/slideLayout" Target="../slideLayouts/slideLayout175.xml"/></Relationships>
</file>

<file path=ppt/slides/_rels/slide63.xml.rels><?xml version="1.0" encoding="UTF-8" standalone="yes"?>
<Relationships xmlns="http://schemas.openxmlformats.org/package/2006/relationships"><Relationship Id="rId8" Type="http://schemas.openxmlformats.org/officeDocument/2006/relationships/hyperlink" Target="https://docs.microsoft.com/en-us/azure/cosmos-db/performance-testing" TargetMode="External"/><Relationship Id="rId13" Type="http://schemas.openxmlformats.org/officeDocument/2006/relationships/hyperlink" Target="https://docs.microsoft.com/en-us/azure/cosmos-db/online-backup-and-restore" TargetMode="External"/><Relationship Id="rId3" Type="http://schemas.openxmlformats.org/officeDocument/2006/relationships/hyperlink" Target="https://na01.safelinks.protection.outlook.com/?url=https://azure.microsoft.com/en-us/blog/a-technical-overview-of-azure-cosmos-db/&amp;data=02|01|dharmas@microsoft.com|41077c9f554f4920e44508d4cd2b7c77|72f988bf86f141af91ab2d7cd011db47|1|0|636359034044841051&amp;sdata=qZeLmgFoxl4xZ6lL/KjkM3p2sb%2BWg2fwFnUhD%2BOVfDI%3D&amp;reserved=0" TargetMode="External"/><Relationship Id="rId7" Type="http://schemas.openxmlformats.org/officeDocument/2006/relationships/hyperlink" Target="https://docs.microsoft.com/en-us/azure/cosmos-db/consistency-levels" TargetMode="External"/><Relationship Id="rId12" Type="http://schemas.openxmlformats.org/officeDocument/2006/relationships/hyperlink" Target="https://docs.microsoft.com/en-us/azure/cosmos-db/time-to-live" TargetMode="External"/><Relationship Id="rId2" Type="http://schemas.openxmlformats.org/officeDocument/2006/relationships/notesSlide" Target="../notesSlides/notesSlide62.xml"/><Relationship Id="rId1" Type="http://schemas.openxmlformats.org/officeDocument/2006/relationships/slideLayout" Target="../slideLayouts/slideLayout191.xml"/><Relationship Id="rId6" Type="http://schemas.openxmlformats.org/officeDocument/2006/relationships/hyperlink" Target="https://docs.microsoft.com/en-us/azure/cosmos-db/partition-data" TargetMode="External"/><Relationship Id="rId11" Type="http://schemas.openxmlformats.org/officeDocument/2006/relationships/hyperlink" Target="https://docs.microsoft.com/en-us/azure/cosmos-db/request-units" TargetMode="External"/><Relationship Id="rId5" Type="http://schemas.openxmlformats.org/officeDocument/2006/relationships/hyperlink" Target="https://docs.microsoft.com/en-us/azure/cosmos-db/regional-failover" TargetMode="External"/><Relationship Id="rId15" Type="http://schemas.openxmlformats.org/officeDocument/2006/relationships/hyperlink" Target="https://azure.microsoft.com/en-us/support/legal/sla/cosmos-db/v1_0/" TargetMode="External"/><Relationship Id="rId10" Type="http://schemas.openxmlformats.org/officeDocument/2006/relationships/hyperlink" Target="https://docs.microsoft.com/en-us/azure/cosmos-db/indexing-policies" TargetMode="External"/><Relationship Id="rId4" Type="http://schemas.openxmlformats.org/officeDocument/2006/relationships/hyperlink" Target="https://docs.microsoft.com/en-us/azure/cosmos-db/distribute-data-globally" TargetMode="External"/><Relationship Id="rId9" Type="http://schemas.openxmlformats.org/officeDocument/2006/relationships/hyperlink" Target="http://www.vldb.org/pvldb/vol8/p1668-shukla.pdf" TargetMode="External"/><Relationship Id="rId14" Type="http://schemas.openxmlformats.org/officeDocument/2006/relationships/hyperlink" Target="https://docs.microsoft.com/en-us/azure/cosmos-db/spark-connector" TargetMode="External"/></Relationships>
</file>

<file path=ppt/slides/_rels/slide7.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7.xml"/><Relationship Id="rId1" Type="http://schemas.openxmlformats.org/officeDocument/2006/relationships/slideLayout" Target="../slideLayouts/slideLayout59.xml"/><Relationship Id="rId6" Type="http://schemas.openxmlformats.org/officeDocument/2006/relationships/image" Target="../media/image80.png"/><Relationship Id="rId5" Type="http://schemas.openxmlformats.org/officeDocument/2006/relationships/image" Target="../media/image79.png"/><Relationship Id="rId4" Type="http://schemas.openxmlformats.org/officeDocument/2006/relationships/image" Target="../media/image78.png"/></Relationships>
</file>

<file path=ppt/slides/_rels/slide8.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8.xml"/><Relationship Id="rId1" Type="http://schemas.openxmlformats.org/officeDocument/2006/relationships/slideLayout" Target="../slideLayouts/slideLayout59.xml"/><Relationship Id="rId4" Type="http://schemas.openxmlformats.org/officeDocument/2006/relationships/image" Target="../media/image82.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title 3"/>
          <p:cNvSpPr>
            <a:spLocks noGrp="1"/>
          </p:cNvSpPr>
          <p:nvPr>
            <p:ph type="subTitle" idx="1"/>
          </p:nvPr>
        </p:nvSpPr>
        <p:spPr/>
        <p:txBody>
          <a:bodyPr/>
          <a:lstStyle/>
          <a:p>
            <a:r>
              <a:rPr lang="en-US" dirty="0"/>
              <a:t>Cloud Consultant</a:t>
            </a:r>
          </a:p>
          <a:p>
            <a:r>
              <a:rPr lang="en-US" dirty="0"/>
              <a:t>Technical Trainer | MCT</a:t>
            </a:r>
          </a:p>
        </p:txBody>
      </p:sp>
      <p:sp>
        <p:nvSpPr>
          <p:cNvPr id="2" name="Title 1"/>
          <p:cNvSpPr>
            <a:spLocks noGrp="1"/>
          </p:cNvSpPr>
          <p:nvPr>
            <p:ph type="ctrTitle"/>
          </p:nvPr>
        </p:nvSpPr>
        <p:spPr>
          <a:solidFill>
            <a:srgbClr val="007233"/>
          </a:solidFill>
        </p:spPr>
        <p:txBody>
          <a:bodyPr/>
          <a:lstStyle/>
          <a:p>
            <a:r>
              <a:rPr lang="en-US" sz="3000" dirty="0"/>
              <a:t>Design Data Implementation</a:t>
            </a:r>
          </a:p>
        </p:txBody>
      </p:sp>
    </p:spTree>
    <p:extLst>
      <p:ext uri="{BB962C8B-B14F-4D97-AF65-F5344CB8AC3E}">
        <p14:creationId xmlns:p14="http://schemas.microsoft.com/office/powerpoint/2010/main" val="166573302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US" sz="4050" b="1" dirty="0"/>
              <a:t>Azure Queue</a:t>
            </a:r>
          </a:p>
        </p:txBody>
      </p:sp>
      <p:sp>
        <p:nvSpPr>
          <p:cNvPr id="5" name="Content Placeholder 4"/>
          <p:cNvSpPr>
            <a:spLocks noGrp="1"/>
          </p:cNvSpPr>
          <p:nvPr>
            <p:ph type="body" sz="quarter" idx="10"/>
          </p:nvPr>
        </p:nvSpPr>
        <p:spPr>
          <a:xfrm>
            <a:off x="201553" y="1147724"/>
            <a:ext cx="8574837" cy="410903"/>
          </a:xfrm>
        </p:spPr>
        <p:txBody>
          <a:bodyPr>
            <a:noAutofit/>
          </a:bodyPr>
          <a:lstStyle/>
          <a:p>
            <a:r>
              <a:rPr lang="en-US" sz="3000" dirty="0"/>
              <a:t>Provides reliable, persistent messaging.</a:t>
            </a:r>
          </a:p>
          <a:p>
            <a:r>
              <a:rPr lang="en-US" sz="3000" dirty="0"/>
              <a:t>REST-based GET/PUT/PEEK</a:t>
            </a:r>
          </a:p>
          <a:p>
            <a:r>
              <a:rPr lang="en-US" sz="3000" dirty="0"/>
              <a:t>Maximum Message Size 64 KB. If larger message size needed use Service Bus</a:t>
            </a:r>
          </a:p>
          <a:p>
            <a:r>
              <a:rPr lang="en-US" sz="3000" dirty="0"/>
              <a:t>Maximum message TTL 7 days</a:t>
            </a:r>
          </a:p>
        </p:txBody>
      </p:sp>
    </p:spTree>
    <p:extLst>
      <p:ext uri="{BB962C8B-B14F-4D97-AF65-F5344CB8AC3E}">
        <p14:creationId xmlns:p14="http://schemas.microsoft.com/office/powerpoint/2010/main" val="52109473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fontScale="90000"/>
          </a:bodyPr>
          <a:lstStyle/>
          <a:p>
            <a:r>
              <a:rPr lang="en-US" dirty="0"/>
              <a:t>Table and Queue Storage via PowerShell</a:t>
            </a:r>
          </a:p>
        </p:txBody>
      </p:sp>
      <p:pic>
        <p:nvPicPr>
          <p:cNvPr id="2" name="Picture 1"/>
          <p:cNvPicPr>
            <a:picLocks noChangeAspect="1"/>
          </p:cNvPicPr>
          <p:nvPr/>
        </p:nvPicPr>
        <p:blipFill>
          <a:blip r:embed="rId3"/>
          <a:stretch>
            <a:fillRect/>
          </a:stretch>
        </p:blipFill>
        <p:spPr>
          <a:xfrm>
            <a:off x="342900" y="1647145"/>
            <a:ext cx="8394927" cy="4047445"/>
          </a:xfrm>
          <a:prstGeom prst="rect">
            <a:avLst/>
          </a:prstGeom>
        </p:spPr>
      </p:pic>
    </p:spTree>
    <p:extLst>
      <p:ext uri="{BB962C8B-B14F-4D97-AF65-F5344CB8AC3E}">
        <p14:creationId xmlns:p14="http://schemas.microsoft.com/office/powerpoint/2010/main" val="25414950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Storage Options</a:t>
            </a:r>
          </a:p>
        </p:txBody>
      </p:sp>
      <p:sp>
        <p:nvSpPr>
          <p:cNvPr id="6" name="Content Placeholder 5"/>
          <p:cNvSpPr>
            <a:spLocks noGrp="1"/>
          </p:cNvSpPr>
          <p:nvPr>
            <p:ph type="body" sz="quarter" idx="10"/>
          </p:nvPr>
        </p:nvSpPr>
        <p:spPr>
          <a:xfrm>
            <a:off x="140678" y="1354993"/>
            <a:ext cx="8574837" cy="410903"/>
          </a:xfrm>
        </p:spPr>
        <p:txBody>
          <a:bodyPr>
            <a:noAutofit/>
          </a:bodyPr>
          <a:lstStyle/>
          <a:p>
            <a:r>
              <a:rPr lang="en-US" sz="2400" dirty="0"/>
              <a:t>Standard</a:t>
            </a:r>
          </a:p>
          <a:p>
            <a:pPr marL="685800" lvl="1" indent="-342900">
              <a:buFont typeface="Arial" panose="020B0604020202020204" pitchFamily="34" charset="0"/>
              <a:buChar char="•"/>
            </a:pPr>
            <a:r>
              <a:rPr lang="en-US" sz="2400" dirty="0"/>
              <a:t>Max total request rate of 20k IOPS</a:t>
            </a:r>
          </a:p>
          <a:p>
            <a:pPr marL="685800" lvl="1" indent="-342900">
              <a:buFont typeface="Arial" panose="020B0604020202020204" pitchFamily="34" charset="0"/>
              <a:buChar char="•"/>
            </a:pPr>
            <a:r>
              <a:rPr lang="en-US" sz="2400" dirty="0"/>
              <a:t>Billed for actual usage*</a:t>
            </a:r>
          </a:p>
          <a:p>
            <a:r>
              <a:rPr lang="en-US" sz="2400" dirty="0"/>
              <a:t>Premium</a:t>
            </a:r>
          </a:p>
          <a:p>
            <a:pPr marL="685800" lvl="1" indent="-342900">
              <a:buFont typeface="Arial" panose="020B0604020202020204" pitchFamily="34" charset="0"/>
              <a:buChar char="•"/>
            </a:pPr>
            <a:r>
              <a:rPr lang="en-US" sz="2400" dirty="0"/>
              <a:t>Designed for Azure VMs</a:t>
            </a:r>
          </a:p>
          <a:p>
            <a:pPr marL="685800" lvl="1" indent="-342900">
              <a:buFont typeface="Arial" panose="020B0604020202020204" pitchFamily="34" charset="0"/>
              <a:buChar char="•"/>
            </a:pPr>
            <a:r>
              <a:rPr lang="en-US" sz="2400" dirty="0"/>
              <a:t>High performance</a:t>
            </a:r>
          </a:p>
          <a:p>
            <a:pPr marL="685800" lvl="1" indent="-342900">
              <a:buFont typeface="Arial" panose="020B0604020202020204" pitchFamily="34" charset="0"/>
              <a:buChar char="•"/>
            </a:pPr>
            <a:r>
              <a:rPr lang="en-US" sz="2400" dirty="0"/>
              <a:t>Low latency</a:t>
            </a:r>
          </a:p>
          <a:p>
            <a:pPr marL="685800" lvl="1" indent="-342900">
              <a:buFont typeface="Arial" panose="020B0604020202020204" pitchFamily="34" charset="0"/>
              <a:buChar char="•"/>
            </a:pPr>
            <a:r>
              <a:rPr lang="en-US" sz="2400" dirty="0"/>
              <a:t>Azure VM disks are implemented as “Page Blobs”</a:t>
            </a:r>
          </a:p>
          <a:p>
            <a:pPr marL="685800" lvl="1" indent="-342900">
              <a:buFont typeface="Arial" panose="020B0604020202020204" pitchFamily="34" charset="0"/>
              <a:buChar char="•"/>
            </a:pPr>
            <a:r>
              <a:rPr lang="en-US" sz="2400" dirty="0"/>
              <a:t>Billed for Provisioned space and not for actual usage. </a:t>
            </a:r>
          </a:p>
          <a:p>
            <a:pPr lvl="1"/>
            <a:endParaRPr lang="en-US" sz="2400" dirty="0"/>
          </a:p>
          <a:p>
            <a:pPr lvl="1"/>
            <a:endParaRPr lang="en-US" sz="2400" dirty="0"/>
          </a:p>
        </p:txBody>
      </p:sp>
    </p:spTree>
    <p:extLst>
      <p:ext uri="{BB962C8B-B14F-4D97-AF65-F5344CB8AC3E}">
        <p14:creationId xmlns:p14="http://schemas.microsoft.com/office/powerpoint/2010/main" val="138697319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Azure Blob Storage</a:t>
            </a:r>
          </a:p>
        </p:txBody>
      </p:sp>
      <p:sp>
        <p:nvSpPr>
          <p:cNvPr id="5" name="Content Placeholder 4"/>
          <p:cNvSpPr>
            <a:spLocks noGrp="1"/>
          </p:cNvSpPr>
          <p:nvPr>
            <p:ph type="body" sz="quarter" idx="10"/>
          </p:nvPr>
        </p:nvSpPr>
        <p:spPr>
          <a:xfrm>
            <a:off x="284581" y="1283074"/>
            <a:ext cx="8574837" cy="410903"/>
          </a:xfrm>
        </p:spPr>
        <p:txBody>
          <a:bodyPr>
            <a:noAutofit/>
          </a:bodyPr>
          <a:lstStyle/>
          <a:p>
            <a:r>
              <a:rPr lang="en-US" sz="2000" dirty="0"/>
              <a:t>Also called </a:t>
            </a:r>
            <a:r>
              <a:rPr lang="en-US" sz="2000" b="1" dirty="0"/>
              <a:t>Object Storage</a:t>
            </a:r>
            <a:r>
              <a:rPr lang="en-US" sz="2000" dirty="0"/>
              <a:t> </a:t>
            </a:r>
          </a:p>
          <a:p>
            <a:r>
              <a:rPr lang="en-US" sz="2000" dirty="0"/>
              <a:t>Storing large amounts of unstructured object data</a:t>
            </a:r>
          </a:p>
          <a:p>
            <a:r>
              <a:rPr lang="en-US" sz="2000" dirty="0"/>
              <a:t>Can be accessed from anywhere via HTTP or HTTPS</a:t>
            </a:r>
          </a:p>
          <a:p>
            <a:r>
              <a:rPr lang="en-US" sz="2000" dirty="0"/>
              <a:t>Three kinds of Blobs:</a:t>
            </a:r>
          </a:p>
          <a:p>
            <a:pPr lvl="1"/>
            <a:r>
              <a:rPr lang="en-US" sz="2000" dirty="0"/>
              <a:t>Block Blob</a:t>
            </a:r>
          </a:p>
          <a:p>
            <a:pPr lvl="1"/>
            <a:r>
              <a:rPr lang="en-US" sz="2000" dirty="0"/>
              <a:t>Append Blob</a:t>
            </a:r>
          </a:p>
          <a:p>
            <a:pPr lvl="1"/>
            <a:r>
              <a:rPr lang="en-US" sz="2000" dirty="0"/>
              <a:t>Page Blob</a:t>
            </a:r>
          </a:p>
          <a:p>
            <a:r>
              <a:rPr lang="en-US" sz="2000" dirty="0"/>
              <a:t>Common uses of Blob storage include:</a:t>
            </a:r>
          </a:p>
          <a:p>
            <a:pPr lvl="1"/>
            <a:r>
              <a:rPr lang="en-US" sz="2000" dirty="0"/>
              <a:t>Serving images or documents directly to a browser</a:t>
            </a:r>
          </a:p>
          <a:p>
            <a:pPr lvl="1"/>
            <a:r>
              <a:rPr lang="en-US" sz="2000" dirty="0"/>
              <a:t>Storing files for distributed access</a:t>
            </a:r>
          </a:p>
          <a:p>
            <a:pPr lvl="1"/>
            <a:r>
              <a:rPr lang="en-US" sz="2000" dirty="0"/>
              <a:t>Streaming video and audio</a:t>
            </a:r>
          </a:p>
          <a:p>
            <a:pPr lvl="1"/>
            <a:r>
              <a:rPr lang="en-US" sz="2000" dirty="0"/>
              <a:t>Storing data for backup and restore, disaster recovery, and archiving</a:t>
            </a:r>
          </a:p>
          <a:p>
            <a:endParaRPr lang="en-US" sz="2000" dirty="0"/>
          </a:p>
        </p:txBody>
      </p:sp>
    </p:spTree>
    <p:extLst>
      <p:ext uri="{BB962C8B-B14F-4D97-AF65-F5344CB8AC3E}">
        <p14:creationId xmlns:p14="http://schemas.microsoft.com/office/powerpoint/2010/main" val="144302863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normAutofit/>
          </a:bodyPr>
          <a:lstStyle/>
          <a:p>
            <a:r>
              <a:rPr lang="en-US" dirty="0"/>
              <a:t>Block Blobs</a:t>
            </a:r>
          </a:p>
        </p:txBody>
      </p:sp>
      <p:sp>
        <p:nvSpPr>
          <p:cNvPr id="6" name="Content Placeholder 5"/>
          <p:cNvSpPr>
            <a:spLocks noGrp="1"/>
          </p:cNvSpPr>
          <p:nvPr>
            <p:ph idx="1"/>
          </p:nvPr>
        </p:nvSpPr>
        <p:spPr/>
        <p:txBody>
          <a:bodyPr>
            <a:normAutofit/>
          </a:bodyPr>
          <a:lstStyle/>
          <a:p>
            <a:pPr marL="428625" indent="-428625">
              <a:buFont typeface="Arial" panose="020B0604020202020204" pitchFamily="34" charset="0"/>
              <a:buChar char="•"/>
            </a:pPr>
            <a:r>
              <a:rPr lang="en-US" dirty="0"/>
              <a:t>Blob is broken into pieces</a:t>
            </a:r>
          </a:p>
          <a:p>
            <a:pPr marL="428625" indent="-428625">
              <a:buFont typeface="Arial" panose="020B0604020202020204" pitchFamily="34" charset="0"/>
              <a:buChar char="•"/>
            </a:pPr>
            <a:r>
              <a:rPr lang="en-US" dirty="0"/>
              <a:t>Block Id for each piece</a:t>
            </a:r>
          </a:p>
          <a:p>
            <a:pPr marL="428625" indent="-428625">
              <a:buFont typeface="Arial" panose="020B0604020202020204" pitchFamily="34" charset="0"/>
              <a:buChar char="•"/>
            </a:pPr>
            <a:r>
              <a:rPr lang="en-US" dirty="0"/>
              <a:t>Max block size = 100MB</a:t>
            </a:r>
          </a:p>
          <a:p>
            <a:pPr marL="428625" indent="-428625">
              <a:buFont typeface="Arial" panose="020B0604020202020204" pitchFamily="34" charset="0"/>
              <a:buChar char="•"/>
            </a:pPr>
            <a:r>
              <a:rPr lang="en-US" dirty="0"/>
              <a:t>Up to 50k blocks per blob</a:t>
            </a:r>
          </a:p>
          <a:p>
            <a:pPr marL="428625" indent="-428625">
              <a:buFont typeface="Arial" panose="020B0604020202020204" pitchFamily="34" charset="0"/>
              <a:buChar char="•"/>
            </a:pPr>
            <a:r>
              <a:rPr lang="en-US" dirty="0"/>
              <a:t>The maximum size of a block blob is ~4.75 TB </a:t>
            </a:r>
          </a:p>
          <a:p>
            <a:pPr marL="428625" indent="-428625">
              <a:buFont typeface="Arial" panose="020B0604020202020204" pitchFamily="34" charset="0"/>
              <a:buChar char="•"/>
            </a:pPr>
            <a:r>
              <a:rPr lang="en-US" dirty="0"/>
              <a:t>Blocks upload can be multithreaded</a:t>
            </a:r>
          </a:p>
          <a:p>
            <a:pPr marL="428625" indent="-428625">
              <a:buFont typeface="Arial" panose="020B0604020202020204" pitchFamily="34" charset="0"/>
              <a:buChar char="•"/>
            </a:pPr>
            <a:r>
              <a:rPr lang="en-US" dirty="0"/>
              <a:t>Streaming , Storing documents, media files, backups</a:t>
            </a:r>
          </a:p>
        </p:txBody>
      </p:sp>
    </p:spTree>
    <p:extLst>
      <p:ext uri="{BB962C8B-B14F-4D97-AF65-F5344CB8AC3E}">
        <p14:creationId xmlns:p14="http://schemas.microsoft.com/office/powerpoint/2010/main" val="240565158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ppend Blobs</a:t>
            </a:r>
          </a:p>
        </p:txBody>
      </p:sp>
      <p:sp>
        <p:nvSpPr>
          <p:cNvPr id="3" name="Content Placeholder 2"/>
          <p:cNvSpPr>
            <a:spLocks noGrp="1"/>
          </p:cNvSpPr>
          <p:nvPr>
            <p:ph idx="1"/>
          </p:nvPr>
        </p:nvSpPr>
        <p:spPr/>
        <p:txBody>
          <a:bodyPr/>
          <a:lstStyle/>
          <a:p>
            <a:pPr marL="428625" indent="-428625">
              <a:buFont typeface="Arial" panose="020B0604020202020204" pitchFamily="34" charset="0"/>
              <a:buChar char="•"/>
            </a:pPr>
            <a:r>
              <a:rPr lang="en-US" dirty="0"/>
              <a:t>Similar to Block Blobs</a:t>
            </a:r>
          </a:p>
          <a:p>
            <a:pPr marL="428625" indent="-428625">
              <a:buFont typeface="Arial" panose="020B0604020202020204" pitchFamily="34" charset="0"/>
              <a:buChar char="•"/>
            </a:pPr>
            <a:r>
              <a:rPr lang="en-US" dirty="0"/>
              <a:t>Optimized for append operations</a:t>
            </a:r>
          </a:p>
          <a:p>
            <a:pPr marL="428625" indent="-428625">
              <a:buFont typeface="Arial" panose="020B0604020202020204" pitchFamily="34" charset="0"/>
              <a:buChar char="•"/>
            </a:pPr>
            <a:r>
              <a:rPr lang="en-US" dirty="0"/>
              <a:t>Only can add to the end</a:t>
            </a:r>
          </a:p>
          <a:p>
            <a:pPr marL="428625" indent="-428625">
              <a:buFont typeface="Arial" panose="020B0604020202020204" pitchFamily="34" charset="0"/>
              <a:buChar char="•"/>
            </a:pPr>
            <a:r>
              <a:rPr lang="en-US" dirty="0"/>
              <a:t>The maximum size of an append blob is ~195 GB</a:t>
            </a:r>
          </a:p>
          <a:p>
            <a:pPr marL="428625" indent="-428625">
              <a:buFont typeface="Arial" panose="020B0604020202020204" pitchFamily="34" charset="0"/>
              <a:buChar char="•"/>
            </a:pPr>
            <a:r>
              <a:rPr lang="en-US" dirty="0"/>
              <a:t>Updating or deleting of existing blocks is not supported</a:t>
            </a:r>
          </a:p>
          <a:p>
            <a:pPr marL="428625" indent="-428625">
              <a:buFont typeface="Arial" panose="020B0604020202020204" pitchFamily="34" charset="0"/>
              <a:buChar char="•"/>
            </a:pPr>
            <a:r>
              <a:rPr lang="en-US" dirty="0"/>
              <a:t>Unlike a block blob, an append blob does not expose its block IDs.</a:t>
            </a:r>
          </a:p>
        </p:txBody>
      </p:sp>
    </p:spTree>
    <p:extLst>
      <p:ext uri="{BB962C8B-B14F-4D97-AF65-F5344CB8AC3E}">
        <p14:creationId xmlns:p14="http://schemas.microsoft.com/office/powerpoint/2010/main" val="291409286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age Blob</a:t>
            </a:r>
          </a:p>
        </p:txBody>
      </p:sp>
      <p:sp>
        <p:nvSpPr>
          <p:cNvPr id="3" name="Content Placeholder 2"/>
          <p:cNvSpPr>
            <a:spLocks noGrp="1"/>
          </p:cNvSpPr>
          <p:nvPr>
            <p:ph idx="1"/>
          </p:nvPr>
        </p:nvSpPr>
        <p:spPr>
          <a:xfrm>
            <a:off x="151193" y="1781176"/>
            <a:ext cx="8139639" cy="3700115"/>
          </a:xfrm>
        </p:spPr>
        <p:txBody>
          <a:bodyPr/>
          <a:lstStyle/>
          <a:p>
            <a:pPr marL="428625" indent="-428625">
              <a:buFont typeface="Arial" panose="020B0604020202020204" pitchFamily="34" charset="0"/>
              <a:buChar char="•"/>
            </a:pPr>
            <a:r>
              <a:rPr lang="en-US" dirty="0"/>
              <a:t>Optimized for IaaS disks</a:t>
            </a:r>
          </a:p>
          <a:p>
            <a:pPr marL="428625" indent="-428625">
              <a:buFont typeface="Arial" panose="020B0604020202020204" pitchFamily="34" charset="0"/>
              <a:buChar char="•"/>
            </a:pPr>
            <a:r>
              <a:rPr lang="en-US" dirty="0"/>
              <a:t>Supports random read/writes</a:t>
            </a:r>
          </a:p>
          <a:p>
            <a:pPr marL="428625" indent="-428625">
              <a:buFont typeface="Arial" panose="020B0604020202020204" pitchFamily="34" charset="0"/>
              <a:buChar char="•"/>
            </a:pPr>
            <a:r>
              <a:rPr lang="en-US" dirty="0"/>
              <a:t>Collection of 512 byte pages</a:t>
            </a:r>
          </a:p>
          <a:p>
            <a:pPr marL="428625" indent="-428625">
              <a:buFont typeface="Arial" panose="020B0604020202020204" pitchFamily="34" charset="0"/>
              <a:buChar char="•"/>
            </a:pPr>
            <a:r>
              <a:rPr lang="en-US" dirty="0"/>
              <a:t>Max size = 8TB/4TB(VHD)</a:t>
            </a:r>
          </a:p>
          <a:p>
            <a:pPr marL="428625" indent="-428625">
              <a:buFont typeface="Arial" panose="020B0604020202020204" pitchFamily="34" charset="0"/>
              <a:buChar char="•"/>
            </a:pPr>
            <a:r>
              <a:rPr lang="en-US" dirty="0"/>
              <a:t>Storage Options</a:t>
            </a:r>
          </a:p>
          <a:p>
            <a:pPr marL="685800" lvl="1" indent="-342900">
              <a:buFont typeface="Arial" panose="020B0604020202020204" pitchFamily="34" charset="0"/>
              <a:buChar char="•"/>
            </a:pPr>
            <a:r>
              <a:rPr lang="en-US" dirty="0"/>
              <a:t>Premium Storage(SSD based)</a:t>
            </a:r>
          </a:p>
          <a:p>
            <a:pPr marL="685800" lvl="1" indent="-342900">
              <a:buFont typeface="Arial" panose="020B0604020202020204" pitchFamily="34" charset="0"/>
              <a:buChar char="•"/>
            </a:pPr>
            <a:r>
              <a:rPr lang="en-US" dirty="0"/>
              <a:t>Standard Storage(HDD based)</a:t>
            </a:r>
          </a:p>
        </p:txBody>
      </p:sp>
    </p:spTree>
    <p:extLst>
      <p:ext uri="{BB962C8B-B14F-4D97-AF65-F5344CB8AC3E}">
        <p14:creationId xmlns:p14="http://schemas.microsoft.com/office/powerpoint/2010/main" val="12784062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232" y="857250"/>
            <a:ext cx="8411051" cy="658763"/>
          </a:xfrm>
        </p:spPr>
        <p:txBody>
          <a:bodyPr/>
          <a:lstStyle/>
          <a:p>
            <a:r>
              <a:rPr lang="en-US" dirty="0"/>
              <a:t>Replication for Table &amp; Blob Storage</a:t>
            </a:r>
          </a:p>
        </p:txBody>
      </p:sp>
      <p:graphicFrame>
        <p:nvGraphicFramePr>
          <p:cNvPr id="6" name="Table 5">
            <a:extLst>
              <a:ext uri="{FF2B5EF4-FFF2-40B4-BE49-F238E27FC236}">
                <a16:creationId xmlns:a16="http://schemas.microsoft.com/office/drawing/2014/main" id="{A62D5A0E-3833-4E62-9A00-7FDC02AF830C}"/>
              </a:ext>
            </a:extLst>
          </p:cNvPr>
          <p:cNvGraphicFramePr>
            <a:graphicFrameLocks noGrp="1"/>
          </p:cNvGraphicFramePr>
          <p:nvPr>
            <p:extLst/>
          </p:nvPr>
        </p:nvGraphicFramePr>
        <p:xfrm>
          <a:off x="96085" y="2204357"/>
          <a:ext cx="8633732" cy="3692490"/>
        </p:xfrm>
        <a:graphic>
          <a:graphicData uri="http://schemas.openxmlformats.org/drawingml/2006/table">
            <a:tbl>
              <a:tblPr/>
              <a:tblGrid>
                <a:gridCol w="2877911">
                  <a:extLst>
                    <a:ext uri="{9D8B030D-6E8A-4147-A177-3AD203B41FA5}">
                      <a16:colId xmlns:a16="http://schemas.microsoft.com/office/drawing/2014/main" val="430370555"/>
                    </a:ext>
                  </a:extLst>
                </a:gridCol>
                <a:gridCol w="2877911">
                  <a:extLst>
                    <a:ext uri="{9D8B030D-6E8A-4147-A177-3AD203B41FA5}">
                      <a16:colId xmlns:a16="http://schemas.microsoft.com/office/drawing/2014/main" val="3785397083"/>
                    </a:ext>
                  </a:extLst>
                </a:gridCol>
                <a:gridCol w="2877911">
                  <a:extLst>
                    <a:ext uri="{9D8B030D-6E8A-4147-A177-3AD203B41FA5}">
                      <a16:colId xmlns:a16="http://schemas.microsoft.com/office/drawing/2014/main" val="357507075"/>
                    </a:ext>
                  </a:extLst>
                </a:gridCol>
              </a:tblGrid>
              <a:tr h="245330">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l" fontAlgn="t"/>
                      <a:r>
                        <a:rPr lang="en-US" sz="1500" b="1" dirty="0">
                          <a:solidFill>
                            <a:schemeClr val="tx1"/>
                          </a:solidFill>
                          <a:effectLst/>
                        </a:rPr>
                        <a:t>Replication Option</a:t>
                      </a:r>
                      <a:endParaRPr lang="en-US" sz="1500" b="1" i="0" dirty="0">
                        <a:solidFill>
                          <a:schemeClr val="tx1"/>
                        </a:solidFill>
                        <a:effectLst/>
                        <a:latin typeface="Segoe UI" panose="020B0502040204020203" pitchFamily="34" charset="0"/>
                      </a:endParaRPr>
                    </a:p>
                  </a:txBody>
                  <a:tcPr marL="8365" marR="8365" marT="8365" marB="8365">
                    <a:lnL w="12700" cmpd="sng">
                      <a:solidFill>
                        <a:srgbClr val="3497AE"/>
                      </a:solidFill>
                    </a:lnL>
                    <a:lnR w="12700" cmpd="sng">
                      <a:solidFill>
                        <a:srgbClr val="3497AE"/>
                      </a:solidFill>
                    </a:lnR>
                    <a:lnT w="12700" cmpd="sng">
                      <a:solidFill>
                        <a:srgbClr val="3497AE"/>
                      </a:solidFill>
                    </a:lnT>
                    <a:lnB w="12700" cmpd="sng">
                      <a:solidFill>
                        <a:srgbClr val="3497AE"/>
                      </a:solidFill>
                    </a:lnB>
                    <a:lnTlToBr w="12700" cmpd="sng">
                      <a:noFill/>
                      <a:prstDash val="solid"/>
                    </a:lnTlToBr>
                    <a:lnBlToTr w="12700" cmpd="sng">
                      <a:noFill/>
                      <a:prstDash val="solid"/>
                    </a:lnBlToTr>
                    <a:solidFill>
                      <a:srgbClr val="00B0F0"/>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l" fontAlgn="t"/>
                      <a:r>
                        <a:rPr lang="en-US" sz="1500" b="1" dirty="0">
                          <a:solidFill>
                            <a:schemeClr val="tx1"/>
                          </a:solidFill>
                          <a:effectLst/>
                        </a:rPr>
                        <a:t>Number of copies</a:t>
                      </a:r>
                      <a:endParaRPr lang="en-US" sz="1500" b="1" i="0" dirty="0">
                        <a:solidFill>
                          <a:schemeClr val="tx1"/>
                        </a:solidFill>
                        <a:effectLst/>
                        <a:latin typeface="Segoe UI" panose="020B0502040204020203" pitchFamily="34" charset="0"/>
                      </a:endParaRPr>
                    </a:p>
                  </a:txBody>
                  <a:tcPr marL="8365" marR="8365" marT="8365" marB="8365">
                    <a:lnL w="12700" cmpd="sng">
                      <a:solidFill>
                        <a:srgbClr val="3497AE"/>
                      </a:solidFill>
                    </a:lnL>
                    <a:lnR w="12700" cmpd="sng">
                      <a:solidFill>
                        <a:srgbClr val="3497AE"/>
                      </a:solidFill>
                    </a:lnR>
                    <a:lnT w="12700" cmpd="sng">
                      <a:solidFill>
                        <a:srgbClr val="3497AE"/>
                      </a:solidFill>
                    </a:lnT>
                    <a:lnB w="12700" cmpd="sng">
                      <a:solidFill>
                        <a:srgbClr val="3497AE"/>
                      </a:solidFill>
                    </a:lnB>
                    <a:lnTlToBr w="12700" cmpd="sng">
                      <a:noFill/>
                      <a:prstDash val="solid"/>
                    </a:lnTlToBr>
                    <a:lnBlToTr w="12700" cmpd="sng">
                      <a:noFill/>
                      <a:prstDash val="solid"/>
                    </a:lnBlToTr>
                    <a:solidFill>
                      <a:srgbClr val="00B0F0"/>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l" fontAlgn="t"/>
                      <a:r>
                        <a:rPr lang="en-US" sz="1500" b="1" dirty="0">
                          <a:solidFill>
                            <a:schemeClr val="tx1"/>
                          </a:solidFill>
                          <a:effectLst/>
                        </a:rPr>
                        <a:t>Strategy</a:t>
                      </a:r>
                      <a:endParaRPr lang="en-US" sz="1500" b="1" i="0" dirty="0">
                        <a:solidFill>
                          <a:schemeClr val="tx1"/>
                        </a:solidFill>
                        <a:effectLst/>
                        <a:latin typeface="Segoe UI" panose="020B0502040204020203" pitchFamily="34" charset="0"/>
                      </a:endParaRPr>
                    </a:p>
                  </a:txBody>
                  <a:tcPr marL="8365" marR="8365" marT="8365" marB="8365">
                    <a:lnL w="12700" cmpd="sng">
                      <a:solidFill>
                        <a:srgbClr val="3497AE"/>
                      </a:solidFill>
                    </a:lnL>
                    <a:lnR w="12700" cmpd="sng">
                      <a:solidFill>
                        <a:srgbClr val="3497AE"/>
                      </a:solidFill>
                    </a:lnR>
                    <a:lnT w="12700" cmpd="sng">
                      <a:solidFill>
                        <a:srgbClr val="3497AE"/>
                      </a:solidFill>
                    </a:lnT>
                    <a:lnB w="12700" cmpd="sng">
                      <a:solidFill>
                        <a:srgbClr val="3497AE"/>
                      </a:solidFill>
                    </a:lnB>
                    <a:lnTlToBr w="12700" cmpd="sng">
                      <a:noFill/>
                      <a:prstDash val="solid"/>
                    </a:lnTlToBr>
                    <a:lnBlToTr w="12700" cmpd="sng">
                      <a:noFill/>
                      <a:prstDash val="solid"/>
                    </a:lnBlToTr>
                    <a:solidFill>
                      <a:srgbClr val="00B0F0"/>
                    </a:solidFill>
                  </a:tcPr>
                </a:tc>
                <a:extLst>
                  <a:ext uri="{0D108BD9-81ED-4DB2-BD59-A6C34878D82A}">
                    <a16:rowId xmlns:a16="http://schemas.microsoft.com/office/drawing/2014/main" val="726455631"/>
                  </a:ext>
                </a:extLst>
              </a:tr>
              <a:tr h="473930">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l" fontAlgn="t"/>
                      <a:r>
                        <a:rPr lang="en-US" sz="1500" dirty="0">
                          <a:effectLst/>
                        </a:rPr>
                        <a:t>Locally redundant storage (LRS)</a:t>
                      </a:r>
                      <a:endParaRPr lang="en-US" sz="1500" dirty="0">
                        <a:solidFill>
                          <a:srgbClr val="2E2E2E"/>
                        </a:solidFill>
                        <a:effectLst/>
                        <a:latin typeface="Segoe UI" panose="020B0502040204020203" pitchFamily="34" charset="0"/>
                      </a:endParaRPr>
                    </a:p>
                  </a:txBody>
                  <a:tcPr marL="8365" marR="8365" marT="8365" marB="8365">
                    <a:lnL w="12700" cmpd="sng">
                      <a:solidFill>
                        <a:srgbClr val="3497AE"/>
                      </a:solidFill>
                    </a:lnL>
                    <a:lnR w="12700" cmpd="sng">
                      <a:solidFill>
                        <a:srgbClr val="3497AE"/>
                      </a:solidFill>
                    </a:lnR>
                    <a:lnT w="12700" cmpd="sng">
                      <a:solidFill>
                        <a:srgbClr val="3497AE"/>
                      </a:solidFill>
                    </a:lnT>
                    <a:lnB w="12700" cmpd="sng">
                      <a:solidFill>
                        <a:srgbClr val="3497AE"/>
                      </a:solidFill>
                    </a:lnB>
                    <a:lnTlToBr w="12700" cmpd="sng">
                      <a:noFill/>
                      <a:prstDash val="solid"/>
                    </a:lnTlToBr>
                    <a:lnBlToTr w="12700" cmpd="sng">
                      <a:noFill/>
                      <a:prstDash val="solid"/>
                    </a:lnBlToTr>
                    <a:solidFill>
                      <a:srgbClr val="3497AE">
                        <a:lumMod val="20000"/>
                        <a:lumOff val="8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l" fontAlgn="t"/>
                      <a:r>
                        <a:rPr lang="en-US" sz="1500">
                          <a:effectLst/>
                        </a:rPr>
                        <a:t>Maintains three copies of your data.</a:t>
                      </a:r>
                      <a:endParaRPr lang="en-US" sz="1500">
                        <a:solidFill>
                          <a:srgbClr val="2E2E2E"/>
                        </a:solidFill>
                        <a:effectLst/>
                        <a:latin typeface="Segoe UI" panose="020B0502040204020203" pitchFamily="34" charset="0"/>
                      </a:endParaRPr>
                    </a:p>
                  </a:txBody>
                  <a:tcPr marL="8365" marR="8365" marT="8365" marB="8365">
                    <a:lnL w="12700" cmpd="sng">
                      <a:solidFill>
                        <a:srgbClr val="3497AE"/>
                      </a:solidFill>
                    </a:lnL>
                    <a:lnR w="12700" cmpd="sng">
                      <a:solidFill>
                        <a:srgbClr val="3497AE"/>
                      </a:solidFill>
                    </a:lnR>
                    <a:lnT w="12700" cmpd="sng">
                      <a:solidFill>
                        <a:srgbClr val="3497AE"/>
                      </a:solidFill>
                    </a:lnT>
                    <a:lnB w="12700" cmpd="sng">
                      <a:solidFill>
                        <a:srgbClr val="3497AE"/>
                      </a:solidFill>
                    </a:lnB>
                    <a:lnTlToBr w="12700" cmpd="sng">
                      <a:noFill/>
                      <a:prstDash val="solid"/>
                    </a:lnTlToBr>
                    <a:lnBlToTr w="12700" cmpd="sng">
                      <a:noFill/>
                      <a:prstDash val="solid"/>
                    </a:lnBlToTr>
                    <a:solidFill>
                      <a:srgbClr val="3497AE">
                        <a:lumMod val="20000"/>
                        <a:lumOff val="8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l" fontAlgn="t"/>
                      <a:r>
                        <a:rPr lang="en-US" sz="1500" dirty="0">
                          <a:effectLst/>
                        </a:rPr>
                        <a:t>Data is replicated three time within a single facility in a single region.</a:t>
                      </a:r>
                      <a:endParaRPr lang="en-US" sz="1500" dirty="0">
                        <a:solidFill>
                          <a:srgbClr val="2E2E2E"/>
                        </a:solidFill>
                        <a:effectLst/>
                        <a:latin typeface="Segoe UI" panose="020B0502040204020203" pitchFamily="34" charset="0"/>
                      </a:endParaRPr>
                    </a:p>
                  </a:txBody>
                  <a:tcPr marL="8365" marR="8365" marT="8365" marB="8365">
                    <a:lnL w="12700" cmpd="sng">
                      <a:solidFill>
                        <a:srgbClr val="3497AE"/>
                      </a:solidFill>
                    </a:lnL>
                    <a:lnR w="12700" cmpd="sng">
                      <a:solidFill>
                        <a:srgbClr val="3497AE"/>
                      </a:solidFill>
                    </a:lnR>
                    <a:lnT w="12700" cmpd="sng">
                      <a:solidFill>
                        <a:srgbClr val="3497AE"/>
                      </a:solidFill>
                    </a:lnT>
                    <a:lnB w="12700" cmpd="sng">
                      <a:solidFill>
                        <a:srgbClr val="3497AE"/>
                      </a:solidFill>
                    </a:lnB>
                    <a:lnTlToBr w="12700" cmpd="sng">
                      <a:noFill/>
                      <a:prstDash val="solid"/>
                    </a:lnTlToBr>
                    <a:lnBlToTr w="12700" cmpd="sng">
                      <a:noFill/>
                      <a:prstDash val="solid"/>
                    </a:lnBlToTr>
                    <a:solidFill>
                      <a:srgbClr val="3497AE">
                        <a:lumMod val="20000"/>
                        <a:lumOff val="80000"/>
                      </a:srgbClr>
                    </a:solidFill>
                  </a:tcPr>
                </a:tc>
                <a:extLst>
                  <a:ext uri="{0D108BD9-81ED-4DB2-BD59-A6C34878D82A}">
                    <a16:rowId xmlns:a16="http://schemas.microsoft.com/office/drawing/2014/main" val="3303282879"/>
                  </a:ext>
                </a:extLst>
              </a:tr>
              <a:tr h="882372">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l" fontAlgn="t"/>
                      <a:r>
                        <a:rPr lang="en-US" sz="1500" dirty="0">
                          <a:effectLst/>
                        </a:rPr>
                        <a:t>Zone-redundant storage (ZRS)</a:t>
                      </a:r>
                      <a:endParaRPr lang="en-US" sz="1500" dirty="0">
                        <a:solidFill>
                          <a:srgbClr val="2E2E2E"/>
                        </a:solidFill>
                        <a:effectLst/>
                        <a:latin typeface="Segoe UI" panose="020B0502040204020203" pitchFamily="34" charset="0"/>
                      </a:endParaRPr>
                    </a:p>
                  </a:txBody>
                  <a:tcPr marL="8365" marR="8365" marT="8365" marB="8365">
                    <a:lnL w="12700" cmpd="sng">
                      <a:solidFill>
                        <a:srgbClr val="3497AE"/>
                      </a:solidFill>
                    </a:lnL>
                    <a:lnR w="12700" cmpd="sng">
                      <a:solidFill>
                        <a:srgbClr val="3497AE"/>
                      </a:solidFill>
                    </a:lnR>
                    <a:lnT w="12700" cmpd="sng">
                      <a:solidFill>
                        <a:srgbClr val="3497AE"/>
                      </a:solidFill>
                    </a:lnT>
                    <a:lnB w="12700" cmpd="sng">
                      <a:solidFill>
                        <a:srgbClr val="3497AE"/>
                      </a:solidFill>
                    </a:lnB>
                    <a:lnTlToBr w="12700" cmpd="sng">
                      <a:noFill/>
                      <a:prstDash val="solid"/>
                    </a:lnTlToBr>
                    <a:lnBlToTr w="12700" cmpd="sng">
                      <a:noFill/>
                      <a:prstDash val="solid"/>
                    </a:lnBlToTr>
                    <a:solidFill>
                      <a:srgbClr val="3497AE">
                        <a:lumMod val="20000"/>
                        <a:lumOff val="8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l" fontAlgn="t"/>
                      <a:r>
                        <a:rPr lang="en-US" sz="1500">
                          <a:effectLst/>
                        </a:rPr>
                        <a:t>Maintains three copies of your data.</a:t>
                      </a:r>
                      <a:endParaRPr lang="en-US" sz="1500">
                        <a:solidFill>
                          <a:srgbClr val="2E2E2E"/>
                        </a:solidFill>
                        <a:effectLst/>
                        <a:latin typeface="Segoe UI" panose="020B0502040204020203" pitchFamily="34" charset="0"/>
                      </a:endParaRPr>
                    </a:p>
                  </a:txBody>
                  <a:tcPr marL="8365" marR="8365" marT="8365" marB="8365">
                    <a:lnL w="12700" cmpd="sng">
                      <a:solidFill>
                        <a:srgbClr val="3497AE"/>
                      </a:solidFill>
                    </a:lnL>
                    <a:lnR w="12700" cmpd="sng">
                      <a:solidFill>
                        <a:srgbClr val="3497AE"/>
                      </a:solidFill>
                    </a:lnR>
                    <a:lnT w="12700" cmpd="sng">
                      <a:solidFill>
                        <a:srgbClr val="3497AE"/>
                      </a:solidFill>
                    </a:lnT>
                    <a:lnB w="12700" cmpd="sng">
                      <a:solidFill>
                        <a:srgbClr val="3497AE"/>
                      </a:solidFill>
                    </a:lnB>
                    <a:lnTlToBr w="12700" cmpd="sng">
                      <a:noFill/>
                      <a:prstDash val="solid"/>
                    </a:lnTlToBr>
                    <a:lnBlToTr w="12700" cmpd="sng">
                      <a:noFill/>
                      <a:prstDash val="solid"/>
                    </a:lnBlToTr>
                    <a:solidFill>
                      <a:srgbClr val="3497AE">
                        <a:lumMod val="20000"/>
                        <a:lumOff val="8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l" fontAlgn="t"/>
                      <a:r>
                        <a:rPr lang="en-US" sz="1500" dirty="0">
                          <a:effectLst/>
                        </a:rPr>
                        <a:t>Data is replicated three times across two to three facilities, either within a single region or across two regions.</a:t>
                      </a:r>
                      <a:endParaRPr lang="en-US" sz="1500" dirty="0">
                        <a:solidFill>
                          <a:srgbClr val="2E2E2E"/>
                        </a:solidFill>
                        <a:effectLst/>
                        <a:latin typeface="Segoe UI" panose="020B0502040204020203" pitchFamily="34" charset="0"/>
                      </a:endParaRPr>
                    </a:p>
                  </a:txBody>
                  <a:tcPr marL="8365" marR="8365" marT="8365" marB="8365">
                    <a:lnL w="12700" cmpd="sng">
                      <a:solidFill>
                        <a:srgbClr val="3497AE"/>
                      </a:solidFill>
                    </a:lnL>
                    <a:lnR w="12700" cmpd="sng">
                      <a:solidFill>
                        <a:srgbClr val="3497AE"/>
                      </a:solidFill>
                    </a:lnR>
                    <a:lnT w="12700" cmpd="sng">
                      <a:solidFill>
                        <a:srgbClr val="3497AE"/>
                      </a:solidFill>
                    </a:lnT>
                    <a:lnB w="12700" cmpd="sng">
                      <a:solidFill>
                        <a:srgbClr val="3497AE"/>
                      </a:solidFill>
                    </a:lnB>
                    <a:lnTlToBr w="12700" cmpd="sng">
                      <a:noFill/>
                      <a:prstDash val="solid"/>
                    </a:lnTlToBr>
                    <a:lnBlToTr w="12700" cmpd="sng">
                      <a:noFill/>
                      <a:prstDash val="solid"/>
                    </a:lnBlToTr>
                    <a:solidFill>
                      <a:srgbClr val="3497AE">
                        <a:lumMod val="20000"/>
                        <a:lumOff val="80000"/>
                      </a:srgbClr>
                    </a:solidFill>
                  </a:tcPr>
                </a:tc>
                <a:extLst>
                  <a:ext uri="{0D108BD9-81ED-4DB2-BD59-A6C34878D82A}">
                    <a16:rowId xmlns:a16="http://schemas.microsoft.com/office/drawing/2014/main" val="3669115538"/>
                  </a:ext>
                </a:extLst>
              </a:tr>
              <a:tr h="1159730">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l" fontAlgn="t"/>
                      <a:r>
                        <a:rPr lang="en-US" sz="1500" dirty="0">
                          <a:effectLst/>
                        </a:rPr>
                        <a:t>Geo-redundant storage (GRS)</a:t>
                      </a:r>
                      <a:endParaRPr lang="en-US" sz="1500" dirty="0">
                        <a:solidFill>
                          <a:srgbClr val="2E2E2E"/>
                        </a:solidFill>
                        <a:effectLst/>
                        <a:latin typeface="Segoe UI" panose="020B0502040204020203" pitchFamily="34" charset="0"/>
                      </a:endParaRPr>
                    </a:p>
                  </a:txBody>
                  <a:tcPr marL="8365" marR="8365" marT="8365" marB="8365">
                    <a:lnL w="12700" cmpd="sng">
                      <a:solidFill>
                        <a:srgbClr val="3497AE"/>
                      </a:solidFill>
                    </a:lnL>
                    <a:lnR w="12700" cmpd="sng">
                      <a:solidFill>
                        <a:srgbClr val="3497AE"/>
                      </a:solidFill>
                    </a:lnR>
                    <a:lnT w="12700" cmpd="sng">
                      <a:solidFill>
                        <a:srgbClr val="3497AE"/>
                      </a:solidFill>
                    </a:lnT>
                    <a:lnB w="12700" cmpd="sng">
                      <a:solidFill>
                        <a:srgbClr val="3497AE"/>
                      </a:solidFill>
                    </a:lnB>
                    <a:lnTlToBr w="12700" cmpd="sng">
                      <a:noFill/>
                      <a:prstDash val="solid"/>
                    </a:lnTlToBr>
                    <a:lnBlToTr w="12700" cmpd="sng">
                      <a:noFill/>
                      <a:prstDash val="solid"/>
                    </a:lnBlToTr>
                    <a:solidFill>
                      <a:srgbClr val="3497AE">
                        <a:lumMod val="20000"/>
                        <a:lumOff val="8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l" fontAlgn="t"/>
                      <a:r>
                        <a:rPr lang="en-US" sz="1500">
                          <a:effectLst/>
                        </a:rPr>
                        <a:t>Maintains six copies of your data.</a:t>
                      </a:r>
                      <a:endParaRPr lang="en-US" sz="1500">
                        <a:solidFill>
                          <a:srgbClr val="2E2E2E"/>
                        </a:solidFill>
                        <a:effectLst/>
                        <a:latin typeface="Segoe UI" panose="020B0502040204020203" pitchFamily="34" charset="0"/>
                      </a:endParaRPr>
                    </a:p>
                  </a:txBody>
                  <a:tcPr marL="8365" marR="8365" marT="8365" marB="8365">
                    <a:lnL w="12700" cmpd="sng">
                      <a:solidFill>
                        <a:srgbClr val="3497AE"/>
                      </a:solidFill>
                    </a:lnL>
                    <a:lnR w="12700" cmpd="sng">
                      <a:solidFill>
                        <a:srgbClr val="3497AE"/>
                      </a:solidFill>
                    </a:lnR>
                    <a:lnT w="12700" cmpd="sng">
                      <a:solidFill>
                        <a:srgbClr val="3497AE"/>
                      </a:solidFill>
                    </a:lnT>
                    <a:lnB w="12700" cmpd="sng">
                      <a:solidFill>
                        <a:srgbClr val="3497AE"/>
                      </a:solidFill>
                    </a:lnB>
                    <a:lnTlToBr w="12700" cmpd="sng">
                      <a:noFill/>
                      <a:prstDash val="solid"/>
                    </a:lnTlToBr>
                    <a:lnBlToTr w="12700" cmpd="sng">
                      <a:noFill/>
                      <a:prstDash val="solid"/>
                    </a:lnBlToTr>
                    <a:solidFill>
                      <a:srgbClr val="3497AE">
                        <a:lumMod val="20000"/>
                        <a:lumOff val="8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l" fontAlgn="t"/>
                      <a:r>
                        <a:rPr lang="en-US" sz="1500" dirty="0">
                          <a:effectLst/>
                        </a:rPr>
                        <a:t>Data is replicated three times within the primary region, and is also replicated three times in a secondary region hundreds of miles away from the primary region.</a:t>
                      </a:r>
                      <a:endParaRPr lang="en-US" sz="1500" dirty="0">
                        <a:solidFill>
                          <a:srgbClr val="2E2E2E"/>
                        </a:solidFill>
                        <a:effectLst/>
                        <a:latin typeface="Segoe UI" panose="020B0502040204020203" pitchFamily="34" charset="0"/>
                      </a:endParaRPr>
                    </a:p>
                  </a:txBody>
                  <a:tcPr marL="8365" marR="8365" marT="8365" marB="8365">
                    <a:lnL w="12700" cmpd="sng">
                      <a:solidFill>
                        <a:srgbClr val="3497AE"/>
                      </a:solidFill>
                    </a:lnL>
                    <a:lnR w="12700" cmpd="sng">
                      <a:solidFill>
                        <a:srgbClr val="3497AE"/>
                      </a:solidFill>
                    </a:lnR>
                    <a:lnT w="12700" cmpd="sng">
                      <a:solidFill>
                        <a:srgbClr val="3497AE"/>
                      </a:solidFill>
                    </a:lnT>
                    <a:lnB w="12700" cmpd="sng">
                      <a:solidFill>
                        <a:srgbClr val="3497AE"/>
                      </a:solidFill>
                    </a:lnB>
                    <a:lnTlToBr w="12700" cmpd="sng">
                      <a:noFill/>
                      <a:prstDash val="solid"/>
                    </a:lnTlToBr>
                    <a:lnBlToTr w="12700" cmpd="sng">
                      <a:noFill/>
                      <a:prstDash val="solid"/>
                    </a:lnBlToTr>
                    <a:solidFill>
                      <a:srgbClr val="3497AE">
                        <a:lumMod val="20000"/>
                        <a:lumOff val="80000"/>
                      </a:srgbClr>
                    </a:solidFill>
                  </a:tcPr>
                </a:tc>
                <a:extLst>
                  <a:ext uri="{0D108BD9-81ED-4DB2-BD59-A6C34878D82A}">
                    <a16:rowId xmlns:a16="http://schemas.microsoft.com/office/drawing/2014/main" val="193147660"/>
                  </a:ext>
                </a:extLst>
              </a:tr>
              <a:tr h="931130">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l" fontAlgn="t"/>
                      <a:r>
                        <a:rPr lang="en-US" sz="1500" dirty="0">
                          <a:effectLst/>
                        </a:rPr>
                        <a:t>Read access geo-redundant storage (RA-GRS) (Default)</a:t>
                      </a:r>
                      <a:endParaRPr lang="en-US" sz="1500" dirty="0">
                        <a:solidFill>
                          <a:srgbClr val="2E2E2E"/>
                        </a:solidFill>
                        <a:effectLst/>
                        <a:latin typeface="Segoe UI" panose="020B0502040204020203" pitchFamily="34" charset="0"/>
                      </a:endParaRPr>
                    </a:p>
                  </a:txBody>
                  <a:tcPr marL="8365" marR="8365" marT="8365" marB="8365">
                    <a:lnL w="12700" cmpd="sng">
                      <a:solidFill>
                        <a:srgbClr val="3497AE"/>
                      </a:solidFill>
                    </a:lnL>
                    <a:lnR w="12700" cmpd="sng">
                      <a:solidFill>
                        <a:srgbClr val="3497AE"/>
                      </a:solidFill>
                    </a:lnR>
                    <a:lnT w="12700" cmpd="sng">
                      <a:solidFill>
                        <a:srgbClr val="3497AE"/>
                      </a:solidFill>
                    </a:lnT>
                    <a:lnB w="12700" cmpd="sng">
                      <a:solidFill>
                        <a:srgbClr val="3497AE"/>
                      </a:solidFill>
                    </a:lnB>
                    <a:lnTlToBr w="12700" cmpd="sng">
                      <a:noFill/>
                      <a:prstDash val="solid"/>
                    </a:lnTlToBr>
                    <a:lnBlToTr w="12700" cmpd="sng">
                      <a:noFill/>
                      <a:prstDash val="solid"/>
                    </a:lnBlToTr>
                    <a:solidFill>
                      <a:srgbClr val="3497AE">
                        <a:lumMod val="20000"/>
                        <a:lumOff val="8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l" fontAlgn="t"/>
                      <a:r>
                        <a:rPr lang="en-US" sz="1500">
                          <a:effectLst/>
                        </a:rPr>
                        <a:t>Maintains six copies of your data.</a:t>
                      </a:r>
                      <a:endParaRPr lang="en-US" sz="1500">
                        <a:solidFill>
                          <a:srgbClr val="2E2E2E"/>
                        </a:solidFill>
                        <a:effectLst/>
                        <a:latin typeface="Segoe UI" panose="020B0502040204020203" pitchFamily="34" charset="0"/>
                      </a:endParaRPr>
                    </a:p>
                  </a:txBody>
                  <a:tcPr marL="8365" marR="8365" marT="8365" marB="8365">
                    <a:lnL w="12700" cmpd="sng">
                      <a:solidFill>
                        <a:srgbClr val="3497AE"/>
                      </a:solidFill>
                    </a:lnL>
                    <a:lnR w="12700" cmpd="sng">
                      <a:solidFill>
                        <a:srgbClr val="3497AE"/>
                      </a:solidFill>
                    </a:lnR>
                    <a:lnT w="12700" cmpd="sng">
                      <a:solidFill>
                        <a:srgbClr val="3497AE"/>
                      </a:solidFill>
                    </a:lnT>
                    <a:lnB w="12700" cmpd="sng">
                      <a:solidFill>
                        <a:srgbClr val="3497AE"/>
                      </a:solidFill>
                    </a:lnB>
                    <a:lnTlToBr w="12700" cmpd="sng">
                      <a:noFill/>
                      <a:prstDash val="solid"/>
                    </a:lnTlToBr>
                    <a:lnBlToTr w="12700" cmpd="sng">
                      <a:noFill/>
                      <a:prstDash val="solid"/>
                    </a:lnBlToTr>
                    <a:solidFill>
                      <a:srgbClr val="3497AE">
                        <a:lumMod val="20000"/>
                        <a:lumOff val="8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l" fontAlgn="t"/>
                      <a:r>
                        <a:rPr lang="en-US" sz="1500" dirty="0">
                          <a:effectLst/>
                        </a:rPr>
                        <a:t>Data is replicated to a secondary geographic location, and also provides read access to your data in the secondary location.</a:t>
                      </a:r>
                      <a:endParaRPr lang="en-US" sz="1500" dirty="0">
                        <a:solidFill>
                          <a:srgbClr val="2E2E2E"/>
                        </a:solidFill>
                        <a:effectLst/>
                        <a:latin typeface="Segoe UI" panose="020B0502040204020203" pitchFamily="34" charset="0"/>
                      </a:endParaRPr>
                    </a:p>
                  </a:txBody>
                  <a:tcPr marL="8365" marR="8365" marT="8365" marB="8365">
                    <a:lnL w="12700" cmpd="sng">
                      <a:solidFill>
                        <a:srgbClr val="3497AE"/>
                      </a:solidFill>
                    </a:lnL>
                    <a:lnR w="12700" cmpd="sng">
                      <a:solidFill>
                        <a:srgbClr val="3497AE"/>
                      </a:solidFill>
                    </a:lnR>
                    <a:lnT w="12700" cmpd="sng">
                      <a:solidFill>
                        <a:srgbClr val="3497AE"/>
                      </a:solidFill>
                    </a:lnT>
                    <a:lnB w="12700" cmpd="sng">
                      <a:solidFill>
                        <a:srgbClr val="3497AE"/>
                      </a:solidFill>
                    </a:lnB>
                    <a:lnTlToBr w="12700" cmpd="sng">
                      <a:noFill/>
                      <a:prstDash val="solid"/>
                    </a:lnTlToBr>
                    <a:lnBlToTr w="12700" cmpd="sng">
                      <a:noFill/>
                      <a:prstDash val="solid"/>
                    </a:lnBlToTr>
                    <a:solidFill>
                      <a:srgbClr val="3497AE">
                        <a:lumMod val="20000"/>
                        <a:lumOff val="80000"/>
                      </a:srgbClr>
                    </a:solidFill>
                  </a:tcPr>
                </a:tc>
                <a:extLst>
                  <a:ext uri="{0D108BD9-81ED-4DB2-BD59-A6C34878D82A}">
                    <a16:rowId xmlns:a16="http://schemas.microsoft.com/office/drawing/2014/main" val="1793920292"/>
                  </a:ext>
                </a:extLst>
              </a:tr>
            </a:tbl>
          </a:graphicData>
        </a:graphic>
      </p:graphicFrame>
      <p:sp>
        <p:nvSpPr>
          <p:cNvPr id="7" name="Rectangle 6"/>
          <p:cNvSpPr/>
          <p:nvPr/>
        </p:nvSpPr>
        <p:spPr>
          <a:xfrm>
            <a:off x="202067" y="1452489"/>
            <a:ext cx="8192860" cy="738664"/>
          </a:xfrm>
          <a:prstGeom prst="rect">
            <a:avLst/>
          </a:prstGeom>
        </p:spPr>
        <p:txBody>
          <a:bodyPr wrap="square">
            <a:spAutoFit/>
          </a:bodyPr>
          <a:lstStyle/>
          <a:p>
            <a:pPr marL="214313" indent="-214313" defTabSz="342900" fontAlgn="auto">
              <a:spcBef>
                <a:spcPts val="0"/>
              </a:spcBef>
              <a:spcAft>
                <a:spcPts val="0"/>
              </a:spcAft>
              <a:buFont typeface="Arial" panose="020B0604020202020204" pitchFamily="34" charset="0"/>
              <a:buChar char="•"/>
              <a:defRPr/>
            </a:pPr>
            <a:r>
              <a:rPr lang="en-US" sz="2100" b="0" dirty="0">
                <a:solidFill>
                  <a:prstClr val="black"/>
                </a:solidFill>
                <a:latin typeface="Calibri" panose="020F0502020204030204"/>
                <a:cs typeface="+mn-cs"/>
              </a:rPr>
              <a:t>You can switch from LRS to GRS or RA-GRS but ZRS can’t be converted.</a:t>
            </a:r>
          </a:p>
          <a:p>
            <a:pPr marL="214313" indent="-214313" defTabSz="342900" fontAlgn="auto">
              <a:spcBef>
                <a:spcPts val="0"/>
              </a:spcBef>
              <a:spcAft>
                <a:spcPts val="0"/>
              </a:spcAft>
              <a:buFont typeface="Arial" panose="020B0604020202020204" pitchFamily="34" charset="0"/>
              <a:buChar char="•"/>
              <a:defRPr/>
            </a:pPr>
            <a:r>
              <a:rPr lang="en-US" sz="2100" b="0" dirty="0">
                <a:solidFill>
                  <a:prstClr val="black"/>
                </a:solidFill>
                <a:latin typeface="Calibri" panose="020F0502020204030204"/>
                <a:cs typeface="+mn-cs"/>
              </a:rPr>
              <a:t>ZRS is only available for General Purpose Account type</a:t>
            </a:r>
          </a:p>
        </p:txBody>
      </p:sp>
    </p:spTree>
    <p:extLst>
      <p:ext uri="{BB962C8B-B14F-4D97-AF65-F5344CB8AC3E}">
        <p14:creationId xmlns:p14="http://schemas.microsoft.com/office/powerpoint/2010/main" val="204185774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lob Access</a:t>
            </a:r>
          </a:p>
        </p:txBody>
      </p:sp>
      <p:sp>
        <p:nvSpPr>
          <p:cNvPr id="3" name="Content Placeholder 2"/>
          <p:cNvSpPr>
            <a:spLocks noGrp="1"/>
          </p:cNvSpPr>
          <p:nvPr>
            <p:ph idx="1"/>
          </p:nvPr>
        </p:nvSpPr>
        <p:spPr>
          <a:xfrm>
            <a:off x="151194" y="1781176"/>
            <a:ext cx="7973632" cy="4005262"/>
          </a:xfrm>
        </p:spPr>
        <p:txBody>
          <a:bodyPr>
            <a:normAutofit/>
          </a:bodyPr>
          <a:lstStyle/>
          <a:p>
            <a:pPr marL="428625" indent="-428625">
              <a:buFont typeface="Arial" panose="020B0604020202020204" pitchFamily="34" charset="0"/>
              <a:buChar char="•"/>
            </a:pPr>
            <a:r>
              <a:rPr lang="en-US" dirty="0"/>
              <a:t>Anonymous Access: Public access for containers or individual blobs</a:t>
            </a:r>
          </a:p>
          <a:p>
            <a:pPr marL="428625" indent="-428625">
              <a:buFont typeface="Arial" panose="020B0604020202020204" pitchFamily="34" charset="0"/>
              <a:buChar char="•"/>
            </a:pPr>
            <a:r>
              <a:rPr lang="en-US" dirty="0"/>
              <a:t>Storage Access Key</a:t>
            </a:r>
          </a:p>
          <a:p>
            <a:pPr marL="428625" indent="-428625">
              <a:buFont typeface="Arial" panose="020B0604020202020204" pitchFamily="34" charset="0"/>
              <a:buChar char="•"/>
            </a:pPr>
            <a:r>
              <a:rPr lang="en-US" dirty="0"/>
              <a:t>Shared Access Signatures (SAS)</a:t>
            </a:r>
          </a:p>
          <a:p>
            <a:pPr marL="685800" lvl="1" indent="-342900">
              <a:buFont typeface="Arial" panose="020B0604020202020204" pitchFamily="34" charset="0"/>
              <a:buChar char="•"/>
            </a:pPr>
            <a:r>
              <a:rPr lang="en-US" dirty="0"/>
              <a:t>Delegated access without sharing account key</a:t>
            </a:r>
          </a:p>
          <a:p>
            <a:pPr marL="685800" lvl="1" indent="-342900">
              <a:buFont typeface="Arial" panose="020B0604020202020204" pitchFamily="34" charset="0"/>
              <a:buChar char="•"/>
            </a:pPr>
            <a:r>
              <a:rPr lang="en-US" dirty="0"/>
              <a:t>Containers &amp; blobs</a:t>
            </a:r>
          </a:p>
          <a:p>
            <a:pPr marL="685800" lvl="1" indent="-342900">
              <a:buFont typeface="Arial" panose="020B0604020202020204" pitchFamily="34" charset="0"/>
              <a:buChar char="•"/>
            </a:pPr>
            <a:r>
              <a:rPr lang="en-US" dirty="0"/>
              <a:t>File shares &amp; files</a:t>
            </a:r>
          </a:p>
          <a:p>
            <a:pPr marL="685800" lvl="1" indent="-342900">
              <a:buFont typeface="Arial" panose="020B0604020202020204" pitchFamily="34" charset="0"/>
              <a:buChar char="•"/>
            </a:pPr>
            <a:r>
              <a:rPr lang="en-US" dirty="0"/>
              <a:t>Queues</a:t>
            </a:r>
          </a:p>
          <a:p>
            <a:pPr marL="685800" lvl="1" indent="-342900">
              <a:buFont typeface="Arial" panose="020B0604020202020204" pitchFamily="34" charset="0"/>
              <a:buChar char="•"/>
            </a:pPr>
            <a:r>
              <a:rPr lang="en-US" dirty="0"/>
              <a:t>Tables &amp; ranges of table entities</a:t>
            </a:r>
          </a:p>
          <a:p>
            <a:pPr lvl="1"/>
            <a:endParaRPr lang="en-US" dirty="0"/>
          </a:p>
        </p:txBody>
      </p:sp>
    </p:spTree>
    <p:extLst>
      <p:ext uri="{BB962C8B-B14F-4D97-AF65-F5344CB8AC3E}">
        <p14:creationId xmlns:p14="http://schemas.microsoft.com/office/powerpoint/2010/main" val="24027581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3">
                                            <p:txEl>
                                              <p:pRg st="3" end="3"/>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3">
                                            <p:txEl>
                                              <p:pRg st="4" end="4"/>
                                            </p:txEl>
                                          </p:spTgt>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3">
                                            <p:txEl>
                                              <p:pRg st="5" end="5"/>
                                            </p:txEl>
                                          </p:spTgt>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3">
                                            <p:txEl>
                                              <p:pRg st="6" end="6"/>
                                            </p:txEl>
                                          </p:spTgt>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lob Access</a:t>
            </a:r>
          </a:p>
        </p:txBody>
      </p:sp>
      <p:pic>
        <p:nvPicPr>
          <p:cNvPr id="5" name="Picture 4"/>
          <p:cNvPicPr>
            <a:picLocks noChangeAspect="1"/>
          </p:cNvPicPr>
          <p:nvPr/>
        </p:nvPicPr>
        <p:blipFill>
          <a:blip r:embed="rId3"/>
          <a:stretch>
            <a:fillRect/>
          </a:stretch>
        </p:blipFill>
        <p:spPr>
          <a:xfrm>
            <a:off x="1607794" y="1781176"/>
            <a:ext cx="5920451" cy="4090307"/>
          </a:xfrm>
          <a:prstGeom prst="rect">
            <a:avLst/>
          </a:prstGeom>
          <a:ln w="88900" cap="sq" cmpd="thickThin">
            <a:solidFill>
              <a:srgbClr val="000000"/>
            </a:solidFill>
            <a:prstDash val="solid"/>
            <a:miter lim="800000"/>
          </a:ln>
          <a:effectLst>
            <a:innerShdw blurRad="76200">
              <a:srgbClr val="000000"/>
            </a:innerShdw>
          </a:effectLst>
        </p:spPr>
      </p:pic>
    </p:spTree>
    <p:extLst>
      <p:ext uri="{BB962C8B-B14F-4D97-AF65-F5344CB8AC3E}">
        <p14:creationId xmlns:p14="http://schemas.microsoft.com/office/powerpoint/2010/main" val="8363884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ppt_x"/>
                                          </p:val>
                                        </p:tav>
                                        <p:tav tm="100000">
                                          <p:val>
                                            <p:strVal val="#ppt_x"/>
                                          </p:val>
                                        </p:tav>
                                      </p:tavLst>
                                    </p:anim>
                                    <p:anim calcmode="lin" valueType="num">
                                      <p:cBhvr additive="base">
                                        <p:cTn id="8" dur="500" fill="hold"/>
                                        <p:tgtEl>
                                          <p:spTgt spid="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CC87D50-9889-4C0D-9767-DC84B5CEED06}"/>
              </a:ext>
            </a:extLst>
          </p:cNvPr>
          <p:cNvSpPr/>
          <p:nvPr/>
        </p:nvSpPr>
        <p:spPr>
          <a:xfrm>
            <a:off x="347240" y="1930293"/>
            <a:ext cx="8368496" cy="3554819"/>
          </a:xfrm>
          <a:prstGeom prst="rect">
            <a:avLst/>
          </a:prstGeom>
        </p:spPr>
        <p:txBody>
          <a:bodyPr wrap="square">
            <a:spAutoFit/>
          </a:bodyPr>
          <a:lstStyle/>
          <a:p>
            <a:pPr defTabSz="685800" fontAlgn="auto">
              <a:spcBef>
                <a:spcPts val="0"/>
              </a:spcBef>
              <a:spcAft>
                <a:spcPts val="0"/>
              </a:spcAft>
              <a:buFont typeface="Arial" panose="020B0604020202020204" pitchFamily="34" charset="0"/>
              <a:buChar char="•"/>
            </a:pPr>
            <a:r>
              <a:rPr lang="en-US" sz="1500" b="0" dirty="0">
                <a:solidFill>
                  <a:prstClr val="black"/>
                </a:solidFill>
                <a:latin typeface="Calibri" panose="020F0502020204030204"/>
                <a:cs typeface="+mn-cs"/>
              </a:rPr>
              <a:t>Design for Azure Storage solutions </a:t>
            </a:r>
          </a:p>
          <a:p>
            <a:pPr marL="557213" lvl="1" indent="-214313" defTabSz="685800" fontAlgn="auto">
              <a:spcBef>
                <a:spcPts val="0"/>
              </a:spcBef>
              <a:spcAft>
                <a:spcPts val="0"/>
              </a:spcAft>
              <a:buFont typeface="Arial" panose="020B0604020202020204" pitchFamily="34" charset="0"/>
              <a:buChar char="•"/>
            </a:pPr>
            <a:r>
              <a:rPr lang="en-US" sz="1500" b="0" dirty="0">
                <a:solidFill>
                  <a:prstClr val="black"/>
                </a:solidFill>
                <a:latin typeface="Calibri" panose="020F0502020204030204"/>
                <a:cs typeface="+mn-cs"/>
              </a:rPr>
              <a:t>Determine when to use Azure Blob Storage, blob tiers, Azure Files, disks, and StorSimple</a:t>
            </a:r>
          </a:p>
          <a:p>
            <a:pPr defTabSz="685800" fontAlgn="auto">
              <a:spcBef>
                <a:spcPts val="0"/>
              </a:spcBef>
              <a:spcAft>
                <a:spcPts val="0"/>
              </a:spcAft>
              <a:buFont typeface="Arial" panose="020B0604020202020204" pitchFamily="34" charset="0"/>
              <a:buChar char="•"/>
            </a:pPr>
            <a:r>
              <a:rPr lang="en-US" sz="1500" b="0" dirty="0">
                <a:solidFill>
                  <a:prstClr val="black"/>
                </a:solidFill>
                <a:latin typeface="Calibri" panose="020F0502020204030204"/>
                <a:cs typeface="+mn-cs"/>
              </a:rPr>
              <a:t>Design for Azure Data Services </a:t>
            </a:r>
          </a:p>
          <a:p>
            <a:pPr marL="557213" lvl="1" indent="-214313" defTabSz="685800" fontAlgn="auto">
              <a:spcBef>
                <a:spcPts val="0"/>
              </a:spcBef>
              <a:spcAft>
                <a:spcPts val="0"/>
              </a:spcAft>
              <a:buFont typeface="Arial" panose="020B0604020202020204" pitchFamily="34" charset="0"/>
              <a:buChar char="•"/>
            </a:pPr>
            <a:r>
              <a:rPr lang="en-US" sz="1500" b="0" dirty="0">
                <a:solidFill>
                  <a:prstClr val="black"/>
                </a:solidFill>
                <a:latin typeface="Calibri" panose="020F0502020204030204"/>
                <a:cs typeface="+mn-cs"/>
              </a:rPr>
              <a:t>Determine when to use Data Catalog, Azure Data Factory, SQL Data Warehouse, Azure Data Lake Analytics, Azure Analysis Services, and Azure HDInsight</a:t>
            </a:r>
          </a:p>
          <a:p>
            <a:pPr defTabSz="685800" fontAlgn="auto">
              <a:spcBef>
                <a:spcPts val="0"/>
              </a:spcBef>
              <a:spcAft>
                <a:spcPts val="0"/>
              </a:spcAft>
              <a:buFont typeface="Arial" panose="020B0604020202020204" pitchFamily="34" charset="0"/>
              <a:buChar char="•"/>
            </a:pPr>
            <a:r>
              <a:rPr lang="en-US" sz="1500" b="0" dirty="0">
                <a:solidFill>
                  <a:prstClr val="black"/>
                </a:solidFill>
                <a:latin typeface="Calibri" panose="020F0502020204030204"/>
                <a:cs typeface="+mn-cs"/>
              </a:rPr>
              <a:t>Design for relational database storage </a:t>
            </a:r>
          </a:p>
          <a:p>
            <a:pPr marL="557213" lvl="1" indent="-214313" defTabSz="685800" fontAlgn="auto">
              <a:spcBef>
                <a:spcPts val="0"/>
              </a:spcBef>
              <a:spcAft>
                <a:spcPts val="0"/>
              </a:spcAft>
              <a:buFont typeface="Arial" panose="020B0604020202020204" pitchFamily="34" charset="0"/>
              <a:buChar char="•"/>
            </a:pPr>
            <a:r>
              <a:rPr lang="en-US" sz="1500" b="0" dirty="0">
                <a:solidFill>
                  <a:prstClr val="black"/>
                </a:solidFill>
                <a:latin typeface="Calibri" panose="020F0502020204030204"/>
                <a:cs typeface="+mn-cs"/>
              </a:rPr>
              <a:t>Determine when to use Azure SQL Database and SQL Server Stretch Database; design for scalability and features; determine when to use Azure Database for MySQL and Azure Database for PostgreSQL; design for HA/DR, geo-replication; design a backup and recovery strategy</a:t>
            </a:r>
          </a:p>
          <a:p>
            <a:pPr defTabSz="685800" fontAlgn="auto">
              <a:spcBef>
                <a:spcPts val="0"/>
              </a:spcBef>
              <a:spcAft>
                <a:spcPts val="0"/>
              </a:spcAft>
              <a:buFont typeface="Arial" panose="020B0604020202020204" pitchFamily="34" charset="0"/>
              <a:buChar char="•"/>
            </a:pPr>
            <a:r>
              <a:rPr lang="en-US" sz="1500" b="0" dirty="0">
                <a:solidFill>
                  <a:prstClr val="black"/>
                </a:solidFill>
                <a:latin typeface="Calibri" panose="020F0502020204030204"/>
                <a:cs typeface="+mn-cs"/>
              </a:rPr>
              <a:t>Design for NoSQL storage </a:t>
            </a:r>
          </a:p>
          <a:p>
            <a:pPr marL="557213" lvl="1" indent="-214313" defTabSz="685800" fontAlgn="auto">
              <a:spcBef>
                <a:spcPts val="0"/>
              </a:spcBef>
              <a:spcAft>
                <a:spcPts val="0"/>
              </a:spcAft>
              <a:buFont typeface="Arial" panose="020B0604020202020204" pitchFamily="34" charset="0"/>
              <a:buChar char="•"/>
            </a:pPr>
            <a:r>
              <a:rPr lang="en-US" sz="1500" b="0" dirty="0">
                <a:solidFill>
                  <a:prstClr val="black"/>
                </a:solidFill>
                <a:latin typeface="Calibri" panose="020F0502020204030204"/>
                <a:cs typeface="+mn-cs"/>
              </a:rPr>
              <a:t>Determine when to use Azure </a:t>
            </a:r>
            <a:r>
              <a:rPr lang="en-US" sz="1500" b="0" dirty="0" err="1">
                <a:solidFill>
                  <a:prstClr val="black"/>
                </a:solidFill>
                <a:latin typeface="Calibri" panose="020F0502020204030204"/>
                <a:cs typeface="+mn-cs"/>
              </a:rPr>
              <a:t>Redis</a:t>
            </a:r>
            <a:r>
              <a:rPr lang="en-US" sz="1500" b="0" dirty="0">
                <a:solidFill>
                  <a:prstClr val="black"/>
                </a:solidFill>
                <a:latin typeface="Calibri" panose="020F0502020204030204"/>
                <a:cs typeface="+mn-cs"/>
              </a:rPr>
              <a:t> Cache, Azure Table Storage, Azure Data Lake, Azure Search, Time Series Insights</a:t>
            </a:r>
          </a:p>
          <a:p>
            <a:pPr defTabSz="685800" fontAlgn="auto">
              <a:spcBef>
                <a:spcPts val="0"/>
              </a:spcBef>
              <a:spcAft>
                <a:spcPts val="0"/>
              </a:spcAft>
              <a:buFont typeface="Arial" panose="020B0604020202020204" pitchFamily="34" charset="0"/>
              <a:buChar char="•"/>
            </a:pPr>
            <a:r>
              <a:rPr lang="en-US" sz="1500" b="0" dirty="0">
                <a:solidFill>
                  <a:prstClr val="black"/>
                </a:solidFill>
                <a:latin typeface="Calibri" panose="020F0502020204030204"/>
                <a:cs typeface="+mn-cs"/>
              </a:rPr>
              <a:t>Design for </a:t>
            </a:r>
            <a:r>
              <a:rPr lang="en-US" sz="1500" b="0" dirty="0" err="1">
                <a:solidFill>
                  <a:prstClr val="black"/>
                </a:solidFill>
                <a:latin typeface="Calibri" panose="020F0502020204030204"/>
                <a:cs typeface="+mn-cs"/>
              </a:rPr>
              <a:t>CosmosDB</a:t>
            </a:r>
            <a:r>
              <a:rPr lang="en-US" sz="1500" b="0" dirty="0">
                <a:solidFill>
                  <a:prstClr val="black"/>
                </a:solidFill>
                <a:latin typeface="Calibri" panose="020F0502020204030204"/>
                <a:cs typeface="+mn-cs"/>
              </a:rPr>
              <a:t> storage </a:t>
            </a:r>
          </a:p>
          <a:p>
            <a:pPr marL="557213" lvl="1" indent="-214313" defTabSz="685800" fontAlgn="auto">
              <a:spcBef>
                <a:spcPts val="0"/>
              </a:spcBef>
              <a:spcAft>
                <a:spcPts val="0"/>
              </a:spcAft>
              <a:buFont typeface="Arial" panose="020B0604020202020204" pitchFamily="34" charset="0"/>
              <a:buChar char="•"/>
            </a:pPr>
            <a:r>
              <a:rPr lang="en-US" sz="1500" b="0" dirty="0">
                <a:solidFill>
                  <a:prstClr val="black"/>
                </a:solidFill>
                <a:latin typeface="Calibri" panose="020F0502020204030204"/>
                <a:cs typeface="+mn-cs"/>
              </a:rPr>
              <a:t>Determine when to use MongoDB API, </a:t>
            </a:r>
            <a:r>
              <a:rPr lang="en-US" sz="1500" b="0" dirty="0" err="1">
                <a:solidFill>
                  <a:prstClr val="black"/>
                </a:solidFill>
                <a:latin typeface="Calibri" panose="020F0502020204030204"/>
                <a:cs typeface="+mn-cs"/>
              </a:rPr>
              <a:t>DocumentDB</a:t>
            </a:r>
            <a:r>
              <a:rPr lang="en-US" sz="1500" b="0" dirty="0">
                <a:solidFill>
                  <a:prstClr val="black"/>
                </a:solidFill>
                <a:latin typeface="Calibri" panose="020F0502020204030204"/>
                <a:cs typeface="+mn-cs"/>
              </a:rPr>
              <a:t> API, Graph API, Azure Tables API; design for cost, performance, data consistency, availability, and business continuity</a:t>
            </a:r>
          </a:p>
        </p:txBody>
      </p:sp>
      <p:sp>
        <p:nvSpPr>
          <p:cNvPr id="5" name="Rectangle 4">
            <a:extLst>
              <a:ext uri="{FF2B5EF4-FFF2-40B4-BE49-F238E27FC236}">
                <a16:creationId xmlns:a16="http://schemas.microsoft.com/office/drawing/2014/main" id="{0AA99097-5607-4D83-8FC4-070FEB4D0756}"/>
              </a:ext>
            </a:extLst>
          </p:cNvPr>
          <p:cNvSpPr/>
          <p:nvPr/>
        </p:nvSpPr>
        <p:spPr>
          <a:xfrm>
            <a:off x="1" y="961765"/>
            <a:ext cx="9143999" cy="553998"/>
          </a:xfrm>
          <a:prstGeom prst="rect">
            <a:avLst/>
          </a:prstGeom>
        </p:spPr>
        <p:txBody>
          <a:bodyPr wrap="square">
            <a:spAutoFit/>
          </a:bodyPr>
          <a:lstStyle/>
          <a:p>
            <a:pPr algn="ctr" defTabSz="685800" fontAlgn="auto">
              <a:spcBef>
                <a:spcPts val="0"/>
              </a:spcBef>
              <a:spcAft>
                <a:spcPts val="0"/>
              </a:spcAft>
            </a:pPr>
            <a:r>
              <a:rPr lang="en-US" sz="3000" dirty="0">
                <a:solidFill>
                  <a:prstClr val="black"/>
                </a:solidFill>
                <a:latin typeface="Calibri" panose="020F0502020204030204"/>
                <a:cs typeface="+mn-cs"/>
              </a:rPr>
              <a:t>Exam 70-535 : Architecting Microsoft Azure Solutions  </a:t>
            </a:r>
          </a:p>
        </p:txBody>
      </p:sp>
      <p:sp>
        <p:nvSpPr>
          <p:cNvPr id="2" name="Title 1">
            <a:extLst>
              <a:ext uri="{FF2B5EF4-FFF2-40B4-BE49-F238E27FC236}">
                <a16:creationId xmlns:a16="http://schemas.microsoft.com/office/drawing/2014/main" id="{7E54552A-1B66-4469-877C-40B2D81DBB61}"/>
              </a:ext>
            </a:extLst>
          </p:cNvPr>
          <p:cNvSpPr>
            <a:spLocks noGrp="1"/>
          </p:cNvSpPr>
          <p:nvPr>
            <p:ph type="title"/>
          </p:nvPr>
        </p:nvSpPr>
        <p:spPr/>
        <p:txBody>
          <a:bodyPr/>
          <a:lstStyle/>
          <a:p>
            <a:r>
              <a:rPr lang="en-US" u="sng" dirty="0">
                <a:latin typeface="Calibri" panose="020F0502020204030204"/>
              </a:rPr>
              <a:t>Design Data Implementation (15 – 20%)</a:t>
            </a:r>
            <a:endParaRPr lang="en-US" dirty="0"/>
          </a:p>
        </p:txBody>
      </p:sp>
      <p:sp>
        <p:nvSpPr>
          <p:cNvPr id="6" name="Text Placeholder 5">
            <a:extLst>
              <a:ext uri="{FF2B5EF4-FFF2-40B4-BE49-F238E27FC236}">
                <a16:creationId xmlns:a16="http://schemas.microsoft.com/office/drawing/2014/main" id="{8A51EE61-B626-44DC-832B-4CD1E4386F42}"/>
              </a:ext>
            </a:extLst>
          </p:cNvPr>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408021378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hared Access Signatures (SAS)</a:t>
            </a:r>
          </a:p>
        </p:txBody>
      </p:sp>
      <p:sp>
        <p:nvSpPr>
          <p:cNvPr id="3" name="Content Placeholder 2"/>
          <p:cNvSpPr>
            <a:spLocks noGrp="1"/>
          </p:cNvSpPr>
          <p:nvPr>
            <p:ph idx="1"/>
          </p:nvPr>
        </p:nvSpPr>
        <p:spPr>
          <a:xfrm>
            <a:off x="151194" y="1781176"/>
            <a:ext cx="3853389" cy="3956276"/>
          </a:xfrm>
        </p:spPr>
        <p:txBody>
          <a:bodyPr/>
          <a:lstStyle/>
          <a:p>
            <a:r>
              <a:rPr lang="en-US" dirty="0"/>
              <a:t>Time interval</a:t>
            </a:r>
          </a:p>
          <a:p>
            <a:pPr lvl="1"/>
            <a:r>
              <a:rPr lang="en-US" dirty="0"/>
              <a:t>Start &amp; end time for permissions</a:t>
            </a:r>
          </a:p>
          <a:p>
            <a:r>
              <a:rPr lang="en-US" dirty="0"/>
              <a:t>Permissions</a:t>
            </a:r>
          </a:p>
          <a:p>
            <a:pPr lvl="1"/>
            <a:r>
              <a:rPr lang="en-US" dirty="0"/>
              <a:t>Read, Write, and/or Delete</a:t>
            </a:r>
          </a:p>
          <a:p>
            <a:r>
              <a:rPr lang="en-US" dirty="0"/>
              <a:t>(Optional) IP address or address range</a:t>
            </a:r>
          </a:p>
          <a:p>
            <a:r>
              <a:rPr lang="en-US" dirty="0"/>
              <a:t>Allowed protocols</a:t>
            </a:r>
          </a:p>
          <a:p>
            <a:pPr lvl="1"/>
            <a:r>
              <a:rPr lang="en-US" dirty="0"/>
              <a:t>Example: only https</a:t>
            </a:r>
          </a:p>
          <a:p>
            <a:pPr lvl="1"/>
            <a:endParaRPr lang="en-US" dirty="0"/>
          </a:p>
        </p:txBody>
      </p:sp>
      <p:pic>
        <p:nvPicPr>
          <p:cNvPr id="4" name="Picture 3"/>
          <p:cNvPicPr>
            <a:picLocks noChangeAspect="1"/>
          </p:cNvPicPr>
          <p:nvPr/>
        </p:nvPicPr>
        <p:blipFill rotWithShape="1">
          <a:blip r:embed="rId3"/>
          <a:srcRect r="22646"/>
          <a:stretch/>
        </p:blipFill>
        <p:spPr>
          <a:xfrm>
            <a:off x="4176422" y="1720284"/>
            <a:ext cx="4636584" cy="4078061"/>
          </a:xfrm>
          <a:prstGeom prst="rect">
            <a:avLst/>
          </a:prstGeom>
          <a:solidFill>
            <a:srgbClr val="FFFFFF">
              <a:shade val="85000"/>
            </a:srgbClr>
          </a:solidFill>
          <a:ln w="190500" cap="rnd">
            <a:solidFill>
              <a:srgbClr val="FFFFFF"/>
            </a:solidFill>
          </a:ln>
          <a:effectLst>
            <a:outerShdw blurRad="50000" algn="tl" rotWithShape="0">
              <a:srgbClr val="000000">
                <a:alpha val="41000"/>
              </a:srgbClr>
            </a:outerShdw>
          </a:effectLst>
          <a:scene3d>
            <a:camera prst="orthographicFront"/>
            <a:lightRig rig="twoPt" dir="t">
              <a:rot lat="0" lon="0" rev="7800000"/>
            </a:lightRig>
          </a:scene3d>
          <a:sp3d contourW="6350">
            <a:bevelT w="50800" h="16510"/>
            <a:contourClr>
              <a:srgbClr val="C0C0C0"/>
            </a:contourClr>
          </a:sp3d>
        </p:spPr>
      </p:pic>
    </p:spTree>
    <p:extLst>
      <p:ext uri="{BB962C8B-B14F-4D97-AF65-F5344CB8AC3E}">
        <p14:creationId xmlns:p14="http://schemas.microsoft.com/office/powerpoint/2010/main" val="280333449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ppt_x"/>
                                          </p:val>
                                        </p:tav>
                                        <p:tav tm="100000">
                                          <p:val>
                                            <p:strVal val="#ppt_x"/>
                                          </p:val>
                                        </p:tav>
                                      </p:tavLst>
                                    </p:anim>
                                    <p:anim calcmode="lin" valueType="num">
                                      <p:cBhvr additive="base">
                                        <p:cTn id="8" dur="500" fill="hold"/>
                                        <p:tgtEl>
                                          <p:spTgt spid="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Azure Disk</a:t>
            </a:r>
          </a:p>
        </p:txBody>
      </p:sp>
      <p:sp>
        <p:nvSpPr>
          <p:cNvPr id="5" name="Content Placeholder 4"/>
          <p:cNvSpPr>
            <a:spLocks noGrp="1"/>
          </p:cNvSpPr>
          <p:nvPr>
            <p:ph sz="half" idx="1"/>
          </p:nvPr>
        </p:nvSpPr>
        <p:spPr>
          <a:xfrm>
            <a:off x="167640" y="1700997"/>
            <a:ext cx="8606926" cy="4073195"/>
          </a:xfrm>
        </p:spPr>
        <p:txBody>
          <a:bodyPr>
            <a:normAutofit fontScale="92500" lnSpcReduction="20000"/>
          </a:bodyPr>
          <a:lstStyle/>
          <a:p>
            <a:pPr marL="0" indent="0">
              <a:buNone/>
            </a:pPr>
            <a:r>
              <a:rPr lang="en-US" dirty="0"/>
              <a:t>Two ways to create VM disks</a:t>
            </a:r>
          </a:p>
          <a:p>
            <a:r>
              <a:rPr lang="en-US" dirty="0"/>
              <a:t>Unmanaged Disk</a:t>
            </a:r>
          </a:p>
          <a:p>
            <a:pPr lvl="1"/>
            <a:r>
              <a:rPr lang="en-US" dirty="0"/>
              <a:t> In an unmanaged disk, you manage the storage accounts</a:t>
            </a:r>
          </a:p>
          <a:p>
            <a:pPr lvl="1"/>
            <a:r>
              <a:rPr lang="en-US" dirty="0"/>
              <a:t>VHDs are stored in Page blob</a:t>
            </a:r>
          </a:p>
          <a:p>
            <a:pPr lvl="1"/>
            <a:r>
              <a:rPr lang="en-US" dirty="0"/>
              <a:t>99.99% SLA. </a:t>
            </a:r>
          </a:p>
          <a:p>
            <a:pPr lvl="1"/>
            <a:r>
              <a:rPr lang="en-US" dirty="0"/>
              <a:t>Can be converted to Managed.</a:t>
            </a:r>
          </a:p>
          <a:p>
            <a:r>
              <a:rPr lang="en-US" dirty="0"/>
              <a:t>Managed Disk</a:t>
            </a:r>
          </a:p>
          <a:p>
            <a:pPr lvl="1"/>
            <a:r>
              <a:rPr lang="en-US" dirty="0"/>
              <a:t>Azure manages the storage accounts that you use for your VM disks</a:t>
            </a:r>
          </a:p>
          <a:p>
            <a:pPr lvl="1"/>
            <a:r>
              <a:rPr lang="en-US" dirty="0"/>
              <a:t>Available in Standard &amp; premium tier.</a:t>
            </a:r>
          </a:p>
          <a:p>
            <a:pPr lvl="1"/>
            <a:r>
              <a:rPr lang="en-US" dirty="0"/>
              <a:t>Standard can be converted in to Premium and vice-versa</a:t>
            </a:r>
          </a:p>
          <a:p>
            <a:pPr lvl="1"/>
            <a:r>
              <a:rPr lang="en-US" dirty="0"/>
              <a:t>99.999% SLA</a:t>
            </a:r>
          </a:p>
          <a:p>
            <a:pPr lvl="1"/>
            <a:r>
              <a:rPr lang="en-US" dirty="0"/>
              <a:t>Recommended storage for VMs. </a:t>
            </a:r>
          </a:p>
          <a:p>
            <a:pPr lvl="1"/>
            <a:r>
              <a:rPr lang="en-US" dirty="0"/>
              <a:t>Allow you to create up to 10,000 VM </a:t>
            </a:r>
            <a:r>
              <a:rPr lang="en-US" b="1" dirty="0"/>
              <a:t>disks</a:t>
            </a:r>
            <a:r>
              <a:rPr lang="en-US" dirty="0"/>
              <a:t> in a subscription</a:t>
            </a:r>
          </a:p>
          <a:p>
            <a:pPr lvl="1"/>
            <a:r>
              <a:rPr lang="en-US" dirty="0"/>
              <a:t>Billing for managed disks depends on the provisioned size of the disk. </a:t>
            </a:r>
          </a:p>
          <a:p>
            <a:pPr lvl="1"/>
            <a:r>
              <a:rPr lang="en-US" dirty="0">
                <a:hlinkClick r:id="rId3"/>
              </a:rPr>
              <a:t>Managed disk Overview</a:t>
            </a:r>
            <a:endParaRPr lang="en-US" dirty="0"/>
          </a:p>
          <a:p>
            <a:endParaRPr lang="en-US" dirty="0"/>
          </a:p>
        </p:txBody>
      </p:sp>
    </p:spTree>
    <p:extLst>
      <p:ext uri="{BB962C8B-B14F-4D97-AF65-F5344CB8AC3E}">
        <p14:creationId xmlns:p14="http://schemas.microsoft.com/office/powerpoint/2010/main" val="191031710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of SAS token</a:t>
            </a:r>
          </a:p>
        </p:txBody>
      </p:sp>
      <p:sp>
        <p:nvSpPr>
          <p:cNvPr id="6" name="Text Placeholder 5"/>
          <p:cNvSpPr>
            <a:spLocks noGrp="1"/>
          </p:cNvSpPr>
          <p:nvPr>
            <p:ph type="body" sz="quarter" idx="11"/>
          </p:nvPr>
        </p:nvSpPr>
        <p:spPr/>
        <p:txBody>
          <a:bodyPr/>
          <a:lstStyle/>
          <a:p>
            <a:endParaRPr lang="en-US" dirty="0"/>
          </a:p>
        </p:txBody>
      </p:sp>
      <p:pic>
        <p:nvPicPr>
          <p:cNvPr id="5" name="Content Placeholder 4"/>
          <p:cNvPicPr>
            <a:picLocks noGrp="1" noChangeAspect="1"/>
          </p:cNvPicPr>
          <p:nvPr>
            <p:ph idx="4294967295"/>
          </p:nvPr>
        </p:nvPicPr>
        <p:blipFill>
          <a:blip r:embed="rId3"/>
          <a:stretch>
            <a:fillRect/>
          </a:stretch>
        </p:blipFill>
        <p:spPr>
          <a:xfrm>
            <a:off x="201060" y="3177541"/>
            <a:ext cx="8741880" cy="1137047"/>
          </a:xfrm>
        </p:spPr>
      </p:pic>
      <p:sp>
        <p:nvSpPr>
          <p:cNvPr id="3" name="Rectangle 2"/>
          <p:cNvSpPr/>
          <p:nvPr/>
        </p:nvSpPr>
        <p:spPr>
          <a:xfrm>
            <a:off x="237721" y="5065961"/>
            <a:ext cx="2823593" cy="600164"/>
          </a:xfrm>
          <a:prstGeom prst="rect">
            <a:avLst/>
          </a:prstGeom>
        </p:spPr>
        <p:txBody>
          <a:bodyPr wrap="none">
            <a:spAutoFit/>
          </a:bodyPr>
          <a:lstStyle/>
          <a:p>
            <a:pPr defTabSz="342900" fontAlgn="auto">
              <a:spcBef>
                <a:spcPts val="0"/>
              </a:spcBef>
              <a:spcAft>
                <a:spcPts val="0"/>
              </a:spcAft>
              <a:defRPr/>
            </a:pPr>
            <a:r>
              <a:rPr lang="en-US" sz="3300" b="0" dirty="0">
                <a:solidFill>
                  <a:prstClr val="black"/>
                </a:solidFill>
                <a:latin typeface="Calibri" panose="020F0502020204030204"/>
                <a:cs typeface="+mn-cs"/>
              </a:rPr>
              <a:t>3.1.3 Exam Tip!</a:t>
            </a:r>
          </a:p>
        </p:txBody>
      </p:sp>
    </p:spTree>
    <p:extLst>
      <p:ext uri="{BB962C8B-B14F-4D97-AF65-F5344CB8AC3E}">
        <p14:creationId xmlns:p14="http://schemas.microsoft.com/office/powerpoint/2010/main" val="1470689236"/>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1"/>
          </p:nvPr>
        </p:nvSpPr>
        <p:spPr>
          <a:xfrm>
            <a:off x="201060" y="1810653"/>
            <a:ext cx="8741880" cy="1146860"/>
          </a:xfrm>
        </p:spPr>
        <p:txBody>
          <a:bodyPr/>
          <a:lstStyle/>
          <a:p>
            <a:r>
              <a:rPr lang="en-US" dirty="0"/>
              <a:t>The storage account name should always in lowercase and unique within *.core.windows.net namespace.</a:t>
            </a:r>
          </a:p>
        </p:txBody>
      </p:sp>
      <p:sp>
        <p:nvSpPr>
          <p:cNvPr id="3" name="Rectangle 2"/>
          <p:cNvSpPr/>
          <p:nvPr/>
        </p:nvSpPr>
        <p:spPr>
          <a:xfrm>
            <a:off x="237721" y="5065961"/>
            <a:ext cx="2823593" cy="600164"/>
          </a:xfrm>
          <a:prstGeom prst="rect">
            <a:avLst/>
          </a:prstGeom>
        </p:spPr>
        <p:txBody>
          <a:bodyPr wrap="none">
            <a:spAutoFit/>
          </a:bodyPr>
          <a:lstStyle/>
          <a:p>
            <a:pPr defTabSz="342900" fontAlgn="auto">
              <a:spcBef>
                <a:spcPts val="0"/>
              </a:spcBef>
              <a:spcAft>
                <a:spcPts val="0"/>
              </a:spcAft>
              <a:defRPr/>
            </a:pPr>
            <a:r>
              <a:rPr lang="en-US" sz="3300" b="0" dirty="0">
                <a:solidFill>
                  <a:prstClr val="black"/>
                </a:solidFill>
                <a:latin typeface="Calibri" panose="020F0502020204030204"/>
                <a:cs typeface="+mn-cs"/>
              </a:rPr>
              <a:t>3.1.4 Exam Tip!</a:t>
            </a:r>
          </a:p>
        </p:txBody>
      </p:sp>
      <p:pic>
        <p:nvPicPr>
          <p:cNvPr id="4" name="Picture 3"/>
          <p:cNvPicPr>
            <a:picLocks noChangeAspect="1"/>
          </p:cNvPicPr>
          <p:nvPr/>
        </p:nvPicPr>
        <p:blipFill>
          <a:blip r:embed="rId3"/>
          <a:stretch>
            <a:fillRect/>
          </a:stretch>
        </p:blipFill>
        <p:spPr>
          <a:xfrm>
            <a:off x="461489" y="2957513"/>
            <a:ext cx="7443581" cy="2051277"/>
          </a:xfrm>
          <a:prstGeom prst="rect">
            <a:avLst/>
          </a:prstGeom>
        </p:spPr>
      </p:pic>
    </p:spTree>
    <p:extLst>
      <p:ext uri="{BB962C8B-B14F-4D97-AF65-F5344CB8AC3E}">
        <p14:creationId xmlns:p14="http://schemas.microsoft.com/office/powerpoint/2010/main" val="240284303"/>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1"/>
          </p:nvPr>
        </p:nvSpPr>
        <p:spPr>
          <a:xfrm>
            <a:off x="201060" y="1810653"/>
            <a:ext cx="8741880" cy="1146860"/>
          </a:xfrm>
        </p:spPr>
        <p:txBody>
          <a:bodyPr/>
          <a:lstStyle/>
          <a:p>
            <a:r>
              <a:rPr lang="en-US" dirty="0"/>
              <a:t>Choose appropriate blob type for uploading VHD. If VHD files are uploaded in block blob you can’t use those. </a:t>
            </a:r>
          </a:p>
        </p:txBody>
      </p:sp>
      <p:sp>
        <p:nvSpPr>
          <p:cNvPr id="3" name="Rectangle 2"/>
          <p:cNvSpPr/>
          <p:nvPr/>
        </p:nvSpPr>
        <p:spPr>
          <a:xfrm>
            <a:off x="237721" y="5065961"/>
            <a:ext cx="2823593" cy="600164"/>
          </a:xfrm>
          <a:prstGeom prst="rect">
            <a:avLst/>
          </a:prstGeom>
        </p:spPr>
        <p:txBody>
          <a:bodyPr wrap="none">
            <a:spAutoFit/>
          </a:bodyPr>
          <a:lstStyle/>
          <a:p>
            <a:pPr defTabSz="342900" fontAlgn="auto">
              <a:spcBef>
                <a:spcPts val="0"/>
              </a:spcBef>
              <a:spcAft>
                <a:spcPts val="0"/>
              </a:spcAft>
              <a:defRPr/>
            </a:pPr>
            <a:r>
              <a:rPr lang="en-US" sz="3300" b="0" dirty="0">
                <a:solidFill>
                  <a:prstClr val="black"/>
                </a:solidFill>
                <a:latin typeface="Calibri" panose="020F0502020204030204"/>
                <a:cs typeface="+mn-cs"/>
              </a:rPr>
              <a:t>3.1.5 Exam Tip!</a:t>
            </a:r>
          </a:p>
        </p:txBody>
      </p:sp>
      <p:pic>
        <p:nvPicPr>
          <p:cNvPr id="2" name="Picture 1"/>
          <p:cNvPicPr>
            <a:picLocks noChangeAspect="1"/>
          </p:cNvPicPr>
          <p:nvPr/>
        </p:nvPicPr>
        <p:blipFill>
          <a:blip r:embed="rId3"/>
          <a:stretch>
            <a:fillRect/>
          </a:stretch>
        </p:blipFill>
        <p:spPr>
          <a:xfrm>
            <a:off x="3453493" y="2799683"/>
            <a:ext cx="5180240" cy="3103096"/>
          </a:xfrm>
          <a:prstGeom prst="rect">
            <a:avLst/>
          </a:prstGeom>
        </p:spPr>
      </p:pic>
    </p:spTree>
    <p:extLst>
      <p:ext uri="{BB962C8B-B14F-4D97-AF65-F5344CB8AC3E}">
        <p14:creationId xmlns:p14="http://schemas.microsoft.com/office/powerpoint/2010/main" val="1338091584"/>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Blob Encryption/Security</a:t>
            </a:r>
          </a:p>
        </p:txBody>
      </p:sp>
      <p:sp>
        <p:nvSpPr>
          <p:cNvPr id="3" name="Content Placeholder 2"/>
          <p:cNvSpPr>
            <a:spLocks noGrp="1"/>
          </p:cNvSpPr>
          <p:nvPr>
            <p:ph idx="1"/>
          </p:nvPr>
        </p:nvSpPr>
        <p:spPr>
          <a:xfrm>
            <a:off x="151194" y="1781176"/>
            <a:ext cx="4035044" cy="3700115"/>
          </a:xfrm>
        </p:spPr>
        <p:txBody>
          <a:bodyPr/>
          <a:lstStyle/>
          <a:p>
            <a:pPr marL="428625" indent="-428625">
              <a:buFont typeface="Arial" panose="020B0604020202020204" pitchFamily="34" charset="0"/>
              <a:buChar char="•"/>
            </a:pPr>
            <a:r>
              <a:rPr lang="en-US" dirty="0"/>
              <a:t>Client-side</a:t>
            </a:r>
          </a:p>
          <a:p>
            <a:pPr marL="771525" lvl="1" indent="-428625">
              <a:buFont typeface="Arial" panose="020B0604020202020204" pitchFamily="34" charset="0"/>
              <a:buChar char="•"/>
            </a:pPr>
            <a:r>
              <a:rPr lang="en-US" dirty="0"/>
              <a:t>Storage Client Library for .NET</a:t>
            </a:r>
          </a:p>
          <a:p>
            <a:pPr marL="428625" indent="-428625">
              <a:buFont typeface="Arial" panose="020B0604020202020204" pitchFamily="34" charset="0"/>
              <a:buChar char="•"/>
            </a:pPr>
            <a:r>
              <a:rPr lang="en-US" dirty="0"/>
              <a:t>Server-side</a:t>
            </a:r>
          </a:p>
          <a:p>
            <a:pPr marL="771525" lvl="1" indent="-428625">
              <a:buFont typeface="Arial" panose="020B0604020202020204" pitchFamily="34" charset="0"/>
              <a:buChar char="•"/>
            </a:pPr>
            <a:r>
              <a:rPr lang="en-US" dirty="0"/>
              <a:t>“Data at Rest”</a:t>
            </a:r>
          </a:p>
          <a:p>
            <a:pPr marL="771525" lvl="1" indent="-428625">
              <a:buFont typeface="Arial" panose="020B0604020202020204" pitchFamily="34" charset="0"/>
              <a:buChar char="•"/>
            </a:pPr>
            <a:r>
              <a:rPr lang="en-US" dirty="0"/>
              <a:t>“Data in Transit”. Can be enforced. </a:t>
            </a:r>
          </a:p>
          <a:p>
            <a:pPr marL="428625" indent="-428625">
              <a:buFont typeface="Arial" panose="020B0604020202020204" pitchFamily="34" charset="0"/>
              <a:buChar char="•"/>
            </a:pPr>
            <a:r>
              <a:rPr lang="en-US" dirty="0">
                <a:solidFill>
                  <a:srgbClr val="00B050"/>
                </a:solidFill>
              </a:rPr>
              <a:t>Service Endpoints</a:t>
            </a:r>
          </a:p>
          <a:p>
            <a:pPr marL="428625" indent="-428625">
              <a:buFont typeface="Arial" panose="020B0604020202020204" pitchFamily="34" charset="0"/>
              <a:buChar char="•"/>
            </a:pPr>
            <a:r>
              <a:rPr lang="en-US" dirty="0">
                <a:solidFill>
                  <a:srgbClr val="00B050"/>
                </a:solidFill>
              </a:rPr>
              <a:t>Storage Firewall</a:t>
            </a:r>
          </a:p>
        </p:txBody>
      </p:sp>
      <p:pic>
        <p:nvPicPr>
          <p:cNvPr id="1028" name="Picture 4" descr="C:\Users\kumarni\AppData\Local\Temp\SNAGHTML70798f3e.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6682" y="1122411"/>
            <a:ext cx="8617744" cy="4673551"/>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C:\Users\kumarni\AppData\Local\Temp\SNAGHTML707bc9ae.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6682" y="1122411"/>
            <a:ext cx="8617744" cy="467355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5834852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1028"/>
                                        </p:tgtEl>
                                        <p:attrNameLst>
                                          <p:attrName>style.visibility</p:attrName>
                                        </p:attrNameLst>
                                      </p:cBhvr>
                                      <p:to>
                                        <p:strVal val="visible"/>
                                      </p:to>
                                    </p:set>
                                    <p:anim calcmode="lin" valueType="num">
                                      <p:cBhvr additive="base">
                                        <p:cTn id="7" dur="500" fill="hold"/>
                                        <p:tgtEl>
                                          <p:spTgt spid="1028"/>
                                        </p:tgtEl>
                                        <p:attrNameLst>
                                          <p:attrName>ppt_x</p:attrName>
                                        </p:attrNameLst>
                                      </p:cBhvr>
                                      <p:tavLst>
                                        <p:tav tm="0">
                                          <p:val>
                                            <p:strVal val="#ppt_x"/>
                                          </p:val>
                                        </p:tav>
                                        <p:tav tm="100000">
                                          <p:val>
                                            <p:strVal val="#ppt_x"/>
                                          </p:val>
                                        </p:tav>
                                      </p:tavLst>
                                    </p:anim>
                                    <p:anim calcmode="lin" valueType="num">
                                      <p:cBhvr additive="base">
                                        <p:cTn id="8" dur="500" fill="hold"/>
                                        <p:tgtEl>
                                          <p:spTgt spid="1028"/>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1030"/>
                                        </p:tgtEl>
                                        <p:attrNameLst>
                                          <p:attrName>style.visibility</p:attrName>
                                        </p:attrNameLst>
                                      </p:cBhvr>
                                      <p:to>
                                        <p:strVal val="visible"/>
                                      </p:to>
                                    </p:set>
                                    <p:anim calcmode="lin" valueType="num">
                                      <p:cBhvr additive="base">
                                        <p:cTn id="13" dur="500" fill="hold"/>
                                        <p:tgtEl>
                                          <p:spTgt spid="1030"/>
                                        </p:tgtEl>
                                        <p:attrNameLst>
                                          <p:attrName>ppt_x</p:attrName>
                                        </p:attrNameLst>
                                      </p:cBhvr>
                                      <p:tavLst>
                                        <p:tav tm="0">
                                          <p:val>
                                            <p:strVal val="#ppt_x"/>
                                          </p:val>
                                        </p:tav>
                                        <p:tav tm="100000">
                                          <p:val>
                                            <p:strVal val="#ppt_x"/>
                                          </p:val>
                                        </p:tav>
                                      </p:tavLst>
                                    </p:anim>
                                    <p:anim calcmode="lin" valueType="num">
                                      <p:cBhvr additive="base">
                                        <p:cTn id="14" dur="500" fill="hold"/>
                                        <p:tgtEl>
                                          <p:spTgt spid="103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Table &amp; Blob: </a:t>
            </a:r>
            <a:br>
              <a:rPr lang="en-US" dirty="0"/>
            </a:br>
            <a:r>
              <a:rPr lang="en-US" dirty="0"/>
              <a:t>Performance, Storage Limits, etc.</a:t>
            </a:r>
          </a:p>
        </p:txBody>
      </p:sp>
      <p:sp>
        <p:nvSpPr>
          <p:cNvPr id="3" name="Content Placeholder 2"/>
          <p:cNvSpPr>
            <a:spLocks noGrp="1"/>
          </p:cNvSpPr>
          <p:nvPr>
            <p:ph type="body" idx="1"/>
          </p:nvPr>
        </p:nvSpPr>
        <p:spPr/>
        <p:txBody>
          <a:bodyPr>
            <a:normAutofit/>
          </a:bodyPr>
          <a:lstStyle/>
          <a:p>
            <a:r>
              <a:rPr lang="en-US" dirty="0">
                <a:hlinkClick r:id="rId3"/>
              </a:rPr>
              <a:t>https://docs.microsoft.com/en-us/azure/storage/storage-scalability-targets</a:t>
            </a:r>
            <a:r>
              <a:rPr lang="en-US" dirty="0"/>
              <a:t> </a:t>
            </a:r>
          </a:p>
        </p:txBody>
      </p:sp>
    </p:spTree>
    <p:extLst>
      <p:ext uri="{BB962C8B-B14F-4D97-AF65-F5344CB8AC3E}">
        <p14:creationId xmlns:p14="http://schemas.microsoft.com/office/powerpoint/2010/main" val="277103119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graphicFrame>
        <p:nvGraphicFramePr>
          <p:cNvPr id="4" name="Content Placeholder 3"/>
          <p:cNvGraphicFramePr>
            <a:graphicFrameLocks noGrp="1"/>
          </p:cNvGraphicFramePr>
          <p:nvPr>
            <p:ph idx="1"/>
            <p:extLst/>
          </p:nvPr>
        </p:nvGraphicFramePr>
        <p:xfrm>
          <a:off x="487813" y="973708"/>
          <a:ext cx="8079581" cy="5012201"/>
        </p:xfrm>
        <a:graphic>
          <a:graphicData uri="http://schemas.openxmlformats.org/drawingml/2006/table">
            <a:tbl>
              <a:tblPr>
                <a:tableStyleId>{5C22544A-7EE6-4342-B048-85BDC9FD1C3A}</a:tableStyleId>
              </a:tblPr>
              <a:tblGrid>
                <a:gridCol w="4039790">
                  <a:extLst>
                    <a:ext uri="{9D8B030D-6E8A-4147-A177-3AD203B41FA5}">
                      <a16:colId xmlns:a16="http://schemas.microsoft.com/office/drawing/2014/main" val="670167828"/>
                    </a:ext>
                  </a:extLst>
                </a:gridCol>
                <a:gridCol w="4039790">
                  <a:extLst>
                    <a:ext uri="{9D8B030D-6E8A-4147-A177-3AD203B41FA5}">
                      <a16:colId xmlns:a16="http://schemas.microsoft.com/office/drawing/2014/main" val="49645504"/>
                    </a:ext>
                  </a:extLst>
                </a:gridCol>
              </a:tblGrid>
              <a:tr h="378818">
                <a:tc>
                  <a:txBody>
                    <a:bodyPr/>
                    <a:lstStyle/>
                    <a:p>
                      <a:pPr algn="ctr" fontAlgn="ctr"/>
                      <a:r>
                        <a:rPr lang="en-US" sz="1500" b="1" u="none" strike="noStrike" dirty="0">
                          <a:effectLst/>
                        </a:rPr>
                        <a:t>Resource</a:t>
                      </a:r>
                      <a:endParaRPr lang="en-US" sz="1500" b="1" i="0" u="none" strike="noStrike" dirty="0">
                        <a:solidFill>
                          <a:srgbClr val="222222"/>
                        </a:solidFill>
                        <a:effectLst/>
                        <a:latin typeface="Segoe UI" panose="020B0502040204020203" pitchFamily="34" charset="0"/>
                      </a:endParaRPr>
                    </a:p>
                  </a:txBody>
                  <a:tcPr marL="3572" marR="3572" marT="3572" marB="0" anchor="ctr"/>
                </a:tc>
                <a:tc>
                  <a:txBody>
                    <a:bodyPr/>
                    <a:lstStyle/>
                    <a:p>
                      <a:pPr algn="l" fontAlgn="ctr"/>
                      <a:r>
                        <a:rPr lang="en-US" sz="1500" b="1" u="none" strike="noStrike" dirty="0">
                          <a:effectLst/>
                        </a:rPr>
                        <a:t>Default Limit</a:t>
                      </a:r>
                      <a:endParaRPr lang="en-US" sz="1500" b="1" i="0" u="none" strike="noStrike" dirty="0">
                        <a:solidFill>
                          <a:srgbClr val="222222"/>
                        </a:solidFill>
                        <a:effectLst/>
                        <a:latin typeface="Segoe UI" panose="020B0502040204020203" pitchFamily="34" charset="0"/>
                      </a:endParaRPr>
                    </a:p>
                  </a:txBody>
                  <a:tcPr marL="3572" marR="3572" marT="3572" marB="0" anchor="ctr"/>
                </a:tc>
                <a:extLst>
                  <a:ext uri="{0D108BD9-81ED-4DB2-BD59-A6C34878D82A}">
                    <a16:rowId xmlns:a16="http://schemas.microsoft.com/office/drawing/2014/main" val="1091426822"/>
                  </a:ext>
                </a:extLst>
              </a:tr>
              <a:tr h="378818">
                <a:tc>
                  <a:txBody>
                    <a:bodyPr/>
                    <a:lstStyle/>
                    <a:p>
                      <a:pPr algn="l" fontAlgn="ctr"/>
                      <a:r>
                        <a:rPr lang="en-US" sz="1500" u="none" strike="noStrike">
                          <a:effectLst/>
                        </a:rPr>
                        <a:t>Number of storage accounts per subscription</a:t>
                      </a:r>
                      <a:endParaRPr lang="en-US" sz="1500" b="0" i="0" u="none" strike="noStrike">
                        <a:solidFill>
                          <a:srgbClr val="222222"/>
                        </a:solidFill>
                        <a:effectLst/>
                        <a:latin typeface="Segoe UI" panose="020B0502040204020203" pitchFamily="34" charset="0"/>
                      </a:endParaRPr>
                    </a:p>
                  </a:txBody>
                  <a:tcPr marL="3572" marR="3572" marT="3572" marB="0" anchor="ctr"/>
                </a:tc>
                <a:tc>
                  <a:txBody>
                    <a:bodyPr/>
                    <a:lstStyle/>
                    <a:p>
                      <a:pPr algn="l" fontAlgn="ctr"/>
                      <a:r>
                        <a:rPr lang="en-US" sz="1500" u="none" strike="noStrike" dirty="0">
                          <a:effectLst/>
                          <a:highlight>
                            <a:srgbClr val="FFFF00"/>
                          </a:highlight>
                        </a:rPr>
                        <a:t>200</a:t>
                      </a:r>
                      <a:endParaRPr lang="en-US" sz="1500" b="0" i="0" u="none" strike="noStrike" dirty="0">
                        <a:solidFill>
                          <a:srgbClr val="222222"/>
                        </a:solidFill>
                        <a:effectLst/>
                        <a:highlight>
                          <a:srgbClr val="FFFF00"/>
                        </a:highlight>
                        <a:latin typeface="Segoe UI" panose="020B0502040204020203" pitchFamily="34" charset="0"/>
                      </a:endParaRPr>
                    </a:p>
                  </a:txBody>
                  <a:tcPr marL="3572" marR="3572" marT="3572" marB="0" anchor="ctr"/>
                </a:tc>
                <a:extLst>
                  <a:ext uri="{0D108BD9-81ED-4DB2-BD59-A6C34878D82A}">
                    <a16:rowId xmlns:a16="http://schemas.microsoft.com/office/drawing/2014/main" val="2768654415"/>
                  </a:ext>
                </a:extLst>
              </a:tr>
              <a:tr h="378818">
                <a:tc>
                  <a:txBody>
                    <a:bodyPr/>
                    <a:lstStyle/>
                    <a:p>
                      <a:pPr algn="l" fontAlgn="ctr"/>
                      <a:r>
                        <a:rPr lang="en-US" sz="1500" u="none" strike="noStrike">
                          <a:effectLst/>
                        </a:rPr>
                        <a:t>TB per storage account</a:t>
                      </a:r>
                      <a:endParaRPr lang="en-US" sz="1500" b="0" i="0" u="none" strike="noStrike">
                        <a:solidFill>
                          <a:srgbClr val="222222"/>
                        </a:solidFill>
                        <a:effectLst/>
                        <a:latin typeface="Segoe UI" panose="020B0502040204020203" pitchFamily="34" charset="0"/>
                      </a:endParaRPr>
                    </a:p>
                  </a:txBody>
                  <a:tcPr marL="3572" marR="3572" marT="3572" marB="0" anchor="ctr"/>
                </a:tc>
                <a:tc>
                  <a:txBody>
                    <a:bodyPr/>
                    <a:lstStyle/>
                    <a:p>
                      <a:pPr algn="l" fontAlgn="ctr"/>
                      <a:r>
                        <a:rPr lang="en-US" sz="1500" u="none" strike="noStrike" dirty="0">
                          <a:effectLst/>
                          <a:highlight>
                            <a:srgbClr val="FFFF00"/>
                          </a:highlight>
                        </a:rPr>
                        <a:t>500 TB</a:t>
                      </a:r>
                      <a:endParaRPr lang="en-US" sz="1500" b="0" i="0" u="none" strike="noStrike" dirty="0">
                        <a:solidFill>
                          <a:srgbClr val="222222"/>
                        </a:solidFill>
                        <a:effectLst/>
                        <a:highlight>
                          <a:srgbClr val="FFFF00"/>
                        </a:highlight>
                        <a:latin typeface="Segoe UI" panose="020B0502040204020203" pitchFamily="34" charset="0"/>
                      </a:endParaRPr>
                    </a:p>
                  </a:txBody>
                  <a:tcPr marL="3572" marR="3572" marT="3572" marB="0" anchor="ctr"/>
                </a:tc>
                <a:extLst>
                  <a:ext uri="{0D108BD9-81ED-4DB2-BD59-A6C34878D82A}">
                    <a16:rowId xmlns:a16="http://schemas.microsoft.com/office/drawing/2014/main" val="1391802594"/>
                  </a:ext>
                </a:extLst>
              </a:tr>
              <a:tr h="757635">
                <a:tc>
                  <a:txBody>
                    <a:bodyPr/>
                    <a:lstStyle/>
                    <a:p>
                      <a:pPr algn="l" fontAlgn="ctr"/>
                      <a:r>
                        <a:rPr lang="en-US" sz="1500" u="none" strike="noStrike">
                          <a:effectLst/>
                        </a:rPr>
                        <a:t>Max number of blob containers, blobs, file shares, tables, queues, entities, or messages per storage account</a:t>
                      </a:r>
                      <a:endParaRPr lang="en-US" sz="1500" b="0" i="0" u="none" strike="noStrike">
                        <a:solidFill>
                          <a:srgbClr val="222222"/>
                        </a:solidFill>
                        <a:effectLst/>
                        <a:latin typeface="Segoe UI" panose="020B0502040204020203" pitchFamily="34" charset="0"/>
                      </a:endParaRPr>
                    </a:p>
                  </a:txBody>
                  <a:tcPr marL="3572" marR="3572" marT="3572" marB="0" anchor="ctr"/>
                </a:tc>
                <a:tc>
                  <a:txBody>
                    <a:bodyPr/>
                    <a:lstStyle/>
                    <a:p>
                      <a:pPr algn="l" fontAlgn="ctr"/>
                      <a:r>
                        <a:rPr lang="en-US" sz="1500" u="none" strike="noStrike" dirty="0">
                          <a:effectLst/>
                          <a:highlight>
                            <a:srgbClr val="FFFF00"/>
                          </a:highlight>
                        </a:rPr>
                        <a:t>Only limit is the 500 TB storage account capacity</a:t>
                      </a:r>
                      <a:endParaRPr lang="en-US" sz="1500" b="0" i="0" u="none" strike="noStrike" dirty="0">
                        <a:solidFill>
                          <a:srgbClr val="222222"/>
                        </a:solidFill>
                        <a:effectLst/>
                        <a:highlight>
                          <a:srgbClr val="FFFF00"/>
                        </a:highlight>
                        <a:latin typeface="Segoe UI" panose="020B0502040204020203" pitchFamily="34" charset="0"/>
                      </a:endParaRPr>
                    </a:p>
                  </a:txBody>
                  <a:tcPr marL="3572" marR="3572" marT="3572" marB="0" anchor="ctr"/>
                </a:tc>
                <a:extLst>
                  <a:ext uri="{0D108BD9-81ED-4DB2-BD59-A6C34878D82A}">
                    <a16:rowId xmlns:a16="http://schemas.microsoft.com/office/drawing/2014/main" val="27721235"/>
                  </a:ext>
                </a:extLst>
              </a:tr>
              <a:tr h="378818">
                <a:tc>
                  <a:txBody>
                    <a:bodyPr/>
                    <a:lstStyle/>
                    <a:p>
                      <a:pPr algn="l" fontAlgn="ctr"/>
                      <a:r>
                        <a:rPr lang="en-US" sz="1500" u="none" strike="noStrike">
                          <a:effectLst/>
                        </a:rPr>
                        <a:t>Max size of a single blob container, table, or queue</a:t>
                      </a:r>
                      <a:endParaRPr lang="en-US" sz="1500" b="0" i="0" u="none" strike="noStrike">
                        <a:solidFill>
                          <a:srgbClr val="222222"/>
                        </a:solidFill>
                        <a:effectLst/>
                        <a:latin typeface="Segoe UI" panose="020B0502040204020203" pitchFamily="34" charset="0"/>
                      </a:endParaRPr>
                    </a:p>
                  </a:txBody>
                  <a:tcPr marL="3572" marR="3572" marT="3572" marB="0" anchor="ctr"/>
                </a:tc>
                <a:tc>
                  <a:txBody>
                    <a:bodyPr/>
                    <a:lstStyle/>
                    <a:p>
                      <a:pPr algn="l" fontAlgn="ctr"/>
                      <a:r>
                        <a:rPr lang="en-US" sz="1500" u="none" strike="noStrike" dirty="0">
                          <a:effectLst/>
                          <a:highlight>
                            <a:srgbClr val="FFFF00"/>
                          </a:highlight>
                        </a:rPr>
                        <a:t>500 TB</a:t>
                      </a:r>
                      <a:endParaRPr lang="en-US" sz="1500" b="0" i="0" u="none" strike="noStrike" dirty="0">
                        <a:solidFill>
                          <a:srgbClr val="222222"/>
                        </a:solidFill>
                        <a:effectLst/>
                        <a:highlight>
                          <a:srgbClr val="FFFF00"/>
                        </a:highlight>
                        <a:latin typeface="Segoe UI" panose="020B0502040204020203" pitchFamily="34" charset="0"/>
                      </a:endParaRPr>
                    </a:p>
                  </a:txBody>
                  <a:tcPr marL="3572" marR="3572" marT="3572" marB="0" anchor="ctr"/>
                </a:tc>
                <a:extLst>
                  <a:ext uri="{0D108BD9-81ED-4DB2-BD59-A6C34878D82A}">
                    <a16:rowId xmlns:a16="http://schemas.microsoft.com/office/drawing/2014/main" val="296565753"/>
                  </a:ext>
                </a:extLst>
              </a:tr>
              <a:tr h="466391">
                <a:tc>
                  <a:txBody>
                    <a:bodyPr/>
                    <a:lstStyle/>
                    <a:p>
                      <a:pPr algn="l" fontAlgn="ctr"/>
                      <a:r>
                        <a:rPr lang="en-US" sz="1500" u="none" strike="noStrike" dirty="0">
                          <a:effectLst/>
                        </a:rPr>
                        <a:t>Max number of blocks in a block blob or append blob</a:t>
                      </a:r>
                      <a:endParaRPr lang="en-US" sz="1500" b="0" i="0" u="none" strike="noStrike" dirty="0">
                        <a:solidFill>
                          <a:srgbClr val="222222"/>
                        </a:solidFill>
                        <a:effectLst/>
                        <a:latin typeface="Segoe UI" panose="020B0502040204020203" pitchFamily="34" charset="0"/>
                      </a:endParaRPr>
                    </a:p>
                  </a:txBody>
                  <a:tcPr marL="3572" marR="3572" marT="3572" marB="0" anchor="ctr"/>
                </a:tc>
                <a:tc>
                  <a:txBody>
                    <a:bodyPr/>
                    <a:lstStyle/>
                    <a:p>
                      <a:pPr algn="l" fontAlgn="ctr"/>
                      <a:r>
                        <a:rPr lang="en-US" sz="1500" u="none" strike="noStrike">
                          <a:effectLst/>
                        </a:rPr>
                        <a:t>50,000</a:t>
                      </a:r>
                      <a:endParaRPr lang="en-US" sz="1500" b="0" i="0" u="none" strike="noStrike">
                        <a:solidFill>
                          <a:srgbClr val="222222"/>
                        </a:solidFill>
                        <a:effectLst/>
                        <a:latin typeface="Segoe UI" panose="020B0502040204020203" pitchFamily="34" charset="0"/>
                      </a:endParaRPr>
                    </a:p>
                  </a:txBody>
                  <a:tcPr marL="3572" marR="3572" marT="3572" marB="0" anchor="ctr"/>
                </a:tc>
                <a:extLst>
                  <a:ext uri="{0D108BD9-81ED-4DB2-BD59-A6C34878D82A}">
                    <a16:rowId xmlns:a16="http://schemas.microsoft.com/office/drawing/2014/main" val="1981838412"/>
                  </a:ext>
                </a:extLst>
              </a:tr>
              <a:tr h="378818">
                <a:tc>
                  <a:txBody>
                    <a:bodyPr/>
                    <a:lstStyle/>
                    <a:p>
                      <a:pPr algn="l" fontAlgn="ctr"/>
                      <a:r>
                        <a:rPr lang="en-US" sz="1500" u="none" strike="noStrike" dirty="0">
                          <a:effectLst/>
                        </a:rPr>
                        <a:t>Max size of a block in a block blob</a:t>
                      </a:r>
                      <a:endParaRPr lang="en-US" sz="1500" b="0" i="0" u="none" strike="noStrike" dirty="0">
                        <a:solidFill>
                          <a:srgbClr val="222222"/>
                        </a:solidFill>
                        <a:effectLst/>
                        <a:latin typeface="Segoe UI" panose="020B0502040204020203" pitchFamily="34" charset="0"/>
                      </a:endParaRPr>
                    </a:p>
                  </a:txBody>
                  <a:tcPr marL="3572" marR="3572" marT="3572" marB="0" anchor="ctr"/>
                </a:tc>
                <a:tc>
                  <a:txBody>
                    <a:bodyPr/>
                    <a:lstStyle/>
                    <a:p>
                      <a:pPr algn="l" fontAlgn="ctr"/>
                      <a:r>
                        <a:rPr lang="en-US" sz="1500" u="none" strike="noStrike">
                          <a:effectLst/>
                        </a:rPr>
                        <a:t>100 MB</a:t>
                      </a:r>
                      <a:endParaRPr lang="en-US" sz="1500" b="0" i="0" u="none" strike="noStrike">
                        <a:solidFill>
                          <a:srgbClr val="222222"/>
                        </a:solidFill>
                        <a:effectLst/>
                        <a:latin typeface="Segoe UI" panose="020B0502040204020203" pitchFamily="34" charset="0"/>
                      </a:endParaRPr>
                    </a:p>
                  </a:txBody>
                  <a:tcPr marL="3572" marR="3572" marT="3572" marB="0" anchor="ctr"/>
                </a:tc>
                <a:extLst>
                  <a:ext uri="{0D108BD9-81ED-4DB2-BD59-A6C34878D82A}">
                    <a16:rowId xmlns:a16="http://schemas.microsoft.com/office/drawing/2014/main" val="1055423024"/>
                  </a:ext>
                </a:extLst>
              </a:tr>
              <a:tr h="378818">
                <a:tc>
                  <a:txBody>
                    <a:bodyPr/>
                    <a:lstStyle/>
                    <a:p>
                      <a:pPr algn="l" fontAlgn="ctr"/>
                      <a:r>
                        <a:rPr lang="en-US" sz="1500" u="none" strike="noStrike">
                          <a:effectLst/>
                        </a:rPr>
                        <a:t>Max size of a block blob</a:t>
                      </a:r>
                      <a:endParaRPr lang="en-US" sz="1500" b="0" i="0" u="none" strike="noStrike">
                        <a:solidFill>
                          <a:srgbClr val="222222"/>
                        </a:solidFill>
                        <a:effectLst/>
                        <a:latin typeface="Segoe UI" panose="020B0502040204020203" pitchFamily="34" charset="0"/>
                      </a:endParaRPr>
                    </a:p>
                  </a:txBody>
                  <a:tcPr marL="3572" marR="3572" marT="3572" marB="0" anchor="ctr"/>
                </a:tc>
                <a:tc>
                  <a:txBody>
                    <a:bodyPr/>
                    <a:lstStyle/>
                    <a:p>
                      <a:pPr algn="l" fontAlgn="ctr"/>
                      <a:r>
                        <a:rPr lang="en-US" sz="1500" u="none" strike="noStrike">
                          <a:effectLst/>
                        </a:rPr>
                        <a:t>50,000 X 100 MB (approx. 4.75 TB)</a:t>
                      </a:r>
                      <a:endParaRPr lang="en-US" sz="1500" b="0" i="0" u="none" strike="noStrike">
                        <a:solidFill>
                          <a:srgbClr val="222222"/>
                        </a:solidFill>
                        <a:effectLst/>
                        <a:latin typeface="Segoe UI" panose="020B0502040204020203" pitchFamily="34" charset="0"/>
                      </a:endParaRPr>
                    </a:p>
                  </a:txBody>
                  <a:tcPr marL="3572" marR="3572" marT="3572" marB="0" anchor="ctr"/>
                </a:tc>
                <a:extLst>
                  <a:ext uri="{0D108BD9-81ED-4DB2-BD59-A6C34878D82A}">
                    <a16:rowId xmlns:a16="http://schemas.microsoft.com/office/drawing/2014/main" val="4217042910"/>
                  </a:ext>
                </a:extLst>
              </a:tr>
              <a:tr h="378818">
                <a:tc>
                  <a:txBody>
                    <a:bodyPr/>
                    <a:lstStyle/>
                    <a:p>
                      <a:pPr algn="l" fontAlgn="ctr"/>
                      <a:r>
                        <a:rPr lang="en-US" sz="1500" u="none" strike="noStrike" dirty="0">
                          <a:effectLst/>
                        </a:rPr>
                        <a:t>Max size of a block in an append blob</a:t>
                      </a:r>
                      <a:endParaRPr lang="en-US" sz="1500" b="0" i="0" u="none" strike="noStrike" dirty="0">
                        <a:solidFill>
                          <a:srgbClr val="222222"/>
                        </a:solidFill>
                        <a:effectLst/>
                        <a:latin typeface="Segoe UI" panose="020B0502040204020203" pitchFamily="34" charset="0"/>
                      </a:endParaRPr>
                    </a:p>
                  </a:txBody>
                  <a:tcPr marL="3572" marR="3572" marT="3572" marB="0" anchor="ctr"/>
                </a:tc>
                <a:tc>
                  <a:txBody>
                    <a:bodyPr/>
                    <a:lstStyle/>
                    <a:p>
                      <a:pPr algn="l" fontAlgn="ctr"/>
                      <a:r>
                        <a:rPr lang="en-US" sz="1500" u="none" strike="noStrike">
                          <a:effectLst/>
                        </a:rPr>
                        <a:t>4 MB</a:t>
                      </a:r>
                      <a:endParaRPr lang="en-US" sz="1500" b="0" i="0" u="none" strike="noStrike">
                        <a:solidFill>
                          <a:srgbClr val="222222"/>
                        </a:solidFill>
                        <a:effectLst/>
                        <a:latin typeface="Segoe UI" panose="020B0502040204020203" pitchFamily="34" charset="0"/>
                      </a:endParaRPr>
                    </a:p>
                  </a:txBody>
                  <a:tcPr marL="3572" marR="3572" marT="3572" marB="0" anchor="ctr"/>
                </a:tc>
                <a:extLst>
                  <a:ext uri="{0D108BD9-81ED-4DB2-BD59-A6C34878D82A}">
                    <a16:rowId xmlns:a16="http://schemas.microsoft.com/office/drawing/2014/main" val="3497602163"/>
                  </a:ext>
                </a:extLst>
              </a:tr>
              <a:tr h="378818">
                <a:tc>
                  <a:txBody>
                    <a:bodyPr/>
                    <a:lstStyle/>
                    <a:p>
                      <a:pPr algn="l" fontAlgn="ctr"/>
                      <a:r>
                        <a:rPr lang="en-US" sz="1500" u="none" strike="noStrike">
                          <a:effectLst/>
                        </a:rPr>
                        <a:t>Max size of an append blob</a:t>
                      </a:r>
                      <a:endParaRPr lang="en-US" sz="1500" b="0" i="0" u="none" strike="noStrike">
                        <a:solidFill>
                          <a:srgbClr val="222222"/>
                        </a:solidFill>
                        <a:effectLst/>
                        <a:latin typeface="Segoe UI" panose="020B0502040204020203" pitchFamily="34" charset="0"/>
                      </a:endParaRPr>
                    </a:p>
                  </a:txBody>
                  <a:tcPr marL="3572" marR="3572" marT="3572" marB="0" anchor="ctr"/>
                </a:tc>
                <a:tc>
                  <a:txBody>
                    <a:bodyPr/>
                    <a:lstStyle/>
                    <a:p>
                      <a:pPr algn="l" fontAlgn="ctr"/>
                      <a:r>
                        <a:rPr lang="en-US" sz="1500" u="none" strike="noStrike">
                          <a:effectLst/>
                        </a:rPr>
                        <a:t>50,000 X 4 MB (approx. 195 GB)</a:t>
                      </a:r>
                      <a:endParaRPr lang="en-US" sz="1500" b="0" i="0" u="none" strike="noStrike">
                        <a:solidFill>
                          <a:srgbClr val="222222"/>
                        </a:solidFill>
                        <a:effectLst/>
                        <a:latin typeface="Segoe UI" panose="020B0502040204020203" pitchFamily="34" charset="0"/>
                      </a:endParaRPr>
                    </a:p>
                  </a:txBody>
                  <a:tcPr marL="3572" marR="3572" marT="3572" marB="0" anchor="ctr"/>
                </a:tc>
                <a:extLst>
                  <a:ext uri="{0D108BD9-81ED-4DB2-BD59-A6C34878D82A}">
                    <a16:rowId xmlns:a16="http://schemas.microsoft.com/office/drawing/2014/main" val="2289536598"/>
                  </a:ext>
                </a:extLst>
              </a:tr>
              <a:tr h="378818">
                <a:tc>
                  <a:txBody>
                    <a:bodyPr/>
                    <a:lstStyle/>
                    <a:p>
                      <a:pPr algn="l" fontAlgn="ctr"/>
                      <a:r>
                        <a:rPr lang="en-US" sz="1500" u="none" strike="noStrike">
                          <a:effectLst/>
                        </a:rPr>
                        <a:t>Max size of a page blob</a:t>
                      </a:r>
                      <a:endParaRPr lang="en-US" sz="1500" b="0" i="0" u="none" strike="noStrike">
                        <a:solidFill>
                          <a:srgbClr val="222222"/>
                        </a:solidFill>
                        <a:effectLst/>
                        <a:latin typeface="Segoe UI" panose="020B0502040204020203" pitchFamily="34" charset="0"/>
                      </a:endParaRPr>
                    </a:p>
                  </a:txBody>
                  <a:tcPr marL="3572" marR="3572" marT="3572" marB="0" anchor="ctr"/>
                </a:tc>
                <a:tc>
                  <a:txBody>
                    <a:bodyPr/>
                    <a:lstStyle/>
                    <a:p>
                      <a:pPr algn="l" fontAlgn="ctr"/>
                      <a:r>
                        <a:rPr lang="en-US" sz="1500" u="none" strike="noStrike" dirty="0">
                          <a:effectLst/>
                        </a:rPr>
                        <a:t>4 TB</a:t>
                      </a:r>
                      <a:endParaRPr lang="en-US" sz="1500" b="0" i="0" u="none" strike="noStrike" dirty="0">
                        <a:solidFill>
                          <a:srgbClr val="222222"/>
                        </a:solidFill>
                        <a:effectLst/>
                        <a:latin typeface="Segoe UI" panose="020B0502040204020203" pitchFamily="34" charset="0"/>
                      </a:endParaRPr>
                    </a:p>
                  </a:txBody>
                  <a:tcPr marL="3572" marR="3572" marT="3572" marB="0" anchor="ctr"/>
                </a:tc>
                <a:extLst>
                  <a:ext uri="{0D108BD9-81ED-4DB2-BD59-A6C34878D82A}">
                    <a16:rowId xmlns:a16="http://schemas.microsoft.com/office/drawing/2014/main" val="386172468"/>
                  </a:ext>
                </a:extLst>
              </a:tr>
              <a:tr h="378818">
                <a:tc>
                  <a:txBody>
                    <a:bodyPr/>
                    <a:lstStyle/>
                    <a:p>
                      <a:pPr algn="l" fontAlgn="ctr"/>
                      <a:r>
                        <a:rPr lang="en-US" sz="1500" u="none" strike="noStrike">
                          <a:effectLst/>
                        </a:rPr>
                        <a:t>Max size of a table entity</a:t>
                      </a:r>
                      <a:endParaRPr lang="en-US" sz="1500" b="0" i="0" u="none" strike="noStrike">
                        <a:solidFill>
                          <a:srgbClr val="222222"/>
                        </a:solidFill>
                        <a:effectLst/>
                        <a:latin typeface="Segoe UI" panose="020B0502040204020203" pitchFamily="34" charset="0"/>
                      </a:endParaRPr>
                    </a:p>
                  </a:txBody>
                  <a:tcPr marL="3572" marR="3572" marT="3572" marB="0" anchor="ctr"/>
                </a:tc>
                <a:tc>
                  <a:txBody>
                    <a:bodyPr/>
                    <a:lstStyle/>
                    <a:p>
                      <a:pPr algn="l" fontAlgn="ctr"/>
                      <a:r>
                        <a:rPr lang="en-US" sz="1500" u="none" strike="noStrike" dirty="0">
                          <a:effectLst/>
                        </a:rPr>
                        <a:t>1 MB</a:t>
                      </a:r>
                      <a:endParaRPr lang="en-US" sz="1500" b="0" i="0" u="none" strike="noStrike" dirty="0">
                        <a:solidFill>
                          <a:srgbClr val="222222"/>
                        </a:solidFill>
                        <a:effectLst/>
                        <a:latin typeface="Segoe UI" panose="020B0502040204020203" pitchFamily="34" charset="0"/>
                      </a:endParaRPr>
                    </a:p>
                  </a:txBody>
                  <a:tcPr marL="3572" marR="3572" marT="3572" marB="0" anchor="ctr"/>
                </a:tc>
                <a:extLst>
                  <a:ext uri="{0D108BD9-81ED-4DB2-BD59-A6C34878D82A}">
                    <a16:rowId xmlns:a16="http://schemas.microsoft.com/office/drawing/2014/main" val="850987889"/>
                  </a:ext>
                </a:extLst>
              </a:tr>
            </a:tbl>
          </a:graphicData>
        </a:graphic>
      </p:graphicFrame>
    </p:spTree>
    <p:extLst>
      <p:ext uri="{BB962C8B-B14F-4D97-AF65-F5344CB8AC3E}">
        <p14:creationId xmlns:p14="http://schemas.microsoft.com/office/powerpoint/2010/main" val="277497477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graphicFrame>
        <p:nvGraphicFramePr>
          <p:cNvPr id="4" name="Content Placeholder 3"/>
          <p:cNvGraphicFramePr>
            <a:graphicFrameLocks noGrp="1"/>
          </p:cNvGraphicFramePr>
          <p:nvPr>
            <p:ph idx="1"/>
            <p:extLst/>
          </p:nvPr>
        </p:nvGraphicFramePr>
        <p:xfrm>
          <a:off x="487813" y="930574"/>
          <a:ext cx="8035506" cy="5036924"/>
        </p:xfrm>
        <a:graphic>
          <a:graphicData uri="http://schemas.openxmlformats.org/drawingml/2006/table">
            <a:tbl>
              <a:tblPr>
                <a:tableStyleId>{5C22544A-7EE6-4342-B048-85BDC9FD1C3A}</a:tableStyleId>
              </a:tblPr>
              <a:tblGrid>
                <a:gridCol w="4017753">
                  <a:extLst>
                    <a:ext uri="{9D8B030D-6E8A-4147-A177-3AD203B41FA5}">
                      <a16:colId xmlns:a16="http://schemas.microsoft.com/office/drawing/2014/main" val="3299865070"/>
                    </a:ext>
                  </a:extLst>
                </a:gridCol>
                <a:gridCol w="4017753">
                  <a:extLst>
                    <a:ext uri="{9D8B030D-6E8A-4147-A177-3AD203B41FA5}">
                      <a16:colId xmlns:a16="http://schemas.microsoft.com/office/drawing/2014/main" val="2808274160"/>
                    </a:ext>
                  </a:extLst>
                </a:gridCol>
              </a:tblGrid>
              <a:tr h="308125">
                <a:tc>
                  <a:txBody>
                    <a:bodyPr/>
                    <a:lstStyle/>
                    <a:p>
                      <a:pPr algn="ctr" rtl="0" fontAlgn="ctr"/>
                      <a:r>
                        <a:rPr lang="en-US" sz="1400" b="1" u="none" strike="noStrike" dirty="0">
                          <a:effectLst/>
                        </a:rPr>
                        <a:t>Resource</a:t>
                      </a:r>
                      <a:endParaRPr lang="en-US" sz="1400" b="1" i="0" u="none" strike="noStrike" dirty="0">
                        <a:solidFill>
                          <a:srgbClr val="222222"/>
                        </a:solidFill>
                        <a:effectLst/>
                        <a:latin typeface="Segoe UI" panose="020B0502040204020203" pitchFamily="34" charset="0"/>
                      </a:endParaRPr>
                    </a:p>
                  </a:txBody>
                  <a:tcPr marL="3572" marR="3572" marT="3572" marB="0" anchor="ctr"/>
                </a:tc>
                <a:tc>
                  <a:txBody>
                    <a:bodyPr/>
                    <a:lstStyle/>
                    <a:p>
                      <a:pPr algn="l" rtl="0" fontAlgn="ctr"/>
                      <a:r>
                        <a:rPr lang="en-US" sz="1400" b="1" u="none" strike="noStrike" dirty="0">
                          <a:effectLst/>
                        </a:rPr>
                        <a:t>Default Limit</a:t>
                      </a:r>
                      <a:endParaRPr lang="en-US" sz="1400" b="1" i="0" u="none" strike="noStrike" dirty="0">
                        <a:solidFill>
                          <a:srgbClr val="222222"/>
                        </a:solidFill>
                        <a:effectLst/>
                        <a:latin typeface="Segoe UI" panose="020B0502040204020203" pitchFamily="34" charset="0"/>
                      </a:endParaRPr>
                    </a:p>
                  </a:txBody>
                  <a:tcPr marL="3572" marR="3572" marT="3572" marB="0" anchor="ctr"/>
                </a:tc>
                <a:extLst>
                  <a:ext uri="{0D108BD9-81ED-4DB2-BD59-A6C34878D82A}">
                    <a16:rowId xmlns:a16="http://schemas.microsoft.com/office/drawing/2014/main" val="2976533390"/>
                  </a:ext>
                </a:extLst>
              </a:tr>
              <a:tr h="616250">
                <a:tc rowSpan="4">
                  <a:txBody>
                    <a:bodyPr/>
                    <a:lstStyle/>
                    <a:p>
                      <a:pPr algn="l" rtl="0" fontAlgn="ctr"/>
                      <a:r>
                        <a:rPr lang="en-US" sz="1400" u="none" strike="noStrike" dirty="0">
                          <a:effectLst/>
                        </a:rPr>
                        <a:t>Maximum Request Rate per storage account</a:t>
                      </a:r>
                      <a:endParaRPr lang="en-US" sz="1400" b="0" i="0" u="none" strike="noStrike" dirty="0">
                        <a:solidFill>
                          <a:srgbClr val="222222"/>
                        </a:solidFill>
                        <a:effectLst/>
                        <a:latin typeface="Segoe UI" panose="020B0502040204020203" pitchFamily="34" charset="0"/>
                      </a:endParaRPr>
                    </a:p>
                  </a:txBody>
                  <a:tcPr marL="3572" marR="3572" marT="3572" marB="0" anchor="ctr"/>
                </a:tc>
                <a:tc>
                  <a:txBody>
                    <a:bodyPr/>
                    <a:lstStyle/>
                    <a:p>
                      <a:pPr algn="l" rtl="0" fontAlgn="ctr"/>
                      <a:r>
                        <a:rPr lang="en-US" sz="1400" u="none" strike="noStrike" dirty="0">
                          <a:effectLst/>
                        </a:rPr>
                        <a:t>Blobs: 20,000 requests per second for blobs of any valid size (capped only by the account's ingress/egress limits)</a:t>
                      </a:r>
                      <a:endParaRPr lang="en-US" sz="1400" b="0" i="0" u="none" strike="noStrike" dirty="0">
                        <a:solidFill>
                          <a:srgbClr val="222222"/>
                        </a:solidFill>
                        <a:effectLst/>
                        <a:latin typeface="Segoe UI" panose="020B0502040204020203" pitchFamily="34" charset="0"/>
                      </a:endParaRPr>
                    </a:p>
                  </a:txBody>
                  <a:tcPr marL="3572" marR="3572" marT="3572" marB="0" anchor="ctr"/>
                </a:tc>
                <a:extLst>
                  <a:ext uri="{0D108BD9-81ED-4DB2-BD59-A6C34878D82A}">
                    <a16:rowId xmlns:a16="http://schemas.microsoft.com/office/drawing/2014/main" val="2164508245"/>
                  </a:ext>
                </a:extLst>
              </a:tr>
              <a:tr h="308125">
                <a:tc vMerge="1">
                  <a:txBody>
                    <a:bodyPr/>
                    <a:lstStyle/>
                    <a:p>
                      <a:endParaRPr lang="en-US"/>
                    </a:p>
                  </a:txBody>
                  <a:tcPr/>
                </a:tc>
                <a:tc>
                  <a:txBody>
                    <a:bodyPr/>
                    <a:lstStyle/>
                    <a:p>
                      <a:pPr algn="l" rtl="0" fontAlgn="ctr"/>
                      <a:r>
                        <a:rPr lang="en-US" sz="1400" u="none" strike="noStrike" dirty="0">
                          <a:effectLst/>
                          <a:highlight>
                            <a:srgbClr val="FFFF00"/>
                          </a:highlight>
                        </a:rPr>
                        <a:t>Files: 1000 IOPS (8 KB in size) per file share</a:t>
                      </a:r>
                      <a:endParaRPr lang="en-US" sz="1400" b="0" i="0" u="none" strike="noStrike" dirty="0">
                        <a:solidFill>
                          <a:srgbClr val="222222"/>
                        </a:solidFill>
                        <a:effectLst/>
                        <a:highlight>
                          <a:srgbClr val="FFFF00"/>
                        </a:highlight>
                        <a:latin typeface="Segoe UI" panose="020B0502040204020203" pitchFamily="34" charset="0"/>
                      </a:endParaRPr>
                    </a:p>
                  </a:txBody>
                  <a:tcPr marL="3572" marR="3572" marT="3572" marB="0" anchor="ctr"/>
                </a:tc>
                <a:extLst>
                  <a:ext uri="{0D108BD9-81ED-4DB2-BD59-A6C34878D82A}">
                    <a16:rowId xmlns:a16="http://schemas.microsoft.com/office/drawing/2014/main" val="2173386604"/>
                  </a:ext>
                </a:extLst>
              </a:tr>
              <a:tr h="616250">
                <a:tc vMerge="1">
                  <a:txBody>
                    <a:bodyPr/>
                    <a:lstStyle/>
                    <a:p>
                      <a:endParaRPr lang="en-US"/>
                    </a:p>
                  </a:txBody>
                  <a:tcPr/>
                </a:tc>
                <a:tc>
                  <a:txBody>
                    <a:bodyPr/>
                    <a:lstStyle/>
                    <a:p>
                      <a:pPr algn="l" rtl="0" fontAlgn="ctr"/>
                      <a:r>
                        <a:rPr lang="en-US" sz="1400" u="none" strike="noStrike" dirty="0">
                          <a:effectLst/>
                          <a:highlight>
                            <a:srgbClr val="FFFF00"/>
                          </a:highlight>
                        </a:rPr>
                        <a:t>Queues: 20,000 messages per second (assuming 1 KB message size)</a:t>
                      </a:r>
                      <a:endParaRPr lang="en-US" sz="1400" b="0" i="0" u="none" strike="noStrike" dirty="0">
                        <a:solidFill>
                          <a:srgbClr val="222222"/>
                        </a:solidFill>
                        <a:effectLst/>
                        <a:highlight>
                          <a:srgbClr val="FFFF00"/>
                        </a:highlight>
                        <a:latin typeface="Segoe UI" panose="020B0502040204020203" pitchFamily="34" charset="0"/>
                      </a:endParaRPr>
                    </a:p>
                  </a:txBody>
                  <a:tcPr marL="3572" marR="3572" marT="3572" marB="0" anchor="ctr"/>
                </a:tc>
                <a:extLst>
                  <a:ext uri="{0D108BD9-81ED-4DB2-BD59-A6C34878D82A}">
                    <a16:rowId xmlns:a16="http://schemas.microsoft.com/office/drawing/2014/main" val="1498582586"/>
                  </a:ext>
                </a:extLst>
              </a:tr>
              <a:tr h="616250">
                <a:tc vMerge="1">
                  <a:txBody>
                    <a:bodyPr/>
                    <a:lstStyle/>
                    <a:p>
                      <a:endParaRPr lang="en-US"/>
                    </a:p>
                  </a:txBody>
                  <a:tcPr/>
                </a:tc>
                <a:tc>
                  <a:txBody>
                    <a:bodyPr/>
                    <a:lstStyle/>
                    <a:p>
                      <a:pPr algn="l" rtl="0" fontAlgn="ctr"/>
                      <a:r>
                        <a:rPr lang="en-US" sz="1400" u="none" strike="noStrike">
                          <a:effectLst/>
                        </a:rPr>
                        <a:t>Tables: 20,000 transactions per second (assuming 1 KB entity size)</a:t>
                      </a:r>
                      <a:endParaRPr lang="en-US" sz="1400" b="0" i="0" u="none" strike="noStrike">
                        <a:solidFill>
                          <a:srgbClr val="222222"/>
                        </a:solidFill>
                        <a:effectLst/>
                        <a:latin typeface="Segoe UI" panose="020B0502040204020203" pitchFamily="34" charset="0"/>
                      </a:endParaRPr>
                    </a:p>
                  </a:txBody>
                  <a:tcPr marL="3572" marR="3572" marT="3572" marB="0" anchor="ctr"/>
                </a:tc>
                <a:extLst>
                  <a:ext uri="{0D108BD9-81ED-4DB2-BD59-A6C34878D82A}">
                    <a16:rowId xmlns:a16="http://schemas.microsoft.com/office/drawing/2014/main" val="1966537401"/>
                  </a:ext>
                </a:extLst>
              </a:tr>
              <a:tr h="415052">
                <a:tc>
                  <a:txBody>
                    <a:bodyPr/>
                    <a:lstStyle/>
                    <a:p>
                      <a:pPr algn="l" rtl="0" fontAlgn="ctr"/>
                      <a:r>
                        <a:rPr lang="en-US" sz="1400" u="none" strike="noStrike">
                          <a:effectLst/>
                        </a:rPr>
                        <a:t>Target throughput for single blob</a:t>
                      </a:r>
                      <a:endParaRPr lang="en-US" sz="1400" b="0" i="0" u="none" strike="noStrike">
                        <a:solidFill>
                          <a:srgbClr val="222222"/>
                        </a:solidFill>
                        <a:effectLst/>
                        <a:latin typeface="Segoe UI" panose="020B0502040204020203" pitchFamily="34" charset="0"/>
                      </a:endParaRPr>
                    </a:p>
                  </a:txBody>
                  <a:tcPr marL="3572" marR="3572" marT="3572" marB="0" anchor="ctr"/>
                </a:tc>
                <a:tc>
                  <a:txBody>
                    <a:bodyPr/>
                    <a:lstStyle/>
                    <a:p>
                      <a:pPr algn="l" rtl="0" fontAlgn="ctr"/>
                      <a:r>
                        <a:rPr lang="en-US" sz="1400" u="none" strike="noStrike">
                          <a:effectLst/>
                        </a:rPr>
                        <a:t>Up to 60 MB per second, or up to 500 requests per second</a:t>
                      </a:r>
                      <a:endParaRPr lang="en-US" sz="1400" b="0" i="0" u="none" strike="noStrike">
                        <a:solidFill>
                          <a:srgbClr val="222222"/>
                        </a:solidFill>
                        <a:effectLst/>
                        <a:latin typeface="Segoe UI" panose="020B0502040204020203" pitchFamily="34" charset="0"/>
                      </a:endParaRPr>
                    </a:p>
                  </a:txBody>
                  <a:tcPr marL="3572" marR="3572" marT="3572" marB="0" anchor="ctr"/>
                </a:tc>
                <a:extLst>
                  <a:ext uri="{0D108BD9-81ED-4DB2-BD59-A6C34878D82A}">
                    <a16:rowId xmlns:a16="http://schemas.microsoft.com/office/drawing/2014/main" val="1796536854"/>
                  </a:ext>
                </a:extLst>
              </a:tr>
              <a:tr h="308125">
                <a:tc>
                  <a:txBody>
                    <a:bodyPr/>
                    <a:lstStyle/>
                    <a:p>
                      <a:pPr algn="l" rtl="0" fontAlgn="ctr"/>
                      <a:r>
                        <a:rPr lang="en-US" sz="1400" u="none" strike="noStrike">
                          <a:effectLst/>
                        </a:rPr>
                        <a:t>Target throughput for single queue (1 KB messages)</a:t>
                      </a:r>
                      <a:endParaRPr lang="en-US" sz="1400" b="0" i="0" u="none" strike="noStrike">
                        <a:solidFill>
                          <a:srgbClr val="222222"/>
                        </a:solidFill>
                        <a:effectLst/>
                        <a:latin typeface="Segoe UI" panose="020B0502040204020203" pitchFamily="34" charset="0"/>
                      </a:endParaRPr>
                    </a:p>
                  </a:txBody>
                  <a:tcPr marL="3572" marR="3572" marT="3572" marB="0" anchor="ctr"/>
                </a:tc>
                <a:tc>
                  <a:txBody>
                    <a:bodyPr/>
                    <a:lstStyle/>
                    <a:p>
                      <a:pPr algn="l" rtl="0" fontAlgn="ctr"/>
                      <a:r>
                        <a:rPr lang="en-US" sz="1400" u="none" strike="noStrike" dirty="0">
                          <a:effectLst/>
                          <a:highlight>
                            <a:srgbClr val="FFFF00"/>
                          </a:highlight>
                        </a:rPr>
                        <a:t>Up to 2000 messages per second</a:t>
                      </a:r>
                      <a:endParaRPr lang="en-US" sz="1400" b="0" i="0" u="none" strike="noStrike" dirty="0">
                        <a:solidFill>
                          <a:srgbClr val="222222"/>
                        </a:solidFill>
                        <a:effectLst/>
                        <a:highlight>
                          <a:srgbClr val="FFFF00"/>
                        </a:highlight>
                        <a:latin typeface="Segoe UI" panose="020B0502040204020203" pitchFamily="34" charset="0"/>
                      </a:endParaRPr>
                    </a:p>
                  </a:txBody>
                  <a:tcPr marL="3572" marR="3572" marT="3572" marB="0" anchor="ctr"/>
                </a:tc>
                <a:extLst>
                  <a:ext uri="{0D108BD9-81ED-4DB2-BD59-A6C34878D82A}">
                    <a16:rowId xmlns:a16="http://schemas.microsoft.com/office/drawing/2014/main" val="3448655647"/>
                  </a:ext>
                </a:extLst>
              </a:tr>
              <a:tr h="308125">
                <a:tc>
                  <a:txBody>
                    <a:bodyPr/>
                    <a:lstStyle/>
                    <a:p>
                      <a:pPr algn="l" rtl="0" fontAlgn="ctr"/>
                      <a:r>
                        <a:rPr lang="en-US" sz="1400" u="none" strike="noStrike">
                          <a:effectLst/>
                        </a:rPr>
                        <a:t>Target throughput for single table partition (1 KB entities)</a:t>
                      </a:r>
                      <a:endParaRPr lang="en-US" sz="1400" b="0" i="0" u="none" strike="noStrike">
                        <a:solidFill>
                          <a:srgbClr val="222222"/>
                        </a:solidFill>
                        <a:effectLst/>
                        <a:latin typeface="Segoe UI" panose="020B0502040204020203" pitchFamily="34" charset="0"/>
                      </a:endParaRPr>
                    </a:p>
                  </a:txBody>
                  <a:tcPr marL="3572" marR="3572" marT="3572" marB="0" anchor="ctr"/>
                </a:tc>
                <a:tc>
                  <a:txBody>
                    <a:bodyPr/>
                    <a:lstStyle/>
                    <a:p>
                      <a:pPr algn="l" rtl="0" fontAlgn="ctr"/>
                      <a:r>
                        <a:rPr lang="en-US" sz="1400" u="none" strike="noStrike">
                          <a:effectLst/>
                        </a:rPr>
                        <a:t>Up to 2000 entities per second</a:t>
                      </a:r>
                      <a:endParaRPr lang="en-US" sz="1400" b="0" i="0" u="none" strike="noStrike">
                        <a:solidFill>
                          <a:srgbClr val="222222"/>
                        </a:solidFill>
                        <a:effectLst/>
                        <a:latin typeface="Segoe UI" panose="020B0502040204020203" pitchFamily="34" charset="0"/>
                      </a:endParaRPr>
                    </a:p>
                  </a:txBody>
                  <a:tcPr marL="3572" marR="3572" marT="3572" marB="0" anchor="ctr"/>
                </a:tc>
                <a:extLst>
                  <a:ext uri="{0D108BD9-81ED-4DB2-BD59-A6C34878D82A}">
                    <a16:rowId xmlns:a16="http://schemas.microsoft.com/office/drawing/2014/main" val="2031346222"/>
                  </a:ext>
                </a:extLst>
              </a:tr>
              <a:tr h="308125">
                <a:tc>
                  <a:txBody>
                    <a:bodyPr/>
                    <a:lstStyle/>
                    <a:p>
                      <a:pPr algn="l" rtl="0" fontAlgn="ctr"/>
                      <a:r>
                        <a:rPr lang="en-US" sz="1400" u="none" strike="noStrike">
                          <a:effectLst/>
                        </a:rPr>
                        <a:t>Target throughput for single file share</a:t>
                      </a:r>
                      <a:endParaRPr lang="en-US" sz="1400" b="0" i="0" u="none" strike="noStrike">
                        <a:solidFill>
                          <a:srgbClr val="222222"/>
                        </a:solidFill>
                        <a:effectLst/>
                        <a:latin typeface="Segoe UI" panose="020B0502040204020203" pitchFamily="34" charset="0"/>
                      </a:endParaRPr>
                    </a:p>
                  </a:txBody>
                  <a:tcPr marL="3572" marR="3572" marT="3572" marB="0" anchor="ctr"/>
                </a:tc>
                <a:tc>
                  <a:txBody>
                    <a:bodyPr/>
                    <a:lstStyle/>
                    <a:p>
                      <a:pPr algn="l" rtl="0" fontAlgn="ctr"/>
                      <a:r>
                        <a:rPr lang="en-US" sz="1400" u="none" strike="noStrike" dirty="0">
                          <a:effectLst/>
                          <a:highlight>
                            <a:srgbClr val="FFFF00"/>
                          </a:highlight>
                        </a:rPr>
                        <a:t>Up to 60 MB per second</a:t>
                      </a:r>
                      <a:endParaRPr lang="en-US" sz="1400" b="0" i="0" u="none" strike="noStrike" dirty="0">
                        <a:solidFill>
                          <a:srgbClr val="222222"/>
                        </a:solidFill>
                        <a:effectLst/>
                        <a:highlight>
                          <a:srgbClr val="FFFF00"/>
                        </a:highlight>
                        <a:latin typeface="Segoe UI" panose="020B0502040204020203" pitchFamily="34" charset="0"/>
                      </a:endParaRPr>
                    </a:p>
                  </a:txBody>
                  <a:tcPr marL="3572" marR="3572" marT="3572" marB="0" anchor="ctr"/>
                </a:tc>
                <a:extLst>
                  <a:ext uri="{0D108BD9-81ED-4DB2-BD59-A6C34878D82A}">
                    <a16:rowId xmlns:a16="http://schemas.microsoft.com/office/drawing/2014/main" val="2755389218"/>
                  </a:ext>
                </a:extLst>
              </a:tr>
              <a:tr h="308125">
                <a:tc>
                  <a:txBody>
                    <a:bodyPr/>
                    <a:lstStyle/>
                    <a:p>
                      <a:pPr algn="l" rtl="0" fontAlgn="ctr"/>
                      <a:r>
                        <a:rPr lang="en-US" sz="1400" u="none" strike="noStrike">
                          <a:effectLst/>
                        </a:rPr>
                        <a:t>Max ingress per storage account (US Regions)</a:t>
                      </a:r>
                      <a:endParaRPr lang="en-US" sz="1400" b="0" i="0" u="none" strike="noStrike">
                        <a:solidFill>
                          <a:srgbClr val="222222"/>
                        </a:solidFill>
                        <a:effectLst/>
                        <a:latin typeface="Segoe UI" panose="020B0502040204020203" pitchFamily="34" charset="0"/>
                      </a:endParaRPr>
                    </a:p>
                  </a:txBody>
                  <a:tcPr marL="3572" marR="3572" marT="3572" marB="0" anchor="ctr"/>
                </a:tc>
                <a:tc>
                  <a:txBody>
                    <a:bodyPr/>
                    <a:lstStyle/>
                    <a:p>
                      <a:pPr algn="l" rtl="0" fontAlgn="ctr"/>
                      <a:r>
                        <a:rPr lang="en-US" sz="1400" u="none" strike="noStrike">
                          <a:effectLst/>
                        </a:rPr>
                        <a:t>10 Gbps if GRS/ZRS enabled, 20 Gbps for LRS</a:t>
                      </a:r>
                      <a:endParaRPr lang="en-US" sz="1400" b="0" i="0" u="none" strike="noStrike">
                        <a:solidFill>
                          <a:srgbClr val="222222"/>
                        </a:solidFill>
                        <a:effectLst/>
                        <a:latin typeface="Segoe UI" panose="020B0502040204020203" pitchFamily="34" charset="0"/>
                      </a:endParaRPr>
                    </a:p>
                  </a:txBody>
                  <a:tcPr marL="3572" marR="3572" marT="3572" marB="0" anchor="ctr"/>
                </a:tc>
                <a:extLst>
                  <a:ext uri="{0D108BD9-81ED-4DB2-BD59-A6C34878D82A}">
                    <a16:rowId xmlns:a16="http://schemas.microsoft.com/office/drawing/2014/main" val="1029125489"/>
                  </a:ext>
                </a:extLst>
              </a:tr>
              <a:tr h="308125">
                <a:tc>
                  <a:txBody>
                    <a:bodyPr/>
                    <a:lstStyle/>
                    <a:p>
                      <a:pPr algn="l" rtl="0" fontAlgn="ctr"/>
                      <a:r>
                        <a:rPr lang="en-US" sz="1400" u="none" strike="noStrike">
                          <a:effectLst/>
                        </a:rPr>
                        <a:t>Max egress per storage account (US Regions)</a:t>
                      </a:r>
                      <a:endParaRPr lang="en-US" sz="1400" b="0" i="0" u="none" strike="noStrike">
                        <a:solidFill>
                          <a:srgbClr val="222222"/>
                        </a:solidFill>
                        <a:effectLst/>
                        <a:latin typeface="Segoe UI" panose="020B0502040204020203" pitchFamily="34" charset="0"/>
                      </a:endParaRPr>
                    </a:p>
                  </a:txBody>
                  <a:tcPr marL="3572" marR="3572" marT="3572" marB="0" anchor="ctr"/>
                </a:tc>
                <a:tc>
                  <a:txBody>
                    <a:bodyPr/>
                    <a:lstStyle/>
                    <a:p>
                      <a:pPr algn="l" rtl="0" fontAlgn="ctr"/>
                      <a:r>
                        <a:rPr lang="en-US" sz="1400" u="none" strike="noStrike">
                          <a:effectLst/>
                        </a:rPr>
                        <a:t>20 Gbps if RA-GRS/GRS/ZRS enabled, 30 Gbps for LRS</a:t>
                      </a:r>
                      <a:endParaRPr lang="en-US" sz="1400" b="0" i="0" u="none" strike="noStrike">
                        <a:solidFill>
                          <a:srgbClr val="222222"/>
                        </a:solidFill>
                        <a:effectLst/>
                        <a:latin typeface="Segoe UI" panose="020B0502040204020203" pitchFamily="34" charset="0"/>
                      </a:endParaRPr>
                    </a:p>
                  </a:txBody>
                  <a:tcPr marL="3572" marR="3572" marT="3572" marB="0" anchor="ctr"/>
                </a:tc>
                <a:extLst>
                  <a:ext uri="{0D108BD9-81ED-4DB2-BD59-A6C34878D82A}">
                    <a16:rowId xmlns:a16="http://schemas.microsoft.com/office/drawing/2014/main" val="960913170"/>
                  </a:ext>
                </a:extLst>
              </a:tr>
              <a:tr h="308125">
                <a:tc>
                  <a:txBody>
                    <a:bodyPr/>
                    <a:lstStyle/>
                    <a:p>
                      <a:pPr algn="l" rtl="0" fontAlgn="ctr"/>
                      <a:r>
                        <a:rPr lang="en-US" sz="1400" u="none" strike="noStrike">
                          <a:effectLst/>
                        </a:rPr>
                        <a:t>Max ingress per storage account (Non-US regions)</a:t>
                      </a:r>
                      <a:endParaRPr lang="en-US" sz="1400" b="0" i="0" u="none" strike="noStrike">
                        <a:solidFill>
                          <a:srgbClr val="222222"/>
                        </a:solidFill>
                        <a:effectLst/>
                        <a:latin typeface="Segoe UI" panose="020B0502040204020203" pitchFamily="34" charset="0"/>
                      </a:endParaRPr>
                    </a:p>
                  </a:txBody>
                  <a:tcPr marL="3572" marR="3572" marT="3572" marB="0" anchor="ctr"/>
                </a:tc>
                <a:tc>
                  <a:txBody>
                    <a:bodyPr/>
                    <a:lstStyle/>
                    <a:p>
                      <a:pPr algn="l" rtl="0" fontAlgn="ctr"/>
                      <a:r>
                        <a:rPr lang="en-US" sz="1400" u="none" strike="noStrike">
                          <a:effectLst/>
                        </a:rPr>
                        <a:t>5 Gbps if GRS/ZRS enabled, 10 Gbps for LRS</a:t>
                      </a:r>
                      <a:endParaRPr lang="en-US" sz="1400" b="0" i="0" u="none" strike="noStrike">
                        <a:solidFill>
                          <a:srgbClr val="222222"/>
                        </a:solidFill>
                        <a:effectLst/>
                        <a:latin typeface="Segoe UI" panose="020B0502040204020203" pitchFamily="34" charset="0"/>
                      </a:endParaRPr>
                    </a:p>
                  </a:txBody>
                  <a:tcPr marL="3572" marR="3572" marT="3572" marB="0" anchor="ctr"/>
                </a:tc>
                <a:extLst>
                  <a:ext uri="{0D108BD9-81ED-4DB2-BD59-A6C34878D82A}">
                    <a16:rowId xmlns:a16="http://schemas.microsoft.com/office/drawing/2014/main" val="1720139080"/>
                  </a:ext>
                </a:extLst>
              </a:tr>
              <a:tr h="308125">
                <a:tc>
                  <a:txBody>
                    <a:bodyPr/>
                    <a:lstStyle/>
                    <a:p>
                      <a:pPr algn="l" rtl="0" fontAlgn="ctr"/>
                      <a:r>
                        <a:rPr lang="en-US" sz="1400" u="none" strike="noStrike">
                          <a:effectLst/>
                        </a:rPr>
                        <a:t>Max egress per storage account (Non-US regions)</a:t>
                      </a:r>
                      <a:endParaRPr lang="en-US" sz="1400" b="0" i="0" u="none" strike="noStrike">
                        <a:solidFill>
                          <a:srgbClr val="222222"/>
                        </a:solidFill>
                        <a:effectLst/>
                        <a:latin typeface="Segoe UI" panose="020B0502040204020203" pitchFamily="34" charset="0"/>
                      </a:endParaRPr>
                    </a:p>
                  </a:txBody>
                  <a:tcPr marL="3572" marR="3572" marT="3572" marB="0" anchor="ctr"/>
                </a:tc>
                <a:tc>
                  <a:txBody>
                    <a:bodyPr/>
                    <a:lstStyle/>
                    <a:p>
                      <a:pPr algn="l" rtl="0" fontAlgn="ctr"/>
                      <a:r>
                        <a:rPr lang="en-US" sz="1400" u="none" strike="noStrike" dirty="0">
                          <a:effectLst/>
                        </a:rPr>
                        <a:t>10 </a:t>
                      </a:r>
                      <a:r>
                        <a:rPr lang="en-US" sz="1400" u="none" strike="noStrike" dirty="0" err="1">
                          <a:effectLst/>
                        </a:rPr>
                        <a:t>Gbps</a:t>
                      </a:r>
                      <a:r>
                        <a:rPr lang="en-US" sz="1400" u="none" strike="noStrike" dirty="0">
                          <a:effectLst/>
                        </a:rPr>
                        <a:t> if RA-GRS/GRS/ZRS enabled, 15 </a:t>
                      </a:r>
                      <a:r>
                        <a:rPr lang="en-US" sz="1400" u="none" strike="noStrike" dirty="0" err="1">
                          <a:effectLst/>
                        </a:rPr>
                        <a:t>Gbps</a:t>
                      </a:r>
                      <a:r>
                        <a:rPr lang="en-US" sz="1400" u="none" strike="noStrike" dirty="0">
                          <a:effectLst/>
                        </a:rPr>
                        <a:t> for LRS </a:t>
                      </a:r>
                      <a:endParaRPr lang="en-US" sz="1400" b="0" i="0" u="none" strike="noStrike" dirty="0">
                        <a:solidFill>
                          <a:srgbClr val="222222"/>
                        </a:solidFill>
                        <a:effectLst/>
                        <a:latin typeface="Segoe UI" panose="020B0502040204020203" pitchFamily="34" charset="0"/>
                      </a:endParaRPr>
                    </a:p>
                  </a:txBody>
                  <a:tcPr marL="3572" marR="3572" marT="3572" marB="0" anchor="ctr"/>
                </a:tc>
                <a:extLst>
                  <a:ext uri="{0D108BD9-81ED-4DB2-BD59-A6C34878D82A}">
                    <a16:rowId xmlns:a16="http://schemas.microsoft.com/office/drawing/2014/main" val="4164804745"/>
                  </a:ext>
                </a:extLst>
              </a:tr>
            </a:tbl>
          </a:graphicData>
        </a:graphic>
      </p:graphicFrame>
    </p:spTree>
    <p:extLst>
      <p:ext uri="{BB962C8B-B14F-4D97-AF65-F5344CB8AC3E}">
        <p14:creationId xmlns:p14="http://schemas.microsoft.com/office/powerpoint/2010/main" val="405600463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C8AE3B-3E32-48AE-A575-92F4BE0B046F}"/>
              </a:ext>
            </a:extLst>
          </p:cNvPr>
          <p:cNvSpPr>
            <a:spLocks noGrp="1"/>
          </p:cNvSpPr>
          <p:nvPr>
            <p:ph type="title"/>
          </p:nvPr>
        </p:nvSpPr>
        <p:spPr>
          <a:xfrm>
            <a:off x="2644140" y="1118155"/>
            <a:ext cx="6224368" cy="692498"/>
          </a:xfrm>
        </p:spPr>
        <p:txBody>
          <a:bodyPr>
            <a:normAutofit/>
          </a:bodyPr>
          <a:lstStyle/>
          <a:p>
            <a:r>
              <a:rPr lang="en-US" dirty="0"/>
              <a:t>Sufficient bandwidth on VM</a:t>
            </a:r>
          </a:p>
        </p:txBody>
      </p:sp>
      <p:sp>
        <p:nvSpPr>
          <p:cNvPr id="3" name="Text Placeholder 2">
            <a:extLst>
              <a:ext uri="{FF2B5EF4-FFF2-40B4-BE49-F238E27FC236}">
                <a16:creationId xmlns:a16="http://schemas.microsoft.com/office/drawing/2014/main" id="{B69A576D-7108-435B-AD4C-930499AB1DC8}"/>
              </a:ext>
            </a:extLst>
          </p:cNvPr>
          <p:cNvSpPr>
            <a:spLocks noGrp="1"/>
          </p:cNvSpPr>
          <p:nvPr>
            <p:ph type="body" sz="quarter" idx="11"/>
          </p:nvPr>
        </p:nvSpPr>
        <p:spPr/>
        <p:txBody>
          <a:bodyPr/>
          <a:lstStyle/>
          <a:p>
            <a:r>
              <a:rPr lang="en-US" dirty="0"/>
              <a:t>Make sure sufficient bandwidth is available on your VM to drive disk traffic, as described in </a:t>
            </a:r>
            <a:r>
              <a:rPr lang="en-US" dirty="0">
                <a:hlinkClick r:id="rId3"/>
              </a:rPr>
              <a:t>Premium Storage-supported VMs</a:t>
            </a:r>
            <a:r>
              <a:rPr lang="en-US" dirty="0"/>
              <a:t>. Otherwise, your disk throughput and IOPS is constrained to lower values. Maximum throughput and IOPS are based on the VM limits, not on the disk limits described in the preceding table. </a:t>
            </a:r>
          </a:p>
        </p:txBody>
      </p:sp>
      <p:sp>
        <p:nvSpPr>
          <p:cNvPr id="4" name="Text Placeholder 3">
            <a:extLst>
              <a:ext uri="{FF2B5EF4-FFF2-40B4-BE49-F238E27FC236}">
                <a16:creationId xmlns:a16="http://schemas.microsoft.com/office/drawing/2014/main" id="{00AED275-EAD5-4D80-AEC0-62E0E4C3B7EB}"/>
              </a:ext>
            </a:extLst>
          </p:cNvPr>
          <p:cNvSpPr>
            <a:spLocks noGrp="1"/>
          </p:cNvSpPr>
          <p:nvPr>
            <p:ph type="body" sz="quarter" idx="10"/>
          </p:nvPr>
        </p:nvSpPr>
        <p:spPr/>
        <p:txBody>
          <a:bodyPr/>
          <a:lstStyle/>
          <a:p>
            <a:r>
              <a:rPr lang="en-US" dirty="0">
                <a:hlinkClick r:id="rId4"/>
              </a:rPr>
              <a:t>https://docs.microsoft.com/en-us/azure/storage/storage-premium-storage#scalability-and-performance-targets</a:t>
            </a:r>
            <a:r>
              <a:rPr lang="en-US" dirty="0"/>
              <a:t> </a:t>
            </a:r>
          </a:p>
        </p:txBody>
      </p:sp>
    </p:spTree>
    <p:extLst>
      <p:ext uri="{BB962C8B-B14F-4D97-AF65-F5344CB8AC3E}">
        <p14:creationId xmlns:p14="http://schemas.microsoft.com/office/powerpoint/2010/main" val="2876856710"/>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p:cNvGrpSpPr/>
          <p:nvPr/>
        </p:nvGrpSpPr>
        <p:grpSpPr>
          <a:xfrm>
            <a:off x="-184376" y="857503"/>
            <a:ext cx="9451917" cy="5200598"/>
            <a:chOff x="-250765" y="-153"/>
            <a:chExt cx="12855263" cy="7073174"/>
          </a:xfrm>
        </p:grpSpPr>
        <p:sp>
          <p:nvSpPr>
            <p:cNvPr id="76" name="Rectangle 75"/>
            <p:cNvSpPr/>
            <p:nvPr/>
          </p:nvSpPr>
          <p:spPr bwMode="auto">
            <a:xfrm>
              <a:off x="602" y="-153"/>
              <a:ext cx="12436475" cy="7073174"/>
            </a:xfrm>
            <a:prstGeom prst="rect">
              <a:avLst/>
            </a:prstGeom>
            <a:solidFill>
              <a:srgbClr val="032E4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523">
                <a:defRPr/>
              </a:pPr>
              <a:endParaRPr lang="en-US" sz="1471" b="0" kern="0" dirty="0">
                <a:gradFill>
                  <a:gsLst>
                    <a:gs pos="16814">
                      <a:srgbClr val="FFFFFF"/>
                    </a:gs>
                    <a:gs pos="46000">
                      <a:srgbClr val="FFFFFF"/>
                    </a:gs>
                  </a:gsLst>
                  <a:lin ang="5400000" scaled="0"/>
                </a:gradFill>
                <a:latin typeface="Segoe UI"/>
              </a:endParaRPr>
            </a:p>
          </p:txBody>
        </p:sp>
        <p:sp>
          <p:nvSpPr>
            <p:cNvPr id="78" name="Rectangle 77"/>
            <p:cNvSpPr/>
            <p:nvPr/>
          </p:nvSpPr>
          <p:spPr bwMode="auto">
            <a:xfrm>
              <a:off x="127875" y="92314"/>
              <a:ext cx="12115666" cy="4716921"/>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131821" tIns="105457" rIns="131821" bIns="105457" numCol="1" spcCol="0" rtlCol="0" fromWordArt="0" anchor="t" anchorCtr="0" forceAA="0" compatLnSpc="1">
              <a:prstTxWarp prst="textNoShape">
                <a:avLst/>
              </a:prstTxWarp>
              <a:noAutofit/>
            </a:bodyPr>
            <a:lstStyle/>
            <a:p>
              <a:pPr algn="ctr" defTabSz="671942">
                <a:lnSpc>
                  <a:spcPct val="90000"/>
                </a:lnSpc>
                <a:spcBef>
                  <a:spcPts val="0"/>
                </a:spcBef>
                <a:spcAft>
                  <a:spcPts val="0"/>
                </a:spcAft>
                <a:defRPr/>
              </a:pPr>
              <a:r>
                <a:rPr lang="en-US" sz="1029" kern="0" dirty="0">
                  <a:solidFill>
                    <a:srgbClr val="FFFFFF"/>
                  </a:solidFill>
                  <a:latin typeface="Segoe UI"/>
                  <a:ea typeface="Segoe UI" pitchFamily="34" charset="0"/>
                  <a:cs typeface="Segoe UI" pitchFamily="34" charset="0"/>
                </a:rPr>
                <a:t>Platform Services</a:t>
              </a:r>
            </a:p>
          </p:txBody>
        </p:sp>
        <p:sp>
          <p:nvSpPr>
            <p:cNvPr id="87" name="Rectangle 86"/>
            <p:cNvSpPr/>
            <p:nvPr/>
          </p:nvSpPr>
          <p:spPr bwMode="auto">
            <a:xfrm>
              <a:off x="602" y="4589960"/>
              <a:ext cx="12436475" cy="2420721"/>
            </a:xfrm>
            <a:prstGeom prst="rect">
              <a:avLst/>
            </a:prstGeom>
            <a:solidFill>
              <a:schemeClr val="accent1">
                <a:lumMod val="75000"/>
              </a:scheme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31821" tIns="67232" rIns="131821" bIns="105457" numCol="1" spcCol="0" rtlCol="0" fromWordArt="0" anchor="t" anchorCtr="0" forceAA="0" compatLnSpc="1">
              <a:prstTxWarp prst="textNoShape">
                <a:avLst/>
              </a:prstTxWarp>
              <a:noAutofit/>
            </a:bodyPr>
            <a:lstStyle/>
            <a:p>
              <a:pPr algn="ctr" defTabSz="671942">
                <a:lnSpc>
                  <a:spcPct val="90000"/>
                </a:lnSpc>
                <a:spcBef>
                  <a:spcPts val="0"/>
                </a:spcBef>
                <a:spcAft>
                  <a:spcPts val="0"/>
                </a:spcAft>
                <a:defRPr/>
              </a:pPr>
              <a:r>
                <a:rPr lang="en-US" sz="1029" kern="0" dirty="0">
                  <a:solidFill>
                    <a:srgbClr val="FFFFFF"/>
                  </a:solidFill>
                  <a:latin typeface="Segoe UI"/>
                  <a:ea typeface="Segoe UI" pitchFamily="34" charset="0"/>
                  <a:cs typeface="Segoe UI" pitchFamily="34" charset="0"/>
                </a:rPr>
                <a:t>Infrastructure Services</a:t>
              </a:r>
            </a:p>
          </p:txBody>
        </p:sp>
        <p:sp>
          <p:nvSpPr>
            <p:cNvPr id="31" name="Rectangle 30"/>
            <p:cNvSpPr/>
            <p:nvPr/>
          </p:nvSpPr>
          <p:spPr bwMode="auto">
            <a:xfrm>
              <a:off x="127875" y="4930870"/>
              <a:ext cx="2629171" cy="789394"/>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67232" tIns="33616" rIns="67232" bIns="105457" numCol="1" spcCol="0" rtlCol="0" fromWordArt="0" anchor="t" anchorCtr="0" forceAA="0" compatLnSpc="1">
              <a:prstTxWarp prst="textNoShape">
                <a:avLst/>
              </a:prstTxWarp>
              <a:noAutofit/>
            </a:bodyPr>
            <a:lstStyle/>
            <a:p>
              <a:pPr algn="ctr" defTabSz="671942">
                <a:lnSpc>
                  <a:spcPct val="90000"/>
                </a:lnSpc>
                <a:spcBef>
                  <a:spcPts val="0"/>
                </a:spcBef>
                <a:spcAft>
                  <a:spcPts val="0"/>
                </a:spcAft>
                <a:defRPr/>
              </a:pPr>
              <a:r>
                <a:rPr lang="en-US" sz="882" kern="0" dirty="0">
                  <a:gradFill>
                    <a:gsLst>
                      <a:gs pos="0">
                        <a:srgbClr val="FFFFFF"/>
                      </a:gs>
                      <a:gs pos="100000">
                        <a:srgbClr val="FFFFFF"/>
                      </a:gs>
                    </a:gsLst>
                    <a:lin ang="5400000" scaled="0"/>
                  </a:gradFill>
                  <a:latin typeface="Segoe UI"/>
                  <a:ea typeface="Segoe UI" pitchFamily="34" charset="0"/>
                  <a:cs typeface="Segoe UI" pitchFamily="34" charset="0"/>
                </a:rPr>
                <a:t>Compute</a:t>
              </a:r>
            </a:p>
          </p:txBody>
        </p:sp>
        <p:sp>
          <p:nvSpPr>
            <p:cNvPr id="32" name="Rectangle 31"/>
            <p:cNvSpPr/>
            <p:nvPr/>
          </p:nvSpPr>
          <p:spPr bwMode="auto">
            <a:xfrm>
              <a:off x="2938263" y="4930870"/>
              <a:ext cx="2892122" cy="789804"/>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67232" tIns="33616" rIns="67232" bIns="105457" numCol="1" spcCol="0" rtlCol="0" fromWordArt="0" anchor="t" anchorCtr="0" forceAA="0" compatLnSpc="1">
              <a:prstTxWarp prst="textNoShape">
                <a:avLst/>
              </a:prstTxWarp>
              <a:noAutofit/>
            </a:bodyPr>
            <a:lstStyle/>
            <a:p>
              <a:pPr algn="ctr" defTabSz="671942">
                <a:lnSpc>
                  <a:spcPct val="90000"/>
                </a:lnSpc>
                <a:spcBef>
                  <a:spcPts val="0"/>
                </a:spcBef>
                <a:spcAft>
                  <a:spcPts val="0"/>
                </a:spcAft>
                <a:defRPr/>
              </a:pPr>
              <a:r>
                <a:rPr lang="en-US" sz="882" u="sng" kern="0" dirty="0">
                  <a:solidFill>
                    <a:srgbClr val="FFFF00"/>
                  </a:solidFill>
                  <a:latin typeface="Segoe UI"/>
                  <a:cs typeface="Segoe UI" pitchFamily="34" charset="0"/>
                </a:rPr>
                <a:t>Storage</a:t>
              </a:r>
            </a:p>
          </p:txBody>
        </p:sp>
        <p:sp>
          <p:nvSpPr>
            <p:cNvPr id="56" name="Rectangle 55"/>
            <p:cNvSpPr/>
            <p:nvPr/>
          </p:nvSpPr>
          <p:spPr bwMode="auto">
            <a:xfrm>
              <a:off x="-142611" y="5849407"/>
              <a:ext cx="12641920" cy="1097416"/>
            </a:xfrm>
            <a:prstGeom prst="rect">
              <a:avLst/>
            </a:prstGeom>
            <a:solidFill>
              <a:srgbClr val="002846"/>
            </a:solidFill>
            <a:ln w="6350" cap="flat" cmpd="sng" algn="ctr">
              <a:noFill/>
              <a:prstDash val="solid"/>
              <a:miter lim="800000"/>
              <a:headEnd type="none" w="med" len="med"/>
              <a:tailEnd type="none" w="med" len="med"/>
            </a:ln>
            <a:effectLst/>
          </p:spPr>
          <p:txBody>
            <a:bodyPr rot="0" spcFirstLastPara="0" vertOverflow="overflow" horzOverflow="overflow" vert="horz" wrap="square" lIns="131821" tIns="67232" rIns="131821" bIns="105457" numCol="1" spcCol="0" rtlCol="0" fromWordArt="0" anchor="t" anchorCtr="0" forceAA="0" compatLnSpc="1">
              <a:prstTxWarp prst="textNoShape">
                <a:avLst/>
              </a:prstTxWarp>
              <a:noAutofit/>
            </a:bodyPr>
            <a:lstStyle/>
            <a:p>
              <a:pPr algn="ctr" defTabSz="671942">
                <a:lnSpc>
                  <a:spcPct val="90000"/>
                </a:lnSpc>
                <a:spcBef>
                  <a:spcPts val="0"/>
                </a:spcBef>
                <a:spcAft>
                  <a:spcPts val="0"/>
                </a:spcAft>
                <a:defRPr/>
              </a:pPr>
              <a:r>
                <a:rPr lang="en-US" sz="1029" kern="0" dirty="0">
                  <a:gradFill>
                    <a:gsLst>
                      <a:gs pos="0">
                        <a:srgbClr val="FFFFFF"/>
                      </a:gs>
                      <a:gs pos="100000">
                        <a:srgbClr val="FFFFFF"/>
                      </a:gs>
                    </a:gsLst>
                    <a:lin ang="5400000" scaled="0"/>
                  </a:gradFill>
                  <a:latin typeface="Segoe UI"/>
                  <a:ea typeface="Segoe UI" pitchFamily="34" charset="0"/>
                  <a:cs typeface="Segoe UI" pitchFamily="34" charset="0"/>
                </a:rPr>
                <a:t>Datacenter Infrastructure (32 Regions, 24 Online)</a:t>
              </a:r>
            </a:p>
          </p:txBody>
        </p:sp>
        <p:pic>
          <p:nvPicPr>
            <p:cNvPr id="3" name="Picture 2"/>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1359853" y="6292731"/>
              <a:ext cx="780290" cy="780290"/>
            </a:xfrm>
            <a:prstGeom prst="rect">
              <a:avLst/>
            </a:prstGeom>
          </p:spPr>
        </p:pic>
        <p:pic>
          <p:nvPicPr>
            <p:cNvPr id="45" name="Picture 44"/>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2165162" y="6292731"/>
              <a:ext cx="780290" cy="780290"/>
            </a:xfrm>
            <a:prstGeom prst="rect">
              <a:avLst/>
            </a:prstGeom>
          </p:spPr>
        </p:pic>
        <p:pic>
          <p:nvPicPr>
            <p:cNvPr id="46" name="Picture 45"/>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2970471" y="6292731"/>
              <a:ext cx="780290" cy="780290"/>
            </a:xfrm>
            <a:prstGeom prst="rect">
              <a:avLst/>
            </a:prstGeom>
          </p:spPr>
        </p:pic>
        <p:pic>
          <p:nvPicPr>
            <p:cNvPr id="47" name="Picture 46"/>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3771118" y="6292731"/>
              <a:ext cx="780290" cy="780290"/>
            </a:xfrm>
            <a:prstGeom prst="rect">
              <a:avLst/>
            </a:prstGeom>
          </p:spPr>
        </p:pic>
        <p:pic>
          <p:nvPicPr>
            <p:cNvPr id="48" name="Picture 47"/>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4576427" y="6292731"/>
              <a:ext cx="780290" cy="780290"/>
            </a:xfrm>
            <a:prstGeom prst="rect">
              <a:avLst/>
            </a:prstGeom>
          </p:spPr>
        </p:pic>
        <p:pic>
          <p:nvPicPr>
            <p:cNvPr id="49" name="Picture 48"/>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5381736" y="6292731"/>
              <a:ext cx="780290" cy="780290"/>
            </a:xfrm>
            <a:prstGeom prst="rect">
              <a:avLst/>
            </a:prstGeom>
          </p:spPr>
        </p:pic>
        <p:pic>
          <p:nvPicPr>
            <p:cNvPr id="50" name="Picture 49"/>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6187045" y="6292731"/>
              <a:ext cx="780290" cy="780290"/>
            </a:xfrm>
            <a:prstGeom prst="rect">
              <a:avLst/>
            </a:prstGeom>
          </p:spPr>
        </p:pic>
        <p:pic>
          <p:nvPicPr>
            <p:cNvPr id="51" name="Picture 50"/>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6992354" y="6292731"/>
              <a:ext cx="780290" cy="780290"/>
            </a:xfrm>
            <a:prstGeom prst="rect">
              <a:avLst/>
            </a:prstGeom>
          </p:spPr>
        </p:pic>
        <p:pic>
          <p:nvPicPr>
            <p:cNvPr id="52" name="Picture 51"/>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7797663" y="6292731"/>
              <a:ext cx="780290" cy="780290"/>
            </a:xfrm>
            <a:prstGeom prst="rect">
              <a:avLst/>
            </a:prstGeom>
          </p:spPr>
        </p:pic>
        <p:pic>
          <p:nvPicPr>
            <p:cNvPr id="53" name="Picture 52"/>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8602972" y="6292731"/>
              <a:ext cx="780290" cy="780290"/>
            </a:xfrm>
            <a:prstGeom prst="rect">
              <a:avLst/>
            </a:prstGeom>
          </p:spPr>
        </p:pic>
        <p:pic>
          <p:nvPicPr>
            <p:cNvPr id="54" name="Picture 53"/>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9408281" y="6292731"/>
              <a:ext cx="780290" cy="780290"/>
            </a:xfrm>
            <a:prstGeom prst="rect">
              <a:avLst/>
            </a:prstGeom>
          </p:spPr>
        </p:pic>
        <p:pic>
          <p:nvPicPr>
            <p:cNvPr id="55" name="Picture 54"/>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10213590" y="6292731"/>
              <a:ext cx="780290" cy="780290"/>
            </a:xfrm>
            <a:prstGeom prst="rect">
              <a:avLst/>
            </a:prstGeom>
          </p:spPr>
        </p:pic>
        <p:pic>
          <p:nvPicPr>
            <p:cNvPr id="57" name="Picture 56"/>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11018899" y="6292731"/>
              <a:ext cx="780290" cy="780290"/>
            </a:xfrm>
            <a:prstGeom prst="rect">
              <a:avLst/>
            </a:prstGeom>
          </p:spPr>
        </p:pic>
        <p:pic>
          <p:nvPicPr>
            <p:cNvPr id="58" name="Picture 57"/>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11824208" y="6292731"/>
              <a:ext cx="780290" cy="780290"/>
            </a:xfrm>
            <a:prstGeom prst="rect">
              <a:avLst/>
            </a:prstGeom>
          </p:spPr>
        </p:pic>
        <p:pic>
          <p:nvPicPr>
            <p:cNvPr id="59" name="Picture 58"/>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250765" y="6292731"/>
              <a:ext cx="780290" cy="780290"/>
            </a:xfrm>
            <a:prstGeom prst="rect">
              <a:avLst/>
            </a:prstGeom>
          </p:spPr>
        </p:pic>
        <p:pic>
          <p:nvPicPr>
            <p:cNvPr id="60" name="Picture 59"/>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554544" y="6292731"/>
              <a:ext cx="780290" cy="780290"/>
            </a:xfrm>
            <a:prstGeom prst="rect">
              <a:avLst/>
            </a:prstGeom>
          </p:spPr>
        </p:pic>
        <p:sp>
          <p:nvSpPr>
            <p:cNvPr id="41" name="Rectangle 40"/>
            <p:cNvSpPr/>
            <p:nvPr/>
          </p:nvSpPr>
          <p:spPr bwMode="auto">
            <a:xfrm>
              <a:off x="4422464" y="532204"/>
              <a:ext cx="2193137" cy="2184965"/>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31821" tIns="105457" rIns="131821" bIns="105457" numCol="1" spcCol="0" rtlCol="0" fromWordArt="0" anchor="t" anchorCtr="0" forceAA="0" compatLnSpc="1">
              <a:prstTxWarp prst="textNoShape">
                <a:avLst/>
              </a:prstTxWarp>
              <a:noAutofit/>
            </a:bodyPr>
            <a:lstStyle/>
            <a:p>
              <a:pPr algn="ctr" defTabSz="671942">
                <a:lnSpc>
                  <a:spcPct val="90000"/>
                </a:lnSpc>
                <a:spcBef>
                  <a:spcPts val="0"/>
                </a:spcBef>
                <a:spcAft>
                  <a:spcPts val="0"/>
                </a:spcAft>
                <a:defRPr/>
              </a:pPr>
              <a:r>
                <a:rPr lang="en-US" sz="882" kern="0" dirty="0">
                  <a:gradFill>
                    <a:gsLst>
                      <a:gs pos="0">
                        <a:srgbClr val="FFFFFF"/>
                      </a:gs>
                      <a:gs pos="100000">
                        <a:srgbClr val="FFFFFF"/>
                      </a:gs>
                    </a:gsLst>
                    <a:lin ang="5400000" scaled="0"/>
                  </a:gradFill>
                  <a:latin typeface="Segoe UI"/>
                  <a:ea typeface="Segoe UI" pitchFamily="34" charset="0"/>
                  <a:cs typeface="Segoe UI" pitchFamily="34" charset="0"/>
                </a:rPr>
                <a:t>Application Platform</a:t>
              </a:r>
            </a:p>
          </p:txBody>
        </p:sp>
        <p:grpSp>
          <p:nvGrpSpPr>
            <p:cNvPr id="137" name="Group 136"/>
            <p:cNvGrpSpPr/>
            <p:nvPr/>
          </p:nvGrpSpPr>
          <p:grpSpPr>
            <a:xfrm>
              <a:off x="4687644" y="1028128"/>
              <a:ext cx="1008542" cy="316971"/>
              <a:chOff x="5710243" y="2026656"/>
              <a:chExt cx="1008542" cy="316971"/>
            </a:xfrm>
          </p:grpSpPr>
          <p:sp>
            <p:nvSpPr>
              <p:cNvPr id="151" name="TextBox 150"/>
              <p:cNvSpPr txBox="1"/>
              <p:nvPr/>
            </p:nvSpPr>
            <p:spPr>
              <a:xfrm>
                <a:off x="6059629" y="2042521"/>
                <a:ext cx="659156" cy="301106"/>
              </a:xfrm>
              <a:prstGeom prst="rect">
                <a:avLst/>
              </a:prstGeom>
              <a:noFill/>
              <a:ln>
                <a:noFill/>
              </a:ln>
            </p:spPr>
            <p:txBody>
              <a:bodyPr wrap="none" lIns="0" tIns="20566" rIns="0" bIns="0" rtlCol="0" anchor="t">
                <a:noAutofit/>
              </a:bodyPr>
              <a:lstStyle/>
              <a:p>
                <a:pPr defTabSz="685463" eaLnBrk="0" hangingPunct="0">
                  <a:lnSpc>
                    <a:spcPts val="600"/>
                  </a:lnSpc>
                  <a:defRPr/>
                </a:pP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Web</a:t>
                </a:r>
              </a:p>
              <a:p>
                <a:pPr defTabSz="685463" eaLnBrk="0" hangingPunct="0">
                  <a:lnSpc>
                    <a:spcPts val="600"/>
                  </a:lnSpc>
                  <a:defRPr/>
                </a:pP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pps</a:t>
                </a:r>
              </a:p>
              <a:p>
                <a:pPr defTabSz="685463" eaLnBrk="0" hangingPunct="0">
                  <a:lnSpc>
                    <a:spcPts val="600"/>
                  </a:lnSpc>
                  <a:defRPr/>
                </a:pPr>
                <a:endPar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152" name="Picture 151"/>
              <p:cNvPicPr>
                <a:picLocks noChangeAspect="1"/>
              </p:cNvPicPr>
              <p:nvPr/>
            </p:nvPicPr>
            <p:blipFill>
              <a:blip r:embed="rId4" cstate="print">
                <a:biLevel thresh="25000"/>
                <a:extLst>
                  <a:ext uri="{28A0092B-C50C-407E-A947-70E740481C1C}">
                    <a14:useLocalDpi xmlns:a14="http://schemas.microsoft.com/office/drawing/2010/main" val="0"/>
                  </a:ext>
                </a:extLst>
              </a:blip>
              <a:stretch>
                <a:fillRect/>
              </a:stretch>
            </p:blipFill>
            <p:spPr>
              <a:xfrm>
                <a:off x="5710243" y="2026656"/>
                <a:ext cx="286784" cy="286785"/>
              </a:xfrm>
              <a:prstGeom prst="rect">
                <a:avLst/>
              </a:prstGeom>
            </p:spPr>
          </p:pic>
        </p:grpSp>
        <p:grpSp>
          <p:nvGrpSpPr>
            <p:cNvPr id="138" name="Group 137"/>
            <p:cNvGrpSpPr/>
            <p:nvPr/>
          </p:nvGrpSpPr>
          <p:grpSpPr>
            <a:xfrm>
              <a:off x="5600417" y="993142"/>
              <a:ext cx="1016034" cy="291093"/>
              <a:chOff x="6623016" y="1991670"/>
              <a:chExt cx="1016034" cy="291093"/>
            </a:xfrm>
          </p:grpSpPr>
          <p:sp>
            <p:nvSpPr>
              <p:cNvPr id="153" name="TextBox 152"/>
              <p:cNvSpPr txBox="1"/>
              <p:nvPr/>
            </p:nvSpPr>
            <p:spPr>
              <a:xfrm>
                <a:off x="6979894" y="2017974"/>
                <a:ext cx="659156" cy="261636"/>
              </a:xfrm>
              <a:prstGeom prst="rect">
                <a:avLst/>
              </a:prstGeom>
              <a:noFill/>
              <a:ln>
                <a:noFill/>
              </a:ln>
            </p:spPr>
            <p:txBody>
              <a:bodyPr wrap="none" lIns="0" tIns="20566" rIns="0" bIns="0" rtlCol="0" anchor="t">
                <a:noAutofit/>
              </a:bodyPr>
              <a:lstStyle/>
              <a:p>
                <a:pPr defTabSz="685463" eaLnBrk="0" hangingPunct="0">
                  <a:lnSpc>
                    <a:spcPts val="600"/>
                  </a:lnSpc>
                  <a:defRPr/>
                </a:pP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Mobile</a:t>
                </a:r>
              </a:p>
              <a:p>
                <a:pPr defTabSz="685463" eaLnBrk="0" hangingPunct="0">
                  <a:lnSpc>
                    <a:spcPts val="600"/>
                  </a:lnSpc>
                  <a:defRPr/>
                </a:pP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pps</a:t>
                </a:r>
              </a:p>
            </p:txBody>
          </p:sp>
          <p:pic>
            <p:nvPicPr>
              <p:cNvPr id="154" name="Picture 153"/>
              <p:cNvPicPr>
                <a:picLocks noChangeAspect="1"/>
              </p:cNvPicPr>
              <p:nvPr/>
            </p:nvPicPr>
            <p:blipFill>
              <a:blip r:embed="rId5" cstate="print">
                <a:biLevel thresh="25000"/>
                <a:extLst>
                  <a:ext uri="{28A0092B-C50C-407E-A947-70E740481C1C}">
                    <a14:useLocalDpi xmlns:a14="http://schemas.microsoft.com/office/drawing/2010/main" val="0"/>
                  </a:ext>
                </a:extLst>
              </a:blip>
              <a:stretch>
                <a:fillRect/>
              </a:stretch>
            </p:blipFill>
            <p:spPr>
              <a:xfrm>
                <a:off x="6623016" y="1991670"/>
                <a:ext cx="291092" cy="291093"/>
              </a:xfrm>
              <a:prstGeom prst="rect">
                <a:avLst/>
              </a:prstGeom>
            </p:spPr>
          </p:pic>
        </p:grpSp>
        <p:grpSp>
          <p:nvGrpSpPr>
            <p:cNvPr id="139" name="Group 138"/>
            <p:cNvGrpSpPr/>
            <p:nvPr/>
          </p:nvGrpSpPr>
          <p:grpSpPr>
            <a:xfrm>
              <a:off x="4736500" y="1550374"/>
              <a:ext cx="1018326" cy="294805"/>
              <a:chOff x="5759099" y="2548902"/>
              <a:chExt cx="1018326" cy="294805"/>
            </a:xfrm>
          </p:grpSpPr>
          <p:sp>
            <p:nvSpPr>
              <p:cNvPr id="157" name="TextBox 156"/>
              <p:cNvSpPr txBox="1"/>
              <p:nvPr/>
            </p:nvSpPr>
            <p:spPr>
              <a:xfrm>
                <a:off x="6118269" y="2568628"/>
                <a:ext cx="659156" cy="256602"/>
              </a:xfrm>
              <a:prstGeom prst="rect">
                <a:avLst/>
              </a:prstGeom>
              <a:noFill/>
              <a:ln>
                <a:noFill/>
              </a:ln>
            </p:spPr>
            <p:txBody>
              <a:bodyPr wrap="none" lIns="0" tIns="20566" rIns="0" bIns="0" rtlCol="0" anchor="t">
                <a:noAutofit/>
              </a:bodyPr>
              <a:lstStyle/>
              <a:p>
                <a:pPr defTabSz="685463" eaLnBrk="0" hangingPunct="0">
                  <a:lnSpc>
                    <a:spcPts val="600"/>
                  </a:lnSpc>
                  <a:defRPr/>
                </a:pP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PI </a:t>
                </a:r>
              </a:p>
              <a:p>
                <a:pPr defTabSz="685463" eaLnBrk="0" hangingPunct="0">
                  <a:lnSpc>
                    <a:spcPts val="600"/>
                  </a:lnSpc>
                  <a:defRPr/>
                </a:pP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pps</a:t>
                </a:r>
              </a:p>
            </p:txBody>
          </p:sp>
          <p:pic>
            <p:nvPicPr>
              <p:cNvPr id="158" name="Picture 157"/>
              <p:cNvPicPr>
                <a:picLocks noChangeAspect="1"/>
              </p:cNvPicPr>
              <p:nvPr/>
            </p:nvPicPr>
            <p:blipFill>
              <a:blip r:embed="rId6" cstate="print">
                <a:biLevel thresh="25000"/>
                <a:extLst>
                  <a:ext uri="{28A0092B-C50C-407E-A947-70E740481C1C}">
                    <a14:useLocalDpi xmlns:a14="http://schemas.microsoft.com/office/drawing/2010/main" val="0"/>
                  </a:ext>
                </a:extLst>
              </a:blip>
              <a:stretch>
                <a:fillRect/>
              </a:stretch>
            </p:blipFill>
            <p:spPr>
              <a:xfrm>
                <a:off x="5759099" y="2548902"/>
                <a:ext cx="294804" cy="294805"/>
              </a:xfrm>
              <a:prstGeom prst="rect">
                <a:avLst/>
              </a:prstGeom>
            </p:spPr>
          </p:pic>
        </p:grpSp>
        <p:grpSp>
          <p:nvGrpSpPr>
            <p:cNvPr id="142" name="Group 141"/>
            <p:cNvGrpSpPr/>
            <p:nvPr/>
          </p:nvGrpSpPr>
          <p:grpSpPr>
            <a:xfrm>
              <a:off x="5608845" y="2013847"/>
              <a:ext cx="1003560" cy="328116"/>
              <a:chOff x="6631444" y="3012375"/>
              <a:chExt cx="1003560" cy="328116"/>
            </a:xfrm>
          </p:grpSpPr>
          <p:sp>
            <p:nvSpPr>
              <p:cNvPr id="161" name="TextBox 160"/>
              <p:cNvSpPr txBox="1"/>
              <p:nvPr/>
            </p:nvSpPr>
            <p:spPr>
              <a:xfrm>
                <a:off x="6975848" y="3039385"/>
                <a:ext cx="659156" cy="301106"/>
              </a:xfrm>
              <a:prstGeom prst="rect">
                <a:avLst/>
              </a:prstGeom>
              <a:noFill/>
              <a:ln>
                <a:noFill/>
              </a:ln>
            </p:spPr>
            <p:txBody>
              <a:bodyPr wrap="none" lIns="0" tIns="20566" rIns="0" bIns="0" rtlCol="0" anchor="t">
                <a:noAutofit/>
              </a:bodyPr>
              <a:lstStyle/>
              <a:p>
                <a:pPr defTabSz="685463" eaLnBrk="0" hangingPunct="0">
                  <a:lnSpc>
                    <a:spcPts val="600"/>
                  </a:lnSpc>
                  <a:defRPr/>
                </a:pP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Notification </a:t>
                </a:r>
              </a:p>
              <a:p>
                <a:pPr defTabSz="685463" eaLnBrk="0" hangingPunct="0">
                  <a:lnSpc>
                    <a:spcPts val="600"/>
                  </a:lnSpc>
                  <a:defRPr/>
                </a:pP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Hubs</a:t>
                </a:r>
              </a:p>
            </p:txBody>
          </p:sp>
          <p:pic>
            <p:nvPicPr>
              <p:cNvPr id="162" name="Picture 161"/>
              <p:cNvPicPr>
                <a:picLocks noChangeAspect="1"/>
              </p:cNvPicPr>
              <p:nvPr/>
            </p:nvPicPr>
            <p:blipFill>
              <a:blip r:embed="rId7" cstate="print">
                <a:biLevel thresh="25000"/>
                <a:extLst>
                  <a:ext uri="{28A0092B-C50C-407E-A947-70E740481C1C}">
                    <a14:useLocalDpi xmlns:a14="http://schemas.microsoft.com/office/drawing/2010/main" val="0"/>
                  </a:ext>
                </a:extLst>
              </a:blip>
              <a:stretch>
                <a:fillRect/>
              </a:stretch>
            </p:blipFill>
            <p:spPr>
              <a:xfrm>
                <a:off x="6631444" y="3012375"/>
                <a:ext cx="289263" cy="289263"/>
              </a:xfrm>
              <a:prstGeom prst="rect">
                <a:avLst/>
              </a:prstGeom>
            </p:spPr>
          </p:pic>
        </p:grpSp>
        <p:sp>
          <p:nvSpPr>
            <p:cNvPr id="71" name="Rectangle 70"/>
            <p:cNvSpPr/>
            <p:nvPr/>
          </p:nvSpPr>
          <p:spPr bwMode="auto">
            <a:xfrm>
              <a:off x="10439952" y="195306"/>
              <a:ext cx="1569938" cy="4606420"/>
            </a:xfrm>
            <a:prstGeom prst="rect">
              <a:avLst/>
            </a:prstGeom>
            <a:solidFill>
              <a:srgbClr val="1B3C72"/>
            </a:solidFill>
            <a:ln w="6350" cap="flat" cmpd="sng" algn="ctr">
              <a:noFill/>
              <a:prstDash val="solid"/>
              <a:miter lim="800000"/>
              <a:headEnd type="none" w="med" len="med"/>
              <a:tailEnd type="none" w="med" len="med"/>
            </a:ln>
            <a:effectLst/>
          </p:spPr>
          <p:txBody>
            <a:bodyPr rot="0" spcFirstLastPara="0" vertOverflow="overflow" horzOverflow="overflow" vert="horz" wrap="square" lIns="131821" tIns="105457" rIns="131821" bIns="105457" numCol="1" spcCol="0" rtlCol="0" fromWordArt="0" anchor="t" anchorCtr="0" forceAA="0" compatLnSpc="1">
              <a:prstTxWarp prst="textNoShape">
                <a:avLst/>
              </a:prstTxWarp>
              <a:noAutofit/>
            </a:bodyPr>
            <a:lstStyle/>
            <a:p>
              <a:pPr algn="ctr" defTabSz="671942">
                <a:lnSpc>
                  <a:spcPct val="90000"/>
                </a:lnSpc>
                <a:spcBef>
                  <a:spcPts val="0"/>
                </a:spcBef>
                <a:spcAft>
                  <a:spcPts val="0"/>
                </a:spcAft>
                <a:defRPr/>
              </a:pPr>
              <a:r>
                <a:rPr lang="en-US" sz="882" kern="0" dirty="0">
                  <a:solidFill>
                    <a:srgbClr val="505050"/>
                  </a:solidFill>
                  <a:latin typeface="Segoe UI"/>
                  <a:ea typeface="Segoe UI" pitchFamily="34" charset="0"/>
                  <a:cs typeface="Segoe UI" pitchFamily="34" charset="0"/>
                </a:rPr>
                <a:t>Hybrid</a:t>
              </a:r>
            </a:p>
            <a:p>
              <a:pPr algn="ctr" defTabSz="671942">
                <a:lnSpc>
                  <a:spcPct val="90000"/>
                </a:lnSpc>
                <a:spcBef>
                  <a:spcPts val="0"/>
                </a:spcBef>
                <a:spcAft>
                  <a:spcPts val="0"/>
                </a:spcAft>
                <a:defRPr/>
              </a:pPr>
              <a:r>
                <a:rPr lang="en-US" sz="956" kern="0" dirty="0">
                  <a:solidFill>
                    <a:srgbClr val="505050"/>
                  </a:solidFill>
                  <a:latin typeface="Segoe UI"/>
                  <a:ea typeface="Segoe UI" pitchFamily="34" charset="0"/>
                  <a:cs typeface="Segoe UI" pitchFamily="34" charset="0"/>
                </a:rPr>
                <a:t>Cloud</a:t>
              </a:r>
            </a:p>
          </p:txBody>
        </p:sp>
        <p:sp>
          <p:nvSpPr>
            <p:cNvPr id="206" name="TextBox 205"/>
            <p:cNvSpPr txBox="1"/>
            <p:nvPr/>
          </p:nvSpPr>
          <p:spPr>
            <a:xfrm>
              <a:off x="11045032" y="2310831"/>
              <a:ext cx="659156" cy="301106"/>
            </a:xfrm>
            <a:prstGeom prst="rect">
              <a:avLst/>
            </a:prstGeom>
            <a:noFill/>
            <a:ln>
              <a:noFill/>
            </a:ln>
          </p:spPr>
          <p:txBody>
            <a:bodyPr wrap="none" lIns="0" tIns="20566" rIns="0" bIns="0" rtlCol="0">
              <a:noAutofit/>
            </a:bodyPr>
            <a:lstStyle/>
            <a:p>
              <a:pPr defTabSz="685463" eaLnBrk="0" hangingPunct="0">
                <a:lnSpc>
                  <a:spcPts val="600"/>
                </a:lnSpc>
                <a:defRPr/>
              </a:pP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Backup</a:t>
              </a:r>
            </a:p>
          </p:txBody>
        </p:sp>
        <p:pic>
          <p:nvPicPr>
            <p:cNvPr id="207" name="Picture 206" descr="Backup Service.png"/>
            <p:cNvPicPr>
              <a:picLocks noChangeAspect="1"/>
            </p:cNvPicPr>
            <p:nvPr/>
          </p:nvPicPr>
          <p:blipFill>
            <a:blip r:embed="rId8" cstate="print">
              <a:biLevel thresh="25000"/>
              <a:extLst>
                <a:ext uri="{28A0092B-C50C-407E-A947-70E740481C1C}">
                  <a14:useLocalDpi xmlns:a14="http://schemas.microsoft.com/office/drawing/2010/main" val="0"/>
                </a:ext>
              </a:extLst>
            </a:blip>
            <a:stretch>
              <a:fillRect/>
            </a:stretch>
          </p:blipFill>
          <p:spPr>
            <a:xfrm>
              <a:off x="10697472" y="2254415"/>
              <a:ext cx="296408" cy="296408"/>
            </a:xfrm>
            <a:prstGeom prst="rect">
              <a:avLst/>
            </a:prstGeom>
          </p:spPr>
        </p:pic>
        <p:sp>
          <p:nvSpPr>
            <p:cNvPr id="208" name="TextBox 207"/>
            <p:cNvSpPr txBox="1"/>
            <p:nvPr/>
          </p:nvSpPr>
          <p:spPr>
            <a:xfrm>
              <a:off x="11053641" y="4318866"/>
              <a:ext cx="659156" cy="301106"/>
            </a:xfrm>
            <a:prstGeom prst="rect">
              <a:avLst/>
            </a:prstGeom>
            <a:noFill/>
            <a:ln>
              <a:noFill/>
            </a:ln>
          </p:spPr>
          <p:txBody>
            <a:bodyPr wrap="none" lIns="0" tIns="20566" rIns="0" bIns="0" rtlCol="0">
              <a:noAutofit/>
            </a:bodyPr>
            <a:lstStyle/>
            <a:p>
              <a:pPr defTabSz="685463" eaLnBrk="0" hangingPunct="0">
                <a:lnSpc>
                  <a:spcPts val="600"/>
                </a:lnSpc>
                <a:defRPr/>
              </a:pPr>
              <a:r>
                <a:rPr lang="en-US" sz="563" b="0" kern="0" dirty="0" err="1">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torSimple</a:t>
              </a:r>
              <a:endPar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a:p>
              <a:pPr defTabSz="685463" eaLnBrk="0" hangingPunct="0">
                <a:lnSpc>
                  <a:spcPts val="600"/>
                </a:lnSpc>
                <a:defRPr/>
              </a:pPr>
              <a:endPar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209" name="Picture 208" descr="StorSimple.png"/>
            <p:cNvPicPr>
              <a:picLocks noChangeAspect="1"/>
            </p:cNvPicPr>
            <p:nvPr/>
          </p:nvPicPr>
          <p:blipFill>
            <a:blip r:embed="rId9" cstate="print">
              <a:biLevel thresh="25000"/>
              <a:extLst>
                <a:ext uri="{28A0092B-C50C-407E-A947-70E740481C1C}">
                  <a14:useLocalDpi xmlns:a14="http://schemas.microsoft.com/office/drawing/2010/main" val="0"/>
                </a:ext>
              </a:extLst>
            </a:blip>
            <a:stretch>
              <a:fillRect/>
            </a:stretch>
          </p:blipFill>
          <p:spPr>
            <a:xfrm>
              <a:off x="10707052" y="4288943"/>
              <a:ext cx="286828" cy="286828"/>
            </a:xfrm>
            <a:prstGeom prst="rect">
              <a:avLst/>
            </a:prstGeom>
          </p:spPr>
        </p:pic>
        <p:sp>
          <p:nvSpPr>
            <p:cNvPr id="210" name="TextBox 209"/>
            <p:cNvSpPr txBox="1"/>
            <p:nvPr/>
          </p:nvSpPr>
          <p:spPr>
            <a:xfrm>
              <a:off x="11060762" y="3828543"/>
              <a:ext cx="659156" cy="301106"/>
            </a:xfrm>
            <a:prstGeom prst="rect">
              <a:avLst/>
            </a:prstGeom>
            <a:noFill/>
            <a:ln>
              <a:noFill/>
            </a:ln>
          </p:spPr>
          <p:txBody>
            <a:bodyPr wrap="none" lIns="0" tIns="20566" rIns="0" bIns="0" rtlCol="0">
              <a:noAutofit/>
            </a:bodyPr>
            <a:lstStyle/>
            <a:p>
              <a:pPr defTabSz="685463" eaLnBrk="0" hangingPunct="0">
                <a:lnSpc>
                  <a:spcPts val="600"/>
                </a:lnSpc>
                <a:defRPr/>
              </a:pP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zure Site</a:t>
              </a:r>
            </a:p>
            <a:p>
              <a:pPr defTabSz="685463" eaLnBrk="0" hangingPunct="0">
                <a:lnSpc>
                  <a:spcPts val="600"/>
                </a:lnSpc>
                <a:defRPr/>
              </a:pP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Recovery </a:t>
              </a:r>
            </a:p>
          </p:txBody>
        </p:sp>
        <p:pic>
          <p:nvPicPr>
            <p:cNvPr id="211" name="Picture 210" descr="Site Recovery.png"/>
            <p:cNvPicPr>
              <a:picLocks noChangeAspect="1"/>
            </p:cNvPicPr>
            <p:nvPr/>
          </p:nvPicPr>
          <p:blipFill>
            <a:blip r:embed="rId10" cstate="print">
              <a:biLevel thresh="25000"/>
              <a:extLst>
                <a:ext uri="{28A0092B-C50C-407E-A947-70E740481C1C}">
                  <a14:useLocalDpi xmlns:a14="http://schemas.microsoft.com/office/drawing/2010/main" val="0"/>
                </a:ext>
              </a:extLst>
            </a:blip>
            <a:stretch>
              <a:fillRect/>
            </a:stretch>
          </p:blipFill>
          <p:spPr>
            <a:xfrm>
              <a:off x="10716639" y="3784086"/>
              <a:ext cx="285842" cy="285842"/>
            </a:xfrm>
            <a:prstGeom prst="rect">
              <a:avLst/>
            </a:prstGeom>
          </p:spPr>
        </p:pic>
        <p:sp>
          <p:nvSpPr>
            <p:cNvPr id="212" name="TextBox 211"/>
            <p:cNvSpPr txBox="1"/>
            <p:nvPr/>
          </p:nvSpPr>
          <p:spPr>
            <a:xfrm>
              <a:off x="11045517" y="3358602"/>
              <a:ext cx="659156" cy="301106"/>
            </a:xfrm>
            <a:prstGeom prst="rect">
              <a:avLst/>
            </a:prstGeom>
            <a:noFill/>
            <a:ln>
              <a:noFill/>
            </a:ln>
          </p:spPr>
          <p:txBody>
            <a:bodyPr wrap="none" lIns="0" tIns="20566" rIns="0" bIns="0" rtlCol="0">
              <a:noAutofit/>
            </a:bodyPr>
            <a:lstStyle/>
            <a:p>
              <a:pPr defTabSz="685463" eaLnBrk="0" hangingPunct="0">
                <a:lnSpc>
                  <a:spcPts val="600"/>
                </a:lnSpc>
                <a:defRPr/>
              </a:pP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Import/Export</a:t>
              </a:r>
            </a:p>
          </p:txBody>
        </p:sp>
        <p:pic>
          <p:nvPicPr>
            <p:cNvPr id="213" name="Picture 212" descr="Storage (Azure).png"/>
            <p:cNvPicPr>
              <a:picLocks noChangeAspect="1"/>
            </p:cNvPicPr>
            <p:nvPr/>
          </p:nvPicPr>
          <p:blipFill>
            <a:blip r:embed="rId11" cstate="print">
              <a:biLevel thresh="25000"/>
              <a:extLst>
                <a:ext uri="{28A0092B-C50C-407E-A947-70E740481C1C}">
                  <a14:useLocalDpi xmlns:a14="http://schemas.microsoft.com/office/drawing/2010/main" val="0"/>
                </a:ext>
              </a:extLst>
            </a:blip>
            <a:stretch>
              <a:fillRect/>
            </a:stretch>
          </p:blipFill>
          <p:spPr>
            <a:xfrm>
              <a:off x="10707697" y="3338544"/>
              <a:ext cx="286753" cy="286753"/>
            </a:xfrm>
            <a:prstGeom prst="rect">
              <a:avLst/>
            </a:prstGeom>
          </p:spPr>
        </p:pic>
        <p:sp>
          <p:nvSpPr>
            <p:cNvPr id="33" name="Rectangle 32"/>
            <p:cNvSpPr/>
            <p:nvPr/>
          </p:nvSpPr>
          <p:spPr bwMode="auto">
            <a:xfrm>
              <a:off x="6011602" y="4930460"/>
              <a:ext cx="6291748" cy="789804"/>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67232" tIns="33616" rIns="67232" bIns="105457" numCol="1" spcCol="0" rtlCol="0" fromWordArt="0" anchor="t" anchorCtr="0" forceAA="0" compatLnSpc="1">
              <a:prstTxWarp prst="textNoShape">
                <a:avLst/>
              </a:prstTxWarp>
              <a:noAutofit/>
            </a:bodyPr>
            <a:lstStyle/>
            <a:p>
              <a:pPr algn="ctr" defTabSz="671942">
                <a:lnSpc>
                  <a:spcPct val="90000"/>
                </a:lnSpc>
                <a:spcBef>
                  <a:spcPts val="0"/>
                </a:spcBef>
                <a:spcAft>
                  <a:spcPts val="0"/>
                </a:spcAft>
                <a:defRPr/>
              </a:pPr>
              <a:r>
                <a:rPr lang="en-US" sz="882" kern="0" dirty="0">
                  <a:gradFill>
                    <a:gsLst>
                      <a:gs pos="0">
                        <a:srgbClr val="FFFFFF"/>
                      </a:gs>
                      <a:gs pos="100000">
                        <a:srgbClr val="FFFFFF"/>
                      </a:gs>
                    </a:gsLst>
                    <a:lin ang="5400000" scaled="0"/>
                  </a:gradFill>
                  <a:latin typeface="Segoe UI"/>
                  <a:ea typeface="Segoe UI" pitchFamily="34" charset="0"/>
                  <a:cs typeface="Segoe UI" pitchFamily="34" charset="0"/>
                </a:rPr>
                <a:t>Networking</a:t>
              </a:r>
            </a:p>
          </p:txBody>
        </p:sp>
        <p:sp>
          <p:nvSpPr>
            <p:cNvPr id="37" name="Rectangle 36"/>
            <p:cNvSpPr/>
            <p:nvPr/>
          </p:nvSpPr>
          <p:spPr bwMode="auto">
            <a:xfrm>
              <a:off x="6742874" y="532204"/>
              <a:ext cx="3539738" cy="1335747"/>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31821" tIns="105457" rIns="131821" bIns="105457" numCol="1" spcCol="0" rtlCol="0" fromWordArt="0" anchor="t" anchorCtr="0" forceAA="0" compatLnSpc="1">
              <a:prstTxWarp prst="textNoShape">
                <a:avLst/>
              </a:prstTxWarp>
              <a:noAutofit/>
            </a:bodyPr>
            <a:lstStyle/>
            <a:p>
              <a:pPr algn="ctr" defTabSz="671942">
                <a:lnSpc>
                  <a:spcPct val="90000"/>
                </a:lnSpc>
                <a:spcBef>
                  <a:spcPts val="0"/>
                </a:spcBef>
                <a:spcAft>
                  <a:spcPts val="0"/>
                </a:spcAft>
                <a:defRPr/>
              </a:pPr>
              <a:r>
                <a:rPr lang="en-US" sz="882" u="sng" kern="0" dirty="0">
                  <a:solidFill>
                    <a:srgbClr val="FFFF00"/>
                  </a:solidFill>
                  <a:latin typeface="Segoe UI"/>
                  <a:ea typeface="Segoe UI" pitchFamily="34" charset="0"/>
                  <a:cs typeface="Segoe UI" pitchFamily="34" charset="0"/>
                </a:rPr>
                <a:t>Data</a:t>
              </a:r>
            </a:p>
          </p:txBody>
        </p:sp>
        <p:grpSp>
          <p:nvGrpSpPr>
            <p:cNvPr id="388" name="Group 387"/>
            <p:cNvGrpSpPr/>
            <p:nvPr/>
          </p:nvGrpSpPr>
          <p:grpSpPr>
            <a:xfrm>
              <a:off x="6923783" y="889774"/>
              <a:ext cx="1052323" cy="324187"/>
              <a:chOff x="8470741" y="3254791"/>
              <a:chExt cx="1052323" cy="324187"/>
            </a:xfrm>
          </p:grpSpPr>
          <p:sp>
            <p:nvSpPr>
              <p:cNvPr id="171" name="TextBox 170"/>
              <p:cNvSpPr txBox="1"/>
              <p:nvPr/>
            </p:nvSpPr>
            <p:spPr>
              <a:xfrm>
                <a:off x="8863908" y="3277873"/>
                <a:ext cx="659156" cy="301105"/>
              </a:xfrm>
              <a:prstGeom prst="rect">
                <a:avLst/>
              </a:prstGeom>
              <a:noFill/>
              <a:ln>
                <a:noFill/>
              </a:ln>
            </p:spPr>
            <p:txBody>
              <a:bodyPr wrap="none" lIns="0" tIns="20566" rIns="0" bIns="0" rtlCol="0">
                <a:noAutofit/>
              </a:bodyPr>
              <a:lstStyle/>
              <a:p>
                <a:pPr defTabSz="685463" eaLnBrk="0" hangingPunct="0">
                  <a:lnSpc>
                    <a:spcPts val="600"/>
                  </a:lnSpc>
                  <a:defRPr/>
                </a:pP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QL </a:t>
                </a:r>
              </a:p>
              <a:p>
                <a:pPr defTabSz="685463" eaLnBrk="0" hangingPunct="0">
                  <a:lnSpc>
                    <a:spcPts val="600"/>
                  </a:lnSpc>
                  <a:defRPr/>
                </a:pP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Database</a:t>
                </a:r>
              </a:p>
            </p:txBody>
          </p:sp>
          <p:pic>
            <p:nvPicPr>
              <p:cNvPr id="172" name="Picture 171"/>
              <p:cNvPicPr>
                <a:picLocks noChangeAspect="1"/>
              </p:cNvPicPr>
              <p:nvPr/>
            </p:nvPicPr>
            <p:blipFill>
              <a:blip r:embed="rId12" cstate="print">
                <a:biLevel thresh="25000"/>
                <a:extLst>
                  <a:ext uri="{28A0092B-C50C-407E-A947-70E740481C1C}">
                    <a14:useLocalDpi xmlns:a14="http://schemas.microsoft.com/office/drawing/2010/main" val="0"/>
                  </a:ext>
                </a:extLst>
              </a:blip>
              <a:stretch>
                <a:fillRect/>
              </a:stretch>
            </p:blipFill>
            <p:spPr>
              <a:xfrm>
                <a:off x="8470741" y="3254791"/>
                <a:ext cx="296809" cy="296809"/>
              </a:xfrm>
              <a:prstGeom prst="rect">
                <a:avLst/>
              </a:prstGeom>
            </p:spPr>
          </p:pic>
        </p:grpSp>
        <p:grpSp>
          <p:nvGrpSpPr>
            <p:cNvPr id="390" name="Group 389"/>
            <p:cNvGrpSpPr/>
            <p:nvPr/>
          </p:nvGrpSpPr>
          <p:grpSpPr>
            <a:xfrm>
              <a:off x="9045716" y="929682"/>
              <a:ext cx="993052" cy="352571"/>
              <a:chOff x="10592674" y="3294699"/>
              <a:chExt cx="993052" cy="352571"/>
            </a:xfrm>
          </p:grpSpPr>
          <p:sp>
            <p:nvSpPr>
              <p:cNvPr id="173" name="TextBox 172"/>
              <p:cNvSpPr txBox="1"/>
              <p:nvPr/>
            </p:nvSpPr>
            <p:spPr>
              <a:xfrm>
                <a:off x="10926570" y="3346165"/>
                <a:ext cx="659156" cy="301105"/>
              </a:xfrm>
              <a:prstGeom prst="rect">
                <a:avLst/>
              </a:prstGeom>
              <a:noFill/>
              <a:ln>
                <a:noFill/>
              </a:ln>
            </p:spPr>
            <p:txBody>
              <a:bodyPr wrap="none" lIns="0" tIns="20566" rIns="0" bIns="0" rtlCol="0">
                <a:noAutofit/>
              </a:bodyPr>
              <a:lstStyle/>
              <a:p>
                <a:pPr defTabSz="685463" eaLnBrk="0" hangingPunct="0">
                  <a:lnSpc>
                    <a:spcPts val="600"/>
                  </a:lnSpc>
                  <a:defRPr/>
                </a:pP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DocumentDB</a:t>
                </a:r>
              </a:p>
            </p:txBody>
          </p:sp>
          <p:pic>
            <p:nvPicPr>
              <p:cNvPr id="174" name="Picture 173"/>
              <p:cNvPicPr>
                <a:picLocks noChangeAspect="1"/>
              </p:cNvPicPr>
              <p:nvPr/>
            </p:nvPicPr>
            <p:blipFill>
              <a:blip r:embed="rId13" cstate="print">
                <a:biLevel thresh="25000"/>
                <a:extLst>
                  <a:ext uri="{28A0092B-C50C-407E-A947-70E740481C1C}">
                    <a14:useLocalDpi xmlns:a14="http://schemas.microsoft.com/office/drawing/2010/main" val="0"/>
                  </a:ext>
                </a:extLst>
              </a:blip>
              <a:stretch>
                <a:fillRect/>
              </a:stretch>
            </p:blipFill>
            <p:spPr>
              <a:xfrm>
                <a:off x="10592674" y="3294699"/>
                <a:ext cx="290620" cy="290619"/>
              </a:xfrm>
              <a:prstGeom prst="rect">
                <a:avLst/>
              </a:prstGeom>
            </p:spPr>
          </p:pic>
        </p:grpSp>
        <p:grpSp>
          <p:nvGrpSpPr>
            <p:cNvPr id="391" name="Group 390"/>
            <p:cNvGrpSpPr/>
            <p:nvPr/>
          </p:nvGrpSpPr>
          <p:grpSpPr>
            <a:xfrm>
              <a:off x="8045777" y="1414488"/>
              <a:ext cx="1011763" cy="318839"/>
              <a:chOff x="9523064" y="3779505"/>
              <a:chExt cx="1011763" cy="318839"/>
            </a:xfrm>
          </p:grpSpPr>
          <p:sp>
            <p:nvSpPr>
              <p:cNvPr id="175" name="TextBox 174"/>
              <p:cNvSpPr txBox="1"/>
              <p:nvPr/>
            </p:nvSpPr>
            <p:spPr>
              <a:xfrm>
                <a:off x="9875671" y="3797239"/>
                <a:ext cx="659156" cy="301105"/>
              </a:xfrm>
              <a:prstGeom prst="rect">
                <a:avLst/>
              </a:prstGeom>
              <a:noFill/>
              <a:ln>
                <a:noFill/>
              </a:ln>
            </p:spPr>
            <p:txBody>
              <a:bodyPr wrap="none" lIns="0" tIns="20566" rIns="0" bIns="0" rtlCol="0">
                <a:noAutofit/>
              </a:bodyPr>
              <a:lstStyle/>
              <a:p>
                <a:pPr defTabSz="685463" eaLnBrk="0" hangingPunct="0">
                  <a:lnSpc>
                    <a:spcPts val="600"/>
                  </a:lnSpc>
                  <a:defRPr/>
                </a:pP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Redis </a:t>
                </a:r>
              </a:p>
              <a:p>
                <a:pPr defTabSz="685463" eaLnBrk="0" hangingPunct="0">
                  <a:lnSpc>
                    <a:spcPts val="600"/>
                  </a:lnSpc>
                  <a:defRPr/>
                </a:pP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Cache</a:t>
                </a:r>
              </a:p>
            </p:txBody>
          </p:sp>
          <p:pic>
            <p:nvPicPr>
              <p:cNvPr id="176" name="Picture 175"/>
              <p:cNvPicPr>
                <a:picLocks noChangeAspect="1"/>
              </p:cNvPicPr>
              <p:nvPr/>
            </p:nvPicPr>
            <p:blipFill>
              <a:blip r:embed="rId14" cstate="print">
                <a:biLevel thresh="25000"/>
                <a:extLst>
                  <a:ext uri="{28A0092B-C50C-407E-A947-70E740481C1C}">
                    <a14:useLocalDpi xmlns:a14="http://schemas.microsoft.com/office/drawing/2010/main" val="0"/>
                  </a:ext>
                </a:extLst>
              </a:blip>
              <a:stretch>
                <a:fillRect/>
              </a:stretch>
            </p:blipFill>
            <p:spPr>
              <a:xfrm>
                <a:off x="9523064" y="3779505"/>
                <a:ext cx="289282" cy="289282"/>
              </a:xfrm>
              <a:prstGeom prst="rect">
                <a:avLst/>
              </a:prstGeom>
            </p:spPr>
          </p:pic>
        </p:grpSp>
        <p:grpSp>
          <p:nvGrpSpPr>
            <p:cNvPr id="392" name="Group 391"/>
            <p:cNvGrpSpPr/>
            <p:nvPr/>
          </p:nvGrpSpPr>
          <p:grpSpPr>
            <a:xfrm>
              <a:off x="9559960" y="1410308"/>
              <a:ext cx="1011560" cy="324689"/>
              <a:chOff x="11106918" y="3775325"/>
              <a:chExt cx="1011560" cy="324689"/>
            </a:xfrm>
          </p:grpSpPr>
          <p:sp>
            <p:nvSpPr>
              <p:cNvPr id="177" name="TextBox 176"/>
              <p:cNvSpPr txBox="1"/>
              <p:nvPr/>
            </p:nvSpPr>
            <p:spPr>
              <a:xfrm>
                <a:off x="11459322" y="3798909"/>
                <a:ext cx="659156" cy="301105"/>
              </a:xfrm>
              <a:prstGeom prst="rect">
                <a:avLst/>
              </a:prstGeom>
              <a:noFill/>
              <a:ln>
                <a:noFill/>
              </a:ln>
            </p:spPr>
            <p:txBody>
              <a:bodyPr wrap="none" lIns="0" tIns="20566" rIns="0" bIns="0" rtlCol="0">
                <a:noAutofit/>
              </a:bodyPr>
              <a:lstStyle/>
              <a:p>
                <a:pPr defTabSz="685463" eaLnBrk="0" hangingPunct="0">
                  <a:lnSpc>
                    <a:spcPts val="600"/>
                  </a:lnSpc>
                  <a:defRPr/>
                </a:pP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zure</a:t>
                </a:r>
              </a:p>
              <a:p>
                <a:pPr defTabSz="685463" eaLnBrk="0" hangingPunct="0">
                  <a:lnSpc>
                    <a:spcPts val="600"/>
                  </a:lnSpc>
                  <a:defRPr/>
                </a:pP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earch</a:t>
                </a:r>
              </a:p>
              <a:p>
                <a:pPr defTabSz="685463" eaLnBrk="0" hangingPunct="0">
                  <a:lnSpc>
                    <a:spcPts val="600"/>
                  </a:lnSpc>
                  <a:defRPr/>
                </a:pPr>
                <a:endPar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178" name="Picture 177"/>
              <p:cNvPicPr>
                <a:picLocks noChangeAspect="1"/>
              </p:cNvPicPr>
              <p:nvPr/>
            </p:nvPicPr>
            <p:blipFill>
              <a:blip r:embed="rId15" cstate="print">
                <a:biLevel thresh="25000"/>
                <a:extLst>
                  <a:ext uri="{28A0092B-C50C-407E-A947-70E740481C1C}">
                    <a14:useLocalDpi xmlns:a14="http://schemas.microsoft.com/office/drawing/2010/main" val="0"/>
                  </a:ext>
                </a:extLst>
              </a:blip>
              <a:stretch>
                <a:fillRect/>
              </a:stretch>
            </p:blipFill>
            <p:spPr>
              <a:xfrm>
                <a:off x="11106918" y="3775325"/>
                <a:ext cx="293993" cy="293993"/>
              </a:xfrm>
              <a:prstGeom prst="rect">
                <a:avLst/>
              </a:prstGeom>
            </p:spPr>
          </p:pic>
        </p:grpSp>
        <p:grpSp>
          <p:nvGrpSpPr>
            <p:cNvPr id="393" name="Group 392"/>
            <p:cNvGrpSpPr/>
            <p:nvPr/>
          </p:nvGrpSpPr>
          <p:grpSpPr>
            <a:xfrm>
              <a:off x="8767152" y="1412176"/>
              <a:ext cx="1037278" cy="318561"/>
              <a:chOff x="10314110" y="3777193"/>
              <a:chExt cx="1037278" cy="318561"/>
            </a:xfrm>
          </p:grpSpPr>
          <p:sp>
            <p:nvSpPr>
              <p:cNvPr id="179" name="TextBox 178"/>
              <p:cNvSpPr txBox="1"/>
              <p:nvPr/>
            </p:nvSpPr>
            <p:spPr>
              <a:xfrm>
                <a:off x="10692232" y="3794649"/>
                <a:ext cx="659156" cy="301105"/>
              </a:xfrm>
              <a:prstGeom prst="rect">
                <a:avLst/>
              </a:prstGeom>
              <a:noFill/>
              <a:ln>
                <a:noFill/>
              </a:ln>
            </p:spPr>
            <p:txBody>
              <a:bodyPr wrap="none" lIns="0" tIns="20566" rIns="0" bIns="0" rtlCol="0">
                <a:noAutofit/>
              </a:bodyPr>
              <a:lstStyle/>
              <a:p>
                <a:pPr defTabSz="685463" eaLnBrk="0" hangingPunct="0">
                  <a:lnSpc>
                    <a:spcPts val="600"/>
                  </a:lnSpc>
                  <a:defRPr/>
                </a:pP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torage</a:t>
                </a:r>
              </a:p>
              <a:p>
                <a:pPr defTabSz="685463" eaLnBrk="0" hangingPunct="0">
                  <a:lnSpc>
                    <a:spcPts val="600"/>
                  </a:lnSpc>
                  <a:defRPr/>
                </a:pP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Tables</a:t>
                </a:r>
              </a:p>
            </p:txBody>
          </p:sp>
          <p:pic>
            <p:nvPicPr>
              <p:cNvPr id="180" name="Picture 179" descr="Storage table.png"/>
              <p:cNvPicPr>
                <a:picLocks noChangeAspect="1"/>
              </p:cNvPicPr>
              <p:nvPr/>
            </p:nvPicPr>
            <p:blipFill>
              <a:blip r:embed="rId16" cstate="print">
                <a:biLevel thresh="25000"/>
                <a:extLst>
                  <a:ext uri="{28A0092B-C50C-407E-A947-70E740481C1C}">
                    <a14:useLocalDpi xmlns:a14="http://schemas.microsoft.com/office/drawing/2010/main" val="0"/>
                  </a:ext>
                </a:extLst>
              </a:blip>
              <a:stretch>
                <a:fillRect/>
              </a:stretch>
            </p:blipFill>
            <p:spPr>
              <a:xfrm>
                <a:off x="10314110" y="3777193"/>
                <a:ext cx="288561" cy="288560"/>
              </a:xfrm>
              <a:prstGeom prst="rect">
                <a:avLst/>
              </a:prstGeom>
            </p:spPr>
          </p:pic>
        </p:grpSp>
        <p:grpSp>
          <p:nvGrpSpPr>
            <p:cNvPr id="389" name="Group 388"/>
            <p:cNvGrpSpPr/>
            <p:nvPr/>
          </p:nvGrpSpPr>
          <p:grpSpPr>
            <a:xfrm>
              <a:off x="8028919" y="927036"/>
              <a:ext cx="773361" cy="354046"/>
              <a:chOff x="9575877" y="3292053"/>
              <a:chExt cx="773361" cy="354046"/>
            </a:xfrm>
          </p:grpSpPr>
          <p:pic>
            <p:nvPicPr>
              <p:cNvPr id="17" name="Picture 16"/>
              <p:cNvPicPr>
                <a:picLocks noChangeAspect="1"/>
              </p:cNvPicPr>
              <p:nvPr/>
            </p:nvPicPr>
            <p:blipFill>
              <a:blip r:embed="rId17"/>
              <a:stretch>
                <a:fillRect/>
              </a:stretch>
            </p:blipFill>
            <p:spPr>
              <a:xfrm>
                <a:off x="9575877" y="3292053"/>
                <a:ext cx="320616" cy="290558"/>
              </a:xfrm>
              <a:prstGeom prst="rect">
                <a:avLst/>
              </a:prstGeom>
            </p:spPr>
          </p:pic>
          <p:sp>
            <p:nvSpPr>
              <p:cNvPr id="246" name="TextBox 245"/>
              <p:cNvSpPr txBox="1"/>
              <p:nvPr/>
            </p:nvSpPr>
            <p:spPr>
              <a:xfrm>
                <a:off x="9951425" y="3320023"/>
                <a:ext cx="397813" cy="326076"/>
              </a:xfrm>
              <a:prstGeom prst="rect">
                <a:avLst/>
              </a:prstGeom>
              <a:noFill/>
              <a:ln>
                <a:noFill/>
              </a:ln>
            </p:spPr>
            <p:txBody>
              <a:bodyPr wrap="none" lIns="0" tIns="20566" rIns="0" bIns="0" rtlCol="0">
                <a:noAutofit/>
              </a:bodyPr>
              <a:lstStyle/>
              <a:p>
                <a:pPr defTabSz="685463" eaLnBrk="0" hangingPunct="0">
                  <a:lnSpc>
                    <a:spcPts val="600"/>
                  </a:lnSpc>
                  <a:defRPr/>
                </a:pP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QL Data</a:t>
                </a:r>
              </a:p>
              <a:p>
                <a:pPr defTabSz="685463" eaLnBrk="0" hangingPunct="0">
                  <a:lnSpc>
                    <a:spcPts val="600"/>
                  </a:lnSpc>
                  <a:defRPr/>
                </a:pP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Warehouse</a:t>
                </a:r>
              </a:p>
            </p:txBody>
          </p:sp>
        </p:grpSp>
        <p:sp>
          <p:nvSpPr>
            <p:cNvPr id="9" name="Freeform 8"/>
            <p:cNvSpPr/>
            <p:nvPr/>
          </p:nvSpPr>
          <p:spPr bwMode="auto">
            <a:xfrm>
              <a:off x="11186705" y="2720539"/>
              <a:ext cx="69056" cy="38723"/>
            </a:xfrm>
            <a:custGeom>
              <a:avLst/>
              <a:gdLst>
                <a:gd name="connsiteX0" fmla="*/ 0 w 69056"/>
                <a:gd name="connsiteY0" fmla="*/ 16668 h 38723"/>
                <a:gd name="connsiteX1" fmla="*/ 26194 w 69056"/>
                <a:gd name="connsiteY1" fmla="*/ 7143 h 38723"/>
                <a:gd name="connsiteX2" fmla="*/ 28575 w 69056"/>
                <a:gd name="connsiteY2" fmla="*/ 0 h 38723"/>
                <a:gd name="connsiteX3" fmla="*/ 30956 w 69056"/>
                <a:gd name="connsiteY3" fmla="*/ 7143 h 38723"/>
                <a:gd name="connsiteX4" fmla="*/ 33337 w 69056"/>
                <a:gd name="connsiteY4" fmla="*/ 38100 h 38723"/>
                <a:gd name="connsiteX5" fmla="*/ 35719 w 69056"/>
                <a:gd name="connsiteY5" fmla="*/ 28575 h 38723"/>
                <a:gd name="connsiteX6" fmla="*/ 42862 w 69056"/>
                <a:gd name="connsiteY6" fmla="*/ 23812 h 38723"/>
                <a:gd name="connsiteX7" fmla="*/ 69056 w 69056"/>
                <a:gd name="connsiteY7" fmla="*/ 19050 h 387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056" h="38723">
                  <a:moveTo>
                    <a:pt x="0" y="16668"/>
                  </a:moveTo>
                  <a:cubicBezTo>
                    <a:pt x="14329" y="14877"/>
                    <a:pt x="18768" y="18282"/>
                    <a:pt x="26194" y="7143"/>
                  </a:cubicBezTo>
                  <a:cubicBezTo>
                    <a:pt x="27586" y="5055"/>
                    <a:pt x="27781" y="2381"/>
                    <a:pt x="28575" y="0"/>
                  </a:cubicBezTo>
                  <a:cubicBezTo>
                    <a:pt x="29369" y="2381"/>
                    <a:pt x="30645" y="4653"/>
                    <a:pt x="30956" y="7143"/>
                  </a:cubicBezTo>
                  <a:cubicBezTo>
                    <a:pt x="32240" y="17413"/>
                    <a:pt x="31092" y="27997"/>
                    <a:pt x="33337" y="38100"/>
                  </a:cubicBezTo>
                  <a:cubicBezTo>
                    <a:pt x="34047" y="41295"/>
                    <a:pt x="33904" y="31298"/>
                    <a:pt x="35719" y="28575"/>
                  </a:cubicBezTo>
                  <a:cubicBezTo>
                    <a:pt x="37306" y="26194"/>
                    <a:pt x="40247" y="24974"/>
                    <a:pt x="42862" y="23812"/>
                  </a:cubicBezTo>
                  <a:cubicBezTo>
                    <a:pt x="56400" y="17795"/>
                    <a:pt x="55699" y="19050"/>
                    <a:pt x="69056" y="19050"/>
                  </a:cubicBezTo>
                </a:path>
              </a:pathLst>
            </a:cu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672290" fontAlgn="auto">
                <a:spcBef>
                  <a:spcPts val="0"/>
                </a:spcBef>
                <a:spcAft>
                  <a:spcPts val="0"/>
                </a:spcAft>
                <a:defRPr/>
              </a:pPr>
              <a:endParaRPr lang="en-US" sz="1324" b="0" kern="0">
                <a:solidFill>
                  <a:sysClr val="windowText" lastClr="000000"/>
                </a:solidFill>
                <a:latin typeface="Segoe UI"/>
              </a:endParaRPr>
            </a:p>
          </p:txBody>
        </p:sp>
        <p:sp>
          <p:nvSpPr>
            <p:cNvPr id="197" name="TextBox 196"/>
            <p:cNvSpPr txBox="1"/>
            <p:nvPr/>
          </p:nvSpPr>
          <p:spPr>
            <a:xfrm>
              <a:off x="11062374" y="780083"/>
              <a:ext cx="659156" cy="301105"/>
            </a:xfrm>
            <a:prstGeom prst="rect">
              <a:avLst/>
            </a:prstGeom>
            <a:noFill/>
            <a:ln>
              <a:noFill/>
            </a:ln>
          </p:spPr>
          <p:txBody>
            <a:bodyPr wrap="none" lIns="0" tIns="20566" rIns="0" bIns="0" rtlCol="0">
              <a:noAutofit/>
            </a:bodyPr>
            <a:lstStyle/>
            <a:p>
              <a:pPr defTabSz="685463" eaLnBrk="0" hangingPunct="0">
                <a:lnSpc>
                  <a:spcPts val="600"/>
                </a:lnSpc>
                <a:defRPr/>
              </a:pP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zure AD </a:t>
              </a:r>
            </a:p>
            <a:p>
              <a:pPr defTabSz="685463" eaLnBrk="0" hangingPunct="0">
                <a:lnSpc>
                  <a:spcPts val="600"/>
                </a:lnSpc>
                <a:defRPr/>
              </a:pP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Health Monitoring</a:t>
              </a:r>
            </a:p>
          </p:txBody>
        </p:sp>
        <p:grpSp>
          <p:nvGrpSpPr>
            <p:cNvPr id="229" name="Group 228"/>
            <p:cNvGrpSpPr/>
            <p:nvPr/>
          </p:nvGrpSpPr>
          <p:grpSpPr>
            <a:xfrm>
              <a:off x="10701099" y="766052"/>
              <a:ext cx="310605" cy="667840"/>
              <a:chOff x="10740783" y="736599"/>
              <a:chExt cx="310605" cy="667839"/>
            </a:xfrm>
          </p:grpSpPr>
          <p:pic>
            <p:nvPicPr>
              <p:cNvPr id="222" name="Picture 221" descr="Azure Active Directory.png"/>
              <p:cNvPicPr>
                <a:picLocks noChangeAspect="1"/>
              </p:cNvPicPr>
              <p:nvPr/>
            </p:nvPicPr>
            <p:blipFill>
              <a:blip r:embed="rId18" cstate="print">
                <a:biLevel thresh="25000"/>
                <a:extLst>
                  <a:ext uri="{28A0092B-C50C-407E-A947-70E740481C1C}">
                    <a14:useLocalDpi xmlns:a14="http://schemas.microsoft.com/office/drawing/2010/main" val="0"/>
                  </a:ext>
                </a:extLst>
              </a:blip>
              <a:stretch>
                <a:fillRect/>
              </a:stretch>
            </p:blipFill>
            <p:spPr>
              <a:xfrm>
                <a:off x="10740783" y="736599"/>
                <a:ext cx="262077" cy="262076"/>
              </a:xfrm>
              <a:prstGeom prst="rect">
                <a:avLst/>
              </a:prstGeom>
            </p:spPr>
          </p:pic>
          <p:sp>
            <p:nvSpPr>
              <p:cNvPr id="2" name="Heart 1"/>
              <p:cNvSpPr/>
              <p:nvPr/>
            </p:nvSpPr>
            <p:spPr bwMode="auto">
              <a:xfrm>
                <a:off x="10905025" y="1275030"/>
                <a:ext cx="146363" cy="129408"/>
              </a:xfrm>
              <a:prstGeom prst="heart">
                <a:avLst/>
              </a:prstGeom>
              <a:solidFill>
                <a:schemeClr val="bg1"/>
              </a:solidFill>
              <a:ln w="12700">
                <a:solidFill>
                  <a:srgbClr val="00569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a:lnSpc>
                    <a:spcPct val="90000"/>
                  </a:lnSpc>
                  <a:defRPr/>
                </a:pPr>
                <a:endParaRPr lang="en-US" sz="1471" kern="0" dirty="0">
                  <a:solidFill>
                    <a:srgbClr val="505050"/>
                  </a:solidFill>
                  <a:latin typeface="Segoe UI Light"/>
                  <a:ea typeface="Segoe UI" pitchFamily="34" charset="0"/>
                  <a:cs typeface="Segoe UI" pitchFamily="34" charset="0"/>
                </a:endParaRPr>
              </a:p>
            </p:txBody>
          </p:sp>
          <p:grpSp>
            <p:nvGrpSpPr>
              <p:cNvPr id="22" name="Group 21"/>
              <p:cNvGrpSpPr/>
              <p:nvPr/>
            </p:nvGrpSpPr>
            <p:grpSpPr>
              <a:xfrm>
                <a:off x="10911015" y="1312918"/>
                <a:ext cx="107890" cy="50915"/>
                <a:chOff x="11033154" y="1382736"/>
                <a:chExt cx="155481" cy="72283"/>
              </a:xfrm>
            </p:grpSpPr>
            <p:cxnSp>
              <p:nvCxnSpPr>
                <p:cNvPr id="11" name="Straight Connector 10"/>
                <p:cNvCxnSpPr/>
                <p:nvPr/>
              </p:nvCxnSpPr>
              <p:spPr>
                <a:xfrm flipV="1">
                  <a:off x="11033154" y="1413481"/>
                  <a:ext cx="50167" cy="1722"/>
                </a:xfrm>
                <a:prstGeom prst="line">
                  <a:avLst/>
                </a:prstGeom>
                <a:ln>
                  <a:solidFill>
                    <a:srgbClr val="00569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3" name="Straight Connector 222"/>
                <p:cNvCxnSpPr/>
                <p:nvPr/>
              </p:nvCxnSpPr>
              <p:spPr>
                <a:xfrm flipV="1">
                  <a:off x="11138468" y="1418244"/>
                  <a:ext cx="50167" cy="1722"/>
                </a:xfrm>
                <a:prstGeom prst="line">
                  <a:avLst/>
                </a:prstGeom>
                <a:ln>
                  <a:solidFill>
                    <a:srgbClr val="00569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4" name="Straight Connector 223"/>
                <p:cNvCxnSpPr/>
                <p:nvPr/>
              </p:nvCxnSpPr>
              <p:spPr>
                <a:xfrm>
                  <a:off x="11113046" y="1382736"/>
                  <a:ext cx="1" cy="70787"/>
                </a:xfrm>
                <a:prstGeom prst="line">
                  <a:avLst/>
                </a:prstGeom>
                <a:ln>
                  <a:solidFill>
                    <a:srgbClr val="00569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5" name="Straight Connector 224"/>
                <p:cNvCxnSpPr/>
                <p:nvPr/>
              </p:nvCxnSpPr>
              <p:spPr>
                <a:xfrm flipV="1">
                  <a:off x="11080878" y="1387719"/>
                  <a:ext cx="25083" cy="27484"/>
                </a:xfrm>
                <a:prstGeom prst="line">
                  <a:avLst/>
                </a:prstGeom>
                <a:ln>
                  <a:solidFill>
                    <a:srgbClr val="00569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6" name="Straight Connector 225"/>
                <p:cNvCxnSpPr/>
                <p:nvPr/>
              </p:nvCxnSpPr>
              <p:spPr>
                <a:xfrm flipV="1">
                  <a:off x="11105959" y="1418129"/>
                  <a:ext cx="34927" cy="36890"/>
                </a:xfrm>
                <a:prstGeom prst="line">
                  <a:avLst/>
                </a:prstGeom>
                <a:ln>
                  <a:solidFill>
                    <a:srgbClr val="005695"/>
                  </a:solidFill>
                  <a:headEnd type="none"/>
                  <a:tailEnd type="none"/>
                </a:ln>
              </p:spPr>
              <p:style>
                <a:lnRef idx="1">
                  <a:schemeClr val="accent1"/>
                </a:lnRef>
                <a:fillRef idx="0">
                  <a:schemeClr val="accent1"/>
                </a:fillRef>
                <a:effectRef idx="0">
                  <a:schemeClr val="accent1"/>
                </a:effectRef>
                <a:fontRef idx="minor">
                  <a:schemeClr val="tx1"/>
                </a:fontRef>
              </p:style>
            </p:cxnSp>
          </p:grpSp>
        </p:grpSp>
        <p:sp>
          <p:nvSpPr>
            <p:cNvPr id="24" name="Rectangle 23"/>
            <p:cNvSpPr/>
            <p:nvPr/>
          </p:nvSpPr>
          <p:spPr bwMode="auto">
            <a:xfrm>
              <a:off x="6072473" y="5231160"/>
              <a:ext cx="843562" cy="346180"/>
            </a:xfrm>
            <a:prstGeom prst="rect">
              <a:avLst/>
            </a:prstGeom>
            <a:solidFill>
              <a:srgbClr val="0072C6"/>
            </a:solidFill>
            <a:ln w="6350" cap="flat" cmpd="sng" algn="ctr">
              <a:noFill/>
              <a:prstDash val="solid"/>
              <a:miter lim="800000"/>
              <a:headEnd type="none" w="med" len="med"/>
              <a:tailEnd type="none" w="med" len="med"/>
            </a:ln>
            <a:effectLst/>
          </p:spPr>
          <p:txBody>
            <a:bodyPr rot="0" spcFirstLastPara="0" vertOverflow="overflow" horzOverflow="overflow" vert="horz" wrap="square" lIns="228588" tIns="33616" rIns="0" bIns="105457" numCol="1" spcCol="0" rtlCol="0" fromWordArt="0" anchor="t" anchorCtr="0" forceAA="0" compatLnSpc="1">
              <a:prstTxWarp prst="textNoShape">
                <a:avLst/>
              </a:prstTxWarp>
              <a:noAutofit/>
            </a:bodyPr>
            <a:lstStyle/>
            <a:p>
              <a:pPr defTabSz="671942">
                <a:lnSpc>
                  <a:spcPct val="90000"/>
                </a:lnSpc>
                <a:spcBef>
                  <a:spcPts val="0"/>
                </a:spcBef>
                <a:spcAft>
                  <a:spcPts val="0"/>
                </a:spcAft>
                <a:defRPr/>
              </a:pPr>
              <a:r>
                <a:rPr lang="en-US" sz="588" b="0" kern="0" dirty="0">
                  <a:gradFill>
                    <a:gsLst>
                      <a:gs pos="0">
                        <a:srgbClr val="FFFFFF"/>
                      </a:gs>
                      <a:gs pos="100000">
                        <a:srgbClr val="FFFFFF"/>
                      </a:gs>
                    </a:gsLst>
                    <a:lin ang="5400000" scaled="0"/>
                  </a:gradFill>
                  <a:latin typeface="Segoe UI"/>
                  <a:ea typeface="Segoe UI" pitchFamily="34" charset="0"/>
                  <a:cs typeface="Segoe UI" pitchFamily="34" charset="0"/>
                </a:rPr>
                <a:t>Virtual Network</a:t>
              </a:r>
            </a:p>
          </p:txBody>
        </p:sp>
        <p:pic>
          <p:nvPicPr>
            <p:cNvPr id="227" name="Picture 226"/>
            <p:cNvPicPr>
              <a:picLocks noChangeAspect="1"/>
            </p:cNvPicPr>
            <p:nvPr/>
          </p:nvPicPr>
          <p:blipFill>
            <a:blip r:embed="rId19" cstate="print">
              <a:biLevel thresh="25000"/>
              <a:extLst>
                <a:ext uri="{28A0092B-C50C-407E-A947-70E740481C1C}">
                  <a14:useLocalDpi xmlns:a14="http://schemas.microsoft.com/office/drawing/2010/main" val="0"/>
                </a:ext>
              </a:extLst>
            </a:blip>
            <a:stretch>
              <a:fillRect/>
            </a:stretch>
          </p:blipFill>
          <p:spPr>
            <a:xfrm>
              <a:off x="6082198" y="5251801"/>
              <a:ext cx="267702" cy="267702"/>
            </a:xfrm>
            <a:prstGeom prst="rect">
              <a:avLst/>
            </a:prstGeom>
            <a:solidFill>
              <a:srgbClr val="0072C6"/>
            </a:solidFill>
          </p:spPr>
        </p:pic>
        <p:sp>
          <p:nvSpPr>
            <p:cNvPr id="27" name="Rectangle 26"/>
            <p:cNvSpPr/>
            <p:nvPr/>
          </p:nvSpPr>
          <p:spPr bwMode="auto">
            <a:xfrm>
              <a:off x="8562711" y="5275218"/>
              <a:ext cx="925510" cy="346426"/>
            </a:xfrm>
            <a:prstGeom prst="rect">
              <a:avLst/>
            </a:prstGeom>
            <a:solidFill>
              <a:srgbClr val="0072C6"/>
            </a:solidFill>
            <a:ln w="6350" cap="flat" cmpd="sng" algn="ctr">
              <a:noFill/>
              <a:prstDash val="solid"/>
              <a:miter lim="800000"/>
              <a:headEnd type="none" w="med" len="med"/>
              <a:tailEnd type="none" w="med" len="med"/>
            </a:ln>
            <a:effectLst/>
          </p:spPr>
          <p:txBody>
            <a:bodyPr rot="0" spcFirstLastPara="0" vertOverflow="overflow" horzOverflow="overflow" vert="horz" wrap="square" lIns="228588" tIns="13446" rIns="0" bIns="67232" numCol="1" spcCol="0" rtlCol="0" fromWordArt="0" anchor="t" anchorCtr="0" forceAA="0" compatLnSpc="1">
              <a:prstTxWarp prst="textNoShape">
                <a:avLst/>
              </a:prstTxWarp>
              <a:noAutofit/>
            </a:bodyPr>
            <a:lstStyle/>
            <a:p>
              <a:pPr defTabSz="671942">
                <a:lnSpc>
                  <a:spcPct val="90000"/>
                </a:lnSpc>
                <a:spcBef>
                  <a:spcPts val="0"/>
                </a:spcBef>
                <a:spcAft>
                  <a:spcPts val="0"/>
                </a:spcAft>
                <a:defRPr/>
              </a:pPr>
              <a:r>
                <a:rPr lang="en-US" sz="588" b="0" kern="0" dirty="0">
                  <a:gradFill>
                    <a:gsLst>
                      <a:gs pos="0">
                        <a:srgbClr val="FFFFFF"/>
                      </a:gs>
                      <a:gs pos="100000">
                        <a:srgbClr val="FFFFFF"/>
                      </a:gs>
                    </a:gsLst>
                    <a:lin ang="5400000" scaled="0"/>
                  </a:gradFill>
                  <a:latin typeface="Segoe UI"/>
                  <a:ea typeface="Segoe UI" pitchFamily="34" charset="0"/>
                  <a:cs typeface="Segoe UI" pitchFamily="34" charset="0"/>
                </a:rPr>
                <a:t>Express</a:t>
              </a:r>
            </a:p>
            <a:p>
              <a:pPr defTabSz="671942">
                <a:lnSpc>
                  <a:spcPct val="90000"/>
                </a:lnSpc>
                <a:spcBef>
                  <a:spcPts val="0"/>
                </a:spcBef>
                <a:spcAft>
                  <a:spcPts val="0"/>
                </a:spcAft>
                <a:defRPr/>
              </a:pPr>
              <a:r>
                <a:rPr lang="en-US" sz="588" b="0" kern="0" dirty="0">
                  <a:gradFill>
                    <a:gsLst>
                      <a:gs pos="0">
                        <a:srgbClr val="FFFFFF"/>
                      </a:gs>
                      <a:gs pos="100000">
                        <a:srgbClr val="FFFFFF"/>
                      </a:gs>
                    </a:gsLst>
                    <a:lin ang="5400000" scaled="0"/>
                  </a:gradFill>
                  <a:latin typeface="Segoe UI"/>
                  <a:ea typeface="Segoe UI" pitchFamily="34" charset="0"/>
                  <a:cs typeface="Segoe UI" pitchFamily="34" charset="0"/>
                </a:rPr>
                <a:t>Route</a:t>
              </a:r>
            </a:p>
          </p:txBody>
        </p:sp>
        <p:pic>
          <p:nvPicPr>
            <p:cNvPr id="228" name="Picture 227"/>
            <p:cNvPicPr>
              <a:picLocks noChangeAspect="1"/>
            </p:cNvPicPr>
            <p:nvPr/>
          </p:nvPicPr>
          <p:blipFill>
            <a:blip r:embed="rId20" cstate="print">
              <a:biLevel thresh="25000"/>
              <a:extLst>
                <a:ext uri="{28A0092B-C50C-407E-A947-70E740481C1C}">
                  <a14:useLocalDpi xmlns:a14="http://schemas.microsoft.com/office/drawing/2010/main" val="0"/>
                </a:ext>
              </a:extLst>
            </a:blip>
            <a:stretch>
              <a:fillRect/>
            </a:stretch>
          </p:blipFill>
          <p:spPr>
            <a:xfrm>
              <a:off x="8564935" y="5259772"/>
              <a:ext cx="251761" cy="251761"/>
            </a:xfrm>
            <a:prstGeom prst="rect">
              <a:avLst/>
            </a:prstGeom>
            <a:solidFill>
              <a:srgbClr val="0072C6"/>
            </a:solidFill>
          </p:spPr>
        </p:pic>
        <p:sp>
          <p:nvSpPr>
            <p:cNvPr id="25" name="Rectangle 24"/>
            <p:cNvSpPr/>
            <p:nvPr/>
          </p:nvSpPr>
          <p:spPr bwMode="auto">
            <a:xfrm>
              <a:off x="3021712" y="5284429"/>
              <a:ext cx="569842" cy="363427"/>
            </a:xfrm>
            <a:prstGeom prst="rect">
              <a:avLst/>
            </a:prstGeom>
            <a:solidFill>
              <a:srgbClr val="0072C6"/>
            </a:solidFill>
            <a:ln w="6350" cap="flat" cmpd="sng" algn="ctr">
              <a:noFill/>
              <a:prstDash val="solid"/>
              <a:miter lim="800000"/>
              <a:headEnd type="none" w="med" len="med"/>
              <a:tailEnd type="none" w="med" len="med"/>
            </a:ln>
            <a:effectLst/>
          </p:spPr>
          <p:txBody>
            <a:bodyPr rot="0" spcFirstLastPara="0" vertOverflow="overflow" horzOverflow="overflow" vert="horz" wrap="square" lIns="228588" tIns="33616" rIns="0" bIns="105457" numCol="1" spcCol="0" rtlCol="0" fromWordArt="0" anchor="t" anchorCtr="0" forceAA="0" compatLnSpc="1">
              <a:prstTxWarp prst="textNoShape">
                <a:avLst/>
              </a:prstTxWarp>
              <a:noAutofit/>
            </a:bodyPr>
            <a:lstStyle/>
            <a:p>
              <a:pPr defTabSz="671942">
                <a:lnSpc>
                  <a:spcPct val="90000"/>
                </a:lnSpc>
                <a:spcBef>
                  <a:spcPts val="0"/>
                </a:spcBef>
                <a:spcAft>
                  <a:spcPts val="0"/>
                </a:spcAft>
                <a:defRPr/>
              </a:pPr>
              <a:r>
                <a:rPr lang="en-US" sz="588" b="0" kern="0" dirty="0">
                  <a:gradFill>
                    <a:gsLst>
                      <a:gs pos="0">
                        <a:srgbClr val="FFFFFF"/>
                      </a:gs>
                      <a:gs pos="100000">
                        <a:srgbClr val="FFFFFF"/>
                      </a:gs>
                    </a:gsLst>
                    <a:lin ang="5400000" scaled="0"/>
                  </a:gradFill>
                  <a:latin typeface="Segoe UI"/>
                  <a:ea typeface="Segoe UI" pitchFamily="34" charset="0"/>
                  <a:cs typeface="Segoe UI" pitchFamily="34" charset="0"/>
                </a:rPr>
                <a:t>Blob</a:t>
              </a:r>
            </a:p>
          </p:txBody>
        </p:sp>
        <p:pic>
          <p:nvPicPr>
            <p:cNvPr id="232" name="Picture 231" descr="Storage blob.png"/>
            <p:cNvPicPr>
              <a:picLocks noChangeAspect="1"/>
            </p:cNvPicPr>
            <p:nvPr/>
          </p:nvPicPr>
          <p:blipFill>
            <a:blip r:embed="rId21" cstate="print">
              <a:biLevel thresh="25000"/>
              <a:extLst>
                <a:ext uri="{28A0092B-C50C-407E-A947-70E740481C1C}">
                  <a14:useLocalDpi xmlns:a14="http://schemas.microsoft.com/office/drawing/2010/main" val="0"/>
                </a:ext>
              </a:extLst>
            </a:blip>
            <a:stretch>
              <a:fillRect/>
            </a:stretch>
          </p:blipFill>
          <p:spPr>
            <a:xfrm>
              <a:off x="3033370" y="5271155"/>
              <a:ext cx="247169" cy="247170"/>
            </a:xfrm>
            <a:prstGeom prst="rect">
              <a:avLst/>
            </a:prstGeom>
          </p:spPr>
        </p:pic>
        <p:sp>
          <p:nvSpPr>
            <p:cNvPr id="26" name="Rectangle 25"/>
            <p:cNvSpPr/>
            <p:nvPr/>
          </p:nvSpPr>
          <p:spPr bwMode="auto">
            <a:xfrm>
              <a:off x="4531845" y="5289354"/>
              <a:ext cx="571089" cy="363427"/>
            </a:xfrm>
            <a:prstGeom prst="rect">
              <a:avLst/>
            </a:prstGeom>
            <a:solidFill>
              <a:srgbClr val="0072C6"/>
            </a:solidFill>
            <a:ln w="6350" cap="flat" cmpd="sng" algn="ctr">
              <a:noFill/>
              <a:prstDash val="solid"/>
              <a:miter lim="800000"/>
              <a:headEnd type="none" w="med" len="med"/>
              <a:tailEnd type="none" w="med" len="med"/>
            </a:ln>
            <a:effectLst/>
          </p:spPr>
          <p:txBody>
            <a:bodyPr rot="0" spcFirstLastPara="0" vertOverflow="overflow" horzOverflow="overflow" vert="horz" wrap="square" lIns="228588" tIns="33616" rIns="0" bIns="105457" numCol="1" spcCol="0" rtlCol="0" fromWordArt="0" anchor="t" anchorCtr="0" forceAA="0" compatLnSpc="1">
              <a:prstTxWarp prst="textNoShape">
                <a:avLst/>
              </a:prstTxWarp>
              <a:noAutofit/>
            </a:bodyPr>
            <a:lstStyle/>
            <a:p>
              <a:pPr defTabSz="671942">
                <a:lnSpc>
                  <a:spcPct val="90000"/>
                </a:lnSpc>
                <a:spcBef>
                  <a:spcPts val="0"/>
                </a:spcBef>
                <a:spcAft>
                  <a:spcPts val="0"/>
                </a:spcAft>
                <a:defRPr/>
              </a:pPr>
              <a:r>
                <a:rPr lang="en-US" sz="588" b="0" kern="0" dirty="0">
                  <a:gradFill>
                    <a:gsLst>
                      <a:gs pos="0">
                        <a:srgbClr val="FFFFFF"/>
                      </a:gs>
                      <a:gs pos="100000">
                        <a:srgbClr val="FFFFFF"/>
                      </a:gs>
                    </a:gsLst>
                    <a:lin ang="5400000" scaled="0"/>
                  </a:gradFill>
                  <a:latin typeface="Segoe UI"/>
                  <a:ea typeface="Segoe UI" pitchFamily="34" charset="0"/>
                  <a:cs typeface="Segoe UI" pitchFamily="34" charset="0"/>
                </a:rPr>
                <a:t>Files</a:t>
              </a:r>
            </a:p>
          </p:txBody>
        </p:sp>
        <p:pic>
          <p:nvPicPr>
            <p:cNvPr id="233" name="Picture 232" descr="Storage blob.png"/>
            <p:cNvPicPr>
              <a:picLocks noChangeAspect="1"/>
            </p:cNvPicPr>
            <p:nvPr/>
          </p:nvPicPr>
          <p:blipFill>
            <a:blip r:embed="rId21" cstate="print">
              <a:biLevel thresh="25000"/>
              <a:extLst>
                <a:ext uri="{28A0092B-C50C-407E-A947-70E740481C1C}">
                  <a14:useLocalDpi xmlns:a14="http://schemas.microsoft.com/office/drawing/2010/main" val="0"/>
                </a:ext>
              </a:extLst>
            </a:blip>
            <a:stretch>
              <a:fillRect/>
            </a:stretch>
          </p:blipFill>
          <p:spPr>
            <a:xfrm>
              <a:off x="4543126" y="5276081"/>
              <a:ext cx="247169" cy="247170"/>
            </a:xfrm>
            <a:prstGeom prst="rect">
              <a:avLst/>
            </a:prstGeom>
          </p:spPr>
        </p:pic>
        <p:sp>
          <p:nvSpPr>
            <p:cNvPr id="61" name="Rectangle 60"/>
            <p:cNvSpPr/>
            <p:nvPr/>
          </p:nvSpPr>
          <p:spPr bwMode="auto">
            <a:xfrm>
              <a:off x="5176861" y="5284427"/>
              <a:ext cx="615430" cy="363427"/>
            </a:xfrm>
            <a:prstGeom prst="rect">
              <a:avLst/>
            </a:prstGeom>
            <a:solidFill>
              <a:srgbClr val="0072C6"/>
            </a:solidFill>
            <a:ln w="6350" cap="flat" cmpd="sng" algn="ctr">
              <a:noFill/>
              <a:prstDash val="solid"/>
              <a:miter lim="800000"/>
              <a:headEnd type="none" w="med" len="med"/>
              <a:tailEnd type="none" w="med" len="med"/>
            </a:ln>
            <a:effectLst/>
          </p:spPr>
          <p:txBody>
            <a:bodyPr rot="0" spcFirstLastPara="0" vertOverflow="overflow" horzOverflow="overflow" vert="horz" wrap="square" lIns="228588" tIns="33616" rIns="0" bIns="105457" numCol="1" spcCol="0" rtlCol="0" fromWordArt="0" anchor="t" anchorCtr="0" forceAA="0" compatLnSpc="1">
              <a:prstTxWarp prst="textNoShape">
                <a:avLst/>
              </a:prstTxWarp>
              <a:noAutofit/>
            </a:bodyPr>
            <a:lstStyle/>
            <a:p>
              <a:pPr defTabSz="671942">
                <a:lnSpc>
                  <a:spcPct val="90000"/>
                </a:lnSpc>
                <a:spcBef>
                  <a:spcPts val="0"/>
                </a:spcBef>
                <a:spcAft>
                  <a:spcPts val="0"/>
                </a:spcAft>
                <a:defRPr/>
              </a:pPr>
              <a:r>
                <a:rPr lang="en-US" sz="588" b="0" kern="0" dirty="0">
                  <a:gradFill>
                    <a:gsLst>
                      <a:gs pos="0">
                        <a:srgbClr val="FFFFFF"/>
                      </a:gs>
                      <a:gs pos="100000">
                        <a:srgbClr val="FFFFFF"/>
                      </a:gs>
                    </a:gsLst>
                    <a:lin ang="5400000" scaled="0"/>
                  </a:gradFill>
                  <a:latin typeface="Segoe UI"/>
                  <a:ea typeface="Segoe UI" pitchFamily="34" charset="0"/>
                  <a:cs typeface="Segoe UI" pitchFamily="34" charset="0"/>
                </a:rPr>
                <a:t>Disks</a:t>
              </a:r>
            </a:p>
          </p:txBody>
        </p:sp>
        <p:pic>
          <p:nvPicPr>
            <p:cNvPr id="234" name="Picture 233" descr="Storage blob.png"/>
            <p:cNvPicPr>
              <a:picLocks noChangeAspect="1"/>
            </p:cNvPicPr>
            <p:nvPr/>
          </p:nvPicPr>
          <p:blipFill>
            <a:blip r:embed="rId21" cstate="print">
              <a:biLevel thresh="25000"/>
              <a:extLst>
                <a:ext uri="{28A0092B-C50C-407E-A947-70E740481C1C}">
                  <a14:useLocalDpi xmlns:a14="http://schemas.microsoft.com/office/drawing/2010/main" val="0"/>
                </a:ext>
              </a:extLst>
            </a:blip>
            <a:stretch>
              <a:fillRect/>
            </a:stretch>
          </p:blipFill>
          <p:spPr>
            <a:xfrm>
              <a:off x="5180537" y="5271155"/>
              <a:ext cx="247169" cy="247170"/>
            </a:xfrm>
            <a:prstGeom prst="rect">
              <a:avLst/>
            </a:prstGeom>
          </p:spPr>
        </p:pic>
        <p:sp>
          <p:nvSpPr>
            <p:cNvPr id="43" name="Rectangle 42"/>
            <p:cNvSpPr/>
            <p:nvPr/>
          </p:nvSpPr>
          <p:spPr bwMode="auto">
            <a:xfrm>
              <a:off x="273828" y="5296256"/>
              <a:ext cx="1149786" cy="356066"/>
            </a:xfrm>
            <a:prstGeom prst="rect">
              <a:avLst/>
            </a:prstGeom>
            <a:solidFill>
              <a:srgbClr val="0072C6"/>
            </a:solidFill>
            <a:ln w="6350" cap="flat" cmpd="sng" algn="ctr">
              <a:noFill/>
              <a:prstDash val="solid"/>
              <a:miter lim="800000"/>
              <a:headEnd type="none" w="med" len="med"/>
              <a:tailEnd type="none" w="med" len="med"/>
            </a:ln>
            <a:effectLst/>
          </p:spPr>
          <p:txBody>
            <a:bodyPr rot="0" spcFirstLastPara="0" vertOverflow="overflow" horzOverflow="overflow" vert="horz" wrap="square" lIns="228588" tIns="33616" rIns="0" bIns="105457" numCol="1" spcCol="0" rtlCol="0" fromWordArt="0" anchor="t" anchorCtr="0" forceAA="0" compatLnSpc="1">
              <a:prstTxWarp prst="textNoShape">
                <a:avLst/>
              </a:prstTxWarp>
              <a:noAutofit/>
            </a:bodyPr>
            <a:lstStyle/>
            <a:p>
              <a:pPr defTabSz="671942">
                <a:lnSpc>
                  <a:spcPct val="90000"/>
                </a:lnSpc>
                <a:spcBef>
                  <a:spcPts val="0"/>
                </a:spcBef>
                <a:spcAft>
                  <a:spcPts val="0"/>
                </a:spcAft>
                <a:defRPr/>
              </a:pPr>
              <a:r>
                <a:rPr lang="en-US" sz="588" b="0" kern="0" dirty="0">
                  <a:gradFill>
                    <a:gsLst>
                      <a:gs pos="0">
                        <a:srgbClr val="FFFFFF"/>
                      </a:gs>
                      <a:gs pos="100000">
                        <a:srgbClr val="FFFFFF"/>
                      </a:gs>
                    </a:gsLst>
                    <a:lin ang="5400000" scaled="0"/>
                  </a:gradFill>
                  <a:latin typeface="Segoe UI"/>
                  <a:ea typeface="Segoe UI" pitchFamily="34" charset="0"/>
                  <a:cs typeface="Segoe UI" pitchFamily="34" charset="0"/>
                </a:rPr>
                <a:t>Virtual Machines</a:t>
              </a:r>
            </a:p>
          </p:txBody>
        </p:sp>
        <p:pic>
          <p:nvPicPr>
            <p:cNvPr id="235" name="Picture 234"/>
            <p:cNvPicPr>
              <a:picLocks noChangeAspect="1"/>
            </p:cNvPicPr>
            <p:nvPr/>
          </p:nvPicPr>
          <p:blipFill>
            <a:blip r:embed="rId22" cstate="print">
              <a:biLevel thresh="25000"/>
              <a:extLst>
                <a:ext uri="{28A0092B-C50C-407E-A947-70E740481C1C}">
                  <a14:useLocalDpi xmlns:a14="http://schemas.microsoft.com/office/drawing/2010/main" val="0"/>
                </a:ext>
              </a:extLst>
            </a:blip>
            <a:stretch>
              <a:fillRect/>
            </a:stretch>
          </p:blipFill>
          <p:spPr>
            <a:xfrm>
              <a:off x="250303" y="5281215"/>
              <a:ext cx="261581" cy="261582"/>
            </a:xfrm>
            <a:prstGeom prst="rect">
              <a:avLst/>
            </a:prstGeom>
            <a:ln>
              <a:noFill/>
            </a:ln>
          </p:spPr>
        </p:pic>
        <p:sp>
          <p:nvSpPr>
            <p:cNvPr id="236" name="TextBox 235"/>
            <p:cNvSpPr txBox="1"/>
            <p:nvPr/>
          </p:nvSpPr>
          <p:spPr>
            <a:xfrm>
              <a:off x="11062374" y="1231696"/>
              <a:ext cx="659156" cy="301106"/>
            </a:xfrm>
            <a:prstGeom prst="rect">
              <a:avLst/>
            </a:prstGeom>
            <a:noFill/>
            <a:ln>
              <a:noFill/>
            </a:ln>
          </p:spPr>
          <p:txBody>
            <a:bodyPr wrap="none" lIns="0" tIns="20566" rIns="0" bIns="0" rtlCol="0">
              <a:noAutofit/>
            </a:bodyPr>
            <a:lstStyle/>
            <a:p>
              <a:pPr defTabSz="685463" eaLnBrk="0" hangingPunct="0">
                <a:lnSpc>
                  <a:spcPts val="600"/>
                </a:lnSpc>
                <a:defRPr/>
              </a:pP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D Privileged</a:t>
              </a:r>
            </a:p>
            <a:p>
              <a:pPr defTabSz="685463" eaLnBrk="0" hangingPunct="0">
                <a:lnSpc>
                  <a:spcPts val="600"/>
                </a:lnSpc>
                <a:defRPr/>
              </a:pP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Identity </a:t>
              </a:r>
            </a:p>
            <a:p>
              <a:pPr defTabSz="685463" eaLnBrk="0" hangingPunct="0">
                <a:lnSpc>
                  <a:spcPts val="600"/>
                </a:lnSpc>
                <a:defRPr/>
              </a:pP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Management</a:t>
              </a:r>
            </a:p>
          </p:txBody>
        </p:sp>
        <p:pic>
          <p:nvPicPr>
            <p:cNvPr id="272" name="Picture 271"/>
            <p:cNvPicPr>
              <a:picLocks noChangeAspect="1"/>
            </p:cNvPicPr>
            <p:nvPr/>
          </p:nvPicPr>
          <p:blipFill>
            <a:blip r:embed="rId23"/>
            <a:stretch>
              <a:fillRect/>
            </a:stretch>
          </p:blipFill>
          <p:spPr>
            <a:xfrm>
              <a:off x="10695453" y="1253262"/>
              <a:ext cx="245456" cy="317925"/>
            </a:xfrm>
            <a:prstGeom prst="rect">
              <a:avLst/>
            </a:prstGeom>
          </p:spPr>
        </p:pic>
        <p:sp>
          <p:nvSpPr>
            <p:cNvPr id="28" name="Rectangle 27"/>
            <p:cNvSpPr/>
            <p:nvPr/>
          </p:nvSpPr>
          <p:spPr bwMode="auto">
            <a:xfrm>
              <a:off x="9495794" y="5230828"/>
              <a:ext cx="921643" cy="346426"/>
            </a:xfrm>
            <a:prstGeom prst="rect">
              <a:avLst/>
            </a:prstGeom>
            <a:solidFill>
              <a:srgbClr val="0072C6"/>
            </a:solidFill>
            <a:ln w="6350" cap="flat" cmpd="sng" algn="ctr">
              <a:noFill/>
              <a:prstDash val="solid"/>
              <a:miter lim="800000"/>
              <a:headEnd type="none" w="med" len="med"/>
              <a:tailEnd type="none" w="med" len="med"/>
            </a:ln>
            <a:effectLst/>
          </p:spPr>
          <p:txBody>
            <a:bodyPr rot="0" spcFirstLastPara="0" vertOverflow="overflow" horzOverflow="overflow" vert="horz" wrap="square" lIns="228588" tIns="33616" rIns="0" bIns="105457" numCol="1" spcCol="0" rtlCol="0" fromWordArt="0" anchor="t" anchorCtr="0" forceAA="0" compatLnSpc="1">
              <a:prstTxWarp prst="textNoShape">
                <a:avLst/>
              </a:prstTxWarp>
              <a:noAutofit/>
            </a:bodyPr>
            <a:lstStyle/>
            <a:p>
              <a:pPr defTabSz="671942">
                <a:lnSpc>
                  <a:spcPct val="90000"/>
                </a:lnSpc>
                <a:spcBef>
                  <a:spcPts val="0"/>
                </a:spcBef>
                <a:spcAft>
                  <a:spcPts val="0"/>
                </a:spcAft>
                <a:defRPr/>
              </a:pPr>
              <a:r>
                <a:rPr lang="en-US" sz="588" b="0" kern="0" dirty="0">
                  <a:gradFill>
                    <a:gsLst>
                      <a:gs pos="0">
                        <a:srgbClr val="FFFFFF"/>
                      </a:gs>
                      <a:gs pos="100000">
                        <a:srgbClr val="FFFFFF"/>
                      </a:gs>
                    </a:gsLst>
                    <a:lin ang="5400000" scaled="0"/>
                  </a:gradFill>
                  <a:latin typeface="Segoe UI"/>
                  <a:ea typeface="Segoe UI" pitchFamily="34" charset="0"/>
                  <a:cs typeface="Segoe UI" pitchFamily="34" charset="0"/>
                </a:rPr>
                <a:t>Traffic Manager</a:t>
              </a:r>
            </a:p>
          </p:txBody>
        </p:sp>
        <p:pic>
          <p:nvPicPr>
            <p:cNvPr id="89" name="Picture 88"/>
            <p:cNvPicPr>
              <a:picLocks noChangeAspect="1"/>
            </p:cNvPicPr>
            <p:nvPr/>
          </p:nvPicPr>
          <p:blipFill>
            <a:blip r:embed="rId24" cstate="print">
              <a:biLevel thresh="25000"/>
              <a:extLst>
                <a:ext uri="{28A0092B-C50C-407E-A947-70E740481C1C}">
                  <a14:useLocalDpi xmlns:a14="http://schemas.microsoft.com/office/drawing/2010/main" val="0"/>
                </a:ext>
              </a:extLst>
            </a:blip>
            <a:stretch>
              <a:fillRect/>
            </a:stretch>
          </p:blipFill>
          <p:spPr>
            <a:xfrm>
              <a:off x="9543599" y="5280589"/>
              <a:ext cx="210127" cy="210127"/>
            </a:xfrm>
            <a:prstGeom prst="rect">
              <a:avLst/>
            </a:prstGeom>
            <a:solidFill>
              <a:srgbClr val="0072C6"/>
            </a:solidFill>
          </p:spPr>
        </p:pic>
        <p:sp>
          <p:nvSpPr>
            <p:cNvPr id="247" name="Rectangle 246"/>
            <p:cNvSpPr/>
            <p:nvPr/>
          </p:nvSpPr>
          <p:spPr bwMode="auto">
            <a:xfrm>
              <a:off x="11373143" y="5230828"/>
              <a:ext cx="870398" cy="346426"/>
            </a:xfrm>
            <a:prstGeom prst="rect">
              <a:avLst/>
            </a:prstGeom>
            <a:solidFill>
              <a:srgbClr val="0072C6"/>
            </a:solidFill>
            <a:ln w="6350" cap="flat" cmpd="sng" algn="ctr">
              <a:noFill/>
              <a:prstDash val="solid"/>
              <a:miter lim="800000"/>
              <a:headEnd type="none" w="med" len="med"/>
              <a:tailEnd type="none" w="med" len="med"/>
            </a:ln>
            <a:effectLst/>
          </p:spPr>
          <p:txBody>
            <a:bodyPr rot="0" spcFirstLastPara="0" vertOverflow="overflow" horzOverflow="overflow" vert="horz" wrap="square" lIns="228588" tIns="26893" rIns="0" bIns="105457" numCol="1" spcCol="0" rtlCol="0" fromWordArt="0" anchor="t" anchorCtr="0" forceAA="0" compatLnSpc="1">
              <a:prstTxWarp prst="textNoShape">
                <a:avLst/>
              </a:prstTxWarp>
              <a:noAutofit/>
            </a:bodyPr>
            <a:lstStyle/>
            <a:p>
              <a:pPr defTabSz="671942">
                <a:lnSpc>
                  <a:spcPct val="90000"/>
                </a:lnSpc>
                <a:spcBef>
                  <a:spcPts val="0"/>
                </a:spcBef>
                <a:spcAft>
                  <a:spcPts val="0"/>
                </a:spcAft>
                <a:defRPr/>
              </a:pPr>
              <a:r>
                <a:rPr lang="en-US" sz="588" b="0" kern="0" dirty="0">
                  <a:gradFill>
                    <a:gsLst>
                      <a:gs pos="0">
                        <a:srgbClr val="FFFFFF"/>
                      </a:gs>
                      <a:gs pos="100000">
                        <a:srgbClr val="FFFFFF"/>
                      </a:gs>
                    </a:gsLst>
                    <a:lin ang="5400000" scaled="0"/>
                  </a:gradFill>
                  <a:latin typeface="Segoe UI"/>
                  <a:ea typeface="Segoe UI" pitchFamily="34" charset="0"/>
                  <a:cs typeface="Segoe UI" pitchFamily="34" charset="0"/>
                </a:rPr>
                <a:t>App</a:t>
              </a:r>
            </a:p>
            <a:p>
              <a:pPr defTabSz="671942">
                <a:lnSpc>
                  <a:spcPct val="90000"/>
                </a:lnSpc>
                <a:spcBef>
                  <a:spcPts val="0"/>
                </a:spcBef>
                <a:spcAft>
                  <a:spcPts val="0"/>
                </a:spcAft>
                <a:defRPr/>
              </a:pPr>
              <a:r>
                <a:rPr lang="en-US" sz="588" b="0" kern="0" dirty="0">
                  <a:gradFill>
                    <a:gsLst>
                      <a:gs pos="0">
                        <a:srgbClr val="FFFFFF"/>
                      </a:gs>
                      <a:gs pos="100000">
                        <a:srgbClr val="FFFFFF"/>
                      </a:gs>
                    </a:gsLst>
                    <a:lin ang="5400000" scaled="0"/>
                  </a:gradFill>
                  <a:latin typeface="Segoe UI"/>
                  <a:ea typeface="Segoe UI" pitchFamily="34" charset="0"/>
                  <a:cs typeface="Segoe UI" pitchFamily="34" charset="0"/>
                </a:rPr>
                <a:t>Gateway</a:t>
              </a:r>
            </a:p>
          </p:txBody>
        </p:sp>
        <p:sp>
          <p:nvSpPr>
            <p:cNvPr id="327" name="Freeform 326"/>
            <p:cNvSpPr/>
            <p:nvPr/>
          </p:nvSpPr>
          <p:spPr bwMode="auto">
            <a:xfrm rot="2700000">
              <a:off x="11423302" y="5291608"/>
              <a:ext cx="188089" cy="188089"/>
            </a:xfrm>
            <a:custGeom>
              <a:avLst/>
              <a:gdLst>
                <a:gd name="connsiteX0" fmla="*/ 314803 w 613867"/>
                <a:gd name="connsiteY0" fmla="*/ 374281 h 613867"/>
                <a:gd name="connsiteX1" fmla="*/ 390557 w 613867"/>
                <a:gd name="connsiteY1" fmla="*/ 450035 h 613867"/>
                <a:gd name="connsiteX2" fmla="*/ 330696 w 613867"/>
                <a:gd name="connsiteY2" fmla="*/ 509896 h 613867"/>
                <a:gd name="connsiteX3" fmla="*/ 507842 w 613867"/>
                <a:gd name="connsiteY3" fmla="*/ 504902 h 613867"/>
                <a:gd name="connsiteX4" fmla="*/ 512837 w 613867"/>
                <a:gd name="connsiteY4" fmla="*/ 327756 h 613867"/>
                <a:gd name="connsiteX5" fmla="*/ 452975 w 613867"/>
                <a:gd name="connsiteY5" fmla="*/ 387617 h 613867"/>
                <a:gd name="connsiteX6" fmla="*/ 377221 w 613867"/>
                <a:gd name="connsiteY6" fmla="*/ 311863 h 613867"/>
                <a:gd name="connsiteX7" fmla="*/ 367619 w 613867"/>
                <a:gd name="connsiteY7" fmla="*/ 63753 h 613867"/>
                <a:gd name="connsiteX8" fmla="*/ 372612 w 613867"/>
                <a:gd name="connsiteY8" fmla="*/ 240900 h 613867"/>
                <a:gd name="connsiteX9" fmla="*/ 549761 w 613867"/>
                <a:gd name="connsiteY9" fmla="*/ 245895 h 613867"/>
                <a:gd name="connsiteX10" fmla="*/ 489898 w 613867"/>
                <a:gd name="connsiteY10" fmla="*/ 186033 h 613867"/>
                <a:gd name="connsiteX11" fmla="*/ 565652 w 613867"/>
                <a:gd name="connsiteY11" fmla="*/ 110279 h 613867"/>
                <a:gd name="connsiteX12" fmla="*/ 503234 w 613867"/>
                <a:gd name="connsiteY12" fmla="*/ 47861 h 613867"/>
                <a:gd name="connsiteX13" fmla="*/ 427480 w 613867"/>
                <a:gd name="connsiteY13" fmla="*/ 123615 h 613867"/>
                <a:gd name="connsiteX14" fmla="*/ 60550 w 613867"/>
                <a:gd name="connsiteY14" fmla="*/ 370823 h 613867"/>
                <a:gd name="connsiteX15" fmla="*/ 120411 w 613867"/>
                <a:gd name="connsiteY15" fmla="*/ 430684 h 613867"/>
                <a:gd name="connsiteX16" fmla="*/ 44657 w 613867"/>
                <a:gd name="connsiteY16" fmla="*/ 506438 h 613867"/>
                <a:gd name="connsiteX17" fmla="*/ 107075 w 613867"/>
                <a:gd name="connsiteY17" fmla="*/ 568856 h 613867"/>
                <a:gd name="connsiteX18" fmla="*/ 182829 w 613867"/>
                <a:gd name="connsiteY18" fmla="*/ 493102 h 613867"/>
                <a:gd name="connsiteX19" fmla="*/ 242691 w 613867"/>
                <a:gd name="connsiteY19" fmla="*/ 552964 h 613867"/>
                <a:gd name="connsiteX20" fmla="*/ 237696 w 613867"/>
                <a:gd name="connsiteY20" fmla="*/ 375818 h 613867"/>
                <a:gd name="connsiteX21" fmla="*/ 104519 w 613867"/>
                <a:gd name="connsiteY21" fmla="*/ 101580 h 613867"/>
                <a:gd name="connsiteX22" fmla="*/ 99524 w 613867"/>
                <a:gd name="connsiteY22" fmla="*/ 278727 h 613867"/>
                <a:gd name="connsiteX23" fmla="*/ 159386 w 613867"/>
                <a:gd name="connsiteY23" fmla="*/ 218865 h 613867"/>
                <a:gd name="connsiteX24" fmla="*/ 235140 w 613867"/>
                <a:gd name="connsiteY24" fmla="*/ 294619 h 613867"/>
                <a:gd name="connsiteX25" fmla="*/ 297558 w 613867"/>
                <a:gd name="connsiteY25" fmla="*/ 232201 h 613867"/>
                <a:gd name="connsiteX26" fmla="*/ 221804 w 613867"/>
                <a:gd name="connsiteY26" fmla="*/ 156447 h 613867"/>
                <a:gd name="connsiteX27" fmla="*/ 281665 w 613867"/>
                <a:gd name="connsiteY27" fmla="*/ 96586 h 613867"/>
                <a:gd name="connsiteX28" fmla="*/ 29967 w 613867"/>
                <a:gd name="connsiteY28" fmla="*/ 29967 h 613867"/>
                <a:gd name="connsiteX29" fmla="*/ 102313 w 613867"/>
                <a:gd name="connsiteY29" fmla="*/ 0 h 613867"/>
                <a:gd name="connsiteX30" fmla="*/ 511554 w 613867"/>
                <a:gd name="connsiteY30" fmla="*/ 0 h 613867"/>
                <a:gd name="connsiteX31" fmla="*/ 613867 w 613867"/>
                <a:gd name="connsiteY31" fmla="*/ 102313 h 613867"/>
                <a:gd name="connsiteX32" fmla="*/ 613867 w 613867"/>
                <a:gd name="connsiteY32" fmla="*/ 511554 h 613867"/>
                <a:gd name="connsiteX33" fmla="*/ 511554 w 613867"/>
                <a:gd name="connsiteY33" fmla="*/ 613867 h 613867"/>
                <a:gd name="connsiteX34" fmla="*/ 102313 w 613867"/>
                <a:gd name="connsiteY34" fmla="*/ 613867 h 613867"/>
                <a:gd name="connsiteX35" fmla="*/ 0 w 613867"/>
                <a:gd name="connsiteY35" fmla="*/ 511554 h 613867"/>
                <a:gd name="connsiteX36" fmla="*/ 0 w 613867"/>
                <a:gd name="connsiteY36" fmla="*/ 102313 h 613867"/>
                <a:gd name="connsiteX37" fmla="*/ 29967 w 613867"/>
                <a:gd name="connsiteY37" fmla="*/ 29967 h 613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613867" h="613867">
                  <a:moveTo>
                    <a:pt x="314803" y="374281"/>
                  </a:moveTo>
                  <a:lnTo>
                    <a:pt x="390557" y="450035"/>
                  </a:lnTo>
                  <a:lnTo>
                    <a:pt x="330696" y="509896"/>
                  </a:lnTo>
                  <a:lnTo>
                    <a:pt x="507842" y="504902"/>
                  </a:lnTo>
                  <a:lnTo>
                    <a:pt x="512837" y="327756"/>
                  </a:lnTo>
                  <a:lnTo>
                    <a:pt x="452975" y="387617"/>
                  </a:lnTo>
                  <a:lnTo>
                    <a:pt x="377221" y="311863"/>
                  </a:lnTo>
                  <a:close/>
                  <a:moveTo>
                    <a:pt x="367619" y="63753"/>
                  </a:moveTo>
                  <a:lnTo>
                    <a:pt x="372612" y="240900"/>
                  </a:lnTo>
                  <a:lnTo>
                    <a:pt x="549761" y="245895"/>
                  </a:lnTo>
                  <a:lnTo>
                    <a:pt x="489898" y="186033"/>
                  </a:lnTo>
                  <a:lnTo>
                    <a:pt x="565652" y="110279"/>
                  </a:lnTo>
                  <a:lnTo>
                    <a:pt x="503234" y="47861"/>
                  </a:lnTo>
                  <a:lnTo>
                    <a:pt x="427480" y="123615"/>
                  </a:lnTo>
                  <a:close/>
                  <a:moveTo>
                    <a:pt x="60550" y="370823"/>
                  </a:moveTo>
                  <a:lnTo>
                    <a:pt x="120411" y="430684"/>
                  </a:lnTo>
                  <a:lnTo>
                    <a:pt x="44657" y="506438"/>
                  </a:lnTo>
                  <a:lnTo>
                    <a:pt x="107075" y="568856"/>
                  </a:lnTo>
                  <a:lnTo>
                    <a:pt x="182829" y="493102"/>
                  </a:lnTo>
                  <a:lnTo>
                    <a:pt x="242691" y="552964"/>
                  </a:lnTo>
                  <a:lnTo>
                    <a:pt x="237696" y="375818"/>
                  </a:lnTo>
                  <a:close/>
                  <a:moveTo>
                    <a:pt x="104519" y="101580"/>
                  </a:moveTo>
                  <a:lnTo>
                    <a:pt x="99524" y="278727"/>
                  </a:lnTo>
                  <a:lnTo>
                    <a:pt x="159386" y="218865"/>
                  </a:lnTo>
                  <a:lnTo>
                    <a:pt x="235140" y="294619"/>
                  </a:lnTo>
                  <a:lnTo>
                    <a:pt x="297558" y="232201"/>
                  </a:lnTo>
                  <a:lnTo>
                    <a:pt x="221804" y="156447"/>
                  </a:lnTo>
                  <a:lnTo>
                    <a:pt x="281665" y="96586"/>
                  </a:lnTo>
                  <a:close/>
                  <a:moveTo>
                    <a:pt x="29967" y="29967"/>
                  </a:moveTo>
                  <a:cubicBezTo>
                    <a:pt x="48482" y="11452"/>
                    <a:pt x="74060" y="0"/>
                    <a:pt x="102313" y="0"/>
                  </a:cubicBezTo>
                  <a:lnTo>
                    <a:pt x="511554" y="0"/>
                  </a:lnTo>
                  <a:cubicBezTo>
                    <a:pt x="568060" y="0"/>
                    <a:pt x="613867" y="45807"/>
                    <a:pt x="613867" y="102313"/>
                  </a:cubicBezTo>
                  <a:lnTo>
                    <a:pt x="613867" y="511554"/>
                  </a:lnTo>
                  <a:cubicBezTo>
                    <a:pt x="613867" y="568060"/>
                    <a:pt x="568060" y="613867"/>
                    <a:pt x="511554" y="613867"/>
                  </a:cubicBezTo>
                  <a:lnTo>
                    <a:pt x="102313" y="613867"/>
                  </a:lnTo>
                  <a:cubicBezTo>
                    <a:pt x="45807" y="613867"/>
                    <a:pt x="0" y="568060"/>
                    <a:pt x="0" y="511554"/>
                  </a:cubicBezTo>
                  <a:lnTo>
                    <a:pt x="0" y="102313"/>
                  </a:lnTo>
                  <a:cubicBezTo>
                    <a:pt x="0" y="74060"/>
                    <a:pt x="11452" y="48482"/>
                    <a:pt x="29967" y="29967"/>
                  </a:cubicBezTo>
                  <a:close/>
                </a:path>
              </a:pathLst>
            </a:cu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a:lnSpc>
                  <a:spcPct val="90000"/>
                </a:lnSpc>
                <a:defRPr/>
              </a:pPr>
              <a:endParaRPr lang="en-US" sz="1471" kern="0" dirty="0">
                <a:solidFill>
                  <a:srgbClr val="505050"/>
                </a:solidFill>
                <a:latin typeface="Segoe UI Light"/>
                <a:ea typeface="Segoe UI" pitchFamily="34" charset="0"/>
                <a:cs typeface="Segoe UI" pitchFamily="34" charset="0"/>
              </a:endParaRPr>
            </a:p>
          </p:txBody>
        </p:sp>
        <p:sp>
          <p:nvSpPr>
            <p:cNvPr id="329" name="TextBox 328"/>
            <p:cNvSpPr txBox="1"/>
            <p:nvPr/>
          </p:nvSpPr>
          <p:spPr>
            <a:xfrm>
              <a:off x="11057160" y="2795981"/>
              <a:ext cx="659156" cy="301106"/>
            </a:xfrm>
            <a:prstGeom prst="rect">
              <a:avLst/>
            </a:prstGeom>
            <a:noFill/>
            <a:ln>
              <a:noFill/>
            </a:ln>
          </p:spPr>
          <p:txBody>
            <a:bodyPr wrap="none" lIns="0" tIns="20566" rIns="0" bIns="0" rtlCol="0">
              <a:noAutofit/>
            </a:bodyPr>
            <a:lstStyle/>
            <a:p>
              <a:pPr defTabSz="685463" eaLnBrk="0" hangingPunct="0">
                <a:lnSpc>
                  <a:spcPts val="600"/>
                </a:lnSpc>
                <a:defRPr/>
              </a:pP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Operational</a:t>
              </a:r>
            </a:p>
            <a:p>
              <a:pPr defTabSz="685463" eaLnBrk="0" hangingPunct="0">
                <a:lnSpc>
                  <a:spcPts val="600"/>
                </a:lnSpc>
                <a:defRPr/>
              </a:pP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nalytics</a:t>
              </a:r>
            </a:p>
          </p:txBody>
        </p:sp>
        <p:pic>
          <p:nvPicPr>
            <p:cNvPr id="330" name="Picture 329" descr="Operational Insights.png"/>
            <p:cNvPicPr>
              <a:picLocks noChangeAspect="1"/>
            </p:cNvPicPr>
            <p:nvPr/>
          </p:nvPicPr>
          <p:blipFill>
            <a:blip r:embed="rId25" cstate="print">
              <a:biLevel thresh="25000"/>
              <a:extLst>
                <a:ext uri="{28A0092B-C50C-407E-A947-70E740481C1C}">
                  <a14:useLocalDpi xmlns:a14="http://schemas.microsoft.com/office/drawing/2010/main" val="0"/>
                </a:ext>
              </a:extLst>
            </a:blip>
            <a:stretch>
              <a:fillRect/>
            </a:stretch>
          </p:blipFill>
          <p:spPr>
            <a:xfrm>
              <a:off x="10698990" y="2750675"/>
              <a:ext cx="280231" cy="280232"/>
            </a:xfrm>
            <a:prstGeom prst="rect">
              <a:avLst/>
            </a:prstGeom>
          </p:spPr>
        </p:pic>
        <p:sp>
          <p:nvSpPr>
            <p:cNvPr id="35" name="Rectangle 34"/>
            <p:cNvSpPr/>
            <p:nvPr/>
          </p:nvSpPr>
          <p:spPr bwMode="auto">
            <a:xfrm>
              <a:off x="2019355" y="2924476"/>
              <a:ext cx="2289675" cy="1673141"/>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31821" tIns="105457" rIns="131821" bIns="105457" numCol="1" spcCol="0" rtlCol="0" fromWordArt="0" anchor="t" anchorCtr="0" forceAA="0" compatLnSpc="1">
              <a:prstTxWarp prst="textNoShape">
                <a:avLst/>
              </a:prstTxWarp>
              <a:noAutofit/>
            </a:bodyPr>
            <a:lstStyle/>
            <a:p>
              <a:pPr algn="ctr" defTabSz="671942">
                <a:lnSpc>
                  <a:spcPct val="90000"/>
                </a:lnSpc>
                <a:spcBef>
                  <a:spcPts val="0"/>
                </a:spcBef>
                <a:spcAft>
                  <a:spcPts val="0"/>
                </a:spcAft>
                <a:defRPr/>
              </a:pPr>
              <a:r>
                <a:rPr lang="en-US" sz="882" kern="0" dirty="0">
                  <a:gradFill>
                    <a:gsLst>
                      <a:gs pos="0">
                        <a:srgbClr val="FFFFFF"/>
                      </a:gs>
                      <a:gs pos="100000">
                        <a:srgbClr val="FFFFFF"/>
                      </a:gs>
                    </a:gsLst>
                    <a:lin ang="5400000" scaled="0"/>
                  </a:gradFill>
                  <a:latin typeface="Segoe UI"/>
                  <a:ea typeface="Segoe UI" pitchFamily="34" charset="0"/>
                  <a:cs typeface="Segoe UI" pitchFamily="34" charset="0"/>
                </a:rPr>
                <a:t>Compute Services</a:t>
              </a:r>
            </a:p>
          </p:txBody>
        </p:sp>
        <p:grpSp>
          <p:nvGrpSpPr>
            <p:cNvPr id="344" name="Group 343"/>
            <p:cNvGrpSpPr/>
            <p:nvPr/>
          </p:nvGrpSpPr>
          <p:grpSpPr>
            <a:xfrm>
              <a:off x="5592672" y="1532909"/>
              <a:ext cx="1001364" cy="338014"/>
              <a:chOff x="6918739" y="2547997"/>
              <a:chExt cx="1001364" cy="338014"/>
            </a:xfrm>
          </p:grpSpPr>
          <p:sp>
            <p:nvSpPr>
              <p:cNvPr id="145" name="TextBox 144"/>
              <p:cNvSpPr txBox="1"/>
              <p:nvPr/>
            </p:nvSpPr>
            <p:spPr>
              <a:xfrm>
                <a:off x="7260947" y="2584905"/>
                <a:ext cx="659156" cy="301106"/>
              </a:xfrm>
              <a:prstGeom prst="rect">
                <a:avLst/>
              </a:prstGeom>
              <a:noFill/>
              <a:ln>
                <a:noFill/>
              </a:ln>
            </p:spPr>
            <p:txBody>
              <a:bodyPr wrap="none" lIns="0" tIns="20566" rIns="0" bIns="0" rtlCol="0" anchor="t">
                <a:noAutofit/>
              </a:bodyPr>
              <a:lstStyle/>
              <a:p>
                <a:pPr defTabSz="685463" eaLnBrk="0" hangingPunct="0">
                  <a:lnSpc>
                    <a:spcPts val="600"/>
                  </a:lnSpc>
                  <a:defRPr/>
                </a:pP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Cloud </a:t>
                </a:r>
              </a:p>
              <a:p>
                <a:pPr defTabSz="685463" eaLnBrk="0" hangingPunct="0">
                  <a:lnSpc>
                    <a:spcPts val="600"/>
                  </a:lnSpc>
                  <a:defRPr/>
                </a:pP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ervices</a:t>
                </a:r>
              </a:p>
            </p:txBody>
          </p:sp>
          <p:pic>
            <p:nvPicPr>
              <p:cNvPr id="146" name="Picture 145"/>
              <p:cNvPicPr>
                <a:picLocks noChangeAspect="1"/>
              </p:cNvPicPr>
              <p:nvPr/>
            </p:nvPicPr>
            <p:blipFill>
              <a:blip r:embed="rId26" cstate="print">
                <a:biLevel thresh="25000"/>
                <a:extLst>
                  <a:ext uri="{28A0092B-C50C-407E-A947-70E740481C1C}">
                    <a14:useLocalDpi xmlns:a14="http://schemas.microsoft.com/office/drawing/2010/main" val="0"/>
                  </a:ext>
                </a:extLst>
              </a:blip>
              <a:stretch>
                <a:fillRect/>
              </a:stretch>
            </p:blipFill>
            <p:spPr>
              <a:xfrm>
                <a:off x="6918739" y="2547997"/>
                <a:ext cx="289802" cy="289802"/>
              </a:xfrm>
              <a:prstGeom prst="rect">
                <a:avLst/>
              </a:prstGeom>
            </p:spPr>
          </p:pic>
        </p:grpSp>
        <p:grpSp>
          <p:nvGrpSpPr>
            <p:cNvPr id="345" name="Group 344"/>
            <p:cNvGrpSpPr/>
            <p:nvPr/>
          </p:nvGrpSpPr>
          <p:grpSpPr>
            <a:xfrm>
              <a:off x="2258989" y="3829575"/>
              <a:ext cx="1007741" cy="320053"/>
              <a:chOff x="3566502" y="2427953"/>
              <a:chExt cx="1007741" cy="320053"/>
            </a:xfrm>
          </p:grpSpPr>
          <p:sp>
            <p:nvSpPr>
              <p:cNvPr id="147" name="TextBox 146"/>
              <p:cNvSpPr txBox="1"/>
              <p:nvPr/>
            </p:nvSpPr>
            <p:spPr>
              <a:xfrm>
                <a:off x="3915087" y="2427953"/>
                <a:ext cx="659156" cy="301106"/>
              </a:xfrm>
              <a:prstGeom prst="rect">
                <a:avLst/>
              </a:prstGeom>
              <a:noFill/>
              <a:ln>
                <a:noFill/>
              </a:ln>
            </p:spPr>
            <p:txBody>
              <a:bodyPr wrap="none" lIns="0" tIns="20566" rIns="0" bIns="0" rtlCol="0" anchor="t">
                <a:noAutofit/>
              </a:bodyPr>
              <a:lstStyle/>
              <a:p>
                <a:pPr defTabSz="685463" eaLnBrk="0" hangingPunct="0">
                  <a:lnSpc>
                    <a:spcPts val="600"/>
                  </a:lnSpc>
                  <a:defRPr/>
                </a:pP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Batch</a:t>
                </a:r>
              </a:p>
            </p:txBody>
          </p:sp>
          <p:pic>
            <p:nvPicPr>
              <p:cNvPr id="148" name="Picture 147"/>
              <p:cNvPicPr>
                <a:picLocks noChangeAspect="1"/>
              </p:cNvPicPr>
              <p:nvPr/>
            </p:nvPicPr>
            <p:blipFill>
              <a:blip r:embed="rId27" cstate="print">
                <a:biLevel thresh="25000"/>
                <a:extLst>
                  <a:ext uri="{28A0092B-C50C-407E-A947-70E740481C1C}">
                    <a14:useLocalDpi xmlns:a14="http://schemas.microsoft.com/office/drawing/2010/main" val="0"/>
                  </a:ext>
                </a:extLst>
              </a:blip>
              <a:stretch>
                <a:fillRect/>
              </a:stretch>
            </p:blipFill>
            <p:spPr>
              <a:xfrm>
                <a:off x="3566502" y="2444470"/>
                <a:ext cx="303536" cy="303536"/>
              </a:xfrm>
              <a:prstGeom prst="rect">
                <a:avLst/>
              </a:prstGeom>
            </p:spPr>
          </p:pic>
        </p:grpSp>
        <p:grpSp>
          <p:nvGrpSpPr>
            <p:cNvPr id="346" name="Group 345"/>
            <p:cNvGrpSpPr/>
            <p:nvPr/>
          </p:nvGrpSpPr>
          <p:grpSpPr>
            <a:xfrm>
              <a:off x="3287026" y="3832353"/>
              <a:ext cx="1045050" cy="363426"/>
              <a:chOff x="4317137" y="2420457"/>
              <a:chExt cx="1045050" cy="363426"/>
            </a:xfrm>
          </p:grpSpPr>
          <p:sp>
            <p:nvSpPr>
              <p:cNvPr id="149" name="TextBox 148"/>
              <p:cNvSpPr txBox="1"/>
              <p:nvPr/>
            </p:nvSpPr>
            <p:spPr>
              <a:xfrm>
                <a:off x="4703031" y="2482777"/>
                <a:ext cx="659156" cy="301106"/>
              </a:xfrm>
              <a:prstGeom prst="rect">
                <a:avLst/>
              </a:prstGeom>
              <a:noFill/>
              <a:ln>
                <a:noFill/>
              </a:ln>
            </p:spPr>
            <p:txBody>
              <a:bodyPr wrap="none" lIns="0" tIns="20566" rIns="0" bIns="0" rtlCol="0" anchor="t">
                <a:noAutofit/>
              </a:bodyPr>
              <a:lstStyle/>
              <a:p>
                <a:pPr defTabSz="685463" eaLnBrk="0" hangingPunct="0">
                  <a:lnSpc>
                    <a:spcPts val="600"/>
                  </a:lnSpc>
                  <a:defRPr/>
                </a:pP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RemoteApp</a:t>
                </a:r>
              </a:p>
            </p:txBody>
          </p:sp>
          <p:pic>
            <p:nvPicPr>
              <p:cNvPr id="150" name="Picture 149"/>
              <p:cNvPicPr>
                <a:picLocks noChangeAspect="1"/>
              </p:cNvPicPr>
              <p:nvPr/>
            </p:nvPicPr>
            <p:blipFill>
              <a:blip r:embed="rId28" cstate="print">
                <a:biLevel thresh="25000"/>
                <a:extLst>
                  <a:ext uri="{28A0092B-C50C-407E-A947-70E740481C1C}">
                    <a14:useLocalDpi xmlns:a14="http://schemas.microsoft.com/office/drawing/2010/main" val="0"/>
                  </a:ext>
                </a:extLst>
              </a:blip>
              <a:stretch>
                <a:fillRect/>
              </a:stretch>
            </p:blipFill>
            <p:spPr>
              <a:xfrm>
                <a:off x="4317137" y="2420457"/>
                <a:ext cx="291655" cy="291656"/>
              </a:xfrm>
              <a:prstGeom prst="rect">
                <a:avLst/>
              </a:prstGeom>
            </p:spPr>
          </p:pic>
        </p:grpSp>
        <p:sp>
          <p:nvSpPr>
            <p:cNvPr id="349" name="TextBox 348"/>
            <p:cNvSpPr txBox="1"/>
            <p:nvPr/>
          </p:nvSpPr>
          <p:spPr>
            <a:xfrm>
              <a:off x="5081945" y="2047294"/>
              <a:ext cx="659156" cy="301106"/>
            </a:xfrm>
            <a:prstGeom prst="rect">
              <a:avLst/>
            </a:prstGeom>
            <a:noFill/>
            <a:ln>
              <a:noFill/>
            </a:ln>
          </p:spPr>
          <p:txBody>
            <a:bodyPr wrap="none" lIns="0" tIns="20566" rIns="0" bIns="0" rtlCol="0" anchor="t">
              <a:noAutofit/>
            </a:bodyPr>
            <a:lstStyle/>
            <a:p>
              <a:pPr defTabSz="685463" eaLnBrk="0" hangingPunct="0">
                <a:lnSpc>
                  <a:spcPts val="600"/>
                </a:lnSpc>
                <a:defRPr/>
              </a:pP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ervice</a:t>
              </a:r>
            </a:p>
            <a:p>
              <a:pPr defTabSz="685463" eaLnBrk="0" hangingPunct="0">
                <a:lnSpc>
                  <a:spcPts val="600"/>
                </a:lnSpc>
                <a:defRPr/>
              </a:pP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Fabric</a:t>
              </a:r>
            </a:p>
          </p:txBody>
        </p:sp>
        <p:sp>
          <p:nvSpPr>
            <p:cNvPr id="360" name="Freeform 359"/>
            <p:cNvSpPr/>
            <p:nvPr/>
          </p:nvSpPr>
          <p:spPr bwMode="auto">
            <a:xfrm>
              <a:off x="4739894" y="2031106"/>
              <a:ext cx="282441" cy="271463"/>
            </a:xfrm>
            <a:custGeom>
              <a:avLst/>
              <a:gdLst>
                <a:gd name="connsiteX0" fmla="*/ 284961 w 673895"/>
                <a:gd name="connsiteY0" fmla="*/ 158165 h 647702"/>
                <a:gd name="connsiteX1" fmla="*/ 170786 w 673895"/>
                <a:gd name="connsiteY1" fmla="*/ 242195 h 647702"/>
                <a:gd name="connsiteX2" fmla="*/ 176214 w 673895"/>
                <a:gd name="connsiteY2" fmla="*/ 269082 h 647702"/>
                <a:gd name="connsiteX3" fmla="*/ 150408 w 673895"/>
                <a:gd name="connsiteY3" fmla="*/ 331383 h 647702"/>
                <a:gd name="connsiteX4" fmla="*/ 146443 w 673895"/>
                <a:gd name="connsiteY4" fmla="*/ 334057 h 647702"/>
                <a:gd name="connsiteX5" fmla="*/ 192422 w 673895"/>
                <a:gd name="connsiteY5" fmla="*/ 472837 h 647702"/>
                <a:gd name="connsiteX6" fmla="*/ 220034 w 673895"/>
                <a:gd name="connsiteY6" fmla="*/ 478412 h 647702"/>
                <a:gd name="connsiteX7" fmla="*/ 248039 w 673895"/>
                <a:gd name="connsiteY7" fmla="*/ 497294 h 647702"/>
                <a:gd name="connsiteX8" fmla="*/ 265572 w 673895"/>
                <a:gd name="connsiteY8" fmla="*/ 523298 h 647702"/>
                <a:gd name="connsiteX9" fmla="*/ 408956 w 673895"/>
                <a:gd name="connsiteY9" fmla="*/ 523298 h 647702"/>
                <a:gd name="connsiteX10" fmla="*/ 417479 w 673895"/>
                <a:gd name="connsiteY10" fmla="*/ 505571 h 647702"/>
                <a:gd name="connsiteX11" fmla="*/ 456243 w 673895"/>
                <a:gd name="connsiteY11" fmla="*/ 473649 h 647702"/>
                <a:gd name="connsiteX12" fmla="*/ 488887 w 673895"/>
                <a:gd name="connsiteY12" fmla="*/ 467058 h 647702"/>
                <a:gd name="connsiteX13" fmla="*/ 531395 w 673895"/>
                <a:gd name="connsiteY13" fmla="*/ 334333 h 647702"/>
                <a:gd name="connsiteX14" fmla="*/ 523487 w 673895"/>
                <a:gd name="connsiteY14" fmla="*/ 329002 h 647702"/>
                <a:gd name="connsiteX15" fmla="*/ 497681 w 673895"/>
                <a:gd name="connsiteY15" fmla="*/ 266701 h 647702"/>
                <a:gd name="connsiteX16" fmla="*/ 501673 w 673895"/>
                <a:gd name="connsiteY16" fmla="*/ 246929 h 647702"/>
                <a:gd name="connsiteX17" fmla="*/ 384346 w 673895"/>
                <a:gd name="connsiteY17" fmla="*/ 159653 h 647702"/>
                <a:gd name="connsiteX18" fmla="*/ 370052 w 673895"/>
                <a:gd name="connsiteY18" fmla="*/ 169290 h 647702"/>
                <a:gd name="connsiteX19" fmla="*/ 335757 w 673895"/>
                <a:gd name="connsiteY19" fmla="*/ 176214 h 647702"/>
                <a:gd name="connsiteX20" fmla="*/ 301462 w 673895"/>
                <a:gd name="connsiteY20" fmla="*/ 169290 h 647702"/>
                <a:gd name="connsiteX21" fmla="*/ 335757 w 673895"/>
                <a:gd name="connsiteY21" fmla="*/ 0 h 647702"/>
                <a:gd name="connsiteX22" fmla="*/ 423864 w 673895"/>
                <a:gd name="connsiteY22" fmla="*/ 88107 h 647702"/>
                <a:gd name="connsiteX23" fmla="*/ 420253 w 673895"/>
                <a:gd name="connsiteY23" fmla="*/ 105993 h 647702"/>
                <a:gd name="connsiteX24" fmla="*/ 538728 w 673895"/>
                <a:gd name="connsiteY24" fmla="*/ 194124 h 647702"/>
                <a:gd name="connsiteX25" fmla="*/ 551493 w 673895"/>
                <a:gd name="connsiteY25" fmla="*/ 185518 h 647702"/>
                <a:gd name="connsiteX26" fmla="*/ 585788 w 673895"/>
                <a:gd name="connsiteY26" fmla="*/ 178594 h 647702"/>
                <a:gd name="connsiteX27" fmla="*/ 673895 w 673895"/>
                <a:gd name="connsiteY27" fmla="*/ 266701 h 647702"/>
                <a:gd name="connsiteX28" fmla="*/ 620083 w 673895"/>
                <a:gd name="connsiteY28" fmla="*/ 347884 h 647702"/>
                <a:gd name="connsiteX29" fmla="*/ 593016 w 673895"/>
                <a:gd name="connsiteY29" fmla="*/ 353349 h 647702"/>
                <a:gd name="connsiteX30" fmla="*/ 549222 w 673895"/>
                <a:gd name="connsiteY30" fmla="*/ 490092 h 647702"/>
                <a:gd name="connsiteX31" fmla="*/ 552839 w 673895"/>
                <a:gd name="connsiteY31" fmla="*/ 492531 h 647702"/>
                <a:gd name="connsiteX32" fmla="*/ 578645 w 673895"/>
                <a:gd name="connsiteY32" fmla="*/ 554832 h 647702"/>
                <a:gd name="connsiteX33" fmla="*/ 490538 w 673895"/>
                <a:gd name="connsiteY33" fmla="*/ 642939 h 647702"/>
                <a:gd name="connsiteX34" fmla="*/ 409355 w 673895"/>
                <a:gd name="connsiteY34" fmla="*/ 589127 h 647702"/>
                <a:gd name="connsiteX35" fmla="*/ 409084 w 673895"/>
                <a:gd name="connsiteY35" fmla="*/ 587783 h 647702"/>
                <a:gd name="connsiteX36" fmla="*/ 268154 w 673895"/>
                <a:gd name="connsiteY36" fmla="*/ 587783 h 647702"/>
                <a:gd name="connsiteX37" fmla="*/ 266921 w 673895"/>
                <a:gd name="connsiteY37" fmla="*/ 593890 h 647702"/>
                <a:gd name="connsiteX38" fmla="*/ 185738 w 673895"/>
                <a:gd name="connsiteY38" fmla="*/ 647702 h 647702"/>
                <a:gd name="connsiteX39" fmla="*/ 97631 w 673895"/>
                <a:gd name="connsiteY39" fmla="*/ 559595 h 647702"/>
                <a:gd name="connsiteX40" fmla="*/ 123437 w 673895"/>
                <a:gd name="connsiteY40" fmla="*/ 497294 h 647702"/>
                <a:gd name="connsiteX41" fmla="*/ 130921 w 673895"/>
                <a:gd name="connsiteY41" fmla="*/ 492248 h 647702"/>
                <a:gd name="connsiteX42" fmla="*/ 86036 w 673895"/>
                <a:gd name="connsiteY42" fmla="*/ 356771 h 647702"/>
                <a:gd name="connsiteX43" fmla="*/ 53812 w 673895"/>
                <a:gd name="connsiteY43" fmla="*/ 350265 h 647702"/>
                <a:gd name="connsiteX44" fmla="*/ 0 w 673895"/>
                <a:gd name="connsiteY44" fmla="*/ 269082 h 647702"/>
                <a:gd name="connsiteX45" fmla="*/ 88107 w 673895"/>
                <a:gd name="connsiteY45" fmla="*/ 180975 h 647702"/>
                <a:gd name="connsiteX46" fmla="*/ 122402 w 673895"/>
                <a:gd name="connsiteY46" fmla="*/ 187899 h 647702"/>
                <a:gd name="connsiteX47" fmla="*/ 129378 w 673895"/>
                <a:gd name="connsiteY47" fmla="*/ 192602 h 647702"/>
                <a:gd name="connsiteX48" fmla="*/ 250718 w 673895"/>
                <a:gd name="connsiteY48" fmla="*/ 103300 h 647702"/>
                <a:gd name="connsiteX49" fmla="*/ 247650 w 673895"/>
                <a:gd name="connsiteY49" fmla="*/ 88107 h 647702"/>
                <a:gd name="connsiteX50" fmla="*/ 335757 w 673895"/>
                <a:gd name="connsiteY50" fmla="*/ 0 h 647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673895" h="647702">
                  <a:moveTo>
                    <a:pt x="284961" y="158165"/>
                  </a:moveTo>
                  <a:lnTo>
                    <a:pt x="170786" y="242195"/>
                  </a:lnTo>
                  <a:lnTo>
                    <a:pt x="176214" y="269082"/>
                  </a:lnTo>
                  <a:cubicBezTo>
                    <a:pt x="176214" y="293412"/>
                    <a:pt x="166353" y="315439"/>
                    <a:pt x="150408" y="331383"/>
                  </a:cubicBezTo>
                  <a:lnTo>
                    <a:pt x="146443" y="334057"/>
                  </a:lnTo>
                  <a:lnTo>
                    <a:pt x="192422" y="472837"/>
                  </a:lnTo>
                  <a:lnTo>
                    <a:pt x="220034" y="478412"/>
                  </a:lnTo>
                  <a:cubicBezTo>
                    <a:pt x="230575" y="482870"/>
                    <a:pt x="240067" y="489322"/>
                    <a:pt x="248039" y="497294"/>
                  </a:cubicBezTo>
                  <a:lnTo>
                    <a:pt x="265572" y="523298"/>
                  </a:lnTo>
                  <a:lnTo>
                    <a:pt x="408956" y="523298"/>
                  </a:lnTo>
                  <a:lnTo>
                    <a:pt x="417479" y="505571"/>
                  </a:lnTo>
                  <a:cubicBezTo>
                    <a:pt x="426979" y="491509"/>
                    <a:pt x="440432" y="480337"/>
                    <a:pt x="456243" y="473649"/>
                  </a:cubicBezTo>
                  <a:lnTo>
                    <a:pt x="488887" y="467058"/>
                  </a:lnTo>
                  <a:lnTo>
                    <a:pt x="531395" y="334333"/>
                  </a:lnTo>
                  <a:lnTo>
                    <a:pt x="523487" y="329002"/>
                  </a:lnTo>
                  <a:cubicBezTo>
                    <a:pt x="507543" y="313058"/>
                    <a:pt x="497681" y="291031"/>
                    <a:pt x="497681" y="266701"/>
                  </a:cubicBezTo>
                  <a:lnTo>
                    <a:pt x="501673" y="246929"/>
                  </a:lnTo>
                  <a:lnTo>
                    <a:pt x="384346" y="159653"/>
                  </a:lnTo>
                  <a:lnTo>
                    <a:pt x="370052" y="169290"/>
                  </a:lnTo>
                  <a:cubicBezTo>
                    <a:pt x="359511" y="173749"/>
                    <a:pt x="347922" y="176214"/>
                    <a:pt x="335757" y="176214"/>
                  </a:cubicBezTo>
                  <a:cubicBezTo>
                    <a:pt x="323592" y="176214"/>
                    <a:pt x="312003" y="173749"/>
                    <a:pt x="301462" y="169290"/>
                  </a:cubicBezTo>
                  <a:close/>
                  <a:moveTo>
                    <a:pt x="335757" y="0"/>
                  </a:moveTo>
                  <a:cubicBezTo>
                    <a:pt x="384417" y="0"/>
                    <a:pt x="423864" y="39447"/>
                    <a:pt x="423864" y="88107"/>
                  </a:cubicBezTo>
                  <a:lnTo>
                    <a:pt x="420253" y="105993"/>
                  </a:lnTo>
                  <a:lnTo>
                    <a:pt x="538728" y="194124"/>
                  </a:lnTo>
                  <a:lnTo>
                    <a:pt x="551493" y="185518"/>
                  </a:lnTo>
                  <a:cubicBezTo>
                    <a:pt x="562034" y="181059"/>
                    <a:pt x="573623" y="178594"/>
                    <a:pt x="585788" y="178594"/>
                  </a:cubicBezTo>
                  <a:cubicBezTo>
                    <a:pt x="634448" y="178594"/>
                    <a:pt x="673895" y="218041"/>
                    <a:pt x="673895" y="266701"/>
                  </a:cubicBezTo>
                  <a:cubicBezTo>
                    <a:pt x="673895" y="303196"/>
                    <a:pt x="651706" y="334509"/>
                    <a:pt x="620083" y="347884"/>
                  </a:cubicBezTo>
                  <a:lnTo>
                    <a:pt x="593016" y="353349"/>
                  </a:lnTo>
                  <a:lnTo>
                    <a:pt x="549222" y="490092"/>
                  </a:lnTo>
                  <a:lnTo>
                    <a:pt x="552839" y="492531"/>
                  </a:lnTo>
                  <a:cubicBezTo>
                    <a:pt x="568783" y="508475"/>
                    <a:pt x="578645" y="530502"/>
                    <a:pt x="578645" y="554832"/>
                  </a:cubicBezTo>
                  <a:cubicBezTo>
                    <a:pt x="578645" y="603492"/>
                    <a:pt x="539198" y="642939"/>
                    <a:pt x="490538" y="642939"/>
                  </a:cubicBezTo>
                  <a:cubicBezTo>
                    <a:pt x="454043" y="642939"/>
                    <a:pt x="422731" y="620750"/>
                    <a:pt x="409355" y="589127"/>
                  </a:cubicBezTo>
                  <a:lnTo>
                    <a:pt x="409084" y="587783"/>
                  </a:lnTo>
                  <a:lnTo>
                    <a:pt x="268154" y="587783"/>
                  </a:lnTo>
                  <a:lnTo>
                    <a:pt x="266921" y="593890"/>
                  </a:lnTo>
                  <a:cubicBezTo>
                    <a:pt x="253546" y="625513"/>
                    <a:pt x="222233" y="647702"/>
                    <a:pt x="185738" y="647702"/>
                  </a:cubicBezTo>
                  <a:cubicBezTo>
                    <a:pt x="137078" y="647702"/>
                    <a:pt x="97631" y="608255"/>
                    <a:pt x="97631" y="559595"/>
                  </a:cubicBezTo>
                  <a:cubicBezTo>
                    <a:pt x="97631" y="535265"/>
                    <a:pt x="107493" y="513238"/>
                    <a:pt x="123437" y="497294"/>
                  </a:cubicBezTo>
                  <a:lnTo>
                    <a:pt x="130921" y="492248"/>
                  </a:lnTo>
                  <a:lnTo>
                    <a:pt x="86036" y="356771"/>
                  </a:lnTo>
                  <a:lnTo>
                    <a:pt x="53812" y="350265"/>
                  </a:lnTo>
                  <a:cubicBezTo>
                    <a:pt x="22189" y="336890"/>
                    <a:pt x="0" y="305577"/>
                    <a:pt x="0" y="269082"/>
                  </a:cubicBezTo>
                  <a:cubicBezTo>
                    <a:pt x="0" y="220422"/>
                    <a:pt x="39447" y="180975"/>
                    <a:pt x="88107" y="180975"/>
                  </a:cubicBezTo>
                  <a:cubicBezTo>
                    <a:pt x="100272" y="180975"/>
                    <a:pt x="111861" y="183440"/>
                    <a:pt x="122402" y="187899"/>
                  </a:cubicBezTo>
                  <a:lnTo>
                    <a:pt x="129378" y="192602"/>
                  </a:lnTo>
                  <a:lnTo>
                    <a:pt x="250718" y="103300"/>
                  </a:lnTo>
                  <a:lnTo>
                    <a:pt x="247650" y="88107"/>
                  </a:lnTo>
                  <a:cubicBezTo>
                    <a:pt x="247650" y="39447"/>
                    <a:pt x="287097" y="0"/>
                    <a:pt x="335757" y="0"/>
                  </a:cubicBezTo>
                  <a:close/>
                </a:path>
              </a:pathLst>
            </a:custGeom>
            <a:solidFill>
              <a:schemeClr val="bg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a:lnSpc>
                  <a:spcPct val="90000"/>
                </a:lnSpc>
                <a:defRPr/>
              </a:pPr>
              <a:endParaRPr lang="en-US" sz="1471" kern="0" dirty="0">
                <a:solidFill>
                  <a:srgbClr val="505050"/>
                </a:solidFill>
                <a:latin typeface="Segoe UI Light"/>
                <a:ea typeface="Segoe UI" pitchFamily="34" charset="0"/>
                <a:cs typeface="Segoe UI" pitchFamily="34" charset="0"/>
              </a:endParaRPr>
            </a:p>
          </p:txBody>
        </p:sp>
        <p:sp>
          <p:nvSpPr>
            <p:cNvPr id="42" name="Rectangle 41"/>
            <p:cNvSpPr/>
            <p:nvPr/>
          </p:nvSpPr>
          <p:spPr bwMode="auto">
            <a:xfrm>
              <a:off x="4422349" y="2826742"/>
              <a:ext cx="2190056" cy="1773950"/>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31821" tIns="105457" rIns="131821" bIns="105457" numCol="1" spcCol="0" rtlCol="0" fromWordArt="0" anchor="t" anchorCtr="0" forceAA="0" compatLnSpc="1">
              <a:prstTxWarp prst="textNoShape">
                <a:avLst/>
              </a:prstTxWarp>
              <a:noAutofit/>
            </a:bodyPr>
            <a:lstStyle/>
            <a:p>
              <a:pPr algn="ctr" defTabSz="671942">
                <a:lnSpc>
                  <a:spcPct val="90000"/>
                </a:lnSpc>
                <a:spcBef>
                  <a:spcPts val="0"/>
                </a:spcBef>
                <a:spcAft>
                  <a:spcPts val="0"/>
                </a:spcAft>
                <a:defRPr/>
              </a:pPr>
              <a:r>
                <a:rPr lang="en-US" sz="882" kern="0" dirty="0">
                  <a:gradFill>
                    <a:gsLst>
                      <a:gs pos="0">
                        <a:srgbClr val="FFFFFF"/>
                      </a:gs>
                      <a:gs pos="100000">
                        <a:srgbClr val="FFFFFF"/>
                      </a:gs>
                    </a:gsLst>
                    <a:lin ang="5400000" scaled="0"/>
                  </a:gradFill>
                  <a:latin typeface="Segoe UI"/>
                  <a:ea typeface="Segoe UI" pitchFamily="34" charset="0"/>
                  <a:cs typeface="Segoe UI" pitchFamily="34" charset="0"/>
                </a:rPr>
                <a:t>Developer Services</a:t>
              </a:r>
            </a:p>
          </p:txBody>
        </p:sp>
        <p:grpSp>
          <p:nvGrpSpPr>
            <p:cNvPr id="144" name="Group 143"/>
            <p:cNvGrpSpPr/>
            <p:nvPr/>
          </p:nvGrpSpPr>
          <p:grpSpPr>
            <a:xfrm>
              <a:off x="4542997" y="3282151"/>
              <a:ext cx="1016238" cy="309095"/>
              <a:chOff x="9204452" y="1809539"/>
              <a:chExt cx="1016238" cy="309095"/>
            </a:xfrm>
          </p:grpSpPr>
          <p:sp>
            <p:nvSpPr>
              <p:cNvPr id="167" name="TextBox 166"/>
              <p:cNvSpPr txBox="1"/>
              <p:nvPr/>
            </p:nvSpPr>
            <p:spPr>
              <a:xfrm>
                <a:off x="9551307" y="1868609"/>
                <a:ext cx="669383" cy="250025"/>
              </a:xfrm>
              <a:prstGeom prst="rect">
                <a:avLst/>
              </a:prstGeom>
              <a:noFill/>
              <a:ln>
                <a:noFill/>
              </a:ln>
            </p:spPr>
            <p:txBody>
              <a:bodyPr wrap="none" lIns="0" tIns="20566" rIns="0" bIns="0" rtlCol="0" anchor="t">
                <a:noAutofit/>
              </a:bodyPr>
              <a:lstStyle/>
              <a:p>
                <a:pPr defTabSz="685463" eaLnBrk="0" hangingPunct="0">
                  <a:lnSpc>
                    <a:spcPts val="600"/>
                  </a:lnSpc>
                  <a:defRPr/>
                </a:pP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Visual Studio</a:t>
                </a:r>
              </a:p>
            </p:txBody>
          </p:sp>
          <p:pic>
            <p:nvPicPr>
              <p:cNvPr id="168" name="Picture 167" descr="Visual Studio Online.png"/>
              <p:cNvPicPr>
                <a:picLocks noChangeAspect="1"/>
              </p:cNvPicPr>
              <p:nvPr/>
            </p:nvPicPr>
            <p:blipFill>
              <a:blip r:embed="rId29" cstate="print">
                <a:biLevel thresh="25000"/>
                <a:extLst>
                  <a:ext uri="{28A0092B-C50C-407E-A947-70E740481C1C}">
                    <a14:useLocalDpi xmlns:a14="http://schemas.microsoft.com/office/drawing/2010/main" val="0"/>
                  </a:ext>
                </a:extLst>
              </a:blip>
              <a:stretch>
                <a:fillRect/>
              </a:stretch>
            </p:blipFill>
            <p:spPr>
              <a:xfrm>
                <a:off x="9204452" y="1809539"/>
                <a:ext cx="290489" cy="290489"/>
              </a:xfrm>
              <a:prstGeom prst="rect">
                <a:avLst/>
              </a:prstGeom>
            </p:spPr>
          </p:pic>
        </p:grpSp>
        <p:grpSp>
          <p:nvGrpSpPr>
            <p:cNvPr id="363" name="Group 362"/>
            <p:cNvGrpSpPr/>
            <p:nvPr/>
          </p:nvGrpSpPr>
          <p:grpSpPr>
            <a:xfrm>
              <a:off x="4486004" y="4153250"/>
              <a:ext cx="1057781" cy="319392"/>
              <a:chOff x="9197460" y="2680638"/>
              <a:chExt cx="1057781" cy="319392"/>
            </a:xfrm>
          </p:grpSpPr>
          <p:sp>
            <p:nvSpPr>
              <p:cNvPr id="169" name="TextBox 168"/>
              <p:cNvSpPr txBox="1"/>
              <p:nvPr/>
            </p:nvSpPr>
            <p:spPr>
              <a:xfrm>
                <a:off x="9596085" y="2698925"/>
                <a:ext cx="659156" cy="301105"/>
              </a:xfrm>
              <a:prstGeom prst="rect">
                <a:avLst/>
              </a:prstGeom>
              <a:noFill/>
              <a:ln>
                <a:noFill/>
              </a:ln>
            </p:spPr>
            <p:txBody>
              <a:bodyPr wrap="none" lIns="0" tIns="20566" rIns="0" bIns="0" rtlCol="0" anchor="t">
                <a:noAutofit/>
              </a:bodyPr>
              <a:lstStyle/>
              <a:p>
                <a:pPr defTabSz="685463" eaLnBrk="0" hangingPunct="0">
                  <a:lnSpc>
                    <a:spcPts val="600"/>
                  </a:lnSpc>
                  <a:defRPr/>
                </a:pP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pplication</a:t>
                </a:r>
              </a:p>
              <a:p>
                <a:pPr defTabSz="685463" eaLnBrk="0" hangingPunct="0">
                  <a:lnSpc>
                    <a:spcPts val="600"/>
                  </a:lnSpc>
                  <a:defRPr/>
                </a:pP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Insights</a:t>
                </a:r>
              </a:p>
            </p:txBody>
          </p:sp>
          <p:pic>
            <p:nvPicPr>
              <p:cNvPr id="170" name="Picture 169" descr="Application Insights.png"/>
              <p:cNvPicPr>
                <a:picLocks noChangeAspect="1"/>
              </p:cNvPicPr>
              <p:nvPr/>
            </p:nvPicPr>
            <p:blipFill>
              <a:blip r:embed="rId30" cstate="print">
                <a:biLevel thresh="25000"/>
                <a:extLst>
                  <a:ext uri="{28A0092B-C50C-407E-A947-70E740481C1C}">
                    <a14:useLocalDpi xmlns:a14="http://schemas.microsoft.com/office/drawing/2010/main" val="0"/>
                  </a:ext>
                </a:extLst>
              </a:blip>
              <a:stretch>
                <a:fillRect/>
              </a:stretch>
            </p:blipFill>
            <p:spPr>
              <a:xfrm>
                <a:off x="9197460" y="2680638"/>
                <a:ext cx="292274" cy="292274"/>
              </a:xfrm>
              <a:prstGeom prst="rect">
                <a:avLst/>
              </a:prstGeom>
            </p:spPr>
          </p:pic>
        </p:grpSp>
        <p:grpSp>
          <p:nvGrpSpPr>
            <p:cNvPr id="374" name="Group 373"/>
            <p:cNvGrpSpPr/>
            <p:nvPr/>
          </p:nvGrpSpPr>
          <p:grpSpPr>
            <a:xfrm>
              <a:off x="4502673" y="3710236"/>
              <a:ext cx="907749" cy="314754"/>
              <a:chOff x="8437736" y="1160854"/>
              <a:chExt cx="907749" cy="314754"/>
            </a:xfrm>
          </p:grpSpPr>
          <p:sp>
            <p:nvSpPr>
              <p:cNvPr id="239" name="TextBox 238"/>
              <p:cNvSpPr txBox="1"/>
              <p:nvPr/>
            </p:nvSpPr>
            <p:spPr>
              <a:xfrm>
                <a:off x="8784614" y="1217990"/>
                <a:ext cx="560871" cy="257618"/>
              </a:xfrm>
              <a:prstGeom prst="rect">
                <a:avLst/>
              </a:prstGeom>
              <a:noFill/>
              <a:ln>
                <a:noFill/>
              </a:ln>
            </p:spPr>
            <p:txBody>
              <a:bodyPr wrap="none" lIns="0" tIns="20566" rIns="0" bIns="0" rtlCol="0" anchor="t">
                <a:noAutofit/>
              </a:bodyPr>
              <a:lstStyle/>
              <a:p>
                <a:pPr defTabSz="685463" eaLnBrk="0" hangingPunct="0">
                  <a:lnSpc>
                    <a:spcPts val="600"/>
                  </a:lnSpc>
                  <a:defRPr/>
                </a:pP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VS Team Services</a:t>
                </a:r>
              </a:p>
            </p:txBody>
          </p:sp>
          <p:sp>
            <p:nvSpPr>
              <p:cNvPr id="371" name="Freeform 370"/>
              <p:cNvSpPr/>
              <p:nvPr/>
            </p:nvSpPr>
            <p:spPr bwMode="auto">
              <a:xfrm>
                <a:off x="8437736" y="1160854"/>
                <a:ext cx="290511" cy="249138"/>
              </a:xfrm>
              <a:custGeom>
                <a:avLst/>
                <a:gdLst>
                  <a:gd name="connsiteX0" fmla="*/ 20235 w 769143"/>
                  <a:gd name="connsiteY0" fmla="*/ 443405 h 659607"/>
                  <a:gd name="connsiteX1" fmla="*/ 84659 w 769143"/>
                  <a:gd name="connsiteY1" fmla="*/ 443405 h 659607"/>
                  <a:gd name="connsiteX2" fmla="*/ 133712 w 769143"/>
                  <a:gd name="connsiteY2" fmla="*/ 527981 h 659607"/>
                  <a:gd name="connsiteX3" fmla="*/ 182766 w 769143"/>
                  <a:gd name="connsiteY3" fmla="*/ 443405 h 659607"/>
                  <a:gd name="connsiteX4" fmla="*/ 251228 w 769143"/>
                  <a:gd name="connsiteY4" fmla="*/ 443405 h 659607"/>
                  <a:gd name="connsiteX5" fmla="*/ 271462 w 769143"/>
                  <a:gd name="connsiteY5" fmla="*/ 463640 h 659607"/>
                  <a:gd name="connsiteX6" fmla="*/ 271462 w 769143"/>
                  <a:gd name="connsiteY6" fmla="*/ 634610 h 659607"/>
                  <a:gd name="connsiteX7" fmla="*/ 251228 w 769143"/>
                  <a:gd name="connsiteY7" fmla="*/ 654845 h 659607"/>
                  <a:gd name="connsiteX8" fmla="*/ 20235 w 769143"/>
                  <a:gd name="connsiteY8" fmla="*/ 654845 h 659607"/>
                  <a:gd name="connsiteX9" fmla="*/ 0 w 769143"/>
                  <a:gd name="connsiteY9" fmla="*/ 634610 h 659607"/>
                  <a:gd name="connsiteX10" fmla="*/ 0 w 769143"/>
                  <a:gd name="connsiteY10" fmla="*/ 463640 h 659607"/>
                  <a:gd name="connsiteX11" fmla="*/ 20235 w 769143"/>
                  <a:gd name="connsiteY11" fmla="*/ 443405 h 659607"/>
                  <a:gd name="connsiteX12" fmla="*/ 330596 w 769143"/>
                  <a:gd name="connsiteY12" fmla="*/ 290513 h 659607"/>
                  <a:gd name="connsiteX13" fmla="*/ 443055 w 769143"/>
                  <a:gd name="connsiteY13" fmla="*/ 290513 h 659607"/>
                  <a:gd name="connsiteX14" fmla="*/ 528684 w 769143"/>
                  <a:gd name="connsiteY14" fmla="*/ 438150 h 659607"/>
                  <a:gd name="connsiteX15" fmla="*/ 614314 w 769143"/>
                  <a:gd name="connsiteY15" fmla="*/ 290513 h 659607"/>
                  <a:gd name="connsiteX16" fmla="*/ 733821 w 769143"/>
                  <a:gd name="connsiteY16" fmla="*/ 290513 h 659607"/>
                  <a:gd name="connsiteX17" fmla="*/ 769143 w 769143"/>
                  <a:gd name="connsiteY17" fmla="*/ 325835 h 659607"/>
                  <a:gd name="connsiteX18" fmla="*/ 769143 w 769143"/>
                  <a:gd name="connsiteY18" fmla="*/ 624285 h 659607"/>
                  <a:gd name="connsiteX19" fmla="*/ 733821 w 769143"/>
                  <a:gd name="connsiteY19" fmla="*/ 659607 h 659607"/>
                  <a:gd name="connsiteX20" fmla="*/ 330596 w 769143"/>
                  <a:gd name="connsiteY20" fmla="*/ 659607 h 659607"/>
                  <a:gd name="connsiteX21" fmla="*/ 295274 w 769143"/>
                  <a:gd name="connsiteY21" fmla="*/ 624285 h 659607"/>
                  <a:gd name="connsiteX22" fmla="*/ 295274 w 769143"/>
                  <a:gd name="connsiteY22" fmla="*/ 325835 h 659607"/>
                  <a:gd name="connsiteX23" fmla="*/ 330596 w 769143"/>
                  <a:gd name="connsiteY23" fmla="*/ 290513 h 659607"/>
                  <a:gd name="connsiteX24" fmla="*/ 134367 w 769143"/>
                  <a:gd name="connsiteY24" fmla="*/ 276981 h 659607"/>
                  <a:gd name="connsiteX25" fmla="*/ 211441 w 769143"/>
                  <a:gd name="connsiteY25" fmla="*/ 354055 h 659607"/>
                  <a:gd name="connsiteX26" fmla="*/ 134367 w 769143"/>
                  <a:gd name="connsiteY26" fmla="*/ 431128 h 659607"/>
                  <a:gd name="connsiteX27" fmla="*/ 57293 w 769143"/>
                  <a:gd name="connsiteY27" fmla="*/ 354055 h 659607"/>
                  <a:gd name="connsiteX28" fmla="*/ 134367 w 769143"/>
                  <a:gd name="connsiteY28" fmla="*/ 276981 h 659607"/>
                  <a:gd name="connsiteX29" fmla="*/ 529827 w 769143"/>
                  <a:gd name="connsiteY29" fmla="*/ 0 h 659607"/>
                  <a:gd name="connsiteX30" fmla="*/ 664368 w 769143"/>
                  <a:gd name="connsiteY30" fmla="*/ 134541 h 659607"/>
                  <a:gd name="connsiteX31" fmla="*/ 529827 w 769143"/>
                  <a:gd name="connsiteY31" fmla="*/ 269082 h 659607"/>
                  <a:gd name="connsiteX32" fmla="*/ 395286 w 769143"/>
                  <a:gd name="connsiteY32" fmla="*/ 134541 h 659607"/>
                  <a:gd name="connsiteX33" fmla="*/ 529827 w 769143"/>
                  <a:gd name="connsiteY33" fmla="*/ 0 h 6596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769143" h="659607">
                    <a:moveTo>
                      <a:pt x="20235" y="443405"/>
                    </a:moveTo>
                    <a:lnTo>
                      <a:pt x="84659" y="443405"/>
                    </a:lnTo>
                    <a:lnTo>
                      <a:pt x="133712" y="527981"/>
                    </a:lnTo>
                    <a:lnTo>
                      <a:pt x="182766" y="443405"/>
                    </a:lnTo>
                    <a:lnTo>
                      <a:pt x="251228" y="443405"/>
                    </a:lnTo>
                    <a:cubicBezTo>
                      <a:pt x="262403" y="443405"/>
                      <a:pt x="271462" y="452464"/>
                      <a:pt x="271462" y="463640"/>
                    </a:cubicBezTo>
                    <a:lnTo>
                      <a:pt x="271462" y="634610"/>
                    </a:lnTo>
                    <a:cubicBezTo>
                      <a:pt x="271462" y="645786"/>
                      <a:pt x="262403" y="654845"/>
                      <a:pt x="251228" y="654845"/>
                    </a:cubicBezTo>
                    <a:lnTo>
                      <a:pt x="20235" y="654845"/>
                    </a:lnTo>
                    <a:cubicBezTo>
                      <a:pt x="9060" y="654845"/>
                      <a:pt x="0" y="645786"/>
                      <a:pt x="0" y="634610"/>
                    </a:cubicBezTo>
                    <a:lnTo>
                      <a:pt x="0" y="463640"/>
                    </a:lnTo>
                    <a:cubicBezTo>
                      <a:pt x="0" y="452464"/>
                      <a:pt x="9060" y="443405"/>
                      <a:pt x="20235" y="443405"/>
                    </a:cubicBezTo>
                    <a:close/>
                    <a:moveTo>
                      <a:pt x="330596" y="290513"/>
                    </a:moveTo>
                    <a:lnTo>
                      <a:pt x="443055" y="290513"/>
                    </a:lnTo>
                    <a:lnTo>
                      <a:pt x="528684" y="438150"/>
                    </a:lnTo>
                    <a:lnTo>
                      <a:pt x="614314" y="290513"/>
                    </a:lnTo>
                    <a:lnTo>
                      <a:pt x="733821" y="290513"/>
                    </a:lnTo>
                    <a:cubicBezTo>
                      <a:pt x="753329" y="290513"/>
                      <a:pt x="769143" y="306327"/>
                      <a:pt x="769143" y="325835"/>
                    </a:cubicBezTo>
                    <a:lnTo>
                      <a:pt x="769143" y="624285"/>
                    </a:lnTo>
                    <a:cubicBezTo>
                      <a:pt x="769143" y="643793"/>
                      <a:pt x="753329" y="659607"/>
                      <a:pt x="733821" y="659607"/>
                    </a:cubicBezTo>
                    <a:lnTo>
                      <a:pt x="330596" y="659607"/>
                    </a:lnTo>
                    <a:cubicBezTo>
                      <a:pt x="311088" y="659607"/>
                      <a:pt x="295274" y="643793"/>
                      <a:pt x="295274" y="624285"/>
                    </a:cubicBezTo>
                    <a:lnTo>
                      <a:pt x="295274" y="325835"/>
                    </a:lnTo>
                    <a:cubicBezTo>
                      <a:pt x="295274" y="306327"/>
                      <a:pt x="311088" y="290513"/>
                      <a:pt x="330596" y="290513"/>
                    </a:cubicBezTo>
                    <a:close/>
                    <a:moveTo>
                      <a:pt x="134367" y="276981"/>
                    </a:moveTo>
                    <a:cubicBezTo>
                      <a:pt x="176934" y="276981"/>
                      <a:pt x="211441" y="311488"/>
                      <a:pt x="211441" y="354055"/>
                    </a:cubicBezTo>
                    <a:cubicBezTo>
                      <a:pt x="211441" y="396621"/>
                      <a:pt x="176934" y="431128"/>
                      <a:pt x="134367" y="431128"/>
                    </a:cubicBezTo>
                    <a:cubicBezTo>
                      <a:pt x="91800" y="431128"/>
                      <a:pt x="57293" y="396621"/>
                      <a:pt x="57293" y="354055"/>
                    </a:cubicBezTo>
                    <a:cubicBezTo>
                      <a:pt x="57293" y="311488"/>
                      <a:pt x="91800" y="276981"/>
                      <a:pt x="134367" y="276981"/>
                    </a:cubicBezTo>
                    <a:close/>
                    <a:moveTo>
                      <a:pt x="529827" y="0"/>
                    </a:moveTo>
                    <a:cubicBezTo>
                      <a:pt x="604132" y="0"/>
                      <a:pt x="664368" y="60236"/>
                      <a:pt x="664368" y="134541"/>
                    </a:cubicBezTo>
                    <a:cubicBezTo>
                      <a:pt x="664368" y="208846"/>
                      <a:pt x="604132" y="269082"/>
                      <a:pt x="529827" y="269082"/>
                    </a:cubicBezTo>
                    <a:cubicBezTo>
                      <a:pt x="455522" y="269082"/>
                      <a:pt x="395286" y="208846"/>
                      <a:pt x="395286" y="134541"/>
                    </a:cubicBezTo>
                    <a:cubicBezTo>
                      <a:pt x="395286" y="60236"/>
                      <a:pt x="455522" y="0"/>
                      <a:pt x="529827"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a:lnSpc>
                    <a:spcPct val="90000"/>
                  </a:lnSpc>
                  <a:defRPr/>
                </a:pPr>
                <a:endParaRPr lang="en-US" sz="1471" kern="0" dirty="0">
                  <a:solidFill>
                    <a:srgbClr val="505050"/>
                  </a:solidFill>
                  <a:latin typeface="Segoe UI Light"/>
                  <a:ea typeface="Segoe UI" pitchFamily="34" charset="0"/>
                  <a:cs typeface="Segoe UI" pitchFamily="34" charset="0"/>
                </a:endParaRPr>
              </a:p>
            </p:txBody>
          </p:sp>
        </p:grpSp>
        <p:sp>
          <p:nvSpPr>
            <p:cNvPr id="62" name="Rectangle 61"/>
            <p:cNvSpPr/>
            <p:nvPr/>
          </p:nvSpPr>
          <p:spPr bwMode="auto">
            <a:xfrm>
              <a:off x="1680586" y="5305120"/>
              <a:ext cx="861746" cy="356066"/>
            </a:xfrm>
            <a:prstGeom prst="rect">
              <a:avLst/>
            </a:prstGeom>
            <a:solidFill>
              <a:srgbClr val="0072C6"/>
            </a:solidFill>
            <a:ln w="6350" cap="flat" cmpd="sng" algn="ctr">
              <a:noFill/>
              <a:prstDash val="solid"/>
              <a:miter lim="800000"/>
              <a:headEnd type="none" w="med" len="med"/>
              <a:tailEnd type="none" w="med" len="med"/>
            </a:ln>
            <a:effectLst/>
          </p:spPr>
          <p:txBody>
            <a:bodyPr rot="0" spcFirstLastPara="0" vertOverflow="overflow" horzOverflow="overflow" vert="horz" wrap="square" lIns="228588" tIns="33616" rIns="0" bIns="105457" numCol="1" spcCol="0" rtlCol="0" fromWordArt="0" anchor="t" anchorCtr="0" forceAA="0" compatLnSpc="1">
              <a:prstTxWarp prst="textNoShape">
                <a:avLst/>
              </a:prstTxWarp>
              <a:noAutofit/>
            </a:bodyPr>
            <a:lstStyle/>
            <a:p>
              <a:pPr defTabSz="671942">
                <a:lnSpc>
                  <a:spcPct val="90000"/>
                </a:lnSpc>
                <a:spcBef>
                  <a:spcPts val="0"/>
                </a:spcBef>
                <a:spcAft>
                  <a:spcPts val="0"/>
                </a:spcAft>
                <a:defRPr/>
              </a:pPr>
              <a:r>
                <a:rPr lang="en-US" sz="588" b="0" kern="0" dirty="0">
                  <a:gradFill>
                    <a:gsLst>
                      <a:gs pos="0">
                        <a:srgbClr val="FFFFFF"/>
                      </a:gs>
                      <a:gs pos="100000">
                        <a:srgbClr val="FFFFFF"/>
                      </a:gs>
                    </a:gsLst>
                    <a:lin ang="5400000" scaled="0"/>
                  </a:gradFill>
                  <a:latin typeface="Segoe UI"/>
                  <a:ea typeface="Segoe UI" pitchFamily="34" charset="0"/>
                  <a:cs typeface="Segoe UI" pitchFamily="34" charset="0"/>
                </a:rPr>
                <a:t>Containers</a:t>
              </a:r>
            </a:p>
          </p:txBody>
        </p:sp>
        <p:grpSp>
          <p:nvGrpSpPr>
            <p:cNvPr id="412" name="Group 411"/>
            <p:cNvGrpSpPr/>
            <p:nvPr/>
          </p:nvGrpSpPr>
          <p:grpSpPr>
            <a:xfrm>
              <a:off x="1693311" y="5326879"/>
              <a:ext cx="221053" cy="170255"/>
              <a:chOff x="729660" y="5278586"/>
              <a:chExt cx="294653" cy="226942"/>
            </a:xfrm>
          </p:grpSpPr>
          <p:grpSp>
            <p:nvGrpSpPr>
              <p:cNvPr id="402" name="Group 401"/>
              <p:cNvGrpSpPr/>
              <p:nvPr/>
            </p:nvGrpSpPr>
            <p:grpSpPr>
              <a:xfrm>
                <a:off x="748309" y="5298113"/>
                <a:ext cx="97032" cy="104038"/>
                <a:chOff x="-760416" y="3893954"/>
                <a:chExt cx="291844" cy="312914"/>
              </a:xfrm>
              <a:solidFill>
                <a:schemeClr val="bg1"/>
              </a:solidFill>
            </p:grpSpPr>
            <p:sp>
              <p:nvSpPr>
                <p:cNvPr id="397" name="Diamond 396"/>
                <p:cNvSpPr/>
                <p:nvPr/>
              </p:nvSpPr>
              <p:spPr bwMode="auto">
                <a:xfrm rot="19690132">
                  <a:off x="-760416" y="3960080"/>
                  <a:ext cx="148049" cy="245585"/>
                </a:xfrm>
                <a:prstGeom prst="diamond">
                  <a:avLst/>
                </a:prstGeom>
                <a:grpFill/>
                <a:ln>
                  <a:noFill/>
                  <a:headEnd type="none" w="med" len="med"/>
                  <a:tailEnd type="none" w="med" len="med"/>
                </a:ln>
                <a:effectLst/>
                <a:scene3d>
                  <a:camera prst="orthographicFront">
                    <a:rot lat="899860" lon="21583921" rev="2154000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a:lnSpc>
                      <a:spcPct val="90000"/>
                    </a:lnSpc>
                    <a:defRPr/>
                  </a:pPr>
                  <a:endParaRPr lang="en-US" sz="1471" kern="0" dirty="0">
                    <a:solidFill>
                      <a:srgbClr val="505050"/>
                    </a:solidFill>
                    <a:latin typeface="Segoe UI Light"/>
                    <a:ea typeface="Segoe UI" pitchFamily="34" charset="0"/>
                    <a:cs typeface="Segoe UI" pitchFamily="34" charset="0"/>
                  </a:endParaRPr>
                </a:p>
              </p:txBody>
            </p:sp>
            <p:sp>
              <p:nvSpPr>
                <p:cNvPr id="398" name="Diamond 397"/>
                <p:cNvSpPr/>
                <p:nvPr/>
              </p:nvSpPr>
              <p:spPr bwMode="auto">
                <a:xfrm rot="1935408">
                  <a:off x="-622514" y="3960220"/>
                  <a:ext cx="153942" cy="246648"/>
                </a:xfrm>
                <a:prstGeom prst="diamond">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a:lnSpc>
                      <a:spcPct val="90000"/>
                    </a:lnSpc>
                    <a:defRPr/>
                  </a:pPr>
                  <a:endParaRPr lang="en-US" sz="1471" kern="0" dirty="0">
                    <a:solidFill>
                      <a:srgbClr val="505050"/>
                    </a:solidFill>
                    <a:latin typeface="Segoe UI Light"/>
                    <a:ea typeface="Segoe UI" pitchFamily="34" charset="0"/>
                    <a:cs typeface="Segoe UI" pitchFamily="34" charset="0"/>
                  </a:endParaRPr>
                </a:p>
              </p:txBody>
            </p:sp>
            <p:sp>
              <p:nvSpPr>
                <p:cNvPr id="399" name="Diamond 398"/>
                <p:cNvSpPr/>
                <p:nvPr/>
              </p:nvSpPr>
              <p:spPr bwMode="auto">
                <a:xfrm rot="5400000">
                  <a:off x="-691931" y="3848129"/>
                  <a:ext cx="153937" cy="245588"/>
                </a:xfrm>
                <a:prstGeom prst="diamond">
                  <a:avLst/>
                </a:prstGeom>
                <a:grpFill/>
                <a:ln>
                  <a:noFill/>
                  <a:headEnd type="none" w="med" len="med"/>
                  <a:tailEnd type="none" w="med" len="med"/>
                </a:ln>
                <a:effectLst/>
                <a:scene3d>
                  <a:camera prst="orthographicFront">
                    <a:rot lat="21599979" lon="2400000" rev="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a:lnSpc>
                      <a:spcPct val="90000"/>
                    </a:lnSpc>
                    <a:defRPr/>
                  </a:pPr>
                  <a:endParaRPr lang="en-US" sz="1471" kern="0" dirty="0">
                    <a:solidFill>
                      <a:srgbClr val="505050"/>
                    </a:solidFill>
                    <a:latin typeface="Segoe UI Light"/>
                    <a:ea typeface="Segoe UI" pitchFamily="34" charset="0"/>
                    <a:cs typeface="Segoe UI" pitchFamily="34" charset="0"/>
                  </a:endParaRPr>
                </a:p>
              </p:txBody>
            </p:sp>
          </p:grpSp>
          <p:sp>
            <p:nvSpPr>
              <p:cNvPr id="403" name="Rounded Rectangle 402"/>
              <p:cNvSpPr/>
              <p:nvPr/>
            </p:nvSpPr>
            <p:spPr bwMode="auto">
              <a:xfrm>
                <a:off x="729660" y="5278586"/>
                <a:ext cx="294653" cy="226942"/>
              </a:xfrm>
              <a:prstGeom prst="roundRect">
                <a:avLst>
                  <a:gd name="adj" fmla="val 9184"/>
                </a:avLst>
              </a:prstGeom>
              <a:no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a:lnSpc>
                    <a:spcPct val="90000"/>
                  </a:lnSpc>
                  <a:defRPr/>
                </a:pPr>
                <a:endParaRPr lang="en-US" sz="1471" kern="0" dirty="0">
                  <a:solidFill>
                    <a:srgbClr val="505050"/>
                  </a:solidFill>
                  <a:latin typeface="Segoe UI Light"/>
                  <a:ea typeface="Segoe UI" pitchFamily="34" charset="0"/>
                  <a:cs typeface="Segoe UI" pitchFamily="34" charset="0"/>
                </a:endParaRPr>
              </a:p>
            </p:txBody>
          </p:sp>
          <p:grpSp>
            <p:nvGrpSpPr>
              <p:cNvPr id="404" name="Group 403"/>
              <p:cNvGrpSpPr/>
              <p:nvPr/>
            </p:nvGrpSpPr>
            <p:grpSpPr>
              <a:xfrm>
                <a:off x="893156" y="5298645"/>
                <a:ext cx="97032" cy="104036"/>
                <a:chOff x="-760425" y="3893952"/>
                <a:chExt cx="291846" cy="312908"/>
              </a:xfrm>
              <a:solidFill>
                <a:schemeClr val="bg1"/>
              </a:solidFill>
            </p:grpSpPr>
            <p:sp>
              <p:nvSpPr>
                <p:cNvPr id="405" name="Diamond 404"/>
                <p:cNvSpPr/>
                <p:nvPr/>
              </p:nvSpPr>
              <p:spPr bwMode="auto">
                <a:xfrm rot="19690132">
                  <a:off x="-760425" y="3960082"/>
                  <a:ext cx="148050" cy="245583"/>
                </a:xfrm>
                <a:prstGeom prst="diamond">
                  <a:avLst/>
                </a:prstGeom>
                <a:grpFill/>
                <a:ln>
                  <a:noFill/>
                  <a:headEnd type="none" w="med" len="med"/>
                  <a:tailEnd type="none" w="med" len="med"/>
                </a:ln>
                <a:effectLst/>
                <a:scene3d>
                  <a:camera prst="orthographicFront">
                    <a:rot lat="899860" lon="21583921" rev="2154000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a:lnSpc>
                      <a:spcPct val="90000"/>
                    </a:lnSpc>
                    <a:defRPr/>
                  </a:pPr>
                  <a:endParaRPr lang="en-US" sz="1471" kern="0" dirty="0">
                    <a:solidFill>
                      <a:srgbClr val="505050"/>
                    </a:solidFill>
                    <a:latin typeface="Segoe UI Light"/>
                    <a:ea typeface="Segoe UI" pitchFamily="34" charset="0"/>
                    <a:cs typeface="Segoe UI" pitchFamily="34" charset="0"/>
                  </a:endParaRPr>
                </a:p>
              </p:txBody>
            </p:sp>
            <p:sp>
              <p:nvSpPr>
                <p:cNvPr id="406" name="Diamond 405"/>
                <p:cNvSpPr/>
                <p:nvPr/>
              </p:nvSpPr>
              <p:spPr bwMode="auto">
                <a:xfrm rot="1935408">
                  <a:off x="-622522" y="3960219"/>
                  <a:ext cx="153943" cy="246641"/>
                </a:xfrm>
                <a:prstGeom prst="diamond">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a:lnSpc>
                      <a:spcPct val="90000"/>
                    </a:lnSpc>
                    <a:defRPr/>
                  </a:pPr>
                  <a:endParaRPr lang="en-US" sz="1471" kern="0" dirty="0">
                    <a:solidFill>
                      <a:srgbClr val="505050"/>
                    </a:solidFill>
                    <a:latin typeface="Segoe UI Light"/>
                    <a:ea typeface="Segoe UI" pitchFamily="34" charset="0"/>
                    <a:cs typeface="Segoe UI" pitchFamily="34" charset="0"/>
                  </a:endParaRPr>
                </a:p>
              </p:txBody>
            </p:sp>
            <p:sp>
              <p:nvSpPr>
                <p:cNvPr id="407" name="Diamond 406"/>
                <p:cNvSpPr/>
                <p:nvPr/>
              </p:nvSpPr>
              <p:spPr bwMode="auto">
                <a:xfrm rot="5400000">
                  <a:off x="-691939" y="3848130"/>
                  <a:ext cx="153939" cy="245584"/>
                </a:xfrm>
                <a:prstGeom prst="diamond">
                  <a:avLst/>
                </a:prstGeom>
                <a:grpFill/>
                <a:ln>
                  <a:noFill/>
                  <a:headEnd type="none" w="med" len="med"/>
                  <a:tailEnd type="none" w="med" len="med"/>
                </a:ln>
                <a:effectLst/>
                <a:scene3d>
                  <a:camera prst="orthographicFront">
                    <a:rot lat="21599979" lon="2400000" rev="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a:lnSpc>
                      <a:spcPct val="90000"/>
                    </a:lnSpc>
                    <a:defRPr/>
                  </a:pPr>
                  <a:endParaRPr lang="en-US" sz="1471" kern="0" dirty="0">
                    <a:solidFill>
                      <a:srgbClr val="505050"/>
                    </a:solidFill>
                    <a:latin typeface="Segoe UI Light"/>
                    <a:ea typeface="Segoe UI" pitchFamily="34" charset="0"/>
                    <a:cs typeface="Segoe UI" pitchFamily="34" charset="0"/>
                  </a:endParaRPr>
                </a:p>
              </p:txBody>
            </p:sp>
          </p:grpSp>
          <p:grpSp>
            <p:nvGrpSpPr>
              <p:cNvPr id="408" name="Group 407"/>
              <p:cNvGrpSpPr/>
              <p:nvPr/>
            </p:nvGrpSpPr>
            <p:grpSpPr>
              <a:xfrm>
                <a:off x="824684" y="5380094"/>
                <a:ext cx="97032" cy="104038"/>
                <a:chOff x="-760434" y="3893950"/>
                <a:chExt cx="291848" cy="312914"/>
              </a:xfrm>
              <a:solidFill>
                <a:schemeClr val="bg1"/>
              </a:solidFill>
            </p:grpSpPr>
            <p:sp>
              <p:nvSpPr>
                <p:cNvPr id="409" name="Diamond 408"/>
                <p:cNvSpPr/>
                <p:nvPr/>
              </p:nvSpPr>
              <p:spPr bwMode="auto">
                <a:xfrm rot="19690132">
                  <a:off x="-760434" y="3960080"/>
                  <a:ext cx="148051" cy="245585"/>
                </a:xfrm>
                <a:prstGeom prst="diamond">
                  <a:avLst/>
                </a:prstGeom>
                <a:grpFill/>
                <a:ln>
                  <a:noFill/>
                  <a:headEnd type="none" w="med" len="med"/>
                  <a:tailEnd type="none" w="med" len="med"/>
                </a:ln>
                <a:effectLst/>
                <a:scene3d>
                  <a:camera prst="orthographicFront">
                    <a:rot lat="899860" lon="21583921" rev="2154000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a:lnSpc>
                      <a:spcPct val="90000"/>
                    </a:lnSpc>
                    <a:defRPr/>
                  </a:pPr>
                  <a:endParaRPr lang="en-US" sz="1471" kern="0" dirty="0">
                    <a:solidFill>
                      <a:srgbClr val="505050"/>
                    </a:solidFill>
                    <a:latin typeface="Segoe UI Light"/>
                    <a:ea typeface="Segoe UI" pitchFamily="34" charset="0"/>
                    <a:cs typeface="Segoe UI" pitchFamily="34" charset="0"/>
                  </a:endParaRPr>
                </a:p>
              </p:txBody>
            </p:sp>
            <p:sp>
              <p:nvSpPr>
                <p:cNvPr id="410" name="Diamond 409"/>
                <p:cNvSpPr/>
                <p:nvPr/>
              </p:nvSpPr>
              <p:spPr bwMode="auto">
                <a:xfrm rot="1935408">
                  <a:off x="-622530" y="3960220"/>
                  <a:ext cx="153944" cy="246644"/>
                </a:xfrm>
                <a:prstGeom prst="diamond">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a:lnSpc>
                      <a:spcPct val="90000"/>
                    </a:lnSpc>
                    <a:defRPr/>
                  </a:pPr>
                  <a:endParaRPr lang="en-US" sz="1471" kern="0" dirty="0">
                    <a:solidFill>
                      <a:srgbClr val="505050"/>
                    </a:solidFill>
                    <a:latin typeface="Segoe UI Light"/>
                    <a:ea typeface="Segoe UI" pitchFamily="34" charset="0"/>
                    <a:cs typeface="Segoe UI" pitchFamily="34" charset="0"/>
                  </a:endParaRPr>
                </a:p>
              </p:txBody>
            </p:sp>
            <p:sp>
              <p:nvSpPr>
                <p:cNvPr id="411" name="Diamond 410"/>
                <p:cNvSpPr/>
                <p:nvPr/>
              </p:nvSpPr>
              <p:spPr bwMode="auto">
                <a:xfrm rot="5400000">
                  <a:off x="-691960" y="3848128"/>
                  <a:ext cx="153941" cy="245585"/>
                </a:xfrm>
                <a:prstGeom prst="diamond">
                  <a:avLst/>
                </a:prstGeom>
                <a:grpFill/>
                <a:ln>
                  <a:noFill/>
                  <a:headEnd type="none" w="med" len="med"/>
                  <a:tailEnd type="none" w="med" len="med"/>
                </a:ln>
                <a:effectLst/>
                <a:scene3d>
                  <a:camera prst="orthographicFront">
                    <a:rot lat="21599979" lon="2400000" rev="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a:lnSpc>
                      <a:spcPct val="90000"/>
                    </a:lnSpc>
                    <a:defRPr/>
                  </a:pPr>
                  <a:endParaRPr lang="en-US" sz="1471" kern="0" dirty="0">
                    <a:solidFill>
                      <a:srgbClr val="505050"/>
                    </a:solidFill>
                    <a:latin typeface="Segoe UI Light"/>
                    <a:ea typeface="Segoe UI" pitchFamily="34" charset="0"/>
                    <a:cs typeface="Segoe UI" pitchFamily="34" charset="0"/>
                  </a:endParaRPr>
                </a:p>
              </p:txBody>
            </p:sp>
          </p:grpSp>
        </p:grpSp>
        <p:sp>
          <p:nvSpPr>
            <p:cNvPr id="30" name="Rectangle 29"/>
            <p:cNvSpPr/>
            <p:nvPr/>
          </p:nvSpPr>
          <p:spPr bwMode="auto">
            <a:xfrm>
              <a:off x="7811715" y="5284096"/>
              <a:ext cx="691304" cy="346426"/>
            </a:xfrm>
            <a:prstGeom prst="rect">
              <a:avLst/>
            </a:prstGeom>
            <a:solidFill>
              <a:srgbClr val="0072C6"/>
            </a:solidFill>
            <a:ln w="6350" cap="flat" cmpd="sng" algn="ctr">
              <a:noFill/>
              <a:prstDash val="solid"/>
              <a:miter lim="800000"/>
              <a:headEnd type="none" w="med" len="med"/>
              <a:tailEnd type="none" w="med" len="med"/>
            </a:ln>
            <a:effectLst/>
          </p:spPr>
          <p:txBody>
            <a:bodyPr rot="0" spcFirstLastPara="0" vertOverflow="overflow" horzOverflow="overflow" vert="horz" wrap="square" lIns="228588" tIns="33616" rIns="0" bIns="105457" numCol="1" spcCol="0" rtlCol="0" fromWordArt="0" anchor="t" anchorCtr="0" forceAA="0" compatLnSpc="1">
              <a:prstTxWarp prst="textNoShape">
                <a:avLst/>
              </a:prstTxWarp>
              <a:noAutofit/>
            </a:bodyPr>
            <a:lstStyle/>
            <a:p>
              <a:pPr defTabSz="671942">
                <a:lnSpc>
                  <a:spcPct val="90000"/>
                </a:lnSpc>
                <a:spcBef>
                  <a:spcPts val="0"/>
                </a:spcBef>
                <a:spcAft>
                  <a:spcPts val="0"/>
                </a:spcAft>
                <a:defRPr/>
              </a:pPr>
              <a:r>
                <a:rPr lang="en-US" sz="588" b="0" kern="0" dirty="0">
                  <a:gradFill>
                    <a:gsLst>
                      <a:gs pos="0">
                        <a:srgbClr val="FFFFFF"/>
                      </a:gs>
                      <a:gs pos="100000">
                        <a:srgbClr val="FFFFFF"/>
                      </a:gs>
                    </a:gsLst>
                    <a:lin ang="5400000" scaled="0"/>
                  </a:gradFill>
                  <a:latin typeface="Segoe UI"/>
                  <a:ea typeface="Segoe UI" pitchFamily="34" charset="0"/>
                  <a:cs typeface="Segoe UI" pitchFamily="34" charset="0"/>
                </a:rPr>
                <a:t>DNS</a:t>
              </a:r>
            </a:p>
          </p:txBody>
        </p:sp>
        <p:pic>
          <p:nvPicPr>
            <p:cNvPr id="4" name="Picture 3"/>
            <p:cNvPicPr>
              <a:picLocks noChangeAspect="1"/>
            </p:cNvPicPr>
            <p:nvPr/>
          </p:nvPicPr>
          <p:blipFill>
            <a:blip r:embed="rId31" cstate="print">
              <a:biLevel thresh="25000"/>
              <a:extLst>
                <a:ext uri="{28A0092B-C50C-407E-A947-70E740481C1C}">
                  <a14:useLocalDpi xmlns:a14="http://schemas.microsoft.com/office/drawing/2010/main" val="0"/>
                </a:ext>
              </a:extLst>
            </a:blip>
            <a:stretch>
              <a:fillRect/>
            </a:stretch>
          </p:blipFill>
          <p:spPr>
            <a:xfrm>
              <a:off x="7861327" y="5279820"/>
              <a:ext cx="211665" cy="211665"/>
            </a:xfrm>
            <a:prstGeom prst="rect">
              <a:avLst/>
            </a:prstGeom>
            <a:solidFill>
              <a:srgbClr val="0072C6"/>
            </a:solidFill>
          </p:spPr>
        </p:pic>
        <p:sp>
          <p:nvSpPr>
            <p:cNvPr id="34" name="Rectangle 33"/>
            <p:cNvSpPr/>
            <p:nvPr/>
          </p:nvSpPr>
          <p:spPr bwMode="auto">
            <a:xfrm>
              <a:off x="10458851" y="5230828"/>
              <a:ext cx="870398" cy="346426"/>
            </a:xfrm>
            <a:prstGeom prst="rect">
              <a:avLst/>
            </a:prstGeom>
            <a:solidFill>
              <a:srgbClr val="0072C6"/>
            </a:solidFill>
            <a:ln w="6350" cap="flat" cmpd="sng" algn="ctr">
              <a:noFill/>
              <a:prstDash val="solid"/>
              <a:miter lim="800000"/>
              <a:headEnd type="none" w="med" len="med"/>
              <a:tailEnd type="none" w="med" len="med"/>
            </a:ln>
            <a:effectLst/>
          </p:spPr>
          <p:txBody>
            <a:bodyPr rot="0" spcFirstLastPara="0" vertOverflow="overflow" horzOverflow="overflow" vert="horz" wrap="square" lIns="228588" tIns="33616" rIns="0" bIns="105457" numCol="1" spcCol="0" rtlCol="0" fromWordArt="0" anchor="t" anchorCtr="0" forceAA="0" compatLnSpc="1">
              <a:prstTxWarp prst="textNoShape">
                <a:avLst/>
              </a:prstTxWarp>
              <a:noAutofit/>
            </a:bodyPr>
            <a:lstStyle/>
            <a:p>
              <a:pPr defTabSz="671942">
                <a:lnSpc>
                  <a:spcPct val="90000"/>
                </a:lnSpc>
                <a:spcBef>
                  <a:spcPts val="0"/>
                </a:spcBef>
                <a:spcAft>
                  <a:spcPts val="0"/>
                </a:spcAft>
                <a:defRPr/>
              </a:pPr>
              <a:r>
                <a:rPr lang="en-US" sz="588" b="0" kern="0" dirty="0">
                  <a:gradFill>
                    <a:gsLst>
                      <a:gs pos="0">
                        <a:srgbClr val="FFFFFF"/>
                      </a:gs>
                      <a:gs pos="100000">
                        <a:srgbClr val="FFFFFF"/>
                      </a:gs>
                    </a:gsLst>
                    <a:lin ang="5400000" scaled="0"/>
                  </a:gradFill>
                  <a:latin typeface="Segoe UI"/>
                  <a:ea typeface="Segoe UI" pitchFamily="34" charset="0"/>
                  <a:cs typeface="Segoe UI" pitchFamily="34" charset="0"/>
                </a:rPr>
                <a:t>VPN Gateway</a:t>
              </a:r>
            </a:p>
          </p:txBody>
        </p:sp>
        <p:pic>
          <p:nvPicPr>
            <p:cNvPr id="10" name="Picture 9"/>
            <p:cNvPicPr>
              <a:picLocks noChangeAspect="1"/>
            </p:cNvPicPr>
            <p:nvPr/>
          </p:nvPicPr>
          <p:blipFill>
            <a:blip r:embed="rId32" cstate="print">
              <a:biLevel thresh="25000"/>
              <a:extLst>
                <a:ext uri="{28A0092B-C50C-407E-A947-70E740481C1C}">
                  <a14:useLocalDpi xmlns:a14="http://schemas.microsoft.com/office/drawing/2010/main" val="0"/>
                </a:ext>
              </a:extLst>
            </a:blip>
            <a:stretch>
              <a:fillRect/>
            </a:stretch>
          </p:blipFill>
          <p:spPr>
            <a:xfrm>
              <a:off x="10461236" y="5264905"/>
              <a:ext cx="241495" cy="241495"/>
            </a:xfrm>
            <a:prstGeom prst="rect">
              <a:avLst/>
            </a:prstGeom>
            <a:solidFill>
              <a:srgbClr val="0072C6"/>
            </a:solidFill>
          </p:spPr>
        </p:pic>
        <p:sp>
          <p:nvSpPr>
            <p:cNvPr id="29" name="Rectangle 28"/>
            <p:cNvSpPr/>
            <p:nvPr/>
          </p:nvSpPr>
          <p:spPr bwMode="auto">
            <a:xfrm>
              <a:off x="6949673" y="5231160"/>
              <a:ext cx="829620" cy="346180"/>
            </a:xfrm>
            <a:prstGeom prst="rect">
              <a:avLst/>
            </a:prstGeom>
            <a:solidFill>
              <a:srgbClr val="0072C6"/>
            </a:solidFill>
            <a:ln w="6350" cap="flat" cmpd="sng" algn="ctr">
              <a:noFill/>
              <a:prstDash val="solid"/>
              <a:miter lim="800000"/>
              <a:headEnd type="none" w="med" len="med"/>
              <a:tailEnd type="none" w="med" len="med"/>
            </a:ln>
            <a:effectLst/>
          </p:spPr>
          <p:txBody>
            <a:bodyPr rot="0" spcFirstLastPara="0" vertOverflow="overflow" horzOverflow="overflow" vert="horz" wrap="square" lIns="228588" tIns="33616" rIns="0" bIns="105457" numCol="1" spcCol="0" rtlCol="0" fromWordArt="0" anchor="t" anchorCtr="0" forceAA="0" compatLnSpc="1">
              <a:prstTxWarp prst="textNoShape">
                <a:avLst/>
              </a:prstTxWarp>
              <a:noAutofit/>
            </a:bodyPr>
            <a:lstStyle/>
            <a:p>
              <a:pPr defTabSz="671942">
                <a:lnSpc>
                  <a:spcPct val="90000"/>
                </a:lnSpc>
                <a:spcBef>
                  <a:spcPts val="0"/>
                </a:spcBef>
                <a:spcAft>
                  <a:spcPts val="0"/>
                </a:spcAft>
                <a:defRPr/>
              </a:pPr>
              <a:r>
                <a:rPr lang="en-US" sz="588" b="0" kern="0" dirty="0">
                  <a:gradFill>
                    <a:gsLst>
                      <a:gs pos="0">
                        <a:srgbClr val="FFFFFF"/>
                      </a:gs>
                      <a:gs pos="100000">
                        <a:srgbClr val="FFFFFF"/>
                      </a:gs>
                    </a:gsLst>
                    <a:lin ang="5400000" scaled="0"/>
                  </a:gradFill>
                  <a:latin typeface="Segoe UI"/>
                  <a:ea typeface="Segoe UI" pitchFamily="34" charset="0"/>
                  <a:cs typeface="Segoe UI" pitchFamily="34" charset="0"/>
                </a:rPr>
                <a:t>Load Balancer</a:t>
              </a:r>
            </a:p>
          </p:txBody>
        </p:sp>
        <p:pic>
          <p:nvPicPr>
            <p:cNvPr id="12" name="Picture 11"/>
            <p:cNvPicPr>
              <a:picLocks noChangeAspect="1"/>
            </p:cNvPicPr>
            <p:nvPr/>
          </p:nvPicPr>
          <p:blipFill>
            <a:blip r:embed="rId33" cstate="print">
              <a:biLevel thresh="25000"/>
              <a:extLst>
                <a:ext uri="{28A0092B-C50C-407E-A947-70E740481C1C}">
                  <a14:useLocalDpi xmlns:a14="http://schemas.microsoft.com/office/drawing/2010/main" val="0"/>
                </a:ext>
              </a:extLst>
            </a:blip>
            <a:stretch>
              <a:fillRect/>
            </a:stretch>
          </p:blipFill>
          <p:spPr>
            <a:xfrm>
              <a:off x="6989271" y="5266231"/>
              <a:ext cx="238842" cy="238842"/>
            </a:xfrm>
            <a:prstGeom prst="rect">
              <a:avLst/>
            </a:prstGeom>
            <a:solidFill>
              <a:srgbClr val="0072C6"/>
            </a:solidFill>
          </p:spPr>
        </p:pic>
        <p:sp>
          <p:nvSpPr>
            <p:cNvPr id="244" name="TextBox 243"/>
            <p:cNvSpPr txBox="1"/>
            <p:nvPr/>
          </p:nvSpPr>
          <p:spPr>
            <a:xfrm>
              <a:off x="11037815" y="1820544"/>
              <a:ext cx="659156" cy="302667"/>
            </a:xfrm>
            <a:prstGeom prst="rect">
              <a:avLst/>
            </a:prstGeom>
            <a:noFill/>
            <a:ln>
              <a:noFill/>
            </a:ln>
          </p:spPr>
          <p:txBody>
            <a:bodyPr wrap="none" lIns="0" tIns="20566" rIns="0" bIns="0" rtlCol="0">
              <a:noAutofit/>
            </a:bodyPr>
            <a:lstStyle/>
            <a:p>
              <a:pPr defTabSz="685463" eaLnBrk="0" hangingPunct="0">
                <a:lnSpc>
                  <a:spcPts val="600"/>
                </a:lnSpc>
                <a:defRPr/>
              </a:pP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Domain Services </a:t>
              </a:r>
              <a:b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br>
              <a:endPar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245" name="Picture 244" descr="Azure Active Directory.png"/>
            <p:cNvPicPr>
              <a:picLocks noChangeAspect="1"/>
            </p:cNvPicPr>
            <p:nvPr/>
          </p:nvPicPr>
          <p:blipFill>
            <a:blip r:embed="rId18" cstate="print">
              <a:biLevel thresh="25000"/>
              <a:extLst>
                <a:ext uri="{28A0092B-C50C-407E-A947-70E740481C1C}">
                  <a14:useLocalDpi xmlns:a14="http://schemas.microsoft.com/office/drawing/2010/main" val="0"/>
                </a:ext>
              </a:extLst>
            </a:blip>
            <a:stretch>
              <a:fillRect/>
            </a:stretch>
          </p:blipFill>
          <p:spPr>
            <a:xfrm>
              <a:off x="10669129" y="1729724"/>
              <a:ext cx="298103" cy="298102"/>
            </a:xfrm>
            <a:prstGeom prst="rect">
              <a:avLst/>
            </a:prstGeom>
          </p:spPr>
        </p:pic>
        <p:sp>
          <p:nvSpPr>
            <p:cNvPr id="39" name="Rectangle 38"/>
            <p:cNvSpPr/>
            <p:nvPr/>
          </p:nvSpPr>
          <p:spPr bwMode="auto">
            <a:xfrm>
              <a:off x="6737951" y="2732088"/>
              <a:ext cx="3544295" cy="1871537"/>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31821" tIns="105457" rIns="131821" bIns="105457" numCol="1" spcCol="0" rtlCol="0" fromWordArt="0" anchor="t" anchorCtr="0" forceAA="0" compatLnSpc="1">
              <a:prstTxWarp prst="textNoShape">
                <a:avLst/>
              </a:prstTxWarp>
              <a:noAutofit/>
            </a:bodyPr>
            <a:lstStyle/>
            <a:p>
              <a:pPr algn="ctr" defTabSz="671942">
                <a:lnSpc>
                  <a:spcPct val="90000"/>
                </a:lnSpc>
                <a:spcBef>
                  <a:spcPts val="0"/>
                </a:spcBef>
                <a:spcAft>
                  <a:spcPts val="0"/>
                </a:spcAft>
                <a:defRPr/>
              </a:pPr>
              <a:r>
                <a:rPr lang="en-US" sz="882" kern="0" dirty="0">
                  <a:gradFill>
                    <a:gsLst>
                      <a:gs pos="0">
                        <a:srgbClr val="FFFFFF"/>
                      </a:gs>
                      <a:gs pos="100000">
                        <a:srgbClr val="FFFFFF"/>
                      </a:gs>
                    </a:gsLst>
                    <a:lin ang="5400000" scaled="0"/>
                  </a:gradFill>
                  <a:latin typeface="Segoe UI"/>
                  <a:ea typeface="Segoe UI" pitchFamily="34" charset="0"/>
                  <a:cs typeface="Segoe UI" pitchFamily="34" charset="0"/>
                </a:rPr>
                <a:t>Analytics &amp; IoT</a:t>
              </a:r>
            </a:p>
          </p:txBody>
        </p:sp>
        <p:grpSp>
          <p:nvGrpSpPr>
            <p:cNvPr id="381" name="Group 380"/>
            <p:cNvGrpSpPr/>
            <p:nvPr/>
          </p:nvGrpSpPr>
          <p:grpSpPr>
            <a:xfrm>
              <a:off x="6987800" y="3129255"/>
              <a:ext cx="1011681" cy="347362"/>
              <a:chOff x="6105768" y="3646317"/>
              <a:chExt cx="1011681" cy="347362"/>
            </a:xfrm>
          </p:grpSpPr>
          <p:sp>
            <p:nvSpPr>
              <p:cNvPr id="181" name="TextBox 180"/>
              <p:cNvSpPr txBox="1"/>
              <p:nvPr/>
            </p:nvSpPr>
            <p:spPr>
              <a:xfrm>
                <a:off x="6458293" y="3692574"/>
                <a:ext cx="659156" cy="301105"/>
              </a:xfrm>
              <a:prstGeom prst="rect">
                <a:avLst/>
              </a:prstGeom>
              <a:noFill/>
              <a:ln>
                <a:noFill/>
              </a:ln>
            </p:spPr>
            <p:txBody>
              <a:bodyPr wrap="none" lIns="0" tIns="20566" rIns="0" bIns="0" rtlCol="0">
                <a:noAutofit/>
              </a:bodyPr>
              <a:lstStyle/>
              <a:p>
                <a:pPr defTabSz="685463" eaLnBrk="0" hangingPunct="0">
                  <a:lnSpc>
                    <a:spcPts val="600"/>
                  </a:lnSpc>
                  <a:defRPr/>
                </a:pP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HDInsight</a:t>
                </a:r>
              </a:p>
            </p:txBody>
          </p:sp>
          <p:pic>
            <p:nvPicPr>
              <p:cNvPr id="182" name="Picture 181"/>
              <p:cNvPicPr>
                <a:picLocks noChangeAspect="1"/>
              </p:cNvPicPr>
              <p:nvPr/>
            </p:nvPicPr>
            <p:blipFill>
              <a:blip r:embed="rId34" cstate="print">
                <a:biLevel thresh="25000"/>
                <a:extLst>
                  <a:ext uri="{28A0092B-C50C-407E-A947-70E740481C1C}">
                    <a14:useLocalDpi xmlns:a14="http://schemas.microsoft.com/office/drawing/2010/main" val="0"/>
                  </a:ext>
                </a:extLst>
              </a:blip>
              <a:stretch>
                <a:fillRect/>
              </a:stretch>
            </p:blipFill>
            <p:spPr>
              <a:xfrm>
                <a:off x="6105768" y="3646317"/>
                <a:ext cx="296813" cy="296813"/>
              </a:xfrm>
              <a:prstGeom prst="rect">
                <a:avLst/>
              </a:prstGeom>
            </p:spPr>
          </p:pic>
        </p:grpSp>
        <p:grpSp>
          <p:nvGrpSpPr>
            <p:cNvPr id="382" name="Group 381"/>
            <p:cNvGrpSpPr/>
            <p:nvPr/>
          </p:nvGrpSpPr>
          <p:grpSpPr>
            <a:xfrm>
              <a:off x="8114677" y="3152375"/>
              <a:ext cx="951185" cy="301105"/>
              <a:chOff x="7232645" y="3669437"/>
              <a:chExt cx="951185" cy="301105"/>
            </a:xfrm>
          </p:grpSpPr>
          <p:sp>
            <p:nvSpPr>
              <p:cNvPr id="183" name="TextBox 182"/>
              <p:cNvSpPr txBox="1"/>
              <p:nvPr/>
            </p:nvSpPr>
            <p:spPr>
              <a:xfrm>
                <a:off x="7524674" y="3669437"/>
                <a:ext cx="659156" cy="301105"/>
              </a:xfrm>
              <a:prstGeom prst="rect">
                <a:avLst/>
              </a:prstGeom>
              <a:noFill/>
              <a:ln>
                <a:noFill/>
              </a:ln>
            </p:spPr>
            <p:txBody>
              <a:bodyPr wrap="none" lIns="0" tIns="20566" rIns="0" bIns="0" rtlCol="0">
                <a:noAutofit/>
              </a:bodyPr>
              <a:lstStyle/>
              <a:p>
                <a:pPr defTabSz="685463" eaLnBrk="0" hangingPunct="0">
                  <a:lnSpc>
                    <a:spcPts val="600"/>
                  </a:lnSpc>
                  <a:defRPr/>
                </a:pP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Machine</a:t>
                </a:r>
              </a:p>
              <a:p>
                <a:pPr defTabSz="685463" eaLnBrk="0" hangingPunct="0">
                  <a:lnSpc>
                    <a:spcPts val="600"/>
                  </a:lnSpc>
                  <a:defRPr/>
                </a:pP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Learning</a:t>
                </a:r>
              </a:p>
            </p:txBody>
          </p:sp>
          <p:pic>
            <p:nvPicPr>
              <p:cNvPr id="184" name="Picture 183"/>
              <p:cNvPicPr>
                <a:picLocks noChangeAspect="1"/>
              </p:cNvPicPr>
              <p:nvPr/>
            </p:nvPicPr>
            <p:blipFill>
              <a:blip r:embed="rId35" cstate="print">
                <a:biLevel thresh="25000"/>
                <a:extLst>
                  <a:ext uri="{28A0092B-C50C-407E-A947-70E740481C1C}">
                    <a14:useLocalDpi xmlns:a14="http://schemas.microsoft.com/office/drawing/2010/main" val="0"/>
                  </a:ext>
                </a:extLst>
              </a:blip>
              <a:stretch>
                <a:fillRect/>
              </a:stretch>
            </p:blipFill>
            <p:spPr>
              <a:xfrm>
                <a:off x="7232645" y="3690593"/>
                <a:ext cx="248544" cy="248544"/>
              </a:xfrm>
              <a:prstGeom prst="rect">
                <a:avLst/>
              </a:prstGeom>
            </p:spPr>
          </p:pic>
        </p:grpSp>
        <p:grpSp>
          <p:nvGrpSpPr>
            <p:cNvPr id="7" name="Group 6"/>
            <p:cNvGrpSpPr/>
            <p:nvPr/>
          </p:nvGrpSpPr>
          <p:grpSpPr>
            <a:xfrm>
              <a:off x="9140913" y="3139845"/>
              <a:ext cx="1023498" cy="381983"/>
              <a:chOff x="9140310" y="3216198"/>
              <a:chExt cx="1023498" cy="381983"/>
            </a:xfrm>
          </p:grpSpPr>
          <p:sp>
            <p:nvSpPr>
              <p:cNvPr id="185" name="TextBox 184"/>
              <p:cNvSpPr txBox="1"/>
              <p:nvPr/>
            </p:nvSpPr>
            <p:spPr>
              <a:xfrm>
                <a:off x="9504652" y="3297076"/>
                <a:ext cx="659156" cy="301105"/>
              </a:xfrm>
              <a:prstGeom prst="rect">
                <a:avLst/>
              </a:prstGeom>
              <a:noFill/>
              <a:ln>
                <a:noFill/>
              </a:ln>
            </p:spPr>
            <p:txBody>
              <a:bodyPr wrap="none" lIns="0" tIns="20566" rIns="0" bIns="0" rtlCol="0">
                <a:noAutofit/>
              </a:bodyPr>
              <a:lstStyle/>
              <a:p>
                <a:pPr defTabSz="685463" eaLnBrk="0" hangingPunct="0">
                  <a:lnSpc>
                    <a:spcPts val="600"/>
                  </a:lnSpc>
                  <a:defRPr/>
                </a:pP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tream Analytics</a:t>
                </a:r>
              </a:p>
            </p:txBody>
          </p:sp>
          <p:pic>
            <p:nvPicPr>
              <p:cNvPr id="186" name="Picture 185"/>
              <p:cNvPicPr>
                <a:picLocks noChangeAspect="1"/>
              </p:cNvPicPr>
              <p:nvPr/>
            </p:nvPicPr>
            <p:blipFill>
              <a:blip r:embed="rId36" cstate="print">
                <a:biLevel thresh="25000"/>
                <a:extLst>
                  <a:ext uri="{28A0092B-C50C-407E-A947-70E740481C1C}">
                    <a14:useLocalDpi xmlns:a14="http://schemas.microsoft.com/office/drawing/2010/main" val="0"/>
                  </a:ext>
                </a:extLst>
              </a:blip>
              <a:stretch>
                <a:fillRect/>
              </a:stretch>
            </p:blipFill>
            <p:spPr>
              <a:xfrm>
                <a:off x="9140310" y="3216198"/>
                <a:ext cx="310547" cy="310546"/>
              </a:xfrm>
              <a:prstGeom prst="rect">
                <a:avLst/>
              </a:prstGeom>
            </p:spPr>
          </p:pic>
        </p:grpSp>
        <p:grpSp>
          <p:nvGrpSpPr>
            <p:cNvPr id="14" name="Group 13"/>
            <p:cNvGrpSpPr/>
            <p:nvPr/>
          </p:nvGrpSpPr>
          <p:grpSpPr>
            <a:xfrm>
              <a:off x="8573555" y="4060780"/>
              <a:ext cx="1002965" cy="334571"/>
              <a:chOff x="8315777" y="4194283"/>
              <a:chExt cx="1002965" cy="334571"/>
            </a:xfrm>
          </p:grpSpPr>
          <p:sp>
            <p:nvSpPr>
              <p:cNvPr id="187" name="TextBox 186"/>
              <p:cNvSpPr txBox="1"/>
              <p:nvPr/>
            </p:nvSpPr>
            <p:spPr>
              <a:xfrm>
                <a:off x="8659586" y="4227749"/>
                <a:ext cx="659156" cy="301105"/>
              </a:xfrm>
              <a:prstGeom prst="rect">
                <a:avLst/>
              </a:prstGeom>
              <a:noFill/>
              <a:ln>
                <a:noFill/>
              </a:ln>
            </p:spPr>
            <p:txBody>
              <a:bodyPr wrap="none" lIns="0" tIns="20566" rIns="0" bIns="0" rtlCol="0">
                <a:noAutofit/>
              </a:bodyPr>
              <a:lstStyle/>
              <a:p>
                <a:pPr defTabSz="685463" eaLnBrk="0" hangingPunct="0">
                  <a:lnSpc>
                    <a:spcPts val="600"/>
                  </a:lnSpc>
                  <a:defRPr/>
                </a:pP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Data </a:t>
                </a:r>
              </a:p>
              <a:p>
                <a:pPr defTabSz="685463" eaLnBrk="0" hangingPunct="0">
                  <a:lnSpc>
                    <a:spcPts val="600"/>
                  </a:lnSpc>
                  <a:defRPr/>
                </a:pP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Factory</a:t>
                </a:r>
              </a:p>
            </p:txBody>
          </p:sp>
          <p:pic>
            <p:nvPicPr>
              <p:cNvPr id="188" name="Picture 187"/>
              <p:cNvPicPr>
                <a:picLocks noChangeAspect="1"/>
              </p:cNvPicPr>
              <p:nvPr/>
            </p:nvPicPr>
            <p:blipFill>
              <a:blip r:embed="rId37" cstate="print">
                <a:biLevel thresh="25000"/>
                <a:extLst>
                  <a:ext uri="{28A0092B-C50C-407E-A947-70E740481C1C}">
                    <a14:useLocalDpi xmlns:a14="http://schemas.microsoft.com/office/drawing/2010/main" val="0"/>
                  </a:ext>
                </a:extLst>
              </a:blip>
              <a:stretch>
                <a:fillRect/>
              </a:stretch>
            </p:blipFill>
            <p:spPr>
              <a:xfrm>
                <a:off x="8315777" y="4194283"/>
                <a:ext cx="302121" cy="302121"/>
              </a:xfrm>
              <a:prstGeom prst="rect">
                <a:avLst/>
              </a:prstGeom>
            </p:spPr>
          </p:pic>
        </p:grpSp>
        <p:grpSp>
          <p:nvGrpSpPr>
            <p:cNvPr id="385" name="Group 384"/>
            <p:cNvGrpSpPr/>
            <p:nvPr/>
          </p:nvGrpSpPr>
          <p:grpSpPr>
            <a:xfrm>
              <a:off x="7727905" y="4089194"/>
              <a:ext cx="1005670" cy="327678"/>
              <a:chOff x="6588698" y="4663406"/>
              <a:chExt cx="1005670" cy="327678"/>
            </a:xfrm>
          </p:grpSpPr>
          <p:sp>
            <p:nvSpPr>
              <p:cNvPr id="189" name="TextBox 188"/>
              <p:cNvSpPr txBox="1"/>
              <p:nvPr/>
            </p:nvSpPr>
            <p:spPr>
              <a:xfrm>
                <a:off x="6935212" y="4689979"/>
                <a:ext cx="659156" cy="301105"/>
              </a:xfrm>
              <a:prstGeom prst="rect">
                <a:avLst/>
              </a:prstGeom>
              <a:noFill/>
              <a:ln>
                <a:noFill/>
              </a:ln>
            </p:spPr>
            <p:txBody>
              <a:bodyPr wrap="none" lIns="0" tIns="20566" rIns="0" bIns="0" rtlCol="0">
                <a:noAutofit/>
              </a:bodyPr>
              <a:lstStyle/>
              <a:p>
                <a:pPr defTabSz="685463" eaLnBrk="0" hangingPunct="0">
                  <a:lnSpc>
                    <a:spcPts val="600"/>
                  </a:lnSpc>
                  <a:defRPr/>
                </a:pP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Event</a:t>
                </a:r>
              </a:p>
              <a:p>
                <a:pPr defTabSz="685463" eaLnBrk="0" hangingPunct="0">
                  <a:lnSpc>
                    <a:spcPts val="600"/>
                  </a:lnSpc>
                  <a:defRPr/>
                </a:pP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Hubs</a:t>
                </a:r>
              </a:p>
            </p:txBody>
          </p:sp>
          <p:pic>
            <p:nvPicPr>
              <p:cNvPr id="190" name="Picture 189"/>
              <p:cNvPicPr>
                <a:picLocks noChangeAspect="1"/>
              </p:cNvPicPr>
              <p:nvPr/>
            </p:nvPicPr>
            <p:blipFill>
              <a:blip r:embed="rId38" cstate="print">
                <a:biLevel thresh="25000"/>
                <a:extLst>
                  <a:ext uri="{28A0092B-C50C-407E-A947-70E740481C1C}">
                    <a14:useLocalDpi xmlns:a14="http://schemas.microsoft.com/office/drawing/2010/main" val="0"/>
                  </a:ext>
                </a:extLst>
              </a:blip>
              <a:stretch>
                <a:fillRect/>
              </a:stretch>
            </p:blipFill>
            <p:spPr>
              <a:xfrm>
                <a:off x="6588698" y="4663406"/>
                <a:ext cx="296417" cy="296417"/>
              </a:xfrm>
              <a:prstGeom prst="rect">
                <a:avLst/>
              </a:prstGeom>
            </p:spPr>
          </p:pic>
        </p:grpSp>
        <p:sp>
          <p:nvSpPr>
            <p:cNvPr id="251" name="TextBox 250"/>
            <p:cNvSpPr txBox="1"/>
            <p:nvPr/>
          </p:nvSpPr>
          <p:spPr>
            <a:xfrm>
              <a:off x="8407314" y="3587036"/>
              <a:ext cx="659156" cy="301105"/>
            </a:xfrm>
            <a:prstGeom prst="rect">
              <a:avLst/>
            </a:prstGeom>
            <a:noFill/>
            <a:ln>
              <a:noFill/>
            </a:ln>
          </p:spPr>
          <p:txBody>
            <a:bodyPr wrap="none" lIns="0" tIns="20566" rIns="0" bIns="0" rtlCol="0">
              <a:noAutofit/>
            </a:bodyPr>
            <a:lstStyle/>
            <a:p>
              <a:pPr defTabSz="685463" eaLnBrk="0" hangingPunct="0">
                <a:lnSpc>
                  <a:spcPts val="600"/>
                </a:lnSpc>
                <a:defRPr/>
              </a:pP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Data Lake</a:t>
              </a:r>
            </a:p>
            <a:p>
              <a:pPr defTabSz="685463" eaLnBrk="0" hangingPunct="0">
                <a:lnSpc>
                  <a:spcPts val="600"/>
                </a:lnSpc>
                <a:defRPr/>
              </a:pP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nalytics Service</a:t>
              </a:r>
            </a:p>
          </p:txBody>
        </p:sp>
        <p:grpSp>
          <p:nvGrpSpPr>
            <p:cNvPr id="255" name="Group 254"/>
            <p:cNvGrpSpPr/>
            <p:nvPr/>
          </p:nvGrpSpPr>
          <p:grpSpPr>
            <a:xfrm>
              <a:off x="6867125" y="4074625"/>
              <a:ext cx="737589" cy="366384"/>
              <a:chOff x="6514097" y="4074778"/>
              <a:chExt cx="737589" cy="366384"/>
            </a:xfrm>
          </p:grpSpPr>
          <p:pic>
            <p:nvPicPr>
              <p:cNvPr id="6" name="Picture 5"/>
              <p:cNvPicPr>
                <a:picLocks noChangeAspect="1"/>
              </p:cNvPicPr>
              <p:nvPr/>
            </p:nvPicPr>
            <p:blipFill>
              <a:blip r:embed="rId39" cstate="print">
                <a:biLevel thresh="25000"/>
                <a:extLst>
                  <a:ext uri="{28A0092B-C50C-407E-A947-70E740481C1C}">
                    <a14:useLocalDpi xmlns:a14="http://schemas.microsoft.com/office/drawing/2010/main" val="0"/>
                  </a:ext>
                </a:extLst>
              </a:blip>
              <a:stretch>
                <a:fillRect/>
              </a:stretch>
            </p:blipFill>
            <p:spPr>
              <a:xfrm>
                <a:off x="6514097" y="4074778"/>
                <a:ext cx="309231" cy="309231"/>
              </a:xfrm>
              <a:prstGeom prst="rect">
                <a:avLst/>
              </a:prstGeom>
            </p:spPr>
          </p:pic>
          <p:sp>
            <p:nvSpPr>
              <p:cNvPr id="248" name="TextBox 247"/>
              <p:cNvSpPr txBox="1"/>
              <p:nvPr/>
            </p:nvSpPr>
            <p:spPr>
              <a:xfrm>
                <a:off x="6884835" y="4126981"/>
                <a:ext cx="366851" cy="314181"/>
              </a:xfrm>
              <a:prstGeom prst="rect">
                <a:avLst/>
              </a:prstGeom>
              <a:noFill/>
              <a:ln>
                <a:noFill/>
              </a:ln>
            </p:spPr>
            <p:txBody>
              <a:bodyPr wrap="none" lIns="0" tIns="20566" rIns="0" bIns="0" rtlCol="0">
                <a:noAutofit/>
              </a:bodyPr>
              <a:lstStyle/>
              <a:p>
                <a:pPr defTabSz="685463" eaLnBrk="0" hangingPunct="0">
                  <a:lnSpc>
                    <a:spcPts val="600"/>
                  </a:lnSpc>
                  <a:defRPr/>
                </a:pPr>
                <a:r>
                  <a:rPr lang="en-US" sz="563" b="0" kern="0" dirty="0" err="1">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IoT</a:t>
                </a: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 Hub</a:t>
                </a:r>
              </a:p>
            </p:txBody>
          </p:sp>
        </p:grpSp>
        <p:grpSp>
          <p:nvGrpSpPr>
            <p:cNvPr id="259" name="Group 258"/>
            <p:cNvGrpSpPr/>
            <p:nvPr/>
          </p:nvGrpSpPr>
          <p:grpSpPr>
            <a:xfrm>
              <a:off x="7084956" y="3545180"/>
              <a:ext cx="856129" cy="349612"/>
              <a:chOff x="7055778" y="3545333"/>
              <a:chExt cx="856129" cy="349612"/>
            </a:xfrm>
          </p:grpSpPr>
          <p:sp>
            <p:nvSpPr>
              <p:cNvPr id="260" name="TextBox 259"/>
              <p:cNvSpPr txBox="1"/>
              <p:nvPr/>
            </p:nvSpPr>
            <p:spPr>
              <a:xfrm>
                <a:off x="7453378" y="3593840"/>
                <a:ext cx="458529" cy="301105"/>
              </a:xfrm>
              <a:prstGeom prst="rect">
                <a:avLst/>
              </a:prstGeom>
              <a:noFill/>
              <a:ln>
                <a:noFill/>
              </a:ln>
            </p:spPr>
            <p:txBody>
              <a:bodyPr wrap="none" lIns="0" tIns="20566" rIns="0" bIns="0" rtlCol="0">
                <a:noAutofit/>
              </a:bodyPr>
              <a:lstStyle/>
              <a:p>
                <a:pPr defTabSz="685463" eaLnBrk="0" hangingPunct="0">
                  <a:lnSpc>
                    <a:spcPts val="600"/>
                  </a:lnSpc>
                  <a:defRPr/>
                </a:pP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Data </a:t>
                </a:r>
              </a:p>
              <a:p>
                <a:pPr defTabSz="685463" eaLnBrk="0" hangingPunct="0">
                  <a:lnSpc>
                    <a:spcPts val="600"/>
                  </a:lnSpc>
                  <a:defRPr/>
                </a:pP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Catalog</a:t>
                </a:r>
              </a:p>
            </p:txBody>
          </p:sp>
          <p:pic>
            <p:nvPicPr>
              <p:cNvPr id="261" name="Picture 260"/>
              <p:cNvPicPr>
                <a:picLocks noChangeAspect="1"/>
              </p:cNvPicPr>
              <p:nvPr/>
            </p:nvPicPr>
            <p:blipFill>
              <a:blip r:embed="rId40" cstate="print">
                <a:biLevel thresh="25000"/>
                <a:extLst>
                  <a:ext uri="{28A0092B-C50C-407E-A947-70E740481C1C}">
                    <a14:useLocalDpi xmlns:a14="http://schemas.microsoft.com/office/drawing/2010/main" val="0"/>
                  </a:ext>
                </a:extLst>
              </a:blip>
              <a:stretch>
                <a:fillRect/>
              </a:stretch>
            </p:blipFill>
            <p:spPr>
              <a:xfrm>
                <a:off x="7055778" y="3545333"/>
                <a:ext cx="325042" cy="325042"/>
              </a:xfrm>
              <a:prstGeom prst="rect">
                <a:avLst/>
              </a:prstGeom>
            </p:spPr>
          </p:pic>
        </p:grpSp>
        <p:sp>
          <p:nvSpPr>
            <p:cNvPr id="75" name="Rectangle 74"/>
            <p:cNvSpPr/>
            <p:nvPr/>
          </p:nvSpPr>
          <p:spPr bwMode="auto">
            <a:xfrm>
              <a:off x="355726" y="195305"/>
              <a:ext cx="1547714" cy="4606421"/>
            </a:xfrm>
            <a:prstGeom prst="rect">
              <a:avLst/>
            </a:prstGeom>
            <a:solidFill>
              <a:srgbClr val="1B3C72"/>
            </a:solidFill>
            <a:ln w="6350" cap="flat" cmpd="sng" algn="ctr">
              <a:noFill/>
              <a:prstDash val="solid"/>
              <a:miter lim="800000"/>
              <a:headEnd type="none" w="med" len="med"/>
              <a:tailEnd type="none" w="med" len="med"/>
            </a:ln>
            <a:effectLst/>
          </p:spPr>
          <p:txBody>
            <a:bodyPr rot="0" spcFirstLastPara="0" vertOverflow="overflow" horzOverflow="overflow" vert="horz" wrap="square" lIns="131821" tIns="105457" rIns="131821" bIns="105457" numCol="1" spcCol="0" rtlCol="0" fromWordArt="0" anchor="t" anchorCtr="0" forceAA="0" compatLnSpc="1">
              <a:prstTxWarp prst="textNoShape">
                <a:avLst/>
              </a:prstTxWarp>
              <a:noAutofit/>
            </a:bodyPr>
            <a:lstStyle/>
            <a:p>
              <a:pPr algn="ctr" defTabSz="671942">
                <a:lnSpc>
                  <a:spcPct val="90000"/>
                </a:lnSpc>
                <a:spcBef>
                  <a:spcPts val="0"/>
                </a:spcBef>
                <a:spcAft>
                  <a:spcPts val="0"/>
                </a:spcAft>
                <a:defRPr/>
              </a:pPr>
              <a:r>
                <a:rPr lang="en-US" sz="1029" kern="0" dirty="0">
                  <a:solidFill>
                    <a:srgbClr val="505050"/>
                  </a:solidFill>
                  <a:latin typeface="Segoe UI"/>
                  <a:ea typeface="Segoe UI" pitchFamily="34" charset="0"/>
                  <a:cs typeface="Segoe UI" pitchFamily="34" charset="0"/>
                </a:rPr>
                <a:t>Security &amp; Management</a:t>
              </a:r>
            </a:p>
          </p:txBody>
        </p:sp>
        <p:sp>
          <p:nvSpPr>
            <p:cNvPr id="193" name="TextBox 192"/>
            <p:cNvSpPr txBox="1"/>
            <p:nvPr/>
          </p:nvSpPr>
          <p:spPr>
            <a:xfrm>
              <a:off x="913458" y="1533993"/>
              <a:ext cx="659156" cy="301105"/>
            </a:xfrm>
            <a:prstGeom prst="rect">
              <a:avLst/>
            </a:prstGeom>
            <a:noFill/>
            <a:ln>
              <a:noFill/>
            </a:ln>
          </p:spPr>
          <p:txBody>
            <a:bodyPr wrap="none" lIns="0" tIns="20566" rIns="0" bIns="0" rtlCol="0">
              <a:noAutofit/>
            </a:bodyPr>
            <a:lstStyle/>
            <a:p>
              <a:pPr defTabSz="685463" eaLnBrk="0" hangingPunct="0">
                <a:lnSpc>
                  <a:spcPts val="600"/>
                </a:lnSpc>
                <a:defRPr/>
              </a:pP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zure Active</a:t>
              </a:r>
            </a:p>
            <a:p>
              <a:pPr defTabSz="685463" eaLnBrk="0" hangingPunct="0">
                <a:lnSpc>
                  <a:spcPts val="600"/>
                </a:lnSpc>
                <a:defRPr/>
              </a:pP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Directory</a:t>
              </a:r>
            </a:p>
          </p:txBody>
        </p:sp>
        <p:pic>
          <p:nvPicPr>
            <p:cNvPr id="194" name="Picture 193" descr="Azure Active Directory.png"/>
            <p:cNvPicPr>
              <a:picLocks noChangeAspect="1"/>
            </p:cNvPicPr>
            <p:nvPr/>
          </p:nvPicPr>
          <p:blipFill>
            <a:blip r:embed="rId18" cstate="print">
              <a:biLevel thresh="25000"/>
              <a:extLst>
                <a:ext uri="{28A0092B-C50C-407E-A947-70E740481C1C}">
                  <a14:useLocalDpi xmlns:a14="http://schemas.microsoft.com/office/drawing/2010/main" val="0"/>
                </a:ext>
              </a:extLst>
            </a:blip>
            <a:stretch>
              <a:fillRect/>
            </a:stretch>
          </p:blipFill>
          <p:spPr>
            <a:xfrm>
              <a:off x="560032" y="1513668"/>
              <a:ext cx="298103" cy="298102"/>
            </a:xfrm>
            <a:prstGeom prst="rect">
              <a:avLst/>
            </a:prstGeom>
          </p:spPr>
        </p:pic>
        <p:sp>
          <p:nvSpPr>
            <p:cNvPr id="195" name="TextBox 194"/>
            <p:cNvSpPr txBox="1"/>
            <p:nvPr/>
          </p:nvSpPr>
          <p:spPr>
            <a:xfrm>
              <a:off x="875448" y="2353035"/>
              <a:ext cx="659156" cy="301105"/>
            </a:xfrm>
            <a:prstGeom prst="rect">
              <a:avLst/>
            </a:prstGeom>
            <a:noFill/>
            <a:ln>
              <a:noFill/>
            </a:ln>
          </p:spPr>
          <p:txBody>
            <a:bodyPr wrap="none" lIns="0" tIns="20566" rIns="0" bIns="0" rtlCol="0">
              <a:noAutofit/>
            </a:bodyPr>
            <a:lstStyle/>
            <a:p>
              <a:pPr defTabSz="685463" eaLnBrk="0" hangingPunct="0">
                <a:lnSpc>
                  <a:spcPts val="600"/>
                </a:lnSpc>
                <a:defRPr/>
              </a:pP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Multi-Factor</a:t>
              </a:r>
            </a:p>
            <a:p>
              <a:pPr defTabSz="685463" eaLnBrk="0" hangingPunct="0">
                <a:lnSpc>
                  <a:spcPts val="600"/>
                </a:lnSpc>
                <a:defRPr/>
              </a:pP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uthentication</a:t>
              </a:r>
            </a:p>
          </p:txBody>
        </p:sp>
        <p:pic>
          <p:nvPicPr>
            <p:cNvPr id="196" name="Picture 195" descr="Multi-Factor Authentication.png"/>
            <p:cNvPicPr>
              <a:picLocks noChangeAspect="1"/>
            </p:cNvPicPr>
            <p:nvPr/>
          </p:nvPicPr>
          <p:blipFill>
            <a:blip r:embed="rId41" cstate="print">
              <a:biLevel thresh="25000"/>
              <a:extLst>
                <a:ext uri="{28A0092B-C50C-407E-A947-70E740481C1C}">
                  <a14:useLocalDpi xmlns:a14="http://schemas.microsoft.com/office/drawing/2010/main" val="0"/>
                </a:ext>
              </a:extLst>
            </a:blip>
            <a:stretch>
              <a:fillRect/>
            </a:stretch>
          </p:blipFill>
          <p:spPr>
            <a:xfrm>
              <a:off x="560032" y="2343119"/>
              <a:ext cx="288019" cy="288019"/>
            </a:xfrm>
            <a:prstGeom prst="rect">
              <a:avLst/>
            </a:prstGeom>
          </p:spPr>
        </p:pic>
        <p:sp>
          <p:nvSpPr>
            <p:cNvPr id="198" name="TextBox 197"/>
            <p:cNvSpPr txBox="1"/>
            <p:nvPr/>
          </p:nvSpPr>
          <p:spPr>
            <a:xfrm>
              <a:off x="909374" y="2768121"/>
              <a:ext cx="659156" cy="301106"/>
            </a:xfrm>
            <a:prstGeom prst="rect">
              <a:avLst/>
            </a:prstGeom>
            <a:noFill/>
            <a:ln>
              <a:noFill/>
            </a:ln>
          </p:spPr>
          <p:txBody>
            <a:bodyPr wrap="none" lIns="0" tIns="20566" rIns="0" bIns="0" rtlCol="0">
              <a:noAutofit/>
            </a:bodyPr>
            <a:lstStyle/>
            <a:p>
              <a:pPr defTabSz="685463" eaLnBrk="0" hangingPunct="0">
                <a:lnSpc>
                  <a:spcPts val="600"/>
                </a:lnSpc>
                <a:defRPr/>
              </a:pP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utomation</a:t>
              </a:r>
            </a:p>
          </p:txBody>
        </p:sp>
        <p:pic>
          <p:nvPicPr>
            <p:cNvPr id="199" name="Picture 198" descr="Azure automation.png"/>
            <p:cNvPicPr>
              <a:picLocks noChangeAspect="1"/>
            </p:cNvPicPr>
            <p:nvPr/>
          </p:nvPicPr>
          <p:blipFill>
            <a:blip r:embed="rId42" cstate="print">
              <a:biLevel thresh="25000"/>
              <a:extLst>
                <a:ext uri="{28A0092B-C50C-407E-A947-70E740481C1C}">
                  <a14:useLocalDpi xmlns:a14="http://schemas.microsoft.com/office/drawing/2010/main" val="0"/>
                </a:ext>
              </a:extLst>
            </a:blip>
            <a:stretch>
              <a:fillRect/>
            </a:stretch>
          </p:blipFill>
          <p:spPr>
            <a:xfrm>
              <a:off x="560032" y="2732088"/>
              <a:ext cx="289607" cy="289607"/>
            </a:xfrm>
            <a:prstGeom prst="rect">
              <a:avLst/>
            </a:prstGeom>
          </p:spPr>
        </p:pic>
        <p:sp>
          <p:nvSpPr>
            <p:cNvPr id="200" name="TextBox 199"/>
            <p:cNvSpPr txBox="1"/>
            <p:nvPr/>
          </p:nvSpPr>
          <p:spPr>
            <a:xfrm>
              <a:off x="892453" y="1227967"/>
              <a:ext cx="659156" cy="301106"/>
            </a:xfrm>
            <a:prstGeom prst="rect">
              <a:avLst/>
            </a:prstGeom>
            <a:noFill/>
            <a:ln>
              <a:noFill/>
            </a:ln>
          </p:spPr>
          <p:txBody>
            <a:bodyPr wrap="none" lIns="0" tIns="20566" rIns="0" bIns="0" rtlCol="0">
              <a:noAutofit/>
            </a:bodyPr>
            <a:lstStyle/>
            <a:p>
              <a:pPr defTabSz="685463" eaLnBrk="0" hangingPunct="0">
                <a:lnSpc>
                  <a:spcPts val="600"/>
                </a:lnSpc>
                <a:defRPr/>
              </a:pP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Portal</a:t>
              </a:r>
            </a:p>
          </p:txBody>
        </p:sp>
        <p:pic>
          <p:nvPicPr>
            <p:cNvPr id="201" name="Picture 200" descr="Azure subscription.png"/>
            <p:cNvPicPr>
              <a:picLocks noChangeAspect="1"/>
            </p:cNvPicPr>
            <p:nvPr/>
          </p:nvPicPr>
          <p:blipFill>
            <a:blip r:embed="rId43" cstate="print">
              <a:biLevel thresh="25000"/>
              <a:extLst>
                <a:ext uri="{28A0092B-C50C-407E-A947-70E740481C1C}">
                  <a14:useLocalDpi xmlns:a14="http://schemas.microsoft.com/office/drawing/2010/main" val="0"/>
                </a:ext>
              </a:extLst>
            </a:blip>
            <a:stretch>
              <a:fillRect/>
            </a:stretch>
          </p:blipFill>
          <p:spPr>
            <a:xfrm>
              <a:off x="560032" y="1127965"/>
              <a:ext cx="286236" cy="286236"/>
            </a:xfrm>
            <a:prstGeom prst="rect">
              <a:avLst/>
            </a:prstGeom>
          </p:spPr>
        </p:pic>
        <p:sp>
          <p:nvSpPr>
            <p:cNvPr id="204" name="TextBox 203"/>
            <p:cNvSpPr txBox="1"/>
            <p:nvPr/>
          </p:nvSpPr>
          <p:spPr>
            <a:xfrm>
              <a:off x="907540" y="3568701"/>
              <a:ext cx="659156" cy="301106"/>
            </a:xfrm>
            <a:prstGeom prst="rect">
              <a:avLst/>
            </a:prstGeom>
            <a:noFill/>
            <a:ln>
              <a:noFill/>
            </a:ln>
          </p:spPr>
          <p:txBody>
            <a:bodyPr wrap="none" lIns="0" tIns="20566" rIns="0" bIns="0" rtlCol="0">
              <a:noAutofit/>
            </a:bodyPr>
            <a:lstStyle/>
            <a:p>
              <a:pPr defTabSz="685463" eaLnBrk="0" hangingPunct="0">
                <a:lnSpc>
                  <a:spcPts val="600"/>
                </a:lnSpc>
                <a:defRPr/>
              </a:pP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Key Vault</a:t>
              </a:r>
            </a:p>
          </p:txBody>
        </p:sp>
        <p:pic>
          <p:nvPicPr>
            <p:cNvPr id="205" name="Picture 204" descr="AzureKeyVault_icon_white.png"/>
            <p:cNvPicPr>
              <a:picLocks noChangeAspect="1"/>
            </p:cNvPicPr>
            <p:nvPr/>
          </p:nvPicPr>
          <p:blipFill>
            <a:blip r:embed="rId44">
              <a:extLst>
                <a:ext uri="{28A0092B-C50C-407E-A947-70E740481C1C}">
                  <a14:useLocalDpi xmlns:a14="http://schemas.microsoft.com/office/drawing/2010/main" val="0"/>
                </a:ext>
              </a:extLst>
            </a:blip>
            <a:stretch>
              <a:fillRect/>
            </a:stretch>
          </p:blipFill>
          <p:spPr>
            <a:xfrm>
              <a:off x="560032" y="3509369"/>
              <a:ext cx="235263" cy="261402"/>
            </a:xfrm>
            <a:prstGeom prst="rect">
              <a:avLst/>
            </a:prstGeom>
          </p:spPr>
        </p:pic>
        <p:sp>
          <p:nvSpPr>
            <p:cNvPr id="230" name="TextBox 229"/>
            <p:cNvSpPr txBox="1"/>
            <p:nvPr/>
          </p:nvSpPr>
          <p:spPr>
            <a:xfrm>
              <a:off x="925526" y="3903288"/>
              <a:ext cx="659156" cy="301105"/>
            </a:xfrm>
            <a:prstGeom prst="rect">
              <a:avLst/>
            </a:prstGeom>
            <a:noFill/>
            <a:ln>
              <a:noFill/>
            </a:ln>
          </p:spPr>
          <p:txBody>
            <a:bodyPr wrap="none" lIns="0" tIns="20566" rIns="0" bIns="0" rtlCol="0">
              <a:noAutofit/>
            </a:bodyPr>
            <a:lstStyle/>
            <a:p>
              <a:pPr defTabSz="685463" eaLnBrk="0" hangingPunct="0">
                <a:lnSpc>
                  <a:spcPts val="600"/>
                </a:lnSpc>
                <a:defRPr/>
              </a:pP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tore/</a:t>
              </a:r>
            </a:p>
            <a:p>
              <a:pPr defTabSz="685463" eaLnBrk="0" hangingPunct="0">
                <a:lnSpc>
                  <a:spcPts val="600"/>
                </a:lnSpc>
                <a:defRPr/>
              </a:pP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Marketplace</a:t>
              </a:r>
            </a:p>
          </p:txBody>
        </p:sp>
        <p:pic>
          <p:nvPicPr>
            <p:cNvPr id="231" name="Picture 230" descr="Azure Marketplace.png"/>
            <p:cNvPicPr>
              <a:picLocks noChangeAspect="1"/>
            </p:cNvPicPr>
            <p:nvPr/>
          </p:nvPicPr>
          <p:blipFill>
            <a:blip r:embed="rId45" cstate="print">
              <a:biLevel thresh="25000"/>
              <a:extLst>
                <a:ext uri="{28A0092B-C50C-407E-A947-70E740481C1C}">
                  <a14:useLocalDpi xmlns:a14="http://schemas.microsoft.com/office/drawing/2010/main" val="0"/>
                </a:ext>
              </a:extLst>
            </a:blip>
            <a:stretch>
              <a:fillRect/>
            </a:stretch>
          </p:blipFill>
          <p:spPr>
            <a:xfrm>
              <a:off x="560032" y="3887120"/>
              <a:ext cx="291303" cy="291303"/>
            </a:xfrm>
            <a:prstGeom prst="rect">
              <a:avLst/>
            </a:prstGeom>
          </p:spPr>
        </p:pic>
        <p:pic>
          <p:nvPicPr>
            <p:cNvPr id="413" name="Picture 412"/>
            <p:cNvPicPr>
              <a:picLocks noChangeAspect="1"/>
            </p:cNvPicPr>
            <p:nvPr/>
          </p:nvPicPr>
          <p:blipFill>
            <a:blip r:embed="rId46" cstate="print">
              <a:biLevel thresh="25000"/>
              <a:extLst>
                <a:ext uri="{28A0092B-C50C-407E-A947-70E740481C1C}">
                  <a14:useLocalDpi xmlns:a14="http://schemas.microsoft.com/office/drawing/2010/main" val="0"/>
                </a:ext>
              </a:extLst>
            </a:blip>
            <a:stretch>
              <a:fillRect/>
            </a:stretch>
          </p:blipFill>
          <p:spPr>
            <a:xfrm>
              <a:off x="560032" y="4356264"/>
              <a:ext cx="252028" cy="252028"/>
            </a:xfrm>
            <a:prstGeom prst="rect">
              <a:avLst/>
            </a:prstGeom>
          </p:spPr>
        </p:pic>
        <p:sp>
          <p:nvSpPr>
            <p:cNvPr id="414" name="TextBox 413"/>
            <p:cNvSpPr txBox="1"/>
            <p:nvPr/>
          </p:nvSpPr>
          <p:spPr>
            <a:xfrm>
              <a:off x="909264" y="4364403"/>
              <a:ext cx="659156" cy="301105"/>
            </a:xfrm>
            <a:prstGeom prst="rect">
              <a:avLst/>
            </a:prstGeom>
            <a:noFill/>
            <a:ln>
              <a:noFill/>
            </a:ln>
          </p:spPr>
          <p:txBody>
            <a:bodyPr wrap="none" lIns="0" tIns="20566" rIns="0" bIns="0" rtlCol="0">
              <a:noAutofit/>
            </a:bodyPr>
            <a:lstStyle/>
            <a:p>
              <a:pPr defTabSz="685463" eaLnBrk="0" hangingPunct="0">
                <a:lnSpc>
                  <a:spcPts val="600"/>
                </a:lnSpc>
                <a:defRPr/>
              </a:pP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VM Image Gallery</a:t>
              </a:r>
            </a:p>
            <a:p>
              <a:pPr defTabSz="685463" eaLnBrk="0" hangingPunct="0">
                <a:lnSpc>
                  <a:spcPts val="600"/>
                </a:lnSpc>
                <a:defRPr/>
              </a:pP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mp; VM Depot</a:t>
              </a:r>
            </a:p>
          </p:txBody>
        </p:sp>
        <p:sp>
          <p:nvSpPr>
            <p:cNvPr id="257" name="TextBox 256"/>
            <p:cNvSpPr txBox="1"/>
            <p:nvPr/>
          </p:nvSpPr>
          <p:spPr>
            <a:xfrm>
              <a:off x="913458" y="1924410"/>
              <a:ext cx="659156" cy="301105"/>
            </a:xfrm>
            <a:prstGeom prst="rect">
              <a:avLst/>
            </a:prstGeom>
            <a:noFill/>
            <a:ln>
              <a:noFill/>
            </a:ln>
          </p:spPr>
          <p:txBody>
            <a:bodyPr wrap="none" lIns="0" tIns="20566" rIns="0" bIns="0" rtlCol="0">
              <a:noAutofit/>
            </a:bodyPr>
            <a:lstStyle/>
            <a:p>
              <a:pPr defTabSz="685463" eaLnBrk="0" hangingPunct="0">
                <a:lnSpc>
                  <a:spcPts val="600"/>
                </a:lnSpc>
                <a:defRPr/>
              </a:pP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zure AD</a:t>
              </a:r>
            </a:p>
            <a:p>
              <a:pPr defTabSz="685463" eaLnBrk="0" hangingPunct="0">
                <a:lnSpc>
                  <a:spcPts val="600"/>
                </a:lnSpc>
                <a:defRPr/>
              </a:pP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B2C</a:t>
              </a:r>
            </a:p>
          </p:txBody>
        </p:sp>
        <p:pic>
          <p:nvPicPr>
            <p:cNvPr id="258" name="Picture 257" descr="Azure Active Directory.png"/>
            <p:cNvPicPr>
              <a:picLocks noChangeAspect="1"/>
            </p:cNvPicPr>
            <p:nvPr/>
          </p:nvPicPr>
          <p:blipFill>
            <a:blip r:embed="rId18" cstate="print">
              <a:biLevel thresh="25000"/>
              <a:extLst>
                <a:ext uri="{28A0092B-C50C-407E-A947-70E740481C1C}">
                  <a14:useLocalDpi xmlns:a14="http://schemas.microsoft.com/office/drawing/2010/main" val="0"/>
                </a:ext>
              </a:extLst>
            </a:blip>
            <a:stretch>
              <a:fillRect/>
            </a:stretch>
          </p:blipFill>
          <p:spPr>
            <a:xfrm>
              <a:off x="560032" y="1904085"/>
              <a:ext cx="298103" cy="298102"/>
            </a:xfrm>
            <a:prstGeom prst="rect">
              <a:avLst/>
            </a:prstGeom>
          </p:spPr>
        </p:pic>
        <p:pic>
          <p:nvPicPr>
            <p:cNvPr id="262" name="Picture 261"/>
            <p:cNvPicPr>
              <a:picLocks noChangeAspect="1"/>
            </p:cNvPicPr>
            <p:nvPr/>
          </p:nvPicPr>
          <p:blipFill>
            <a:blip r:embed="rId47" cstate="print">
              <a:biLevel thresh="25000"/>
              <a:extLst>
                <a:ext uri="{28A0092B-C50C-407E-A947-70E740481C1C}">
                  <a14:useLocalDpi xmlns:a14="http://schemas.microsoft.com/office/drawing/2010/main" val="0"/>
                </a:ext>
              </a:extLst>
            </a:blip>
            <a:stretch>
              <a:fillRect/>
            </a:stretch>
          </p:blipFill>
          <p:spPr>
            <a:xfrm>
              <a:off x="533202" y="3106964"/>
              <a:ext cx="333331" cy="333331"/>
            </a:xfrm>
            <a:prstGeom prst="rect">
              <a:avLst/>
            </a:prstGeom>
          </p:spPr>
        </p:pic>
        <p:sp>
          <p:nvSpPr>
            <p:cNvPr id="263" name="TextBox 262"/>
            <p:cNvSpPr txBox="1"/>
            <p:nvPr/>
          </p:nvSpPr>
          <p:spPr>
            <a:xfrm>
              <a:off x="899562" y="3138796"/>
              <a:ext cx="659156" cy="301106"/>
            </a:xfrm>
            <a:prstGeom prst="rect">
              <a:avLst/>
            </a:prstGeom>
            <a:noFill/>
            <a:ln>
              <a:noFill/>
            </a:ln>
          </p:spPr>
          <p:txBody>
            <a:bodyPr wrap="none" lIns="0" tIns="20566" rIns="0" bIns="0" rtlCol="0">
              <a:noAutofit/>
            </a:bodyPr>
            <a:lstStyle/>
            <a:p>
              <a:pPr defTabSz="685463" eaLnBrk="0" hangingPunct="0">
                <a:lnSpc>
                  <a:spcPts val="600"/>
                </a:lnSpc>
                <a:defRPr/>
              </a:pP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cheduler</a:t>
              </a:r>
            </a:p>
          </p:txBody>
        </p:sp>
        <p:sp>
          <p:nvSpPr>
            <p:cNvPr id="264" name="TextBox 263"/>
            <p:cNvSpPr txBox="1"/>
            <p:nvPr/>
          </p:nvSpPr>
          <p:spPr>
            <a:xfrm>
              <a:off x="6052533" y="3814796"/>
              <a:ext cx="541197" cy="250025"/>
            </a:xfrm>
            <a:prstGeom prst="rect">
              <a:avLst/>
            </a:prstGeom>
            <a:noFill/>
            <a:ln>
              <a:noFill/>
            </a:ln>
          </p:spPr>
          <p:txBody>
            <a:bodyPr wrap="none" lIns="0" tIns="20566" rIns="0" bIns="0" rtlCol="0" anchor="t">
              <a:noAutofit/>
            </a:bodyPr>
            <a:lstStyle/>
            <a:p>
              <a:pPr defTabSz="685463" eaLnBrk="0" hangingPunct="0">
                <a:lnSpc>
                  <a:spcPts val="600"/>
                </a:lnSpc>
                <a:defRPr/>
              </a:pP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Xamarin</a:t>
              </a:r>
            </a:p>
          </p:txBody>
        </p:sp>
        <p:pic>
          <p:nvPicPr>
            <p:cNvPr id="252" name="Picture 251"/>
            <p:cNvPicPr>
              <a:picLocks noChangeAspect="1"/>
            </p:cNvPicPr>
            <p:nvPr/>
          </p:nvPicPr>
          <p:blipFill>
            <a:blip r:embed="rId48" cstate="print">
              <a:biLevel thresh="25000"/>
              <a:extLst>
                <a:ext uri="{28A0092B-C50C-407E-A947-70E740481C1C}">
                  <a14:useLocalDpi xmlns:a14="http://schemas.microsoft.com/office/drawing/2010/main" val="0"/>
                </a:ext>
              </a:extLst>
            </a:blip>
            <a:stretch>
              <a:fillRect/>
            </a:stretch>
          </p:blipFill>
          <p:spPr>
            <a:xfrm>
              <a:off x="5642147" y="3678074"/>
              <a:ext cx="418091" cy="418091"/>
            </a:xfrm>
            <a:prstGeom prst="rect">
              <a:avLst/>
            </a:prstGeom>
          </p:spPr>
        </p:pic>
        <p:sp>
          <p:nvSpPr>
            <p:cNvPr id="265" name="TextBox 264"/>
            <p:cNvSpPr txBox="1"/>
            <p:nvPr/>
          </p:nvSpPr>
          <p:spPr>
            <a:xfrm>
              <a:off x="6021827" y="4211841"/>
              <a:ext cx="541197" cy="250025"/>
            </a:xfrm>
            <a:prstGeom prst="rect">
              <a:avLst/>
            </a:prstGeom>
            <a:noFill/>
            <a:ln>
              <a:noFill/>
            </a:ln>
          </p:spPr>
          <p:txBody>
            <a:bodyPr wrap="none" lIns="0" tIns="20566" rIns="0" bIns="0" rtlCol="0" anchor="t">
              <a:noAutofit/>
            </a:bodyPr>
            <a:lstStyle/>
            <a:p>
              <a:pPr defTabSz="685463" eaLnBrk="0" hangingPunct="0">
                <a:lnSpc>
                  <a:spcPts val="600"/>
                </a:lnSpc>
                <a:defRPr/>
              </a:pP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HockeyApp</a:t>
              </a:r>
            </a:p>
          </p:txBody>
        </p:sp>
        <p:pic>
          <p:nvPicPr>
            <p:cNvPr id="2050" name="Picture 2" descr="https://wmpdatastorage.blob.core.windows.net/logos/6c752373-c0f2-464a-94e0-6c88e0554313">
              <a:hlinkClick r:id="rId49"/>
            </p:cNvPr>
            <p:cNvPicPr>
              <a:picLocks noChangeAspect="1" noChangeArrowheads="1"/>
            </p:cNvPicPr>
            <p:nvPr/>
          </p:nvPicPr>
          <p:blipFill>
            <a:blip r:embed="rId50" cstate="print">
              <a:biLevel thresh="25000"/>
              <a:extLst>
                <a:ext uri="{28A0092B-C50C-407E-A947-70E740481C1C}">
                  <a14:useLocalDpi xmlns:a14="http://schemas.microsoft.com/office/drawing/2010/main" val="0"/>
                </a:ext>
              </a:extLst>
            </a:blip>
            <a:srcRect/>
            <a:stretch>
              <a:fillRect/>
            </a:stretch>
          </p:blipFill>
          <p:spPr bwMode="auto">
            <a:xfrm>
              <a:off x="5587546" y="4046683"/>
              <a:ext cx="466775" cy="466775"/>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https://azure.microsoft.com/svghandler/power-bi-embedded?width=600&amp;height=315">
              <a:hlinkClick r:id="rId51"/>
            </p:cNvPr>
            <p:cNvPicPr>
              <a:picLocks noChangeAspect="1" noChangeArrowheads="1"/>
            </p:cNvPicPr>
            <p:nvPr/>
          </p:nvPicPr>
          <p:blipFill>
            <a:blip r:embed="rId52" cstate="print">
              <a:biLevel thresh="25000"/>
              <a:extLst>
                <a:ext uri="{28A0092B-C50C-407E-A947-70E740481C1C}">
                  <a14:useLocalDpi xmlns:a14="http://schemas.microsoft.com/office/drawing/2010/main" val="0"/>
                </a:ext>
              </a:extLst>
            </a:blip>
            <a:srcRect/>
            <a:stretch>
              <a:fillRect/>
            </a:stretch>
          </p:blipFill>
          <p:spPr bwMode="auto">
            <a:xfrm>
              <a:off x="9201111" y="4065809"/>
              <a:ext cx="592900" cy="311272"/>
            </a:xfrm>
            <a:prstGeom prst="rect">
              <a:avLst/>
            </a:prstGeom>
            <a:noFill/>
            <a:extLst>
              <a:ext uri="{909E8E84-426E-40DD-AFC4-6F175D3DCCD1}">
                <a14:hiddenFill xmlns:a14="http://schemas.microsoft.com/office/drawing/2010/main">
                  <a:solidFill>
                    <a:srgbClr val="FFFFFF"/>
                  </a:solidFill>
                </a14:hiddenFill>
              </a:ext>
            </a:extLst>
          </p:spPr>
        </p:pic>
        <p:sp>
          <p:nvSpPr>
            <p:cNvPr id="267" name="TextBox 266"/>
            <p:cNvSpPr txBox="1"/>
            <p:nvPr/>
          </p:nvSpPr>
          <p:spPr>
            <a:xfrm>
              <a:off x="9726992" y="4082922"/>
              <a:ext cx="659156" cy="258458"/>
            </a:xfrm>
            <a:prstGeom prst="rect">
              <a:avLst/>
            </a:prstGeom>
            <a:noFill/>
            <a:ln>
              <a:noFill/>
            </a:ln>
          </p:spPr>
          <p:txBody>
            <a:bodyPr wrap="none" lIns="0" tIns="20566" rIns="0" bIns="0" rtlCol="0">
              <a:noAutofit/>
            </a:bodyPr>
            <a:lstStyle/>
            <a:p>
              <a:pPr defTabSz="685463" eaLnBrk="0" hangingPunct="0">
                <a:lnSpc>
                  <a:spcPts val="600"/>
                </a:lnSpc>
                <a:defRPr/>
              </a:pP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Power BI </a:t>
              </a:r>
            </a:p>
            <a:p>
              <a:pPr defTabSz="685463" eaLnBrk="0" hangingPunct="0">
                <a:lnSpc>
                  <a:spcPts val="600"/>
                </a:lnSpc>
                <a:defRPr/>
              </a:pP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Embedded</a:t>
              </a:r>
            </a:p>
          </p:txBody>
        </p:sp>
        <p:sp>
          <p:nvSpPr>
            <p:cNvPr id="276" name="Down Arrow 275"/>
            <p:cNvSpPr/>
            <p:nvPr/>
          </p:nvSpPr>
          <p:spPr bwMode="auto">
            <a:xfrm rot="16200000">
              <a:off x="7176430" y="3713022"/>
              <a:ext cx="71376" cy="111044"/>
            </a:xfrm>
            <a:prstGeom prst="downArrow">
              <a:avLst>
                <a:gd name="adj1" fmla="val 32235"/>
                <a:gd name="adj2" fmla="val 5000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a:lnSpc>
                  <a:spcPct val="90000"/>
                </a:lnSpc>
                <a:defRPr/>
              </a:pPr>
              <a:endParaRPr lang="en-US" sz="1471" kern="0" dirty="0">
                <a:solidFill>
                  <a:srgbClr val="505050"/>
                </a:solidFill>
                <a:latin typeface="Segoe UI Light"/>
                <a:ea typeface="Segoe UI" pitchFamily="34" charset="0"/>
                <a:cs typeface="Segoe UI" pitchFamily="34" charset="0"/>
              </a:endParaRPr>
            </a:p>
          </p:txBody>
        </p:sp>
        <p:pic>
          <p:nvPicPr>
            <p:cNvPr id="281" name="Picture 280"/>
            <p:cNvPicPr>
              <a:picLocks noChangeAspect="1"/>
            </p:cNvPicPr>
            <p:nvPr/>
          </p:nvPicPr>
          <p:blipFill>
            <a:blip r:embed="rId53" cstate="print">
              <a:biLevel thresh="25000"/>
              <a:extLst>
                <a:ext uri="{28A0092B-C50C-407E-A947-70E740481C1C}">
                  <a14:useLocalDpi xmlns:a14="http://schemas.microsoft.com/office/drawing/2010/main" val="0"/>
                </a:ext>
              </a:extLst>
            </a:blip>
            <a:stretch>
              <a:fillRect/>
            </a:stretch>
          </p:blipFill>
          <p:spPr>
            <a:xfrm>
              <a:off x="6916030" y="1413701"/>
              <a:ext cx="267771" cy="267771"/>
            </a:xfrm>
            <a:prstGeom prst="rect">
              <a:avLst/>
            </a:prstGeom>
          </p:spPr>
        </p:pic>
        <p:sp>
          <p:nvSpPr>
            <p:cNvPr id="282" name="TextBox 281"/>
            <p:cNvSpPr txBox="1"/>
            <p:nvPr/>
          </p:nvSpPr>
          <p:spPr>
            <a:xfrm>
              <a:off x="7253945" y="1421267"/>
              <a:ext cx="659156" cy="301105"/>
            </a:xfrm>
            <a:prstGeom prst="rect">
              <a:avLst/>
            </a:prstGeom>
            <a:noFill/>
            <a:ln>
              <a:noFill/>
            </a:ln>
          </p:spPr>
          <p:txBody>
            <a:bodyPr wrap="none" lIns="0" tIns="20566" rIns="0" bIns="0" rtlCol="0">
              <a:noAutofit/>
            </a:bodyPr>
            <a:lstStyle/>
            <a:p>
              <a:pPr defTabSz="685463" eaLnBrk="0" hangingPunct="0">
                <a:lnSpc>
                  <a:spcPts val="600"/>
                </a:lnSpc>
                <a:defRPr/>
              </a:pP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QL Server </a:t>
              </a:r>
            </a:p>
            <a:p>
              <a:pPr defTabSz="685463" eaLnBrk="0" hangingPunct="0">
                <a:lnSpc>
                  <a:spcPts val="600"/>
                </a:lnSpc>
                <a:defRPr/>
              </a:pP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tretch Database</a:t>
              </a:r>
            </a:p>
          </p:txBody>
        </p:sp>
        <p:pic>
          <p:nvPicPr>
            <p:cNvPr id="286" name="Picture 285"/>
            <p:cNvPicPr>
              <a:picLocks noChangeAspect="1"/>
            </p:cNvPicPr>
            <p:nvPr/>
          </p:nvPicPr>
          <p:blipFill>
            <a:blip r:embed="rId54" cstate="print">
              <a:biLevel thresh="25000"/>
              <a:extLst>
                <a:ext uri="{28A0092B-C50C-407E-A947-70E740481C1C}">
                  <a14:useLocalDpi xmlns:a14="http://schemas.microsoft.com/office/drawing/2010/main" val="0"/>
                </a:ext>
              </a:extLst>
            </a:blip>
            <a:stretch>
              <a:fillRect/>
            </a:stretch>
          </p:blipFill>
          <p:spPr>
            <a:xfrm>
              <a:off x="5646464" y="3283036"/>
              <a:ext cx="308210" cy="308210"/>
            </a:xfrm>
            <a:prstGeom prst="rect">
              <a:avLst/>
            </a:prstGeom>
          </p:spPr>
        </p:pic>
        <p:sp>
          <p:nvSpPr>
            <p:cNvPr id="287" name="TextBox 286"/>
            <p:cNvSpPr txBox="1"/>
            <p:nvPr/>
          </p:nvSpPr>
          <p:spPr>
            <a:xfrm>
              <a:off x="6024991" y="3297829"/>
              <a:ext cx="659156" cy="261636"/>
            </a:xfrm>
            <a:prstGeom prst="rect">
              <a:avLst/>
            </a:prstGeom>
            <a:noFill/>
            <a:ln>
              <a:noFill/>
            </a:ln>
          </p:spPr>
          <p:txBody>
            <a:bodyPr wrap="none" lIns="0" tIns="20566" rIns="0" bIns="0" rtlCol="0" anchor="t">
              <a:noAutofit/>
            </a:bodyPr>
            <a:lstStyle/>
            <a:p>
              <a:pPr defTabSz="685463" eaLnBrk="0" hangingPunct="0">
                <a:lnSpc>
                  <a:spcPts val="600"/>
                </a:lnSpc>
                <a:defRPr/>
              </a:pP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Mobile</a:t>
              </a:r>
            </a:p>
            <a:p>
              <a:pPr defTabSz="685463" eaLnBrk="0" hangingPunct="0">
                <a:lnSpc>
                  <a:spcPts val="600"/>
                </a:lnSpc>
                <a:defRPr/>
              </a:pP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Engagement</a:t>
              </a:r>
            </a:p>
          </p:txBody>
        </p:sp>
        <p:sp>
          <p:nvSpPr>
            <p:cNvPr id="288" name="TextBox 287"/>
            <p:cNvSpPr txBox="1"/>
            <p:nvPr/>
          </p:nvSpPr>
          <p:spPr>
            <a:xfrm>
              <a:off x="5775896" y="2425833"/>
              <a:ext cx="659156" cy="261636"/>
            </a:xfrm>
            <a:prstGeom prst="rect">
              <a:avLst/>
            </a:prstGeom>
            <a:noFill/>
            <a:ln>
              <a:noFill/>
            </a:ln>
          </p:spPr>
          <p:txBody>
            <a:bodyPr wrap="none" lIns="0" tIns="20566" rIns="0" bIns="0" rtlCol="0" anchor="t">
              <a:noAutofit/>
            </a:bodyPr>
            <a:lstStyle/>
            <a:p>
              <a:pPr defTabSz="685463" eaLnBrk="0" hangingPunct="0">
                <a:lnSpc>
                  <a:spcPts val="600"/>
                </a:lnSpc>
                <a:defRPr/>
              </a:pP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Functions</a:t>
              </a:r>
            </a:p>
          </p:txBody>
        </p:sp>
        <p:sp>
          <p:nvSpPr>
            <p:cNvPr id="289" name="Rectangle 288"/>
            <p:cNvSpPr/>
            <p:nvPr/>
          </p:nvSpPr>
          <p:spPr bwMode="auto">
            <a:xfrm>
              <a:off x="6747589" y="1982298"/>
              <a:ext cx="3545532" cy="614765"/>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31821" tIns="105457" rIns="131821" bIns="105457" numCol="1" spcCol="0" rtlCol="0" fromWordArt="0" anchor="t" anchorCtr="0" forceAA="0" compatLnSpc="1">
              <a:prstTxWarp prst="textNoShape">
                <a:avLst/>
              </a:prstTxWarp>
              <a:noAutofit/>
            </a:bodyPr>
            <a:lstStyle/>
            <a:p>
              <a:pPr algn="ctr" defTabSz="671942">
                <a:lnSpc>
                  <a:spcPct val="90000"/>
                </a:lnSpc>
                <a:spcBef>
                  <a:spcPts val="0"/>
                </a:spcBef>
                <a:spcAft>
                  <a:spcPts val="0"/>
                </a:spcAft>
                <a:defRPr/>
              </a:pPr>
              <a:r>
                <a:rPr lang="en-US" sz="882" kern="0" dirty="0">
                  <a:gradFill>
                    <a:gsLst>
                      <a:gs pos="0">
                        <a:srgbClr val="FFFFFF"/>
                      </a:gs>
                      <a:gs pos="100000">
                        <a:srgbClr val="FFFFFF"/>
                      </a:gs>
                    </a:gsLst>
                    <a:lin ang="5400000" scaled="0"/>
                  </a:gradFill>
                  <a:latin typeface="Segoe UI"/>
                  <a:ea typeface="Segoe UI" pitchFamily="34" charset="0"/>
                  <a:cs typeface="Segoe UI" pitchFamily="34" charset="0"/>
                </a:rPr>
                <a:t>Intelligence</a:t>
              </a:r>
            </a:p>
          </p:txBody>
        </p:sp>
        <p:pic>
          <p:nvPicPr>
            <p:cNvPr id="64" name="Picture 63"/>
            <p:cNvPicPr>
              <a:picLocks noChangeAspect="1"/>
            </p:cNvPicPr>
            <p:nvPr/>
          </p:nvPicPr>
          <p:blipFill>
            <a:blip r:embed="rId55" cstate="print">
              <a:biLevel thresh="25000"/>
              <a:extLst>
                <a:ext uri="{28A0092B-C50C-407E-A947-70E740481C1C}">
                  <a14:useLocalDpi xmlns:a14="http://schemas.microsoft.com/office/drawing/2010/main" val="0"/>
                </a:ext>
              </a:extLst>
            </a:blip>
            <a:stretch>
              <a:fillRect/>
            </a:stretch>
          </p:blipFill>
          <p:spPr>
            <a:xfrm>
              <a:off x="6868462" y="2235618"/>
              <a:ext cx="345173" cy="345173"/>
            </a:xfrm>
            <a:prstGeom prst="rect">
              <a:avLst/>
            </a:prstGeom>
          </p:spPr>
        </p:pic>
        <p:sp>
          <p:nvSpPr>
            <p:cNvPr id="290" name="TextBox 289"/>
            <p:cNvSpPr txBox="1"/>
            <p:nvPr/>
          </p:nvSpPr>
          <p:spPr>
            <a:xfrm>
              <a:off x="7296810" y="2366948"/>
              <a:ext cx="659156" cy="301105"/>
            </a:xfrm>
            <a:prstGeom prst="rect">
              <a:avLst/>
            </a:prstGeom>
            <a:noFill/>
            <a:ln>
              <a:noFill/>
            </a:ln>
          </p:spPr>
          <p:txBody>
            <a:bodyPr wrap="none" lIns="0" tIns="20566" rIns="0" bIns="0" rtlCol="0">
              <a:noAutofit/>
            </a:bodyPr>
            <a:lstStyle/>
            <a:p>
              <a:pPr defTabSz="685463" eaLnBrk="0" hangingPunct="0">
                <a:lnSpc>
                  <a:spcPts val="600"/>
                </a:lnSpc>
                <a:defRPr/>
              </a:pP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Cognitive Services</a:t>
              </a:r>
            </a:p>
          </p:txBody>
        </p:sp>
        <p:pic>
          <p:nvPicPr>
            <p:cNvPr id="65" name="Picture 64"/>
            <p:cNvPicPr>
              <a:picLocks noChangeAspect="1"/>
            </p:cNvPicPr>
            <p:nvPr/>
          </p:nvPicPr>
          <p:blipFill>
            <a:blip r:embed="rId56" cstate="print">
              <a:clrChange>
                <a:clrFrom>
                  <a:srgbClr val="0078D7"/>
                </a:clrFrom>
                <a:clrTo>
                  <a:srgbClr val="0078D7">
                    <a:alpha val="0"/>
                  </a:srgbClr>
                </a:clrTo>
              </a:clrChange>
              <a:extLst>
                <a:ext uri="{28A0092B-C50C-407E-A947-70E740481C1C}">
                  <a14:useLocalDpi xmlns:a14="http://schemas.microsoft.com/office/drawing/2010/main" val="0"/>
                </a:ext>
              </a:extLst>
            </a:blip>
            <a:stretch>
              <a:fillRect/>
            </a:stretch>
          </p:blipFill>
          <p:spPr>
            <a:xfrm flipH="1">
              <a:off x="8197083" y="2248269"/>
              <a:ext cx="380870" cy="380870"/>
            </a:xfrm>
            <a:prstGeom prst="rect">
              <a:avLst/>
            </a:prstGeom>
          </p:spPr>
        </p:pic>
        <p:sp>
          <p:nvSpPr>
            <p:cNvPr id="291" name="TextBox 290"/>
            <p:cNvSpPr txBox="1"/>
            <p:nvPr/>
          </p:nvSpPr>
          <p:spPr>
            <a:xfrm>
              <a:off x="8565876" y="2366948"/>
              <a:ext cx="659156" cy="301105"/>
            </a:xfrm>
            <a:prstGeom prst="rect">
              <a:avLst/>
            </a:prstGeom>
            <a:noFill/>
            <a:ln>
              <a:noFill/>
            </a:ln>
          </p:spPr>
          <p:txBody>
            <a:bodyPr wrap="none" lIns="0" tIns="20566" rIns="0" bIns="0" rtlCol="0">
              <a:noAutofit/>
            </a:bodyPr>
            <a:lstStyle/>
            <a:p>
              <a:pPr defTabSz="685463" eaLnBrk="0" hangingPunct="0">
                <a:lnSpc>
                  <a:spcPts val="600"/>
                </a:lnSpc>
                <a:defRPr/>
              </a:pP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Bot Framework</a:t>
              </a:r>
            </a:p>
          </p:txBody>
        </p:sp>
        <p:pic>
          <p:nvPicPr>
            <p:cNvPr id="67" name="Picture 66"/>
            <p:cNvPicPr>
              <a:picLocks noChangeAspect="1"/>
            </p:cNvPicPr>
            <p:nvPr/>
          </p:nvPicPr>
          <p:blipFill>
            <a:blip r:embed="rId57" cstate="print">
              <a:biLevel thresh="50000"/>
              <a:extLst>
                <a:ext uri="{28A0092B-C50C-407E-A947-70E740481C1C}">
                  <a14:useLocalDpi xmlns:a14="http://schemas.microsoft.com/office/drawing/2010/main" val="0"/>
                </a:ext>
              </a:extLst>
            </a:blip>
            <a:stretch>
              <a:fillRect/>
            </a:stretch>
          </p:blipFill>
          <p:spPr>
            <a:xfrm>
              <a:off x="9367578" y="2339737"/>
              <a:ext cx="217641" cy="217641"/>
            </a:xfrm>
            <a:prstGeom prst="rect">
              <a:avLst/>
            </a:prstGeom>
          </p:spPr>
        </p:pic>
        <p:sp>
          <p:nvSpPr>
            <p:cNvPr id="292" name="TextBox 291"/>
            <p:cNvSpPr txBox="1"/>
            <p:nvPr/>
          </p:nvSpPr>
          <p:spPr>
            <a:xfrm>
              <a:off x="9662001" y="2364193"/>
              <a:ext cx="659156" cy="301105"/>
            </a:xfrm>
            <a:prstGeom prst="rect">
              <a:avLst/>
            </a:prstGeom>
            <a:noFill/>
            <a:ln>
              <a:noFill/>
            </a:ln>
          </p:spPr>
          <p:txBody>
            <a:bodyPr wrap="none" lIns="0" tIns="20566" rIns="0" bIns="0" rtlCol="0">
              <a:noAutofit/>
            </a:bodyPr>
            <a:lstStyle/>
            <a:p>
              <a:pPr defTabSz="685463" eaLnBrk="0" hangingPunct="0">
                <a:lnSpc>
                  <a:spcPts val="600"/>
                </a:lnSpc>
                <a:defRPr/>
              </a:pP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Cortana</a:t>
              </a:r>
            </a:p>
          </p:txBody>
        </p:sp>
        <p:pic>
          <p:nvPicPr>
            <p:cNvPr id="70" name="Picture 69"/>
            <p:cNvPicPr>
              <a:picLocks noChangeAspect="1"/>
            </p:cNvPicPr>
            <p:nvPr/>
          </p:nvPicPr>
          <p:blipFill>
            <a:blip r:embed="rId58" cstate="print">
              <a:biLevel thresh="25000"/>
              <a:extLst>
                <a:ext uri="{28A0092B-C50C-407E-A947-70E740481C1C}">
                  <a14:useLocalDpi xmlns:a14="http://schemas.microsoft.com/office/drawing/2010/main" val="0"/>
                </a:ext>
              </a:extLst>
            </a:blip>
            <a:stretch>
              <a:fillRect/>
            </a:stretch>
          </p:blipFill>
          <p:spPr>
            <a:xfrm>
              <a:off x="556596" y="807846"/>
              <a:ext cx="301539" cy="301539"/>
            </a:xfrm>
            <a:prstGeom prst="rect">
              <a:avLst/>
            </a:prstGeom>
          </p:spPr>
        </p:pic>
        <p:sp>
          <p:nvSpPr>
            <p:cNvPr id="295" name="TextBox 294"/>
            <p:cNvSpPr txBox="1"/>
            <p:nvPr/>
          </p:nvSpPr>
          <p:spPr>
            <a:xfrm>
              <a:off x="894332" y="902036"/>
              <a:ext cx="659156" cy="301106"/>
            </a:xfrm>
            <a:prstGeom prst="rect">
              <a:avLst/>
            </a:prstGeom>
            <a:noFill/>
            <a:ln>
              <a:noFill/>
            </a:ln>
          </p:spPr>
          <p:txBody>
            <a:bodyPr wrap="none" lIns="0" tIns="20566" rIns="0" bIns="0" rtlCol="0">
              <a:noAutofit/>
            </a:bodyPr>
            <a:lstStyle/>
            <a:p>
              <a:pPr defTabSz="685463" eaLnBrk="0" hangingPunct="0">
                <a:lnSpc>
                  <a:spcPts val="600"/>
                </a:lnSpc>
                <a:defRPr/>
              </a:pP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ecurity Center</a:t>
              </a:r>
            </a:p>
          </p:txBody>
        </p:sp>
        <p:pic>
          <p:nvPicPr>
            <p:cNvPr id="66" name="Picture 65"/>
            <p:cNvPicPr>
              <a:picLocks noChangeAspect="1"/>
            </p:cNvPicPr>
            <p:nvPr/>
          </p:nvPicPr>
          <p:blipFill>
            <a:blip r:embed="rId59" cstate="print">
              <a:biLevel thresh="25000"/>
              <a:extLst>
                <a:ext uri="{28A0092B-C50C-407E-A947-70E740481C1C}">
                  <a14:useLocalDpi xmlns:a14="http://schemas.microsoft.com/office/drawing/2010/main" val="0"/>
                </a:ext>
              </a:extLst>
            </a:blip>
            <a:stretch>
              <a:fillRect/>
            </a:stretch>
          </p:blipFill>
          <p:spPr>
            <a:xfrm>
              <a:off x="2135148" y="3345921"/>
              <a:ext cx="365829" cy="365829"/>
            </a:xfrm>
            <a:prstGeom prst="rect">
              <a:avLst/>
            </a:prstGeom>
          </p:spPr>
        </p:pic>
        <p:sp>
          <p:nvSpPr>
            <p:cNvPr id="285" name="TextBox 284"/>
            <p:cNvSpPr txBox="1"/>
            <p:nvPr/>
          </p:nvSpPr>
          <p:spPr>
            <a:xfrm>
              <a:off x="2594954" y="3429746"/>
              <a:ext cx="659156" cy="301106"/>
            </a:xfrm>
            <a:prstGeom prst="rect">
              <a:avLst/>
            </a:prstGeom>
            <a:noFill/>
            <a:ln>
              <a:noFill/>
            </a:ln>
          </p:spPr>
          <p:txBody>
            <a:bodyPr wrap="none" lIns="0" tIns="20566" rIns="0" bIns="0" rtlCol="0" anchor="t">
              <a:noAutofit/>
            </a:bodyPr>
            <a:lstStyle/>
            <a:p>
              <a:pPr defTabSz="685463" eaLnBrk="0" hangingPunct="0">
                <a:lnSpc>
                  <a:spcPts val="600"/>
                </a:lnSpc>
                <a:defRPr/>
              </a:pP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Container </a:t>
              </a:r>
            </a:p>
            <a:p>
              <a:pPr defTabSz="685463" eaLnBrk="0" hangingPunct="0">
                <a:lnSpc>
                  <a:spcPts val="600"/>
                </a:lnSpc>
                <a:defRPr/>
              </a:pP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ervice</a:t>
              </a:r>
            </a:p>
          </p:txBody>
        </p:sp>
        <p:pic>
          <p:nvPicPr>
            <p:cNvPr id="74" name="Picture 73"/>
            <p:cNvPicPr>
              <a:picLocks noChangeAspect="1"/>
            </p:cNvPicPr>
            <p:nvPr/>
          </p:nvPicPr>
          <p:blipFill>
            <a:blip r:embed="rId60">
              <a:clrChange>
                <a:clrFrom>
                  <a:srgbClr val="FFFFFF"/>
                </a:clrFrom>
                <a:clrTo>
                  <a:srgbClr val="FFFFFF">
                    <a:alpha val="0"/>
                  </a:srgbClr>
                </a:clrTo>
              </a:clrChange>
              <a:biLevel thresh="25000"/>
            </a:blip>
            <a:stretch>
              <a:fillRect/>
            </a:stretch>
          </p:blipFill>
          <p:spPr>
            <a:xfrm>
              <a:off x="5177357" y="2363785"/>
              <a:ext cx="598080" cy="361340"/>
            </a:xfrm>
            <a:prstGeom prst="rect">
              <a:avLst/>
            </a:prstGeom>
          </p:spPr>
        </p:pic>
        <p:sp>
          <p:nvSpPr>
            <p:cNvPr id="293" name="Rectangle 292"/>
            <p:cNvSpPr/>
            <p:nvPr/>
          </p:nvSpPr>
          <p:spPr bwMode="auto">
            <a:xfrm>
              <a:off x="3700635" y="5285811"/>
              <a:ext cx="719442" cy="363427"/>
            </a:xfrm>
            <a:prstGeom prst="rect">
              <a:avLst/>
            </a:prstGeom>
            <a:solidFill>
              <a:srgbClr val="0072C6"/>
            </a:solidFill>
            <a:ln w="6350" cap="flat" cmpd="sng" algn="ctr">
              <a:noFill/>
              <a:prstDash val="solid"/>
              <a:miter lim="800000"/>
              <a:headEnd type="none" w="med" len="med"/>
              <a:tailEnd type="none" w="med" len="med"/>
            </a:ln>
            <a:effectLst/>
          </p:spPr>
          <p:txBody>
            <a:bodyPr rot="0" spcFirstLastPara="0" vertOverflow="overflow" horzOverflow="overflow" vert="horz" wrap="square" lIns="228588" tIns="33616" rIns="0" bIns="105457" numCol="1" spcCol="0" rtlCol="0" fromWordArt="0" anchor="t" anchorCtr="0" forceAA="0" compatLnSpc="1">
              <a:prstTxWarp prst="textNoShape">
                <a:avLst/>
              </a:prstTxWarp>
              <a:noAutofit/>
            </a:bodyPr>
            <a:lstStyle/>
            <a:p>
              <a:pPr defTabSz="671942">
                <a:lnSpc>
                  <a:spcPct val="90000"/>
                </a:lnSpc>
                <a:spcBef>
                  <a:spcPts val="0"/>
                </a:spcBef>
                <a:spcAft>
                  <a:spcPts val="0"/>
                </a:spcAft>
                <a:defRPr/>
              </a:pPr>
              <a:r>
                <a:rPr lang="en-US" sz="588" b="0" kern="0" dirty="0">
                  <a:gradFill>
                    <a:gsLst>
                      <a:gs pos="0">
                        <a:srgbClr val="FFFFFF"/>
                      </a:gs>
                      <a:gs pos="100000">
                        <a:srgbClr val="FFFFFF"/>
                      </a:gs>
                    </a:gsLst>
                    <a:lin ang="5400000" scaled="0"/>
                  </a:gradFill>
                  <a:latin typeface="Segoe UI"/>
                  <a:ea typeface="Segoe UI" pitchFamily="34" charset="0"/>
                  <a:cs typeface="Segoe UI" pitchFamily="34" charset="0"/>
                </a:rPr>
                <a:t>Queues</a:t>
              </a:r>
            </a:p>
          </p:txBody>
        </p:sp>
        <p:pic>
          <p:nvPicPr>
            <p:cNvPr id="294" name="Picture 293" descr="Storage blob.png"/>
            <p:cNvPicPr>
              <a:picLocks noChangeAspect="1"/>
            </p:cNvPicPr>
            <p:nvPr/>
          </p:nvPicPr>
          <p:blipFill>
            <a:blip r:embed="rId21" cstate="print">
              <a:biLevel thresh="25000"/>
              <a:extLst>
                <a:ext uri="{28A0092B-C50C-407E-A947-70E740481C1C}">
                  <a14:useLocalDpi xmlns:a14="http://schemas.microsoft.com/office/drawing/2010/main" val="0"/>
                </a:ext>
              </a:extLst>
            </a:blip>
            <a:stretch>
              <a:fillRect/>
            </a:stretch>
          </p:blipFill>
          <p:spPr>
            <a:xfrm>
              <a:off x="3712294" y="5272537"/>
              <a:ext cx="247169" cy="247170"/>
            </a:xfrm>
            <a:prstGeom prst="rect">
              <a:avLst/>
            </a:prstGeom>
          </p:spPr>
        </p:pic>
        <p:pic>
          <p:nvPicPr>
            <p:cNvPr id="80" name="Picture 79"/>
            <p:cNvPicPr>
              <a:picLocks noChangeAspect="1"/>
            </p:cNvPicPr>
            <p:nvPr/>
          </p:nvPicPr>
          <p:blipFill>
            <a:blip r:embed="rId61" cstate="print">
              <a:biLevel thresh="25000"/>
              <a:extLst>
                <a:ext uri="{28A0092B-C50C-407E-A947-70E740481C1C}">
                  <a14:useLocalDpi xmlns:a14="http://schemas.microsoft.com/office/drawing/2010/main" val="0"/>
                </a:ext>
              </a:extLst>
            </a:blip>
            <a:stretch>
              <a:fillRect/>
            </a:stretch>
          </p:blipFill>
          <p:spPr>
            <a:xfrm>
              <a:off x="3247745" y="3373934"/>
              <a:ext cx="341082" cy="341082"/>
            </a:xfrm>
            <a:prstGeom prst="rect">
              <a:avLst/>
            </a:prstGeom>
          </p:spPr>
        </p:pic>
        <p:sp>
          <p:nvSpPr>
            <p:cNvPr id="299" name="TextBox 298"/>
            <p:cNvSpPr txBox="1"/>
            <p:nvPr/>
          </p:nvSpPr>
          <p:spPr>
            <a:xfrm>
              <a:off x="3660077" y="3390851"/>
              <a:ext cx="659156" cy="301106"/>
            </a:xfrm>
            <a:prstGeom prst="rect">
              <a:avLst/>
            </a:prstGeom>
            <a:noFill/>
            <a:ln>
              <a:noFill/>
            </a:ln>
          </p:spPr>
          <p:txBody>
            <a:bodyPr wrap="none" lIns="0" tIns="20566" rIns="0" bIns="0" rtlCol="0" anchor="t">
              <a:noAutofit/>
            </a:bodyPr>
            <a:lstStyle/>
            <a:p>
              <a:pPr defTabSz="685463" eaLnBrk="0" hangingPunct="0">
                <a:lnSpc>
                  <a:spcPts val="600"/>
                </a:lnSpc>
                <a:defRPr/>
              </a:pP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VM </a:t>
              </a:r>
            </a:p>
            <a:p>
              <a:pPr defTabSz="685463" eaLnBrk="0" hangingPunct="0">
                <a:lnSpc>
                  <a:spcPts val="600"/>
                </a:lnSpc>
                <a:defRPr/>
              </a:pP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cale Sets</a:t>
              </a:r>
            </a:p>
          </p:txBody>
        </p:sp>
        <p:sp>
          <p:nvSpPr>
            <p:cNvPr id="302" name="TextBox 301"/>
            <p:cNvSpPr txBox="1"/>
            <p:nvPr/>
          </p:nvSpPr>
          <p:spPr>
            <a:xfrm>
              <a:off x="9491114" y="3657793"/>
              <a:ext cx="659156" cy="301105"/>
            </a:xfrm>
            <a:prstGeom prst="rect">
              <a:avLst/>
            </a:prstGeom>
            <a:noFill/>
            <a:ln>
              <a:noFill/>
            </a:ln>
          </p:spPr>
          <p:txBody>
            <a:bodyPr wrap="none" lIns="0" tIns="20566" rIns="0" bIns="0" rtlCol="0">
              <a:noAutofit/>
            </a:bodyPr>
            <a:lstStyle/>
            <a:p>
              <a:pPr defTabSz="685463" eaLnBrk="0" hangingPunct="0">
                <a:lnSpc>
                  <a:spcPts val="600"/>
                </a:lnSpc>
                <a:defRPr/>
              </a:pP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Data Lake Store</a:t>
              </a:r>
            </a:p>
          </p:txBody>
        </p:sp>
        <p:sp>
          <p:nvSpPr>
            <p:cNvPr id="306" name="Rectangle 305"/>
            <p:cNvSpPr/>
            <p:nvPr/>
          </p:nvSpPr>
          <p:spPr bwMode="auto">
            <a:xfrm>
              <a:off x="2779051" y="4293019"/>
              <a:ext cx="1273355" cy="262926"/>
            </a:xfrm>
            <a:prstGeom prst="rect">
              <a:avLst/>
            </a:prstGeom>
            <a:solidFill>
              <a:srgbClr val="0072C6"/>
            </a:solidFill>
            <a:ln w="6350" cap="flat" cmpd="sng" algn="ctr">
              <a:noFill/>
              <a:prstDash val="solid"/>
              <a:miter lim="800000"/>
              <a:headEnd type="none" w="med" len="med"/>
              <a:tailEnd type="none" w="med" len="med"/>
            </a:ln>
            <a:effectLst/>
          </p:spPr>
          <p:txBody>
            <a:bodyPr rot="0" spcFirstLastPara="0" vertOverflow="overflow" horzOverflow="overflow" vert="horz" wrap="square" lIns="228588" tIns="33616" rIns="0" bIns="105457" numCol="1" spcCol="0" rtlCol="0" fromWordArt="0" anchor="t" anchorCtr="0" forceAA="0" compatLnSpc="1">
              <a:prstTxWarp prst="textNoShape">
                <a:avLst/>
              </a:prstTxWarp>
              <a:noAutofit/>
            </a:bodyPr>
            <a:lstStyle/>
            <a:p>
              <a:pPr defTabSz="671942">
                <a:lnSpc>
                  <a:spcPct val="90000"/>
                </a:lnSpc>
                <a:spcBef>
                  <a:spcPts val="0"/>
                </a:spcBef>
                <a:spcAft>
                  <a:spcPts val="0"/>
                </a:spcAft>
                <a:defRPr/>
              </a:pPr>
              <a:r>
                <a:rPr lang="en-US" sz="588" b="0" kern="0" dirty="0">
                  <a:gradFill>
                    <a:gsLst>
                      <a:gs pos="0">
                        <a:srgbClr val="FFFFFF"/>
                      </a:gs>
                      <a:gs pos="100000">
                        <a:srgbClr val="FFFFFF"/>
                      </a:gs>
                    </a:gsLst>
                    <a:lin ang="5400000" scaled="0"/>
                  </a:gradFill>
                  <a:latin typeface="Segoe UI"/>
                  <a:ea typeface="Segoe UI" pitchFamily="34" charset="0"/>
                  <a:cs typeface="Segoe UI" pitchFamily="34" charset="0"/>
                </a:rPr>
                <a:t>Dev/Test Lab</a:t>
              </a:r>
            </a:p>
          </p:txBody>
        </p:sp>
        <p:pic>
          <p:nvPicPr>
            <p:cNvPr id="83" name="Picture 82"/>
            <p:cNvPicPr>
              <a:picLocks noChangeAspect="1"/>
            </p:cNvPicPr>
            <p:nvPr/>
          </p:nvPicPr>
          <p:blipFill>
            <a:blip r:embed="rId62" cstate="print">
              <a:biLevel thresh="25000"/>
              <a:extLst>
                <a:ext uri="{28A0092B-C50C-407E-A947-70E740481C1C}">
                  <a14:useLocalDpi xmlns:a14="http://schemas.microsoft.com/office/drawing/2010/main" val="0"/>
                </a:ext>
              </a:extLst>
            </a:blip>
            <a:stretch>
              <a:fillRect/>
            </a:stretch>
          </p:blipFill>
          <p:spPr>
            <a:xfrm>
              <a:off x="2823503" y="4271376"/>
              <a:ext cx="209430" cy="209430"/>
            </a:xfrm>
            <a:prstGeom prst="rect">
              <a:avLst/>
            </a:prstGeom>
          </p:spPr>
        </p:pic>
        <p:sp>
          <p:nvSpPr>
            <p:cNvPr id="303" name="Rectangle 302"/>
            <p:cNvSpPr/>
            <p:nvPr/>
          </p:nvSpPr>
          <p:spPr bwMode="auto">
            <a:xfrm>
              <a:off x="2015791" y="1473072"/>
              <a:ext cx="2291970" cy="1351020"/>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31821" tIns="105457" rIns="131821" bIns="105457" numCol="1" spcCol="0" rtlCol="0" fromWordArt="0" anchor="t" anchorCtr="0" forceAA="0" compatLnSpc="1">
              <a:prstTxWarp prst="textNoShape">
                <a:avLst/>
              </a:prstTxWarp>
              <a:noAutofit/>
            </a:bodyPr>
            <a:lstStyle/>
            <a:p>
              <a:pPr algn="ctr" defTabSz="671942">
                <a:lnSpc>
                  <a:spcPct val="90000"/>
                </a:lnSpc>
                <a:spcBef>
                  <a:spcPts val="0"/>
                </a:spcBef>
                <a:spcAft>
                  <a:spcPts val="0"/>
                </a:spcAft>
                <a:defRPr/>
              </a:pPr>
              <a:r>
                <a:rPr lang="en-US" sz="882" kern="0" dirty="0">
                  <a:gradFill>
                    <a:gsLst>
                      <a:gs pos="0">
                        <a:srgbClr val="FFFFFF"/>
                      </a:gs>
                      <a:gs pos="100000">
                        <a:srgbClr val="FFFFFF"/>
                      </a:gs>
                    </a:gsLst>
                    <a:lin ang="5400000" scaled="0"/>
                  </a:gradFill>
                  <a:latin typeface="Segoe UI"/>
                  <a:ea typeface="Segoe UI" pitchFamily="34" charset="0"/>
                  <a:cs typeface="Segoe UI" pitchFamily="34" charset="0"/>
                </a:rPr>
                <a:t>Integration</a:t>
              </a:r>
            </a:p>
          </p:txBody>
        </p:sp>
        <p:grpSp>
          <p:nvGrpSpPr>
            <p:cNvPr id="307" name="Group 306"/>
            <p:cNvGrpSpPr/>
            <p:nvPr/>
          </p:nvGrpSpPr>
          <p:grpSpPr>
            <a:xfrm>
              <a:off x="3197734" y="1883910"/>
              <a:ext cx="1005586" cy="311924"/>
              <a:chOff x="4508812" y="2773724"/>
              <a:chExt cx="1005586" cy="311924"/>
            </a:xfrm>
          </p:grpSpPr>
          <p:sp>
            <p:nvSpPr>
              <p:cNvPr id="308" name="TextBox 307"/>
              <p:cNvSpPr txBox="1"/>
              <p:nvPr/>
            </p:nvSpPr>
            <p:spPr>
              <a:xfrm>
                <a:off x="4855242" y="2784543"/>
                <a:ext cx="659156" cy="301105"/>
              </a:xfrm>
              <a:prstGeom prst="rect">
                <a:avLst/>
              </a:prstGeom>
              <a:noFill/>
              <a:ln>
                <a:noFill/>
              </a:ln>
            </p:spPr>
            <p:txBody>
              <a:bodyPr wrap="none" lIns="0" tIns="20566" rIns="0" bIns="0" rtlCol="0">
                <a:noAutofit/>
              </a:bodyPr>
              <a:lstStyle/>
              <a:p>
                <a:pPr defTabSz="685463" eaLnBrk="0" hangingPunct="0">
                  <a:lnSpc>
                    <a:spcPts val="600"/>
                  </a:lnSpc>
                  <a:defRPr/>
                </a:pP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BizTalk</a:t>
                </a:r>
              </a:p>
              <a:p>
                <a:pPr defTabSz="685463" eaLnBrk="0" hangingPunct="0">
                  <a:lnSpc>
                    <a:spcPts val="600"/>
                  </a:lnSpc>
                  <a:defRPr/>
                </a:pP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ervices</a:t>
                </a:r>
              </a:p>
            </p:txBody>
          </p:sp>
          <p:pic>
            <p:nvPicPr>
              <p:cNvPr id="309" name="Picture 308" descr="BizTalk Services.png"/>
              <p:cNvPicPr>
                <a:picLocks noChangeAspect="1"/>
              </p:cNvPicPr>
              <p:nvPr/>
            </p:nvPicPr>
            <p:blipFill>
              <a:blip r:embed="rId63" cstate="print">
                <a:biLevel thresh="25000"/>
                <a:extLst>
                  <a:ext uri="{28A0092B-C50C-407E-A947-70E740481C1C}">
                    <a14:useLocalDpi xmlns:a14="http://schemas.microsoft.com/office/drawing/2010/main" val="0"/>
                  </a:ext>
                </a:extLst>
              </a:blip>
              <a:stretch>
                <a:fillRect/>
              </a:stretch>
            </p:blipFill>
            <p:spPr>
              <a:xfrm>
                <a:off x="4508812" y="2773724"/>
                <a:ext cx="293814" cy="293814"/>
              </a:xfrm>
              <a:prstGeom prst="rect">
                <a:avLst/>
              </a:prstGeom>
            </p:spPr>
          </p:pic>
        </p:grpSp>
        <p:grpSp>
          <p:nvGrpSpPr>
            <p:cNvPr id="310" name="Group 309"/>
            <p:cNvGrpSpPr/>
            <p:nvPr/>
          </p:nvGrpSpPr>
          <p:grpSpPr>
            <a:xfrm>
              <a:off x="3206082" y="2416319"/>
              <a:ext cx="998427" cy="323766"/>
              <a:chOff x="4517160" y="3306133"/>
              <a:chExt cx="998427" cy="323766"/>
            </a:xfrm>
          </p:grpSpPr>
          <p:sp>
            <p:nvSpPr>
              <p:cNvPr id="311" name="TextBox 310"/>
              <p:cNvSpPr txBox="1"/>
              <p:nvPr/>
            </p:nvSpPr>
            <p:spPr>
              <a:xfrm>
                <a:off x="4856431" y="3328794"/>
                <a:ext cx="659156" cy="301105"/>
              </a:xfrm>
              <a:prstGeom prst="rect">
                <a:avLst/>
              </a:prstGeom>
              <a:noFill/>
              <a:ln>
                <a:noFill/>
              </a:ln>
            </p:spPr>
            <p:txBody>
              <a:bodyPr wrap="none" lIns="0" tIns="20566" rIns="0" bIns="0" rtlCol="0">
                <a:noAutofit/>
              </a:bodyPr>
              <a:lstStyle/>
              <a:p>
                <a:pPr defTabSz="685463" eaLnBrk="0" hangingPunct="0">
                  <a:lnSpc>
                    <a:spcPts val="600"/>
                  </a:lnSpc>
                  <a:defRPr/>
                </a:pP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ervice Bus</a:t>
                </a:r>
              </a:p>
            </p:txBody>
          </p:sp>
          <p:pic>
            <p:nvPicPr>
              <p:cNvPr id="312" name="Picture 311" descr="Service Bus.png"/>
              <p:cNvPicPr>
                <a:picLocks noChangeAspect="1"/>
              </p:cNvPicPr>
              <p:nvPr/>
            </p:nvPicPr>
            <p:blipFill>
              <a:blip r:embed="rId64" cstate="print">
                <a:biLevel thresh="25000"/>
                <a:extLst>
                  <a:ext uri="{28A0092B-C50C-407E-A947-70E740481C1C}">
                    <a14:useLocalDpi xmlns:a14="http://schemas.microsoft.com/office/drawing/2010/main" val="0"/>
                  </a:ext>
                </a:extLst>
              </a:blip>
              <a:stretch>
                <a:fillRect/>
              </a:stretch>
            </p:blipFill>
            <p:spPr>
              <a:xfrm>
                <a:off x="4517160" y="3306133"/>
                <a:ext cx="292386" cy="292386"/>
              </a:xfrm>
              <a:prstGeom prst="rect">
                <a:avLst/>
              </a:prstGeom>
            </p:spPr>
          </p:pic>
        </p:grpSp>
        <p:pic>
          <p:nvPicPr>
            <p:cNvPr id="313" name="Picture 312"/>
            <p:cNvPicPr>
              <a:picLocks noChangeAspect="1"/>
            </p:cNvPicPr>
            <p:nvPr/>
          </p:nvPicPr>
          <p:blipFill>
            <a:blip r:embed="rId65" cstate="print">
              <a:biLevel thresh="25000"/>
              <a:extLst>
                <a:ext uri="{28A0092B-C50C-407E-A947-70E740481C1C}">
                  <a14:useLocalDpi xmlns:a14="http://schemas.microsoft.com/office/drawing/2010/main" val="0"/>
                </a:ext>
              </a:extLst>
            </a:blip>
            <a:stretch>
              <a:fillRect/>
            </a:stretch>
          </p:blipFill>
          <p:spPr>
            <a:xfrm>
              <a:off x="2172194" y="2360661"/>
              <a:ext cx="242794" cy="242794"/>
            </a:xfrm>
            <a:prstGeom prst="rect">
              <a:avLst/>
            </a:prstGeom>
          </p:spPr>
        </p:pic>
        <p:sp>
          <p:nvSpPr>
            <p:cNvPr id="314" name="TextBox 313"/>
            <p:cNvSpPr txBox="1"/>
            <p:nvPr/>
          </p:nvSpPr>
          <p:spPr>
            <a:xfrm>
              <a:off x="2489221" y="2303545"/>
              <a:ext cx="659156" cy="301105"/>
            </a:xfrm>
            <a:prstGeom prst="rect">
              <a:avLst/>
            </a:prstGeom>
            <a:noFill/>
            <a:ln>
              <a:noFill/>
            </a:ln>
          </p:spPr>
          <p:txBody>
            <a:bodyPr wrap="none" lIns="0" tIns="20566" rIns="0" bIns="0" rtlCol="0">
              <a:noAutofit/>
            </a:bodyPr>
            <a:lstStyle/>
            <a:p>
              <a:pPr defTabSz="685463" eaLnBrk="0" hangingPunct="0">
                <a:lnSpc>
                  <a:spcPts val="600"/>
                </a:lnSpc>
                <a:defRPr/>
              </a:pP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Logic </a:t>
              </a:r>
            </a:p>
            <a:p>
              <a:pPr defTabSz="685463" eaLnBrk="0" hangingPunct="0">
                <a:lnSpc>
                  <a:spcPts val="600"/>
                </a:lnSpc>
                <a:defRPr/>
              </a:pP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pps</a:t>
              </a:r>
            </a:p>
          </p:txBody>
        </p:sp>
        <p:pic>
          <p:nvPicPr>
            <p:cNvPr id="315" name="Picture 314"/>
            <p:cNvPicPr>
              <a:picLocks noChangeAspect="1"/>
            </p:cNvPicPr>
            <p:nvPr/>
          </p:nvPicPr>
          <p:blipFill>
            <a:blip r:embed="rId66" cstate="print">
              <a:biLevel thresh="25000"/>
              <a:extLst>
                <a:ext uri="{28A0092B-C50C-407E-A947-70E740481C1C}">
                  <a14:useLocalDpi xmlns:a14="http://schemas.microsoft.com/office/drawing/2010/main" val="0"/>
                </a:ext>
              </a:extLst>
            </a:blip>
            <a:stretch>
              <a:fillRect/>
            </a:stretch>
          </p:blipFill>
          <p:spPr>
            <a:xfrm>
              <a:off x="2047234" y="1902377"/>
              <a:ext cx="315892" cy="315892"/>
            </a:xfrm>
            <a:prstGeom prst="rect">
              <a:avLst/>
            </a:prstGeom>
          </p:spPr>
        </p:pic>
        <p:sp>
          <p:nvSpPr>
            <p:cNvPr id="316" name="TextBox 315"/>
            <p:cNvSpPr txBox="1"/>
            <p:nvPr/>
          </p:nvSpPr>
          <p:spPr>
            <a:xfrm>
              <a:off x="2418416" y="1896980"/>
              <a:ext cx="659156" cy="301105"/>
            </a:xfrm>
            <a:prstGeom prst="rect">
              <a:avLst/>
            </a:prstGeom>
            <a:noFill/>
            <a:ln>
              <a:noFill/>
            </a:ln>
          </p:spPr>
          <p:txBody>
            <a:bodyPr wrap="none" lIns="0" tIns="20566" rIns="0" bIns="0" rtlCol="0">
              <a:noAutofit/>
            </a:bodyPr>
            <a:lstStyle/>
            <a:p>
              <a:pPr defTabSz="685463" eaLnBrk="0" hangingPunct="0">
                <a:lnSpc>
                  <a:spcPts val="600"/>
                </a:lnSpc>
                <a:defRPr/>
              </a:pP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PI </a:t>
              </a:r>
            </a:p>
            <a:p>
              <a:pPr defTabSz="685463" eaLnBrk="0" hangingPunct="0">
                <a:lnSpc>
                  <a:spcPts val="600"/>
                </a:lnSpc>
                <a:defRPr/>
              </a:pP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Management</a:t>
              </a:r>
            </a:p>
          </p:txBody>
        </p:sp>
        <p:sp>
          <p:nvSpPr>
            <p:cNvPr id="319" name="Rectangle 318"/>
            <p:cNvSpPr/>
            <p:nvPr/>
          </p:nvSpPr>
          <p:spPr bwMode="auto">
            <a:xfrm>
              <a:off x="2013863" y="532203"/>
              <a:ext cx="2293898" cy="840484"/>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67232" tIns="105457" rIns="67232" bIns="105457" numCol="1" spcCol="0" rtlCol="0" fromWordArt="0" anchor="t" anchorCtr="0" forceAA="0" compatLnSpc="1">
              <a:prstTxWarp prst="textNoShape">
                <a:avLst/>
              </a:prstTxWarp>
              <a:noAutofit/>
            </a:bodyPr>
            <a:lstStyle/>
            <a:p>
              <a:pPr algn="ctr" defTabSz="671942">
                <a:lnSpc>
                  <a:spcPct val="90000"/>
                </a:lnSpc>
                <a:spcBef>
                  <a:spcPts val="0"/>
                </a:spcBef>
                <a:spcAft>
                  <a:spcPts val="0"/>
                </a:spcAft>
                <a:defRPr/>
              </a:pPr>
              <a:r>
                <a:rPr lang="en-US" sz="882" kern="0" dirty="0">
                  <a:gradFill>
                    <a:gsLst>
                      <a:gs pos="0">
                        <a:srgbClr val="FFFFFF"/>
                      </a:gs>
                      <a:gs pos="100000">
                        <a:srgbClr val="FFFFFF"/>
                      </a:gs>
                    </a:gsLst>
                    <a:lin ang="5400000" scaled="0"/>
                  </a:gradFill>
                  <a:latin typeface="Segoe UI"/>
                  <a:ea typeface="Segoe UI" pitchFamily="34" charset="0"/>
                  <a:cs typeface="Segoe UI" pitchFamily="34" charset="0"/>
                </a:rPr>
                <a:t>Media &amp; CDN</a:t>
              </a:r>
            </a:p>
          </p:txBody>
        </p:sp>
        <p:grpSp>
          <p:nvGrpSpPr>
            <p:cNvPr id="320" name="Group 319"/>
            <p:cNvGrpSpPr/>
            <p:nvPr/>
          </p:nvGrpSpPr>
          <p:grpSpPr>
            <a:xfrm>
              <a:off x="3540741" y="925340"/>
              <a:ext cx="985876" cy="310428"/>
              <a:chOff x="4094213" y="3729530"/>
              <a:chExt cx="985876" cy="310428"/>
            </a:xfrm>
          </p:grpSpPr>
          <p:sp>
            <p:nvSpPr>
              <p:cNvPr id="321" name="TextBox 320"/>
              <p:cNvSpPr txBox="1"/>
              <p:nvPr/>
            </p:nvSpPr>
            <p:spPr>
              <a:xfrm>
                <a:off x="4420933" y="3729530"/>
                <a:ext cx="659156" cy="301105"/>
              </a:xfrm>
              <a:prstGeom prst="rect">
                <a:avLst/>
              </a:prstGeom>
              <a:noFill/>
              <a:ln>
                <a:noFill/>
              </a:ln>
            </p:spPr>
            <p:txBody>
              <a:bodyPr wrap="none" lIns="0" tIns="20566" rIns="0" bIns="0" rtlCol="0">
                <a:noAutofit/>
              </a:bodyPr>
              <a:lstStyle/>
              <a:p>
                <a:pPr defTabSz="685463" eaLnBrk="0" hangingPunct="0">
                  <a:lnSpc>
                    <a:spcPts val="600"/>
                  </a:lnSpc>
                  <a:defRPr/>
                </a:pPr>
                <a:r>
                  <a:rPr lang="en-US" sz="566" b="0" kern="0" dirty="0">
                    <a:solidFill>
                      <a:srgbClr val="505050"/>
                    </a:solidFill>
                    <a:latin typeface="Segoe UI Light" panose="020B0502040204020203" pitchFamily="34" charset="0"/>
                    <a:ea typeface="Arial Unicode MS" panose="020B0604020202020204" pitchFamily="34" charset="-128"/>
                    <a:cs typeface="Segoe UI Light" panose="020B0502040204020203" pitchFamily="34" charset="0"/>
                  </a:rPr>
                  <a:t>Content </a:t>
                </a:r>
                <a:br>
                  <a:rPr lang="en-US" sz="566" b="0" kern="0" dirty="0">
                    <a:solidFill>
                      <a:srgbClr val="505050"/>
                    </a:solidFill>
                    <a:latin typeface="Segoe UI Light" panose="020B0502040204020203" pitchFamily="34" charset="0"/>
                    <a:ea typeface="Arial Unicode MS" panose="020B0604020202020204" pitchFamily="34" charset="-128"/>
                    <a:cs typeface="Segoe UI Light" panose="020B0502040204020203" pitchFamily="34" charset="0"/>
                  </a:rPr>
                </a:br>
                <a:r>
                  <a:rPr lang="en-US" sz="566" b="0" kern="0" dirty="0">
                    <a:solidFill>
                      <a:srgbClr val="505050"/>
                    </a:solidFill>
                    <a:latin typeface="Segoe UI Light" panose="020B0502040204020203" pitchFamily="34" charset="0"/>
                    <a:ea typeface="Arial Unicode MS" panose="020B0604020202020204" pitchFamily="34" charset="-128"/>
                    <a:cs typeface="Segoe UI Light" panose="020B0502040204020203" pitchFamily="34" charset="0"/>
                  </a:rPr>
                  <a:t>Delivery</a:t>
                </a:r>
              </a:p>
              <a:p>
                <a:pPr defTabSz="685463" eaLnBrk="0" hangingPunct="0">
                  <a:lnSpc>
                    <a:spcPts val="600"/>
                  </a:lnSpc>
                  <a:defRPr/>
                </a:pPr>
                <a:r>
                  <a:rPr lang="en-US" sz="566" b="0" kern="0" dirty="0">
                    <a:solidFill>
                      <a:srgbClr val="505050"/>
                    </a:solidFill>
                    <a:latin typeface="Segoe UI Light" panose="020B0502040204020203" pitchFamily="34" charset="0"/>
                    <a:ea typeface="Arial Unicode MS" panose="020B0604020202020204" pitchFamily="34" charset="-128"/>
                    <a:cs typeface="Segoe UI Light" panose="020B0502040204020203" pitchFamily="34" charset="0"/>
                  </a:rPr>
                  <a:t>Network</a:t>
                </a:r>
              </a:p>
            </p:txBody>
          </p:sp>
          <p:pic>
            <p:nvPicPr>
              <p:cNvPr id="322" name="Picture 321" descr="Content Delivery Network (CDN).png"/>
              <p:cNvPicPr>
                <a:picLocks noChangeAspect="1"/>
              </p:cNvPicPr>
              <p:nvPr/>
            </p:nvPicPr>
            <p:blipFill>
              <a:blip r:embed="rId67" cstate="print">
                <a:biLevel thresh="25000"/>
                <a:extLst>
                  <a:ext uri="{28A0092B-C50C-407E-A947-70E740481C1C}">
                    <a14:useLocalDpi xmlns:a14="http://schemas.microsoft.com/office/drawing/2010/main" val="0"/>
                  </a:ext>
                </a:extLst>
              </a:blip>
              <a:stretch>
                <a:fillRect/>
              </a:stretch>
            </p:blipFill>
            <p:spPr>
              <a:xfrm>
                <a:off x="4094213" y="3743791"/>
                <a:ext cx="296167" cy="296167"/>
              </a:xfrm>
              <a:prstGeom prst="rect">
                <a:avLst/>
              </a:prstGeom>
            </p:spPr>
          </p:pic>
        </p:grpSp>
        <p:grpSp>
          <p:nvGrpSpPr>
            <p:cNvPr id="323" name="Group 322"/>
            <p:cNvGrpSpPr/>
            <p:nvPr/>
          </p:nvGrpSpPr>
          <p:grpSpPr>
            <a:xfrm>
              <a:off x="2042318" y="943855"/>
              <a:ext cx="997180" cy="301105"/>
              <a:chOff x="2770452" y="3748045"/>
              <a:chExt cx="997180" cy="301105"/>
            </a:xfrm>
          </p:grpSpPr>
          <p:sp>
            <p:nvSpPr>
              <p:cNvPr id="324" name="TextBox 323"/>
              <p:cNvSpPr txBox="1"/>
              <p:nvPr/>
            </p:nvSpPr>
            <p:spPr>
              <a:xfrm>
                <a:off x="3108476" y="3748045"/>
                <a:ext cx="659156" cy="301105"/>
              </a:xfrm>
              <a:prstGeom prst="rect">
                <a:avLst/>
              </a:prstGeom>
              <a:noFill/>
              <a:ln>
                <a:noFill/>
              </a:ln>
            </p:spPr>
            <p:txBody>
              <a:bodyPr wrap="none" lIns="0" tIns="20566" rIns="0" bIns="0" rtlCol="0">
                <a:noAutofit/>
              </a:bodyPr>
              <a:lstStyle/>
              <a:p>
                <a:pPr defTabSz="685463" eaLnBrk="0" hangingPunct="0">
                  <a:lnSpc>
                    <a:spcPts val="600"/>
                  </a:lnSpc>
                  <a:defRPr/>
                </a:pP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Media </a:t>
                </a:r>
                <a:b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b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ervices</a:t>
                </a:r>
              </a:p>
            </p:txBody>
          </p:sp>
          <p:pic>
            <p:nvPicPr>
              <p:cNvPr id="325" name="Picture 324" descr="Media Services.png"/>
              <p:cNvPicPr>
                <a:picLocks noChangeAspect="1"/>
              </p:cNvPicPr>
              <p:nvPr/>
            </p:nvPicPr>
            <p:blipFill>
              <a:blip r:embed="rId68" cstate="print">
                <a:biLevel thresh="25000"/>
                <a:extLst>
                  <a:ext uri="{28A0092B-C50C-407E-A947-70E740481C1C}">
                    <a14:useLocalDpi xmlns:a14="http://schemas.microsoft.com/office/drawing/2010/main" val="0"/>
                  </a:ext>
                </a:extLst>
              </a:blip>
              <a:stretch>
                <a:fillRect/>
              </a:stretch>
            </p:blipFill>
            <p:spPr>
              <a:xfrm>
                <a:off x="2770452" y="3757874"/>
                <a:ext cx="282134" cy="282134"/>
              </a:xfrm>
              <a:prstGeom prst="rect">
                <a:avLst/>
              </a:prstGeom>
            </p:spPr>
          </p:pic>
        </p:grpSp>
        <p:sp>
          <p:nvSpPr>
            <p:cNvPr id="326" name="TextBox 325"/>
            <p:cNvSpPr txBox="1"/>
            <p:nvPr/>
          </p:nvSpPr>
          <p:spPr>
            <a:xfrm>
              <a:off x="3084763" y="950978"/>
              <a:ext cx="473543" cy="301105"/>
            </a:xfrm>
            <a:prstGeom prst="rect">
              <a:avLst/>
            </a:prstGeom>
            <a:noFill/>
            <a:ln>
              <a:noFill/>
            </a:ln>
          </p:spPr>
          <p:txBody>
            <a:bodyPr wrap="none" lIns="0" tIns="20566" rIns="0" bIns="0" rtlCol="0">
              <a:noAutofit/>
            </a:bodyPr>
            <a:lstStyle/>
            <a:p>
              <a:pPr defTabSz="685463" eaLnBrk="0" hangingPunct="0">
                <a:lnSpc>
                  <a:spcPts val="600"/>
                </a:lnSpc>
                <a:defRPr/>
              </a:pP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Media </a:t>
              </a:r>
              <a:b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b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nalytics</a:t>
              </a:r>
            </a:p>
          </p:txBody>
        </p:sp>
        <p:pic>
          <p:nvPicPr>
            <p:cNvPr id="347" name="Picture 346" descr="Media Services.png"/>
            <p:cNvPicPr>
              <a:picLocks noChangeAspect="1"/>
            </p:cNvPicPr>
            <p:nvPr/>
          </p:nvPicPr>
          <p:blipFill>
            <a:blip r:embed="rId68" cstate="print">
              <a:biLevel thresh="25000"/>
              <a:extLst>
                <a:ext uri="{28A0092B-C50C-407E-A947-70E740481C1C}">
                  <a14:useLocalDpi xmlns:a14="http://schemas.microsoft.com/office/drawing/2010/main" val="0"/>
                </a:ext>
              </a:extLst>
            </a:blip>
            <a:stretch>
              <a:fillRect/>
            </a:stretch>
          </p:blipFill>
          <p:spPr>
            <a:xfrm>
              <a:off x="2746739" y="960807"/>
              <a:ext cx="282134" cy="282134"/>
            </a:xfrm>
            <a:prstGeom prst="rect">
              <a:avLst/>
            </a:prstGeom>
          </p:spPr>
        </p:pic>
        <p:sp>
          <p:nvSpPr>
            <p:cNvPr id="348" name="Freeform 347"/>
            <p:cNvSpPr/>
            <p:nvPr/>
          </p:nvSpPr>
          <p:spPr bwMode="auto">
            <a:xfrm rot="2700000">
              <a:off x="11369431" y="5296394"/>
              <a:ext cx="188089" cy="188089"/>
            </a:xfrm>
            <a:custGeom>
              <a:avLst/>
              <a:gdLst>
                <a:gd name="connsiteX0" fmla="*/ 314803 w 613867"/>
                <a:gd name="connsiteY0" fmla="*/ 374281 h 613867"/>
                <a:gd name="connsiteX1" fmla="*/ 390557 w 613867"/>
                <a:gd name="connsiteY1" fmla="*/ 450035 h 613867"/>
                <a:gd name="connsiteX2" fmla="*/ 330696 w 613867"/>
                <a:gd name="connsiteY2" fmla="*/ 509896 h 613867"/>
                <a:gd name="connsiteX3" fmla="*/ 507842 w 613867"/>
                <a:gd name="connsiteY3" fmla="*/ 504902 h 613867"/>
                <a:gd name="connsiteX4" fmla="*/ 512837 w 613867"/>
                <a:gd name="connsiteY4" fmla="*/ 327756 h 613867"/>
                <a:gd name="connsiteX5" fmla="*/ 452975 w 613867"/>
                <a:gd name="connsiteY5" fmla="*/ 387617 h 613867"/>
                <a:gd name="connsiteX6" fmla="*/ 377221 w 613867"/>
                <a:gd name="connsiteY6" fmla="*/ 311863 h 613867"/>
                <a:gd name="connsiteX7" fmla="*/ 367619 w 613867"/>
                <a:gd name="connsiteY7" fmla="*/ 63753 h 613867"/>
                <a:gd name="connsiteX8" fmla="*/ 372612 w 613867"/>
                <a:gd name="connsiteY8" fmla="*/ 240900 h 613867"/>
                <a:gd name="connsiteX9" fmla="*/ 549761 w 613867"/>
                <a:gd name="connsiteY9" fmla="*/ 245895 h 613867"/>
                <a:gd name="connsiteX10" fmla="*/ 489898 w 613867"/>
                <a:gd name="connsiteY10" fmla="*/ 186033 h 613867"/>
                <a:gd name="connsiteX11" fmla="*/ 565652 w 613867"/>
                <a:gd name="connsiteY11" fmla="*/ 110279 h 613867"/>
                <a:gd name="connsiteX12" fmla="*/ 503234 w 613867"/>
                <a:gd name="connsiteY12" fmla="*/ 47861 h 613867"/>
                <a:gd name="connsiteX13" fmla="*/ 427480 w 613867"/>
                <a:gd name="connsiteY13" fmla="*/ 123615 h 613867"/>
                <a:gd name="connsiteX14" fmla="*/ 60550 w 613867"/>
                <a:gd name="connsiteY14" fmla="*/ 370823 h 613867"/>
                <a:gd name="connsiteX15" fmla="*/ 120411 w 613867"/>
                <a:gd name="connsiteY15" fmla="*/ 430684 h 613867"/>
                <a:gd name="connsiteX16" fmla="*/ 44657 w 613867"/>
                <a:gd name="connsiteY16" fmla="*/ 506438 h 613867"/>
                <a:gd name="connsiteX17" fmla="*/ 107075 w 613867"/>
                <a:gd name="connsiteY17" fmla="*/ 568856 h 613867"/>
                <a:gd name="connsiteX18" fmla="*/ 182829 w 613867"/>
                <a:gd name="connsiteY18" fmla="*/ 493102 h 613867"/>
                <a:gd name="connsiteX19" fmla="*/ 242691 w 613867"/>
                <a:gd name="connsiteY19" fmla="*/ 552964 h 613867"/>
                <a:gd name="connsiteX20" fmla="*/ 237696 w 613867"/>
                <a:gd name="connsiteY20" fmla="*/ 375818 h 613867"/>
                <a:gd name="connsiteX21" fmla="*/ 104519 w 613867"/>
                <a:gd name="connsiteY21" fmla="*/ 101580 h 613867"/>
                <a:gd name="connsiteX22" fmla="*/ 99524 w 613867"/>
                <a:gd name="connsiteY22" fmla="*/ 278727 h 613867"/>
                <a:gd name="connsiteX23" fmla="*/ 159386 w 613867"/>
                <a:gd name="connsiteY23" fmla="*/ 218865 h 613867"/>
                <a:gd name="connsiteX24" fmla="*/ 235140 w 613867"/>
                <a:gd name="connsiteY24" fmla="*/ 294619 h 613867"/>
                <a:gd name="connsiteX25" fmla="*/ 297558 w 613867"/>
                <a:gd name="connsiteY25" fmla="*/ 232201 h 613867"/>
                <a:gd name="connsiteX26" fmla="*/ 221804 w 613867"/>
                <a:gd name="connsiteY26" fmla="*/ 156447 h 613867"/>
                <a:gd name="connsiteX27" fmla="*/ 281665 w 613867"/>
                <a:gd name="connsiteY27" fmla="*/ 96586 h 613867"/>
                <a:gd name="connsiteX28" fmla="*/ 29967 w 613867"/>
                <a:gd name="connsiteY28" fmla="*/ 29967 h 613867"/>
                <a:gd name="connsiteX29" fmla="*/ 102313 w 613867"/>
                <a:gd name="connsiteY29" fmla="*/ 0 h 613867"/>
                <a:gd name="connsiteX30" fmla="*/ 511554 w 613867"/>
                <a:gd name="connsiteY30" fmla="*/ 0 h 613867"/>
                <a:gd name="connsiteX31" fmla="*/ 613867 w 613867"/>
                <a:gd name="connsiteY31" fmla="*/ 102313 h 613867"/>
                <a:gd name="connsiteX32" fmla="*/ 613867 w 613867"/>
                <a:gd name="connsiteY32" fmla="*/ 511554 h 613867"/>
                <a:gd name="connsiteX33" fmla="*/ 511554 w 613867"/>
                <a:gd name="connsiteY33" fmla="*/ 613867 h 613867"/>
                <a:gd name="connsiteX34" fmla="*/ 102313 w 613867"/>
                <a:gd name="connsiteY34" fmla="*/ 613867 h 613867"/>
                <a:gd name="connsiteX35" fmla="*/ 0 w 613867"/>
                <a:gd name="connsiteY35" fmla="*/ 511554 h 613867"/>
                <a:gd name="connsiteX36" fmla="*/ 0 w 613867"/>
                <a:gd name="connsiteY36" fmla="*/ 102313 h 613867"/>
                <a:gd name="connsiteX37" fmla="*/ 29967 w 613867"/>
                <a:gd name="connsiteY37" fmla="*/ 29967 h 613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613867" h="613867">
                  <a:moveTo>
                    <a:pt x="314803" y="374281"/>
                  </a:moveTo>
                  <a:lnTo>
                    <a:pt x="390557" y="450035"/>
                  </a:lnTo>
                  <a:lnTo>
                    <a:pt x="330696" y="509896"/>
                  </a:lnTo>
                  <a:lnTo>
                    <a:pt x="507842" y="504902"/>
                  </a:lnTo>
                  <a:lnTo>
                    <a:pt x="512837" y="327756"/>
                  </a:lnTo>
                  <a:lnTo>
                    <a:pt x="452975" y="387617"/>
                  </a:lnTo>
                  <a:lnTo>
                    <a:pt x="377221" y="311863"/>
                  </a:lnTo>
                  <a:close/>
                  <a:moveTo>
                    <a:pt x="367619" y="63753"/>
                  </a:moveTo>
                  <a:lnTo>
                    <a:pt x="372612" y="240900"/>
                  </a:lnTo>
                  <a:lnTo>
                    <a:pt x="549761" y="245895"/>
                  </a:lnTo>
                  <a:lnTo>
                    <a:pt x="489898" y="186033"/>
                  </a:lnTo>
                  <a:lnTo>
                    <a:pt x="565652" y="110279"/>
                  </a:lnTo>
                  <a:lnTo>
                    <a:pt x="503234" y="47861"/>
                  </a:lnTo>
                  <a:lnTo>
                    <a:pt x="427480" y="123615"/>
                  </a:lnTo>
                  <a:close/>
                  <a:moveTo>
                    <a:pt x="60550" y="370823"/>
                  </a:moveTo>
                  <a:lnTo>
                    <a:pt x="120411" y="430684"/>
                  </a:lnTo>
                  <a:lnTo>
                    <a:pt x="44657" y="506438"/>
                  </a:lnTo>
                  <a:lnTo>
                    <a:pt x="107075" y="568856"/>
                  </a:lnTo>
                  <a:lnTo>
                    <a:pt x="182829" y="493102"/>
                  </a:lnTo>
                  <a:lnTo>
                    <a:pt x="242691" y="552964"/>
                  </a:lnTo>
                  <a:lnTo>
                    <a:pt x="237696" y="375818"/>
                  </a:lnTo>
                  <a:close/>
                  <a:moveTo>
                    <a:pt x="104519" y="101580"/>
                  </a:moveTo>
                  <a:lnTo>
                    <a:pt x="99524" y="278727"/>
                  </a:lnTo>
                  <a:lnTo>
                    <a:pt x="159386" y="218865"/>
                  </a:lnTo>
                  <a:lnTo>
                    <a:pt x="235140" y="294619"/>
                  </a:lnTo>
                  <a:lnTo>
                    <a:pt x="297558" y="232201"/>
                  </a:lnTo>
                  <a:lnTo>
                    <a:pt x="221804" y="156447"/>
                  </a:lnTo>
                  <a:lnTo>
                    <a:pt x="281665" y="96586"/>
                  </a:lnTo>
                  <a:close/>
                  <a:moveTo>
                    <a:pt x="29967" y="29967"/>
                  </a:moveTo>
                  <a:cubicBezTo>
                    <a:pt x="48482" y="11452"/>
                    <a:pt x="74060" y="0"/>
                    <a:pt x="102313" y="0"/>
                  </a:cubicBezTo>
                  <a:lnTo>
                    <a:pt x="511554" y="0"/>
                  </a:lnTo>
                  <a:cubicBezTo>
                    <a:pt x="568060" y="0"/>
                    <a:pt x="613867" y="45807"/>
                    <a:pt x="613867" y="102313"/>
                  </a:cubicBezTo>
                  <a:lnTo>
                    <a:pt x="613867" y="511554"/>
                  </a:lnTo>
                  <a:cubicBezTo>
                    <a:pt x="613867" y="568060"/>
                    <a:pt x="568060" y="613867"/>
                    <a:pt x="511554" y="613867"/>
                  </a:cubicBezTo>
                  <a:lnTo>
                    <a:pt x="102313" y="613867"/>
                  </a:lnTo>
                  <a:cubicBezTo>
                    <a:pt x="45807" y="613867"/>
                    <a:pt x="0" y="568060"/>
                    <a:pt x="0" y="511554"/>
                  </a:cubicBezTo>
                  <a:lnTo>
                    <a:pt x="0" y="102313"/>
                  </a:lnTo>
                  <a:cubicBezTo>
                    <a:pt x="0" y="74060"/>
                    <a:pt x="11452" y="48482"/>
                    <a:pt x="29967" y="29967"/>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a:lnSpc>
                  <a:spcPct val="90000"/>
                </a:lnSpc>
                <a:defRPr/>
              </a:pPr>
              <a:endParaRPr lang="en-US" sz="1471" kern="0" dirty="0">
                <a:solidFill>
                  <a:srgbClr val="505050"/>
                </a:solidFill>
                <a:latin typeface="Segoe UI Light"/>
                <a:ea typeface="Segoe UI" pitchFamily="34" charset="0"/>
                <a:cs typeface="Segoe UI" pitchFamily="34" charset="0"/>
              </a:endParaRPr>
            </a:p>
          </p:txBody>
        </p:sp>
        <p:grpSp>
          <p:nvGrpSpPr>
            <p:cNvPr id="350" name="Group 349"/>
            <p:cNvGrpSpPr/>
            <p:nvPr/>
          </p:nvGrpSpPr>
          <p:grpSpPr>
            <a:xfrm>
              <a:off x="8035122" y="3568701"/>
              <a:ext cx="297136" cy="295678"/>
              <a:chOff x="8580718" y="793097"/>
              <a:chExt cx="2587625" cy="2574925"/>
            </a:xfrm>
          </p:grpSpPr>
          <p:sp>
            <p:nvSpPr>
              <p:cNvPr id="351" name="Freeform 34"/>
              <p:cNvSpPr>
                <a:spLocks/>
              </p:cNvSpPr>
              <p:nvPr/>
            </p:nvSpPr>
            <p:spPr bwMode="auto">
              <a:xfrm>
                <a:off x="9477655" y="1434447"/>
                <a:ext cx="792163" cy="1312862"/>
              </a:xfrm>
              <a:custGeom>
                <a:avLst/>
                <a:gdLst>
                  <a:gd name="T0" fmla="*/ 1459 w 1508"/>
                  <a:gd name="T1" fmla="*/ 930 h 2501"/>
                  <a:gd name="T2" fmla="*/ 837 w 1508"/>
                  <a:gd name="T3" fmla="*/ 930 h 2501"/>
                  <a:gd name="T4" fmla="*/ 1097 w 1508"/>
                  <a:gd name="T5" fmla="*/ 63 h 2501"/>
                  <a:gd name="T6" fmla="*/ 1072 w 1508"/>
                  <a:gd name="T7" fmla="*/ 4 h 2501"/>
                  <a:gd name="T8" fmla="*/ 1053 w 1508"/>
                  <a:gd name="T9" fmla="*/ 0 h 2501"/>
                  <a:gd name="T10" fmla="*/ 1014 w 1508"/>
                  <a:gd name="T11" fmla="*/ 19 h 2501"/>
                  <a:gd name="T12" fmla="*/ 10 w 1508"/>
                  <a:gd name="T13" fmla="*/ 1483 h 2501"/>
                  <a:gd name="T14" fmla="*/ 5 w 1508"/>
                  <a:gd name="T15" fmla="*/ 1532 h 2501"/>
                  <a:gd name="T16" fmla="*/ 49 w 1508"/>
                  <a:gd name="T17" fmla="*/ 1556 h 2501"/>
                  <a:gd name="T18" fmla="*/ 651 w 1508"/>
                  <a:gd name="T19" fmla="*/ 1556 h 2501"/>
                  <a:gd name="T20" fmla="*/ 382 w 1508"/>
                  <a:gd name="T21" fmla="*/ 2438 h 2501"/>
                  <a:gd name="T22" fmla="*/ 407 w 1508"/>
                  <a:gd name="T23" fmla="*/ 2497 h 2501"/>
                  <a:gd name="T24" fmla="*/ 426 w 1508"/>
                  <a:gd name="T25" fmla="*/ 2501 h 2501"/>
                  <a:gd name="T26" fmla="*/ 465 w 1508"/>
                  <a:gd name="T27" fmla="*/ 2482 h 2501"/>
                  <a:gd name="T28" fmla="*/ 1498 w 1508"/>
                  <a:gd name="T29" fmla="*/ 1003 h 2501"/>
                  <a:gd name="T30" fmla="*/ 1508 w 1508"/>
                  <a:gd name="T31" fmla="*/ 974 h 2501"/>
                  <a:gd name="T32" fmla="*/ 1459 w 1508"/>
                  <a:gd name="T33" fmla="*/ 930 h 25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08" h="2501">
                    <a:moveTo>
                      <a:pt x="1459" y="930"/>
                    </a:moveTo>
                    <a:lnTo>
                      <a:pt x="837" y="930"/>
                    </a:lnTo>
                    <a:lnTo>
                      <a:pt x="1097" y="63"/>
                    </a:lnTo>
                    <a:cubicBezTo>
                      <a:pt x="1102" y="39"/>
                      <a:pt x="1092" y="14"/>
                      <a:pt x="1072" y="4"/>
                    </a:cubicBezTo>
                    <a:cubicBezTo>
                      <a:pt x="1068" y="0"/>
                      <a:pt x="1058" y="0"/>
                      <a:pt x="1053" y="0"/>
                    </a:cubicBezTo>
                    <a:cubicBezTo>
                      <a:pt x="1038" y="0"/>
                      <a:pt x="1024" y="9"/>
                      <a:pt x="1014" y="19"/>
                    </a:cubicBezTo>
                    <a:lnTo>
                      <a:pt x="10" y="1483"/>
                    </a:lnTo>
                    <a:cubicBezTo>
                      <a:pt x="0" y="1498"/>
                      <a:pt x="0" y="1517"/>
                      <a:pt x="5" y="1532"/>
                    </a:cubicBezTo>
                    <a:cubicBezTo>
                      <a:pt x="15" y="1547"/>
                      <a:pt x="30" y="1556"/>
                      <a:pt x="49" y="1556"/>
                    </a:cubicBezTo>
                    <a:lnTo>
                      <a:pt x="651" y="1556"/>
                    </a:lnTo>
                    <a:lnTo>
                      <a:pt x="382" y="2438"/>
                    </a:lnTo>
                    <a:cubicBezTo>
                      <a:pt x="377" y="2462"/>
                      <a:pt x="387" y="2487"/>
                      <a:pt x="407" y="2497"/>
                    </a:cubicBezTo>
                    <a:cubicBezTo>
                      <a:pt x="412" y="2501"/>
                      <a:pt x="421" y="2501"/>
                      <a:pt x="426" y="2501"/>
                    </a:cubicBezTo>
                    <a:cubicBezTo>
                      <a:pt x="441" y="2501"/>
                      <a:pt x="456" y="2492"/>
                      <a:pt x="465" y="2482"/>
                    </a:cubicBezTo>
                    <a:lnTo>
                      <a:pt x="1498" y="1003"/>
                    </a:lnTo>
                    <a:cubicBezTo>
                      <a:pt x="1503" y="993"/>
                      <a:pt x="1508" y="984"/>
                      <a:pt x="1508" y="974"/>
                    </a:cubicBezTo>
                    <a:cubicBezTo>
                      <a:pt x="1508" y="949"/>
                      <a:pt x="1484" y="930"/>
                      <a:pt x="1459" y="930"/>
                    </a:cubicBezTo>
                    <a:close/>
                  </a:path>
                </a:pathLst>
              </a:custGeom>
              <a:solidFill>
                <a:srgbClr val="FFFFFF"/>
              </a:solidFill>
              <a:ln w="0">
                <a:noFill/>
                <a:prstDash val="solid"/>
                <a:round/>
                <a:headEnd/>
                <a:tailEnd/>
              </a:ln>
            </p:spPr>
            <p:txBody>
              <a:bodyPr vert="horz" wrap="square" lIns="67232" tIns="33616" rIns="67232" bIns="33616" numCol="1" anchor="t" anchorCtr="0" compatLnSpc="1">
                <a:prstTxWarp prst="textNoShape">
                  <a:avLst/>
                </a:prstTxWarp>
              </a:bodyPr>
              <a:lstStyle/>
              <a:p>
                <a:pPr defTabSz="672290" fontAlgn="auto">
                  <a:spcBef>
                    <a:spcPts val="0"/>
                  </a:spcBef>
                  <a:spcAft>
                    <a:spcPts val="0"/>
                  </a:spcAft>
                  <a:defRPr/>
                </a:pPr>
                <a:endParaRPr lang="en-US" sz="1324" b="0" kern="0">
                  <a:solidFill>
                    <a:sysClr val="windowText" lastClr="000000"/>
                  </a:solidFill>
                  <a:latin typeface="Segoe UI"/>
                  <a:cs typeface="+mn-cs"/>
                </a:endParaRPr>
              </a:p>
            </p:txBody>
          </p:sp>
          <p:sp>
            <p:nvSpPr>
              <p:cNvPr id="352" name="Freeform 35"/>
              <p:cNvSpPr>
                <a:spLocks noEditPoints="1"/>
              </p:cNvSpPr>
              <p:nvPr/>
            </p:nvSpPr>
            <p:spPr bwMode="auto">
              <a:xfrm>
                <a:off x="8580718" y="793097"/>
                <a:ext cx="2587625" cy="2574925"/>
              </a:xfrm>
              <a:custGeom>
                <a:avLst/>
                <a:gdLst>
                  <a:gd name="T0" fmla="*/ 3231 w 4925"/>
                  <a:gd name="T1" fmla="*/ 4866 h 4910"/>
                  <a:gd name="T2" fmla="*/ 3422 w 4925"/>
                  <a:gd name="T3" fmla="*/ 4910 h 4910"/>
                  <a:gd name="T4" fmla="*/ 3579 w 4925"/>
                  <a:gd name="T5" fmla="*/ 4881 h 4910"/>
                  <a:gd name="T6" fmla="*/ 3833 w 4925"/>
                  <a:gd name="T7" fmla="*/ 4646 h 4910"/>
                  <a:gd name="T8" fmla="*/ 3899 w 4925"/>
                  <a:gd name="T9" fmla="*/ 4509 h 4910"/>
                  <a:gd name="T10" fmla="*/ 4063 w 4925"/>
                  <a:gd name="T11" fmla="*/ 4509 h 4910"/>
                  <a:gd name="T12" fmla="*/ 4509 w 4925"/>
                  <a:gd name="T13" fmla="*/ 4063 h 4910"/>
                  <a:gd name="T14" fmla="*/ 4509 w 4925"/>
                  <a:gd name="T15" fmla="*/ 2794 h 4910"/>
                  <a:gd name="T16" fmla="*/ 4866 w 4925"/>
                  <a:gd name="T17" fmla="*/ 2031 h 4910"/>
                  <a:gd name="T18" fmla="*/ 4881 w 4925"/>
                  <a:gd name="T19" fmla="*/ 1679 h 4910"/>
                  <a:gd name="T20" fmla="*/ 4646 w 4925"/>
                  <a:gd name="T21" fmla="*/ 1424 h 4910"/>
                  <a:gd name="T22" fmla="*/ 4509 w 4925"/>
                  <a:gd name="T23" fmla="*/ 1358 h 4910"/>
                  <a:gd name="T24" fmla="*/ 4509 w 4925"/>
                  <a:gd name="T25" fmla="*/ 856 h 4910"/>
                  <a:gd name="T26" fmla="*/ 4063 w 4925"/>
                  <a:gd name="T27" fmla="*/ 411 h 4910"/>
                  <a:gd name="T28" fmla="*/ 2779 w 4925"/>
                  <a:gd name="T29" fmla="*/ 411 h 4910"/>
                  <a:gd name="T30" fmla="*/ 2026 w 4925"/>
                  <a:gd name="T31" fmla="*/ 58 h 4910"/>
                  <a:gd name="T32" fmla="*/ 1679 w 4925"/>
                  <a:gd name="T33" fmla="*/ 44 h 4910"/>
                  <a:gd name="T34" fmla="*/ 1424 w 4925"/>
                  <a:gd name="T35" fmla="*/ 279 h 4910"/>
                  <a:gd name="T36" fmla="*/ 1360 w 4925"/>
                  <a:gd name="T37" fmla="*/ 411 h 4910"/>
                  <a:gd name="T38" fmla="*/ 856 w 4925"/>
                  <a:gd name="T39" fmla="*/ 411 h 4910"/>
                  <a:gd name="T40" fmla="*/ 411 w 4925"/>
                  <a:gd name="T41" fmla="*/ 856 h 4910"/>
                  <a:gd name="T42" fmla="*/ 411 w 4925"/>
                  <a:gd name="T43" fmla="*/ 2478 h 4910"/>
                  <a:gd name="T44" fmla="*/ 58 w 4925"/>
                  <a:gd name="T45" fmla="*/ 3231 h 4910"/>
                  <a:gd name="T46" fmla="*/ 44 w 4925"/>
                  <a:gd name="T47" fmla="*/ 3579 h 4910"/>
                  <a:gd name="T48" fmla="*/ 279 w 4925"/>
                  <a:gd name="T49" fmla="*/ 3833 h 4910"/>
                  <a:gd name="T50" fmla="*/ 411 w 4925"/>
                  <a:gd name="T51" fmla="*/ 3897 h 4910"/>
                  <a:gd name="T52" fmla="*/ 411 w 4925"/>
                  <a:gd name="T53" fmla="*/ 4063 h 4910"/>
                  <a:gd name="T54" fmla="*/ 856 w 4925"/>
                  <a:gd name="T55" fmla="*/ 4509 h 4910"/>
                  <a:gd name="T56" fmla="*/ 2468 w 4925"/>
                  <a:gd name="T57" fmla="*/ 4509 h 4910"/>
                  <a:gd name="T58" fmla="*/ 3231 w 4925"/>
                  <a:gd name="T59" fmla="*/ 4866 h 4910"/>
                  <a:gd name="T60" fmla="*/ 856 w 4925"/>
                  <a:gd name="T61" fmla="*/ 705 h 4910"/>
                  <a:gd name="T62" fmla="*/ 4063 w 4925"/>
                  <a:gd name="T63" fmla="*/ 705 h 4910"/>
                  <a:gd name="T64" fmla="*/ 4210 w 4925"/>
                  <a:gd name="T65" fmla="*/ 851 h 4910"/>
                  <a:gd name="T66" fmla="*/ 4210 w 4925"/>
                  <a:gd name="T67" fmla="*/ 4058 h 4910"/>
                  <a:gd name="T68" fmla="*/ 4063 w 4925"/>
                  <a:gd name="T69" fmla="*/ 4205 h 4910"/>
                  <a:gd name="T70" fmla="*/ 856 w 4925"/>
                  <a:gd name="T71" fmla="*/ 4205 h 4910"/>
                  <a:gd name="T72" fmla="*/ 709 w 4925"/>
                  <a:gd name="T73" fmla="*/ 4058 h 4910"/>
                  <a:gd name="T74" fmla="*/ 709 w 4925"/>
                  <a:gd name="T75" fmla="*/ 851 h 4910"/>
                  <a:gd name="T76" fmla="*/ 856 w 4925"/>
                  <a:gd name="T77" fmla="*/ 705 h 4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925" h="4910">
                    <a:moveTo>
                      <a:pt x="3231" y="4866"/>
                    </a:moveTo>
                    <a:cubicBezTo>
                      <a:pt x="3290" y="4896"/>
                      <a:pt x="3358" y="4910"/>
                      <a:pt x="3422" y="4910"/>
                    </a:cubicBezTo>
                    <a:cubicBezTo>
                      <a:pt x="3476" y="4910"/>
                      <a:pt x="3525" y="4900"/>
                      <a:pt x="3579" y="4881"/>
                    </a:cubicBezTo>
                    <a:cubicBezTo>
                      <a:pt x="3691" y="4842"/>
                      <a:pt x="3784" y="4758"/>
                      <a:pt x="3833" y="4646"/>
                    </a:cubicBezTo>
                    <a:lnTo>
                      <a:pt x="3899" y="4509"/>
                    </a:lnTo>
                    <a:lnTo>
                      <a:pt x="4063" y="4509"/>
                    </a:lnTo>
                    <a:cubicBezTo>
                      <a:pt x="4308" y="4509"/>
                      <a:pt x="4509" y="4308"/>
                      <a:pt x="4509" y="4063"/>
                    </a:cubicBezTo>
                    <a:lnTo>
                      <a:pt x="4509" y="2794"/>
                    </a:lnTo>
                    <a:lnTo>
                      <a:pt x="4866" y="2031"/>
                    </a:lnTo>
                    <a:cubicBezTo>
                      <a:pt x="4920" y="1919"/>
                      <a:pt x="4925" y="1796"/>
                      <a:pt x="4881" y="1679"/>
                    </a:cubicBezTo>
                    <a:cubicBezTo>
                      <a:pt x="4842" y="1566"/>
                      <a:pt x="4758" y="1473"/>
                      <a:pt x="4646" y="1424"/>
                    </a:cubicBezTo>
                    <a:lnTo>
                      <a:pt x="4509" y="1358"/>
                    </a:lnTo>
                    <a:lnTo>
                      <a:pt x="4509" y="856"/>
                    </a:lnTo>
                    <a:cubicBezTo>
                      <a:pt x="4509" y="612"/>
                      <a:pt x="4308" y="411"/>
                      <a:pt x="4063" y="411"/>
                    </a:cubicBezTo>
                    <a:lnTo>
                      <a:pt x="2779" y="411"/>
                    </a:lnTo>
                    <a:lnTo>
                      <a:pt x="2026" y="58"/>
                    </a:lnTo>
                    <a:cubicBezTo>
                      <a:pt x="1919" y="9"/>
                      <a:pt x="1791" y="0"/>
                      <a:pt x="1679" y="44"/>
                    </a:cubicBezTo>
                    <a:cubicBezTo>
                      <a:pt x="1566" y="83"/>
                      <a:pt x="1473" y="166"/>
                      <a:pt x="1424" y="279"/>
                    </a:cubicBezTo>
                    <a:lnTo>
                      <a:pt x="1360" y="411"/>
                    </a:lnTo>
                    <a:lnTo>
                      <a:pt x="856" y="411"/>
                    </a:lnTo>
                    <a:cubicBezTo>
                      <a:pt x="612" y="411"/>
                      <a:pt x="411" y="612"/>
                      <a:pt x="411" y="856"/>
                    </a:cubicBezTo>
                    <a:lnTo>
                      <a:pt x="411" y="2478"/>
                    </a:lnTo>
                    <a:lnTo>
                      <a:pt x="58" y="3231"/>
                    </a:lnTo>
                    <a:cubicBezTo>
                      <a:pt x="9" y="3339"/>
                      <a:pt x="0" y="3466"/>
                      <a:pt x="44" y="3579"/>
                    </a:cubicBezTo>
                    <a:cubicBezTo>
                      <a:pt x="83" y="3691"/>
                      <a:pt x="166" y="3784"/>
                      <a:pt x="279" y="3833"/>
                    </a:cubicBezTo>
                    <a:lnTo>
                      <a:pt x="411" y="3897"/>
                    </a:lnTo>
                    <a:lnTo>
                      <a:pt x="411" y="4063"/>
                    </a:lnTo>
                    <a:cubicBezTo>
                      <a:pt x="411" y="4308"/>
                      <a:pt x="612" y="4509"/>
                      <a:pt x="856" y="4509"/>
                    </a:cubicBezTo>
                    <a:lnTo>
                      <a:pt x="2468" y="4509"/>
                    </a:lnTo>
                    <a:lnTo>
                      <a:pt x="3231" y="4866"/>
                    </a:lnTo>
                    <a:close/>
                    <a:moveTo>
                      <a:pt x="856" y="705"/>
                    </a:moveTo>
                    <a:lnTo>
                      <a:pt x="4063" y="705"/>
                    </a:lnTo>
                    <a:cubicBezTo>
                      <a:pt x="4142" y="705"/>
                      <a:pt x="4210" y="768"/>
                      <a:pt x="4210" y="851"/>
                    </a:cubicBezTo>
                    <a:lnTo>
                      <a:pt x="4210" y="4058"/>
                    </a:lnTo>
                    <a:cubicBezTo>
                      <a:pt x="4210" y="4137"/>
                      <a:pt x="4146" y="4205"/>
                      <a:pt x="4063" y="4205"/>
                    </a:cubicBezTo>
                    <a:lnTo>
                      <a:pt x="856" y="4205"/>
                    </a:lnTo>
                    <a:cubicBezTo>
                      <a:pt x="778" y="4205"/>
                      <a:pt x="709" y="4142"/>
                      <a:pt x="709" y="4058"/>
                    </a:cubicBezTo>
                    <a:lnTo>
                      <a:pt x="709" y="851"/>
                    </a:lnTo>
                    <a:cubicBezTo>
                      <a:pt x="709" y="773"/>
                      <a:pt x="773" y="705"/>
                      <a:pt x="856" y="705"/>
                    </a:cubicBezTo>
                    <a:close/>
                  </a:path>
                </a:pathLst>
              </a:custGeom>
              <a:solidFill>
                <a:srgbClr val="FFFFFF"/>
              </a:solidFill>
              <a:ln w="0">
                <a:noFill/>
                <a:prstDash val="solid"/>
                <a:round/>
                <a:headEnd/>
                <a:tailEnd/>
              </a:ln>
            </p:spPr>
            <p:txBody>
              <a:bodyPr vert="horz" wrap="square" lIns="67232" tIns="33616" rIns="67232" bIns="33616" numCol="1" anchor="t" anchorCtr="0" compatLnSpc="1">
                <a:prstTxWarp prst="textNoShape">
                  <a:avLst/>
                </a:prstTxWarp>
              </a:bodyPr>
              <a:lstStyle/>
              <a:p>
                <a:pPr defTabSz="672290" fontAlgn="auto">
                  <a:spcBef>
                    <a:spcPts val="0"/>
                  </a:spcBef>
                  <a:spcAft>
                    <a:spcPts val="0"/>
                  </a:spcAft>
                  <a:defRPr/>
                </a:pPr>
                <a:endParaRPr lang="en-US" sz="1324" b="0" kern="0">
                  <a:solidFill>
                    <a:sysClr val="windowText" lastClr="000000"/>
                  </a:solidFill>
                  <a:latin typeface="Segoe UI"/>
                  <a:cs typeface="+mn-cs"/>
                </a:endParaRPr>
              </a:p>
            </p:txBody>
          </p:sp>
        </p:grpSp>
        <p:grpSp>
          <p:nvGrpSpPr>
            <p:cNvPr id="353" name="Group 352"/>
            <p:cNvGrpSpPr/>
            <p:nvPr/>
          </p:nvGrpSpPr>
          <p:grpSpPr>
            <a:xfrm>
              <a:off x="9154089" y="3612024"/>
              <a:ext cx="266641" cy="209033"/>
              <a:chOff x="8588655" y="3482322"/>
              <a:chExt cx="2571750" cy="2016125"/>
            </a:xfrm>
          </p:grpSpPr>
          <p:sp>
            <p:nvSpPr>
              <p:cNvPr id="354" name="Freeform 36"/>
              <p:cNvSpPr>
                <a:spLocks/>
              </p:cNvSpPr>
              <p:nvPr/>
            </p:nvSpPr>
            <p:spPr bwMode="auto">
              <a:xfrm>
                <a:off x="8588655" y="3482322"/>
                <a:ext cx="1547813" cy="241300"/>
              </a:xfrm>
              <a:custGeom>
                <a:avLst/>
                <a:gdLst>
                  <a:gd name="T0" fmla="*/ 2894 w 2948"/>
                  <a:gd name="T1" fmla="*/ 397 h 460"/>
                  <a:gd name="T2" fmla="*/ 2752 w 2948"/>
                  <a:gd name="T3" fmla="*/ 152 h 460"/>
                  <a:gd name="T4" fmla="*/ 2488 w 2948"/>
                  <a:gd name="T5" fmla="*/ 0 h 460"/>
                  <a:gd name="T6" fmla="*/ 304 w 2948"/>
                  <a:gd name="T7" fmla="*/ 0 h 460"/>
                  <a:gd name="T8" fmla="*/ 0 w 2948"/>
                  <a:gd name="T9" fmla="*/ 304 h 460"/>
                  <a:gd name="T10" fmla="*/ 0 w 2948"/>
                  <a:gd name="T11" fmla="*/ 460 h 460"/>
                  <a:gd name="T12" fmla="*/ 2948 w 2948"/>
                  <a:gd name="T13" fmla="*/ 460 h 460"/>
                  <a:gd name="T14" fmla="*/ 2894 w 2948"/>
                  <a:gd name="T15" fmla="*/ 397 h 4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48" h="460">
                    <a:moveTo>
                      <a:pt x="2894" y="397"/>
                    </a:moveTo>
                    <a:lnTo>
                      <a:pt x="2752" y="152"/>
                    </a:lnTo>
                    <a:cubicBezTo>
                      <a:pt x="2698" y="59"/>
                      <a:pt x="2595" y="0"/>
                      <a:pt x="2488" y="0"/>
                    </a:cubicBezTo>
                    <a:lnTo>
                      <a:pt x="304" y="0"/>
                    </a:lnTo>
                    <a:cubicBezTo>
                      <a:pt x="138" y="0"/>
                      <a:pt x="0" y="137"/>
                      <a:pt x="0" y="304"/>
                    </a:cubicBezTo>
                    <a:lnTo>
                      <a:pt x="0" y="460"/>
                    </a:lnTo>
                    <a:lnTo>
                      <a:pt x="2948" y="460"/>
                    </a:lnTo>
                    <a:cubicBezTo>
                      <a:pt x="2923" y="446"/>
                      <a:pt x="2909" y="421"/>
                      <a:pt x="2894" y="397"/>
                    </a:cubicBezTo>
                    <a:close/>
                  </a:path>
                </a:pathLst>
              </a:custGeom>
              <a:solidFill>
                <a:srgbClr val="FFFFFF"/>
              </a:solidFill>
              <a:ln w="0">
                <a:noFill/>
                <a:prstDash val="solid"/>
                <a:round/>
                <a:headEnd/>
                <a:tailEnd/>
              </a:ln>
            </p:spPr>
            <p:txBody>
              <a:bodyPr vert="horz" wrap="square" lIns="67232" tIns="33616" rIns="67232" bIns="33616" numCol="1" anchor="t" anchorCtr="0" compatLnSpc="1">
                <a:prstTxWarp prst="textNoShape">
                  <a:avLst/>
                </a:prstTxWarp>
              </a:bodyPr>
              <a:lstStyle/>
              <a:p>
                <a:pPr defTabSz="672290" fontAlgn="auto">
                  <a:spcBef>
                    <a:spcPts val="0"/>
                  </a:spcBef>
                  <a:spcAft>
                    <a:spcPts val="0"/>
                  </a:spcAft>
                  <a:defRPr/>
                </a:pPr>
                <a:endParaRPr lang="en-US" sz="1324" b="0" kern="0">
                  <a:solidFill>
                    <a:sysClr val="windowText" lastClr="000000"/>
                  </a:solidFill>
                  <a:latin typeface="Segoe UI"/>
                  <a:cs typeface="+mn-cs"/>
                </a:endParaRPr>
              </a:p>
            </p:txBody>
          </p:sp>
          <p:sp>
            <p:nvSpPr>
              <p:cNvPr id="355" name="Freeform 37"/>
              <p:cNvSpPr>
                <a:spLocks noEditPoints="1"/>
              </p:cNvSpPr>
              <p:nvPr/>
            </p:nvSpPr>
            <p:spPr bwMode="auto">
              <a:xfrm>
                <a:off x="8588655" y="3804585"/>
                <a:ext cx="2571750" cy="1693862"/>
              </a:xfrm>
              <a:custGeom>
                <a:avLst/>
                <a:gdLst>
                  <a:gd name="T0" fmla="*/ 4706 w 4896"/>
                  <a:gd name="T1" fmla="*/ 0 h 3227"/>
                  <a:gd name="T2" fmla="*/ 0 w 4896"/>
                  <a:gd name="T3" fmla="*/ 0 h 3227"/>
                  <a:gd name="T4" fmla="*/ 0 w 4896"/>
                  <a:gd name="T5" fmla="*/ 2923 h 3227"/>
                  <a:gd name="T6" fmla="*/ 304 w 4896"/>
                  <a:gd name="T7" fmla="*/ 3227 h 3227"/>
                  <a:gd name="T8" fmla="*/ 4593 w 4896"/>
                  <a:gd name="T9" fmla="*/ 3227 h 3227"/>
                  <a:gd name="T10" fmla="*/ 4896 w 4896"/>
                  <a:gd name="T11" fmla="*/ 2923 h 3227"/>
                  <a:gd name="T12" fmla="*/ 4896 w 4896"/>
                  <a:gd name="T13" fmla="*/ 279 h 3227"/>
                  <a:gd name="T14" fmla="*/ 4706 w 4896"/>
                  <a:gd name="T15" fmla="*/ 0 h 3227"/>
                  <a:gd name="T16" fmla="*/ 3070 w 4896"/>
                  <a:gd name="T17" fmla="*/ 1469 h 3227"/>
                  <a:gd name="T18" fmla="*/ 2204 w 4896"/>
                  <a:gd name="T19" fmla="*/ 2708 h 3227"/>
                  <a:gd name="T20" fmla="*/ 2169 w 4896"/>
                  <a:gd name="T21" fmla="*/ 2727 h 3227"/>
                  <a:gd name="T22" fmla="*/ 2150 w 4896"/>
                  <a:gd name="T23" fmla="*/ 2722 h 3227"/>
                  <a:gd name="T24" fmla="*/ 2130 w 4896"/>
                  <a:gd name="T25" fmla="*/ 2673 h 3227"/>
                  <a:gd name="T26" fmla="*/ 2355 w 4896"/>
                  <a:gd name="T27" fmla="*/ 1934 h 3227"/>
                  <a:gd name="T28" fmla="*/ 1851 w 4896"/>
                  <a:gd name="T29" fmla="*/ 1934 h 3227"/>
                  <a:gd name="T30" fmla="*/ 1812 w 4896"/>
                  <a:gd name="T31" fmla="*/ 1910 h 3227"/>
                  <a:gd name="T32" fmla="*/ 1817 w 4896"/>
                  <a:gd name="T33" fmla="*/ 1866 h 3227"/>
                  <a:gd name="T34" fmla="*/ 2659 w 4896"/>
                  <a:gd name="T35" fmla="*/ 642 h 3227"/>
                  <a:gd name="T36" fmla="*/ 2693 w 4896"/>
                  <a:gd name="T37" fmla="*/ 622 h 3227"/>
                  <a:gd name="T38" fmla="*/ 2713 w 4896"/>
                  <a:gd name="T39" fmla="*/ 627 h 3227"/>
                  <a:gd name="T40" fmla="*/ 2732 w 4896"/>
                  <a:gd name="T41" fmla="*/ 676 h 3227"/>
                  <a:gd name="T42" fmla="*/ 2517 w 4896"/>
                  <a:gd name="T43" fmla="*/ 1400 h 3227"/>
                  <a:gd name="T44" fmla="*/ 3036 w 4896"/>
                  <a:gd name="T45" fmla="*/ 1400 h 3227"/>
                  <a:gd name="T46" fmla="*/ 3080 w 4896"/>
                  <a:gd name="T47" fmla="*/ 1444 h 3227"/>
                  <a:gd name="T48" fmla="*/ 3070 w 4896"/>
                  <a:gd name="T49" fmla="*/ 1469 h 3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896" h="3227">
                    <a:moveTo>
                      <a:pt x="4706" y="0"/>
                    </a:moveTo>
                    <a:lnTo>
                      <a:pt x="0" y="0"/>
                    </a:lnTo>
                    <a:lnTo>
                      <a:pt x="0" y="2923"/>
                    </a:lnTo>
                    <a:cubicBezTo>
                      <a:pt x="0" y="3090"/>
                      <a:pt x="138" y="3227"/>
                      <a:pt x="304" y="3227"/>
                    </a:cubicBezTo>
                    <a:lnTo>
                      <a:pt x="4593" y="3227"/>
                    </a:lnTo>
                    <a:cubicBezTo>
                      <a:pt x="4759" y="3227"/>
                      <a:pt x="4896" y="3090"/>
                      <a:pt x="4896" y="2923"/>
                    </a:cubicBezTo>
                    <a:lnTo>
                      <a:pt x="4896" y="279"/>
                    </a:lnTo>
                    <a:cubicBezTo>
                      <a:pt x="4896" y="157"/>
                      <a:pt x="4818" y="49"/>
                      <a:pt x="4706" y="0"/>
                    </a:cubicBezTo>
                    <a:close/>
                    <a:moveTo>
                      <a:pt x="3070" y="1469"/>
                    </a:moveTo>
                    <a:lnTo>
                      <a:pt x="2204" y="2708"/>
                    </a:lnTo>
                    <a:cubicBezTo>
                      <a:pt x="2194" y="2717"/>
                      <a:pt x="2184" y="2727"/>
                      <a:pt x="2169" y="2727"/>
                    </a:cubicBezTo>
                    <a:cubicBezTo>
                      <a:pt x="2164" y="2727"/>
                      <a:pt x="2155" y="2727"/>
                      <a:pt x="2150" y="2722"/>
                    </a:cubicBezTo>
                    <a:cubicBezTo>
                      <a:pt x="2130" y="2713"/>
                      <a:pt x="2120" y="2693"/>
                      <a:pt x="2130" y="2673"/>
                    </a:cubicBezTo>
                    <a:lnTo>
                      <a:pt x="2355" y="1934"/>
                    </a:lnTo>
                    <a:lnTo>
                      <a:pt x="1851" y="1934"/>
                    </a:lnTo>
                    <a:cubicBezTo>
                      <a:pt x="1836" y="1934"/>
                      <a:pt x="1822" y="1924"/>
                      <a:pt x="1812" y="1910"/>
                    </a:cubicBezTo>
                    <a:cubicBezTo>
                      <a:pt x="1807" y="1895"/>
                      <a:pt x="1807" y="1880"/>
                      <a:pt x="1817" y="1866"/>
                    </a:cubicBezTo>
                    <a:lnTo>
                      <a:pt x="2659" y="642"/>
                    </a:lnTo>
                    <a:cubicBezTo>
                      <a:pt x="2669" y="632"/>
                      <a:pt x="2679" y="622"/>
                      <a:pt x="2693" y="622"/>
                    </a:cubicBezTo>
                    <a:cubicBezTo>
                      <a:pt x="2698" y="622"/>
                      <a:pt x="2703" y="622"/>
                      <a:pt x="2713" y="627"/>
                    </a:cubicBezTo>
                    <a:cubicBezTo>
                      <a:pt x="2732" y="637"/>
                      <a:pt x="2742" y="656"/>
                      <a:pt x="2732" y="676"/>
                    </a:cubicBezTo>
                    <a:lnTo>
                      <a:pt x="2517" y="1400"/>
                    </a:lnTo>
                    <a:lnTo>
                      <a:pt x="3036" y="1400"/>
                    </a:lnTo>
                    <a:cubicBezTo>
                      <a:pt x="3060" y="1400"/>
                      <a:pt x="3080" y="1420"/>
                      <a:pt x="3080" y="1444"/>
                    </a:cubicBezTo>
                    <a:cubicBezTo>
                      <a:pt x="3080" y="1454"/>
                      <a:pt x="3075" y="1459"/>
                      <a:pt x="3070" y="1469"/>
                    </a:cubicBezTo>
                    <a:close/>
                  </a:path>
                </a:pathLst>
              </a:custGeom>
              <a:solidFill>
                <a:srgbClr val="FFFFFF"/>
              </a:solidFill>
              <a:ln w="0">
                <a:noFill/>
                <a:prstDash val="solid"/>
                <a:round/>
                <a:headEnd/>
                <a:tailEnd/>
              </a:ln>
            </p:spPr>
            <p:txBody>
              <a:bodyPr vert="horz" wrap="square" lIns="67232" tIns="33616" rIns="67232" bIns="33616" numCol="1" anchor="t" anchorCtr="0" compatLnSpc="1">
                <a:prstTxWarp prst="textNoShape">
                  <a:avLst/>
                </a:prstTxWarp>
              </a:bodyPr>
              <a:lstStyle/>
              <a:p>
                <a:pPr defTabSz="672290" fontAlgn="auto">
                  <a:spcBef>
                    <a:spcPts val="0"/>
                  </a:spcBef>
                  <a:spcAft>
                    <a:spcPts val="0"/>
                  </a:spcAft>
                  <a:defRPr/>
                </a:pPr>
                <a:endParaRPr lang="en-US" sz="1324" b="0" kern="0">
                  <a:solidFill>
                    <a:sysClr val="windowText" lastClr="000000"/>
                  </a:solidFill>
                  <a:latin typeface="Segoe UI"/>
                  <a:cs typeface="+mn-cs"/>
                </a:endParaRPr>
              </a:p>
            </p:txBody>
          </p:sp>
        </p:grpSp>
      </p:grpSp>
      <p:sp>
        <p:nvSpPr>
          <p:cNvPr id="5" name="Rectangle 4"/>
          <p:cNvSpPr/>
          <p:nvPr/>
        </p:nvSpPr>
        <p:spPr bwMode="auto">
          <a:xfrm>
            <a:off x="4960829" y="1246503"/>
            <a:ext cx="2619209" cy="3007978"/>
          </a:xfrm>
          <a:prstGeom prst="rect">
            <a:avLst/>
          </a:prstGeom>
          <a:noFill/>
          <a:ln w="38100">
            <a:solidFill>
              <a:srgbClr val="FFFF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99354">
              <a:defRPr/>
            </a:pPr>
            <a:endParaRPr lang="en-US" b="0">
              <a:solidFill>
                <a:srgbClr val="FFFFFF"/>
              </a:solidFill>
              <a:latin typeface="Segoe UI"/>
              <a:ea typeface="Segoe UI" pitchFamily="34" charset="0"/>
              <a:cs typeface="Segoe UI" pitchFamily="34" charset="0"/>
            </a:endParaRPr>
          </a:p>
        </p:txBody>
      </p:sp>
      <p:sp>
        <p:nvSpPr>
          <p:cNvPr id="249" name="Rectangle 248">
            <a:extLst>
              <a:ext uri="{FF2B5EF4-FFF2-40B4-BE49-F238E27FC236}">
                <a16:creationId xmlns:a16="http://schemas.microsoft.com/office/drawing/2014/main" id="{9045D3AE-4C24-4541-8AA4-74938AB5C205}"/>
              </a:ext>
            </a:extLst>
          </p:cNvPr>
          <p:cNvSpPr/>
          <p:nvPr/>
        </p:nvSpPr>
        <p:spPr bwMode="auto">
          <a:xfrm>
            <a:off x="2174940" y="4496665"/>
            <a:ext cx="2126452" cy="596556"/>
          </a:xfrm>
          <a:prstGeom prst="rect">
            <a:avLst/>
          </a:prstGeom>
          <a:noFill/>
          <a:ln w="38100">
            <a:solidFill>
              <a:srgbClr val="FFFF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99354">
              <a:defRPr/>
            </a:pPr>
            <a:endParaRPr lang="en-US" b="0">
              <a:solidFill>
                <a:srgbClr val="FFFFFF"/>
              </a:solidFill>
              <a:latin typeface="Segoe UI"/>
              <a:ea typeface="Segoe UI" pitchFamily="34" charset="0"/>
              <a:cs typeface="Segoe UI" pitchFamily="34" charset="0"/>
            </a:endParaRPr>
          </a:p>
        </p:txBody>
      </p:sp>
    </p:spTree>
    <p:extLst>
      <p:ext uri="{BB962C8B-B14F-4D97-AF65-F5344CB8AC3E}">
        <p14:creationId xmlns:p14="http://schemas.microsoft.com/office/powerpoint/2010/main" val="1360920906"/>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49"/>
                                        </p:tgtEl>
                                        <p:attrNameLst>
                                          <p:attrName>style.visibility</p:attrName>
                                        </p:attrNameLst>
                                      </p:cBhvr>
                                      <p:to>
                                        <p:strVal val="visible"/>
                                      </p:to>
                                    </p:set>
                                    <p:animEffect transition="in" filter="fade">
                                      <p:cBhvr>
                                        <p:cTn id="12" dur="500"/>
                                        <p:tgtEl>
                                          <p:spTgt spid="24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249" grpId="0" animBg="1"/>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FB06131-F17A-42C7-A1E0-5228D83E9309}"/>
              </a:ext>
            </a:extLst>
          </p:cNvPr>
          <p:cNvSpPr>
            <a:spLocks noGrp="1"/>
          </p:cNvSpPr>
          <p:nvPr>
            <p:ph type="title"/>
          </p:nvPr>
        </p:nvSpPr>
        <p:spPr/>
        <p:txBody>
          <a:bodyPr>
            <a:noAutofit/>
          </a:bodyPr>
          <a:lstStyle/>
          <a:p>
            <a:r>
              <a:rPr lang="en-US" sz="3300" dirty="0"/>
              <a:t>Premium storage accounts Scalability</a:t>
            </a:r>
          </a:p>
        </p:txBody>
      </p:sp>
      <p:sp>
        <p:nvSpPr>
          <p:cNvPr id="6" name="Text Placeholder 5">
            <a:extLst>
              <a:ext uri="{FF2B5EF4-FFF2-40B4-BE49-F238E27FC236}">
                <a16:creationId xmlns:a16="http://schemas.microsoft.com/office/drawing/2014/main" id="{1FBF8004-54F6-48DA-BD15-709951F43869}"/>
              </a:ext>
            </a:extLst>
          </p:cNvPr>
          <p:cNvSpPr>
            <a:spLocks noGrp="1"/>
          </p:cNvSpPr>
          <p:nvPr>
            <p:ph type="body" sz="quarter" idx="11"/>
          </p:nvPr>
        </p:nvSpPr>
        <p:spPr/>
        <p:txBody>
          <a:bodyPr/>
          <a:lstStyle/>
          <a:p>
            <a:r>
              <a:rPr lang="en-US" sz="2400" b="1" dirty="0"/>
              <a:t>… have the following scalability targets:+ </a:t>
            </a:r>
            <a:endParaRPr lang="en-US" dirty="0"/>
          </a:p>
          <a:p>
            <a:endParaRPr lang="en-US" dirty="0"/>
          </a:p>
          <a:p>
            <a:endParaRPr lang="en-US" dirty="0"/>
          </a:p>
        </p:txBody>
      </p:sp>
      <p:sp>
        <p:nvSpPr>
          <p:cNvPr id="5" name="Text Placeholder 4">
            <a:extLst>
              <a:ext uri="{FF2B5EF4-FFF2-40B4-BE49-F238E27FC236}">
                <a16:creationId xmlns:a16="http://schemas.microsoft.com/office/drawing/2014/main" id="{1572E87F-4908-4420-A3C8-667D49E7A8B2}"/>
              </a:ext>
            </a:extLst>
          </p:cNvPr>
          <p:cNvSpPr>
            <a:spLocks noGrp="1"/>
          </p:cNvSpPr>
          <p:nvPr>
            <p:ph type="body" sz="quarter" idx="10"/>
          </p:nvPr>
        </p:nvSpPr>
        <p:spPr/>
        <p:txBody>
          <a:bodyPr/>
          <a:lstStyle/>
          <a:p>
            <a:r>
              <a:rPr lang="en-US" dirty="0">
                <a:hlinkClick r:id="rId3"/>
              </a:rPr>
              <a:t>https://docs.microsoft.com/en-us/azure/storage/storage-premium-storage#scalability-and-performance-targets</a:t>
            </a:r>
            <a:r>
              <a:rPr lang="en-US" dirty="0"/>
              <a:t> </a:t>
            </a:r>
          </a:p>
        </p:txBody>
      </p:sp>
      <p:graphicFrame>
        <p:nvGraphicFramePr>
          <p:cNvPr id="7" name="Table 6">
            <a:extLst>
              <a:ext uri="{FF2B5EF4-FFF2-40B4-BE49-F238E27FC236}">
                <a16:creationId xmlns:a16="http://schemas.microsoft.com/office/drawing/2014/main" id="{802A8455-87C7-4136-AD4D-BC3247F33DC4}"/>
              </a:ext>
            </a:extLst>
          </p:cNvPr>
          <p:cNvGraphicFramePr>
            <a:graphicFrameLocks noGrp="1"/>
          </p:cNvGraphicFramePr>
          <p:nvPr/>
        </p:nvGraphicFramePr>
        <p:xfrm>
          <a:off x="294542" y="2768988"/>
          <a:ext cx="8169519" cy="1564767"/>
        </p:xfrm>
        <a:graphic>
          <a:graphicData uri="http://schemas.openxmlformats.org/drawingml/2006/table">
            <a:tbl>
              <a:tblPr firstRow="1" firstCol="1" bandRow="1"/>
              <a:tblGrid>
                <a:gridCol w="3040421">
                  <a:extLst>
                    <a:ext uri="{9D8B030D-6E8A-4147-A177-3AD203B41FA5}">
                      <a16:colId xmlns:a16="http://schemas.microsoft.com/office/drawing/2014/main" val="933939241"/>
                    </a:ext>
                  </a:extLst>
                </a:gridCol>
                <a:gridCol w="5129099">
                  <a:extLst>
                    <a:ext uri="{9D8B030D-6E8A-4147-A177-3AD203B41FA5}">
                      <a16:colId xmlns:a16="http://schemas.microsoft.com/office/drawing/2014/main" val="271346414"/>
                    </a:ext>
                  </a:extLst>
                </a:gridCol>
              </a:tblGrid>
              <a:tr h="402003">
                <a:tc>
                  <a:txBody>
                    <a:bodyPr/>
                    <a:lstStyle/>
                    <a:p>
                      <a:pPr marL="0" marR="0" algn="l">
                        <a:lnSpc>
                          <a:spcPct val="160000"/>
                        </a:lnSpc>
                        <a:spcBef>
                          <a:spcPts val="0"/>
                        </a:spcBef>
                        <a:spcAft>
                          <a:spcPts val="0"/>
                        </a:spcAft>
                      </a:pPr>
                      <a:r>
                        <a:rPr lang="en-US" sz="1800" b="1" dirty="0">
                          <a:solidFill>
                            <a:srgbClr val="222222"/>
                          </a:solidFill>
                          <a:effectLst/>
                          <a:latin typeface="segoe-ui_normal"/>
                          <a:ea typeface="Times New Roman" panose="02020603050405020304" pitchFamily="18" charset="0"/>
                        </a:rPr>
                        <a:t>Total account capacity</a:t>
                      </a:r>
                      <a:endParaRPr lang="en-US" sz="1800" dirty="0">
                        <a:effectLst/>
                        <a:latin typeface="Calibri" panose="020F0502020204030204" pitchFamily="34" charset="0"/>
                        <a:ea typeface="Calibri" panose="020F0502020204030204" pitchFamily="34" charset="0"/>
                      </a:endParaRPr>
                    </a:p>
                  </a:txBody>
                  <a:tcPr marL="7144" marR="7144" marT="7144" marB="7144" anchor="ctr">
                    <a:lnL>
                      <a:noFill/>
                    </a:lnL>
                    <a:lnR>
                      <a:noFill/>
                    </a:lnR>
                    <a:lnT>
                      <a:noFill/>
                    </a:lnT>
                    <a:lnB>
                      <a:noFill/>
                    </a:lnB>
                  </a:tcPr>
                </a:tc>
                <a:tc>
                  <a:txBody>
                    <a:bodyPr/>
                    <a:lstStyle/>
                    <a:p>
                      <a:pPr marL="0" marR="0" algn="l">
                        <a:lnSpc>
                          <a:spcPct val="160000"/>
                        </a:lnSpc>
                        <a:spcBef>
                          <a:spcPts val="0"/>
                        </a:spcBef>
                        <a:spcAft>
                          <a:spcPts val="0"/>
                        </a:spcAft>
                      </a:pPr>
                      <a:r>
                        <a:rPr lang="en-US" sz="1800" b="1" dirty="0">
                          <a:solidFill>
                            <a:srgbClr val="222222"/>
                          </a:solidFill>
                          <a:effectLst/>
                          <a:latin typeface="segoe-ui_normal"/>
                          <a:ea typeface="Times New Roman" panose="02020603050405020304" pitchFamily="18" charset="0"/>
                        </a:rPr>
                        <a:t>Total bandwidth </a:t>
                      </a:r>
                      <a:r>
                        <a:rPr lang="en-US" sz="1400" b="1" dirty="0">
                          <a:solidFill>
                            <a:srgbClr val="222222"/>
                          </a:solidFill>
                          <a:effectLst/>
                          <a:latin typeface="segoe-ui_normal"/>
                          <a:ea typeface="Times New Roman" panose="02020603050405020304" pitchFamily="18" charset="0"/>
                        </a:rPr>
                        <a:t>Locally redundant storage account</a:t>
                      </a:r>
                      <a:endParaRPr lang="en-US" sz="1400" dirty="0">
                        <a:effectLst/>
                        <a:latin typeface="Calibri" panose="020F0502020204030204" pitchFamily="34" charset="0"/>
                        <a:ea typeface="Calibri" panose="020F0502020204030204" pitchFamily="34" charset="0"/>
                      </a:endParaRPr>
                    </a:p>
                  </a:txBody>
                  <a:tcPr marL="7144" marR="7144" marT="7144" marB="7144" anchor="ctr">
                    <a:lnL>
                      <a:noFill/>
                    </a:lnL>
                    <a:lnR>
                      <a:noFill/>
                    </a:lnR>
                    <a:lnT>
                      <a:noFill/>
                    </a:lnT>
                    <a:lnB>
                      <a:noFill/>
                    </a:lnB>
                  </a:tcPr>
                </a:tc>
                <a:extLst>
                  <a:ext uri="{0D108BD9-81ED-4DB2-BD59-A6C34878D82A}">
                    <a16:rowId xmlns:a16="http://schemas.microsoft.com/office/drawing/2014/main" val="3466142781"/>
                  </a:ext>
                </a:extLst>
              </a:tr>
              <a:tr h="1111568">
                <a:tc>
                  <a:txBody>
                    <a:bodyPr/>
                    <a:lstStyle/>
                    <a:p>
                      <a:pPr marL="0" marR="0">
                        <a:lnSpc>
                          <a:spcPct val="160000"/>
                        </a:lnSpc>
                        <a:spcBef>
                          <a:spcPts val="0"/>
                        </a:spcBef>
                        <a:spcAft>
                          <a:spcPts val="0"/>
                        </a:spcAft>
                      </a:pPr>
                      <a:r>
                        <a:rPr lang="en-US" sz="1800" dirty="0">
                          <a:solidFill>
                            <a:srgbClr val="222222"/>
                          </a:solidFill>
                          <a:effectLst/>
                          <a:latin typeface="segoe-ui_normal"/>
                          <a:ea typeface="Times New Roman" panose="02020603050405020304" pitchFamily="18" charset="0"/>
                        </a:rPr>
                        <a:t>Disk capacity: 35 TB </a:t>
                      </a:r>
                      <a:br>
                        <a:rPr lang="en-US" sz="1800" dirty="0">
                          <a:solidFill>
                            <a:srgbClr val="222222"/>
                          </a:solidFill>
                          <a:effectLst/>
                          <a:latin typeface="segoe-ui_normal"/>
                          <a:ea typeface="Times New Roman" panose="02020603050405020304" pitchFamily="18" charset="0"/>
                        </a:rPr>
                      </a:br>
                      <a:r>
                        <a:rPr lang="en-US" sz="1800" dirty="0">
                          <a:solidFill>
                            <a:srgbClr val="222222"/>
                          </a:solidFill>
                          <a:effectLst/>
                          <a:latin typeface="segoe-ui_normal"/>
                          <a:ea typeface="Times New Roman" panose="02020603050405020304" pitchFamily="18" charset="0"/>
                        </a:rPr>
                        <a:t>Snapshot capacity: 10 TB</a:t>
                      </a:r>
                      <a:endParaRPr lang="en-US" sz="1800" dirty="0">
                        <a:effectLst/>
                        <a:latin typeface="Calibri" panose="020F0502020204030204" pitchFamily="34" charset="0"/>
                        <a:ea typeface="Calibri" panose="020F0502020204030204" pitchFamily="34" charset="0"/>
                      </a:endParaRPr>
                    </a:p>
                  </a:txBody>
                  <a:tcPr marL="7144" marR="7144" marT="7144" marB="7144" anchor="ctr">
                    <a:lnL>
                      <a:noFill/>
                    </a:lnL>
                    <a:lnR>
                      <a:noFill/>
                    </a:lnR>
                    <a:lnT>
                      <a:noFill/>
                    </a:lnT>
                    <a:lnB>
                      <a:noFill/>
                    </a:lnB>
                  </a:tcPr>
                </a:tc>
                <a:tc>
                  <a:txBody>
                    <a:bodyPr/>
                    <a:lstStyle/>
                    <a:p>
                      <a:pPr marL="0" marR="0">
                        <a:lnSpc>
                          <a:spcPct val="100000"/>
                        </a:lnSpc>
                        <a:spcBef>
                          <a:spcPts val="0"/>
                        </a:spcBef>
                        <a:spcAft>
                          <a:spcPts val="0"/>
                        </a:spcAft>
                      </a:pPr>
                      <a:r>
                        <a:rPr lang="en-US" sz="1800" b="1" dirty="0">
                          <a:solidFill>
                            <a:srgbClr val="222222"/>
                          </a:solidFill>
                          <a:effectLst/>
                          <a:latin typeface="segoe-ui_normal"/>
                          <a:ea typeface="Times New Roman" panose="02020603050405020304" pitchFamily="18" charset="0"/>
                        </a:rPr>
                        <a:t>Up to 50 gigabits per second</a:t>
                      </a:r>
                      <a:br>
                        <a:rPr lang="en-US" sz="1800" dirty="0">
                          <a:solidFill>
                            <a:srgbClr val="222222"/>
                          </a:solidFill>
                          <a:effectLst/>
                          <a:latin typeface="segoe-ui_normal"/>
                          <a:ea typeface="Times New Roman" panose="02020603050405020304" pitchFamily="18" charset="0"/>
                        </a:rPr>
                      </a:br>
                      <a:r>
                        <a:rPr lang="en-US" sz="1800" dirty="0">
                          <a:solidFill>
                            <a:srgbClr val="222222"/>
                          </a:solidFill>
                          <a:effectLst/>
                          <a:latin typeface="segoe-ui_normal"/>
                          <a:ea typeface="Times New Roman" panose="02020603050405020304" pitchFamily="18" charset="0"/>
                        </a:rPr>
                        <a:t>for </a:t>
                      </a:r>
                      <a:r>
                        <a:rPr lang="en-US" sz="1800" b="1" dirty="0">
                          <a:solidFill>
                            <a:srgbClr val="222222"/>
                          </a:solidFill>
                          <a:effectLst/>
                          <a:latin typeface="segoe-ui_normal"/>
                          <a:ea typeface="Times New Roman" panose="02020603050405020304" pitchFamily="18" charset="0"/>
                        </a:rPr>
                        <a:t>inbound</a:t>
                      </a:r>
                      <a:r>
                        <a:rPr lang="en-US" sz="1800" b="1" baseline="30000" dirty="0">
                          <a:solidFill>
                            <a:srgbClr val="222222"/>
                          </a:solidFill>
                          <a:effectLst/>
                          <a:latin typeface="segoe-ui_normal"/>
                          <a:ea typeface="Times New Roman" panose="02020603050405020304" pitchFamily="18" charset="0"/>
                        </a:rPr>
                        <a:t>1</a:t>
                      </a:r>
                      <a:r>
                        <a:rPr lang="en-US" sz="1800" b="1" dirty="0">
                          <a:solidFill>
                            <a:srgbClr val="222222"/>
                          </a:solidFill>
                          <a:effectLst/>
                          <a:latin typeface="segoe-ui_normal"/>
                          <a:ea typeface="Times New Roman" panose="02020603050405020304" pitchFamily="18" charset="0"/>
                        </a:rPr>
                        <a:t> </a:t>
                      </a:r>
                      <a:r>
                        <a:rPr lang="en-US" sz="2700" b="1" dirty="0">
                          <a:solidFill>
                            <a:srgbClr val="222222"/>
                          </a:solidFill>
                          <a:effectLst/>
                          <a:latin typeface="segoe-ui_normal"/>
                          <a:ea typeface="Times New Roman" panose="02020603050405020304" pitchFamily="18" charset="0"/>
                        </a:rPr>
                        <a:t>+</a:t>
                      </a:r>
                      <a:r>
                        <a:rPr lang="en-US" sz="1800" b="1" dirty="0">
                          <a:solidFill>
                            <a:srgbClr val="222222"/>
                          </a:solidFill>
                          <a:effectLst/>
                          <a:latin typeface="segoe-ui_normal"/>
                          <a:ea typeface="Times New Roman" panose="02020603050405020304" pitchFamily="18" charset="0"/>
                        </a:rPr>
                        <a:t> outbound</a:t>
                      </a:r>
                      <a:r>
                        <a:rPr lang="en-US" sz="1800" b="1" baseline="30000" dirty="0">
                          <a:solidFill>
                            <a:srgbClr val="222222"/>
                          </a:solidFill>
                          <a:effectLst/>
                          <a:latin typeface="segoe-ui_normal"/>
                          <a:ea typeface="Times New Roman" panose="02020603050405020304" pitchFamily="18" charset="0"/>
                        </a:rPr>
                        <a:t>2</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400" kern="1200" baseline="30000" dirty="0">
                          <a:solidFill>
                            <a:schemeClr val="tx1"/>
                          </a:solidFill>
                          <a:effectLst/>
                          <a:latin typeface="+mn-lt"/>
                          <a:ea typeface="+mn-ea"/>
                          <a:cs typeface="+mn-cs"/>
                        </a:rPr>
                        <a:t>1</a:t>
                      </a:r>
                      <a:r>
                        <a:rPr lang="en-US" sz="1400" kern="1200" dirty="0">
                          <a:solidFill>
                            <a:schemeClr val="tx1"/>
                          </a:solidFill>
                          <a:effectLst/>
                          <a:latin typeface="+mn-lt"/>
                          <a:ea typeface="+mn-ea"/>
                          <a:cs typeface="+mn-cs"/>
                        </a:rPr>
                        <a:t> All data (requests) that are sent to a storage account+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400" kern="1200" baseline="30000" dirty="0">
                          <a:solidFill>
                            <a:schemeClr val="tx1"/>
                          </a:solidFill>
                          <a:effectLst/>
                          <a:latin typeface="+mn-lt"/>
                          <a:ea typeface="+mn-ea"/>
                          <a:cs typeface="+mn-cs"/>
                        </a:rPr>
                        <a:t>2</a:t>
                      </a:r>
                      <a:r>
                        <a:rPr lang="en-US" sz="1400" kern="1200" dirty="0">
                          <a:solidFill>
                            <a:schemeClr val="tx1"/>
                          </a:solidFill>
                          <a:effectLst/>
                          <a:latin typeface="+mn-lt"/>
                          <a:ea typeface="+mn-ea"/>
                          <a:cs typeface="+mn-cs"/>
                        </a:rPr>
                        <a:t> All data (responses) that are received from a storage account</a:t>
                      </a:r>
                    </a:p>
                  </a:txBody>
                  <a:tcPr marL="7144" marR="7144" marT="7144" marB="7144" anchor="ctr">
                    <a:lnL>
                      <a:noFill/>
                    </a:lnL>
                    <a:lnR>
                      <a:noFill/>
                    </a:lnR>
                    <a:lnT>
                      <a:noFill/>
                    </a:lnT>
                    <a:lnB>
                      <a:noFill/>
                    </a:lnB>
                  </a:tcPr>
                </a:tc>
                <a:extLst>
                  <a:ext uri="{0D108BD9-81ED-4DB2-BD59-A6C34878D82A}">
                    <a16:rowId xmlns:a16="http://schemas.microsoft.com/office/drawing/2014/main" val="2621046528"/>
                  </a:ext>
                </a:extLst>
              </a:tr>
            </a:tbl>
          </a:graphicData>
        </a:graphic>
      </p:graphicFrame>
    </p:spTree>
    <p:extLst>
      <p:ext uri="{BB962C8B-B14F-4D97-AF65-F5344CB8AC3E}">
        <p14:creationId xmlns:p14="http://schemas.microsoft.com/office/powerpoint/2010/main" val="707017135"/>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9B1A44-74B3-48D8-B7B4-6806C4D01500}"/>
              </a:ext>
            </a:extLst>
          </p:cNvPr>
          <p:cNvSpPr>
            <a:spLocks noGrp="1"/>
          </p:cNvSpPr>
          <p:nvPr>
            <p:ph type="title"/>
          </p:nvPr>
        </p:nvSpPr>
        <p:spPr>
          <a:xfrm>
            <a:off x="2644140" y="1118155"/>
            <a:ext cx="6206783" cy="692498"/>
          </a:xfrm>
        </p:spPr>
        <p:txBody>
          <a:bodyPr>
            <a:normAutofit fontScale="90000"/>
          </a:bodyPr>
          <a:lstStyle/>
          <a:p>
            <a:r>
              <a:rPr lang="en-US" dirty="0"/>
              <a:t>If Using Storage Spaces Striping</a:t>
            </a:r>
          </a:p>
        </p:txBody>
      </p:sp>
      <p:sp>
        <p:nvSpPr>
          <p:cNvPr id="3" name="Text Placeholder 2">
            <a:extLst>
              <a:ext uri="{FF2B5EF4-FFF2-40B4-BE49-F238E27FC236}">
                <a16:creationId xmlns:a16="http://schemas.microsoft.com/office/drawing/2014/main" id="{1C1FF83C-D05E-4E42-A28D-1AD9D12873A6}"/>
              </a:ext>
            </a:extLst>
          </p:cNvPr>
          <p:cNvSpPr>
            <a:spLocks noGrp="1"/>
          </p:cNvSpPr>
          <p:nvPr>
            <p:ph type="body" sz="quarter" idx="11"/>
          </p:nvPr>
        </p:nvSpPr>
        <p:spPr/>
        <p:txBody>
          <a:bodyPr/>
          <a:lstStyle/>
          <a:p>
            <a:r>
              <a:rPr lang="en-US" sz="2100" dirty="0"/>
              <a:t>If you stripe premium storage data disks by using </a:t>
            </a:r>
            <a:r>
              <a:rPr lang="en-US" sz="2100" dirty="0">
                <a:hlinkClick r:id="rId3"/>
              </a:rPr>
              <a:t>Storage Spaces</a:t>
            </a:r>
            <a:r>
              <a:rPr lang="en-US" sz="2100" dirty="0"/>
              <a:t>, set up Storage Spaces with 1 column for each disk that you use. Otherwise, overall performance of the striped volume might be lower than expected because of uneven distribution of traffic across the disks. By default, in Server Manager, you can set up columns for up to 8 disks. If you have more than 8 disks, use PowerShell to create the volume. Specify the number of columns manually. Otherwise, the Server Manager UI continues to use 8 columns, even if you have more disks. For example, if you have 32 disks in a single stripe set, specify 32 columns. To specify the number of columns the virtual disk uses, in the </a:t>
            </a:r>
            <a:r>
              <a:rPr lang="en-US" sz="2100" dirty="0">
                <a:hlinkClick r:id="rId4"/>
              </a:rPr>
              <a:t>New-</a:t>
            </a:r>
            <a:r>
              <a:rPr lang="en-US" sz="2100" dirty="0" err="1">
                <a:hlinkClick r:id="rId4"/>
              </a:rPr>
              <a:t>VirtualDisk</a:t>
            </a:r>
            <a:r>
              <a:rPr lang="en-US" sz="2100" dirty="0"/>
              <a:t> PowerShell cmdlet, use the </a:t>
            </a:r>
            <a:r>
              <a:rPr lang="en-US" sz="2100" i="1" dirty="0" err="1"/>
              <a:t>NumberOfColumns</a:t>
            </a:r>
            <a:r>
              <a:rPr lang="en-US" sz="2100" dirty="0"/>
              <a:t> parameter. For more information, see </a:t>
            </a:r>
            <a:r>
              <a:rPr lang="en-US" sz="2100" dirty="0">
                <a:hlinkClick r:id="rId3"/>
              </a:rPr>
              <a:t>Storage Spaces Overview</a:t>
            </a:r>
            <a:r>
              <a:rPr lang="en-US" sz="2100" dirty="0"/>
              <a:t> and </a:t>
            </a:r>
            <a:r>
              <a:rPr lang="en-US" sz="2100" dirty="0">
                <a:hlinkClick r:id="rId5"/>
              </a:rPr>
              <a:t>Storage Spaces FAQs</a:t>
            </a:r>
            <a:r>
              <a:rPr lang="en-US" sz="2100" dirty="0"/>
              <a:t>.</a:t>
            </a:r>
          </a:p>
          <a:p>
            <a:endParaRPr lang="en-US" sz="2100" dirty="0"/>
          </a:p>
        </p:txBody>
      </p:sp>
      <p:sp>
        <p:nvSpPr>
          <p:cNvPr id="4" name="Text Placeholder 3">
            <a:extLst>
              <a:ext uri="{FF2B5EF4-FFF2-40B4-BE49-F238E27FC236}">
                <a16:creationId xmlns:a16="http://schemas.microsoft.com/office/drawing/2014/main" id="{F2F5AEDF-0557-460D-9D17-2A75AB25B748}"/>
              </a:ext>
            </a:extLst>
          </p:cNvPr>
          <p:cNvSpPr>
            <a:spLocks noGrp="1"/>
          </p:cNvSpPr>
          <p:nvPr>
            <p:ph type="body" sz="quarter" idx="10"/>
          </p:nvPr>
        </p:nvSpPr>
        <p:spPr/>
        <p:txBody>
          <a:bodyPr/>
          <a:lstStyle/>
          <a:p>
            <a:r>
              <a:rPr lang="en-US" dirty="0">
                <a:hlinkClick r:id="rId6"/>
              </a:rPr>
              <a:t>https://docs.microsoft.com/en-us/azure/storage/storage-premium-storage#scalability-and-performance-targets</a:t>
            </a:r>
            <a:r>
              <a:rPr lang="en-US" dirty="0"/>
              <a:t> </a:t>
            </a:r>
          </a:p>
        </p:txBody>
      </p:sp>
    </p:spTree>
    <p:extLst>
      <p:ext uri="{BB962C8B-B14F-4D97-AF65-F5344CB8AC3E}">
        <p14:creationId xmlns:p14="http://schemas.microsoft.com/office/powerpoint/2010/main" val="2603648525"/>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8F372B-6710-4E51-9E0F-B6C9185214BC}"/>
              </a:ext>
            </a:extLst>
          </p:cNvPr>
          <p:cNvSpPr>
            <a:spLocks noGrp="1"/>
          </p:cNvSpPr>
          <p:nvPr>
            <p:ph type="title"/>
          </p:nvPr>
        </p:nvSpPr>
        <p:spPr/>
        <p:txBody>
          <a:bodyPr/>
          <a:lstStyle/>
          <a:p>
            <a:r>
              <a:rPr lang="en-US" dirty="0"/>
              <a:t>Pay Attention to I/O vs IOPs</a:t>
            </a:r>
          </a:p>
        </p:txBody>
      </p:sp>
      <p:sp>
        <p:nvSpPr>
          <p:cNvPr id="3" name="Text Placeholder 2">
            <a:extLst>
              <a:ext uri="{FF2B5EF4-FFF2-40B4-BE49-F238E27FC236}">
                <a16:creationId xmlns:a16="http://schemas.microsoft.com/office/drawing/2014/main" id="{7C323F52-6446-4F50-999F-42B7B0834745}"/>
              </a:ext>
            </a:extLst>
          </p:cNvPr>
          <p:cNvSpPr>
            <a:spLocks noGrp="1"/>
          </p:cNvSpPr>
          <p:nvPr>
            <p:ph type="body" sz="quarter" idx="11"/>
          </p:nvPr>
        </p:nvSpPr>
        <p:spPr/>
        <p:txBody>
          <a:bodyPr/>
          <a:lstStyle/>
          <a:p>
            <a:r>
              <a:rPr lang="en-US" dirty="0"/>
              <a:t>If your disk traffic mostly consists of small I/O sizes, your application likely will hit the IOPS limit before the throughput limit. However, if the disk traffic mostly consists of large I/O sizes, your application likely will hit the throughput limit first, instead of the IOPS limit. You can maximize your application's IOPS and throughput capacity by using optimal I/O sizes. Also, you can limit the number of pending I/O requests for a disk.</a:t>
            </a:r>
          </a:p>
        </p:txBody>
      </p:sp>
      <p:sp>
        <p:nvSpPr>
          <p:cNvPr id="4" name="Text Placeholder 3">
            <a:extLst>
              <a:ext uri="{FF2B5EF4-FFF2-40B4-BE49-F238E27FC236}">
                <a16:creationId xmlns:a16="http://schemas.microsoft.com/office/drawing/2014/main" id="{B9371B2D-6049-43C1-997D-F43DA8A9C3D3}"/>
              </a:ext>
            </a:extLst>
          </p:cNvPr>
          <p:cNvSpPr>
            <a:spLocks noGrp="1"/>
          </p:cNvSpPr>
          <p:nvPr>
            <p:ph type="body" sz="quarter" idx="10"/>
          </p:nvPr>
        </p:nvSpPr>
        <p:spPr/>
        <p:txBody>
          <a:bodyPr/>
          <a:lstStyle/>
          <a:p>
            <a:r>
              <a:rPr lang="en-US" dirty="0">
                <a:hlinkClick r:id="rId3"/>
              </a:rPr>
              <a:t>https://docs.microsoft.com/en-us/azure/storage/storage-premium-storage#scalability-and-performance-targets</a:t>
            </a:r>
            <a:r>
              <a:rPr lang="en-US" dirty="0"/>
              <a:t> </a:t>
            </a:r>
          </a:p>
        </p:txBody>
      </p:sp>
    </p:spTree>
    <p:extLst>
      <p:ext uri="{BB962C8B-B14F-4D97-AF65-F5344CB8AC3E}">
        <p14:creationId xmlns:p14="http://schemas.microsoft.com/office/powerpoint/2010/main" val="4022656390"/>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zure Storage Samples</a:t>
            </a:r>
          </a:p>
        </p:txBody>
      </p:sp>
      <p:sp>
        <p:nvSpPr>
          <p:cNvPr id="3" name="Content Placeholder 2"/>
          <p:cNvSpPr>
            <a:spLocks noGrp="1"/>
          </p:cNvSpPr>
          <p:nvPr>
            <p:ph type="body" idx="1"/>
          </p:nvPr>
        </p:nvSpPr>
        <p:spPr/>
        <p:txBody>
          <a:bodyPr/>
          <a:lstStyle/>
          <a:p>
            <a:r>
              <a:rPr lang="en-US" dirty="0">
                <a:hlinkClick r:id="rId3"/>
              </a:rPr>
              <a:t>https://azure.microsoft.com/en-us/resources/samples/?service=storage</a:t>
            </a:r>
            <a:r>
              <a:rPr lang="en-US" dirty="0"/>
              <a:t> </a:t>
            </a:r>
          </a:p>
        </p:txBody>
      </p:sp>
    </p:spTree>
    <p:extLst>
      <p:ext uri="{BB962C8B-B14F-4D97-AF65-F5344CB8AC3E}">
        <p14:creationId xmlns:p14="http://schemas.microsoft.com/office/powerpoint/2010/main" val="257120570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able Labs for .NET</a:t>
            </a:r>
          </a:p>
        </p:txBody>
      </p:sp>
      <p:sp>
        <p:nvSpPr>
          <p:cNvPr id="3" name="Content Placeholder 2"/>
          <p:cNvSpPr>
            <a:spLocks noGrp="1"/>
          </p:cNvSpPr>
          <p:nvPr>
            <p:ph type="body" idx="1"/>
          </p:nvPr>
        </p:nvSpPr>
        <p:spPr/>
        <p:txBody>
          <a:bodyPr>
            <a:normAutofit/>
          </a:bodyPr>
          <a:lstStyle/>
          <a:p>
            <a:r>
              <a:rPr lang="en-US" sz="2100" dirty="0">
                <a:hlinkClick r:id="rId3"/>
              </a:rPr>
              <a:t>https://github.com/Azure-Samples/storage-table-dotnet-getting-started</a:t>
            </a:r>
            <a:r>
              <a:rPr lang="en-US" sz="2100" dirty="0"/>
              <a:t> </a:t>
            </a:r>
          </a:p>
        </p:txBody>
      </p:sp>
    </p:spTree>
    <p:extLst>
      <p:ext uri="{BB962C8B-B14F-4D97-AF65-F5344CB8AC3E}">
        <p14:creationId xmlns:p14="http://schemas.microsoft.com/office/powerpoint/2010/main" val="177155883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lob Labs for .NET</a:t>
            </a:r>
          </a:p>
        </p:txBody>
      </p:sp>
      <p:sp>
        <p:nvSpPr>
          <p:cNvPr id="3" name="Content Placeholder 2"/>
          <p:cNvSpPr>
            <a:spLocks noGrp="1"/>
          </p:cNvSpPr>
          <p:nvPr>
            <p:ph type="body" idx="1"/>
          </p:nvPr>
        </p:nvSpPr>
        <p:spPr/>
        <p:txBody>
          <a:bodyPr>
            <a:normAutofit/>
          </a:bodyPr>
          <a:lstStyle/>
          <a:p>
            <a:r>
              <a:rPr lang="en-US" sz="1500" dirty="0">
                <a:hlinkClick r:id="rId3"/>
              </a:rPr>
              <a:t>https://azure.microsoft.com/en-us/resources/samples/storage-blob-dotnet-getting-started/</a:t>
            </a:r>
            <a:endParaRPr lang="en-US" sz="1500" dirty="0"/>
          </a:p>
          <a:p>
            <a:endParaRPr lang="en-US" sz="1500" dirty="0"/>
          </a:p>
          <a:p>
            <a:r>
              <a:rPr lang="en-US" sz="1500" dirty="0">
                <a:hlinkClick r:id="rId4"/>
              </a:rPr>
              <a:t>https://github.com/Azure-Samples/storage-blob-dotnet-getting-started</a:t>
            </a:r>
            <a:endParaRPr lang="en-US" sz="1500" dirty="0"/>
          </a:p>
        </p:txBody>
      </p:sp>
    </p:spTree>
    <p:extLst>
      <p:ext uri="{BB962C8B-B14F-4D97-AF65-F5344CB8AC3E}">
        <p14:creationId xmlns:p14="http://schemas.microsoft.com/office/powerpoint/2010/main" val="137567457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AS Labs</a:t>
            </a:r>
          </a:p>
        </p:txBody>
      </p:sp>
      <p:sp>
        <p:nvSpPr>
          <p:cNvPr id="3" name="Content Placeholder 2"/>
          <p:cNvSpPr>
            <a:spLocks noGrp="1"/>
          </p:cNvSpPr>
          <p:nvPr>
            <p:ph type="body" idx="1"/>
          </p:nvPr>
        </p:nvSpPr>
        <p:spPr/>
        <p:txBody>
          <a:bodyPr/>
          <a:lstStyle/>
          <a:p>
            <a:r>
              <a:rPr lang="en-US" dirty="0">
                <a:hlinkClick r:id="rId3"/>
              </a:rPr>
              <a:t>https://azure.microsoft.com/en-us/resources/samples/storage-dotnet-sas-getting-started/</a:t>
            </a:r>
            <a:r>
              <a:rPr lang="en-US" dirty="0"/>
              <a:t> </a:t>
            </a:r>
          </a:p>
          <a:p>
            <a:endParaRPr lang="en-US" dirty="0"/>
          </a:p>
        </p:txBody>
      </p:sp>
    </p:spTree>
    <p:extLst>
      <p:ext uri="{BB962C8B-B14F-4D97-AF65-F5344CB8AC3E}">
        <p14:creationId xmlns:p14="http://schemas.microsoft.com/office/powerpoint/2010/main" val="2883757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zure Storage </a:t>
            </a:r>
            <a:r>
              <a:rPr lang="en-US" dirty="0" err="1"/>
              <a:t>KeyWords</a:t>
            </a:r>
            <a:endParaRPr lang="en-US" dirty="0"/>
          </a:p>
        </p:txBody>
      </p:sp>
      <p:sp>
        <p:nvSpPr>
          <p:cNvPr id="3" name="Content Placeholder 2"/>
          <p:cNvSpPr>
            <a:spLocks noGrp="1"/>
          </p:cNvSpPr>
          <p:nvPr>
            <p:ph idx="1"/>
          </p:nvPr>
        </p:nvSpPr>
        <p:spPr>
          <a:xfrm>
            <a:off x="151193" y="1781177"/>
            <a:ext cx="4061579" cy="3972732"/>
          </a:xfrm>
        </p:spPr>
        <p:txBody>
          <a:bodyPr>
            <a:normAutofit fontScale="92500" lnSpcReduction="10000"/>
          </a:bodyPr>
          <a:lstStyle/>
          <a:p>
            <a:pPr marL="428625" indent="-428625">
              <a:buFont typeface="Arial" panose="020B0604020202020204" pitchFamily="34" charset="0"/>
              <a:buChar char="•"/>
            </a:pPr>
            <a:r>
              <a:rPr lang="en-US" dirty="0"/>
              <a:t>General Purpose account</a:t>
            </a:r>
          </a:p>
          <a:p>
            <a:pPr marL="428625" indent="-428625">
              <a:buFont typeface="Arial" panose="020B0604020202020204" pitchFamily="34" charset="0"/>
              <a:buChar char="•"/>
            </a:pPr>
            <a:r>
              <a:rPr lang="en-US" dirty="0"/>
              <a:t>Blob Account</a:t>
            </a:r>
          </a:p>
          <a:p>
            <a:pPr marL="428625" indent="-428625">
              <a:buFont typeface="Arial" panose="020B0604020202020204" pitchFamily="34" charset="0"/>
              <a:buChar char="•"/>
            </a:pPr>
            <a:r>
              <a:rPr lang="en-US" dirty="0"/>
              <a:t>Premium</a:t>
            </a:r>
          </a:p>
          <a:p>
            <a:pPr marL="428625" indent="-428625">
              <a:buFont typeface="Arial" panose="020B0604020202020204" pitchFamily="34" charset="0"/>
              <a:buChar char="•"/>
            </a:pPr>
            <a:r>
              <a:rPr lang="en-US" dirty="0"/>
              <a:t>Standard</a:t>
            </a:r>
          </a:p>
          <a:p>
            <a:pPr marL="428625" indent="-428625">
              <a:buFont typeface="Arial" panose="020B0604020202020204" pitchFamily="34" charset="0"/>
              <a:buChar char="•"/>
            </a:pPr>
            <a:r>
              <a:rPr lang="en-US" dirty="0"/>
              <a:t>SSE ( Server Side Encryption)</a:t>
            </a:r>
          </a:p>
          <a:p>
            <a:pPr marL="428625" indent="-428625">
              <a:buFont typeface="Arial" panose="020B0604020202020204" pitchFamily="34" charset="0"/>
              <a:buChar char="•"/>
            </a:pPr>
            <a:r>
              <a:rPr lang="en-US" dirty="0"/>
              <a:t>Hot, Cool, Archive</a:t>
            </a:r>
          </a:p>
          <a:p>
            <a:pPr marL="428625" indent="-428625">
              <a:buFont typeface="Arial" panose="020B0604020202020204" pitchFamily="34" charset="0"/>
              <a:buChar char="•"/>
            </a:pPr>
            <a:r>
              <a:rPr lang="en-US" dirty="0"/>
              <a:t>Block, Append, Page blob</a:t>
            </a:r>
          </a:p>
          <a:p>
            <a:pPr marL="428625" indent="-428625">
              <a:buFont typeface="Arial" panose="020B0604020202020204" pitchFamily="34" charset="0"/>
              <a:buChar char="•"/>
            </a:pPr>
            <a:r>
              <a:rPr lang="en-US" dirty="0"/>
              <a:t>Azure File, Queue, Table, blob</a:t>
            </a:r>
          </a:p>
        </p:txBody>
      </p:sp>
      <p:sp>
        <p:nvSpPr>
          <p:cNvPr id="4" name="Content Placeholder 2"/>
          <p:cNvSpPr txBox="1">
            <a:spLocks/>
          </p:cNvSpPr>
          <p:nvPr/>
        </p:nvSpPr>
        <p:spPr>
          <a:xfrm>
            <a:off x="4212772" y="1781176"/>
            <a:ext cx="4061579" cy="3717470"/>
          </a:xfrm>
          <a:prstGeom prst="rect">
            <a:avLst/>
          </a:prstGeom>
        </p:spPr>
        <p:txBody>
          <a:bodyPr vert="horz" lIns="68580" tIns="34290" rIns="68580" bIns="34290" rtlCol="0">
            <a:normAutofit fontScale="85000" lnSpcReduction="20000"/>
          </a:bodyPr>
          <a:lstStyle>
            <a:lvl1pPr marL="0" indent="0" algn="l" defTabSz="914400" rtl="0" eaLnBrk="1" latinLnBrk="0" hangingPunct="1">
              <a:lnSpc>
                <a:spcPct val="90000"/>
              </a:lnSpc>
              <a:spcBef>
                <a:spcPts val="1000"/>
              </a:spcBef>
              <a:buFontTx/>
              <a:buNone/>
              <a:defRPr sz="3600" kern="1200">
                <a:solidFill>
                  <a:schemeClr val="tx1"/>
                </a:solidFill>
                <a:latin typeface="+mn-lt"/>
                <a:ea typeface="+mn-ea"/>
                <a:cs typeface="+mn-cs"/>
              </a:defRPr>
            </a:lvl1pPr>
            <a:lvl2pPr marL="457200" indent="0" algn="l" defTabSz="914400" rtl="0" eaLnBrk="1" latinLnBrk="0" hangingPunct="1">
              <a:lnSpc>
                <a:spcPct val="90000"/>
              </a:lnSpc>
              <a:spcBef>
                <a:spcPts val="500"/>
              </a:spcBef>
              <a:buFontTx/>
              <a:buNone/>
              <a:defRPr sz="32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Tx/>
              <a:buNone/>
              <a:defRPr sz="28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Tx/>
              <a:buNone/>
              <a:defRPr sz="24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Tx/>
              <a:buNone/>
              <a:defRPr sz="2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28625" indent="-428625" defTabSz="685800" fontAlgn="auto">
              <a:spcBef>
                <a:spcPts val="750"/>
              </a:spcBef>
              <a:spcAft>
                <a:spcPts val="0"/>
              </a:spcAft>
              <a:buFont typeface="Arial" panose="020B0604020202020204" pitchFamily="34" charset="0"/>
              <a:buChar char="•"/>
              <a:defRPr/>
            </a:pPr>
            <a:r>
              <a:rPr lang="en-US" sz="2700" b="0" dirty="0">
                <a:solidFill>
                  <a:prstClr val="black"/>
                </a:solidFill>
                <a:latin typeface="Calibri" panose="020F0502020204030204"/>
              </a:rPr>
              <a:t>SAS(Shared Access Signature)</a:t>
            </a:r>
          </a:p>
          <a:p>
            <a:pPr marL="428625" indent="-428625" defTabSz="685800" fontAlgn="auto">
              <a:spcBef>
                <a:spcPts val="750"/>
              </a:spcBef>
              <a:spcAft>
                <a:spcPts val="0"/>
              </a:spcAft>
              <a:buFont typeface="Arial" panose="020B0604020202020204" pitchFamily="34" charset="0"/>
              <a:buChar char="•"/>
              <a:defRPr/>
            </a:pPr>
            <a:r>
              <a:rPr lang="en-US" sz="2700" b="0" dirty="0">
                <a:solidFill>
                  <a:prstClr val="black"/>
                </a:solidFill>
                <a:latin typeface="Calibri" panose="020F0502020204030204"/>
              </a:rPr>
              <a:t>Storage Key</a:t>
            </a:r>
          </a:p>
          <a:p>
            <a:pPr marL="428625" indent="-428625" defTabSz="685800" fontAlgn="auto">
              <a:spcBef>
                <a:spcPts val="750"/>
              </a:spcBef>
              <a:spcAft>
                <a:spcPts val="0"/>
              </a:spcAft>
              <a:buFont typeface="Arial" panose="020B0604020202020204" pitchFamily="34" charset="0"/>
              <a:buChar char="•"/>
              <a:defRPr/>
            </a:pPr>
            <a:r>
              <a:rPr lang="en-US" sz="2700" b="0" dirty="0">
                <a:solidFill>
                  <a:prstClr val="black"/>
                </a:solidFill>
                <a:latin typeface="Calibri" panose="020F0502020204030204"/>
              </a:rPr>
              <a:t>Containers</a:t>
            </a:r>
          </a:p>
          <a:p>
            <a:pPr marL="428625" indent="-428625" defTabSz="685800" fontAlgn="auto">
              <a:spcBef>
                <a:spcPts val="750"/>
              </a:spcBef>
              <a:spcAft>
                <a:spcPts val="0"/>
              </a:spcAft>
              <a:buFont typeface="Arial" panose="020B0604020202020204" pitchFamily="34" charset="0"/>
              <a:buChar char="•"/>
              <a:defRPr/>
            </a:pPr>
            <a:r>
              <a:rPr lang="en-US" sz="2700" b="0" dirty="0">
                <a:solidFill>
                  <a:prstClr val="black"/>
                </a:solidFill>
                <a:latin typeface="Calibri" panose="020F0502020204030204"/>
              </a:rPr>
              <a:t>Entity</a:t>
            </a:r>
          </a:p>
          <a:p>
            <a:pPr marL="428625" indent="-428625" defTabSz="685800" fontAlgn="auto">
              <a:spcBef>
                <a:spcPts val="750"/>
              </a:spcBef>
              <a:spcAft>
                <a:spcPts val="0"/>
              </a:spcAft>
              <a:buFont typeface="Arial" panose="020B0604020202020204" pitchFamily="34" charset="0"/>
              <a:buChar char="•"/>
              <a:defRPr/>
            </a:pPr>
            <a:r>
              <a:rPr lang="en-US" sz="2700" b="0" dirty="0">
                <a:solidFill>
                  <a:prstClr val="black"/>
                </a:solidFill>
                <a:latin typeface="Calibri" panose="020F0502020204030204"/>
              </a:rPr>
              <a:t>Message</a:t>
            </a:r>
          </a:p>
          <a:p>
            <a:pPr marL="428625" indent="-428625" defTabSz="685800" fontAlgn="auto">
              <a:spcBef>
                <a:spcPts val="750"/>
              </a:spcBef>
              <a:spcAft>
                <a:spcPts val="0"/>
              </a:spcAft>
              <a:buFont typeface="Arial" panose="020B0604020202020204" pitchFamily="34" charset="0"/>
              <a:buChar char="•"/>
              <a:defRPr/>
            </a:pPr>
            <a:r>
              <a:rPr lang="en-US" sz="2700" b="0" dirty="0">
                <a:solidFill>
                  <a:prstClr val="black"/>
                </a:solidFill>
                <a:latin typeface="Calibri" panose="020F0502020204030204"/>
              </a:rPr>
              <a:t>Managed Disk</a:t>
            </a:r>
          </a:p>
          <a:p>
            <a:pPr marL="428625" indent="-428625" defTabSz="685800" fontAlgn="auto">
              <a:spcBef>
                <a:spcPts val="750"/>
              </a:spcBef>
              <a:spcAft>
                <a:spcPts val="0"/>
              </a:spcAft>
              <a:buFont typeface="Arial" panose="020B0604020202020204" pitchFamily="34" charset="0"/>
              <a:buChar char="•"/>
              <a:defRPr/>
            </a:pPr>
            <a:r>
              <a:rPr lang="en-US" sz="2700" b="0" dirty="0">
                <a:solidFill>
                  <a:prstClr val="black"/>
                </a:solidFill>
                <a:latin typeface="Calibri" panose="020F0502020204030204"/>
              </a:rPr>
              <a:t>IOPs</a:t>
            </a:r>
          </a:p>
          <a:p>
            <a:pPr marL="428625" indent="-428625" defTabSz="685800" fontAlgn="auto">
              <a:spcBef>
                <a:spcPts val="750"/>
              </a:spcBef>
              <a:spcAft>
                <a:spcPts val="0"/>
              </a:spcAft>
              <a:buFont typeface="Arial" panose="020B0604020202020204" pitchFamily="34" charset="0"/>
              <a:buChar char="•"/>
              <a:defRPr/>
            </a:pPr>
            <a:r>
              <a:rPr lang="en-US" sz="2700" b="0" dirty="0">
                <a:solidFill>
                  <a:prstClr val="black"/>
                </a:solidFill>
                <a:latin typeface="Calibri" panose="020F0502020204030204"/>
              </a:rPr>
              <a:t>LRS, ZRS, GRS, RA-GRS</a:t>
            </a:r>
          </a:p>
          <a:p>
            <a:pPr marL="428625" indent="-428625" defTabSz="685800" fontAlgn="auto">
              <a:spcBef>
                <a:spcPts val="750"/>
              </a:spcBef>
              <a:spcAft>
                <a:spcPts val="0"/>
              </a:spcAft>
              <a:buFont typeface="Arial" panose="020B0604020202020204" pitchFamily="34" charset="0"/>
              <a:buChar char="•"/>
              <a:defRPr/>
            </a:pPr>
            <a:r>
              <a:rPr lang="en-US" sz="2700" b="0" dirty="0">
                <a:solidFill>
                  <a:prstClr val="black"/>
                </a:solidFill>
                <a:latin typeface="Calibri" panose="020F0502020204030204"/>
              </a:rPr>
              <a:t>Storage Explorer</a:t>
            </a:r>
          </a:p>
          <a:p>
            <a:pPr marL="428625" indent="-428625" defTabSz="685800" fontAlgn="auto">
              <a:spcBef>
                <a:spcPts val="750"/>
              </a:spcBef>
              <a:spcAft>
                <a:spcPts val="0"/>
              </a:spcAft>
              <a:buFont typeface="Arial" panose="020B0604020202020204" pitchFamily="34" charset="0"/>
              <a:buChar char="•"/>
              <a:defRPr/>
            </a:pPr>
            <a:r>
              <a:rPr lang="en-US" sz="2700" b="0" dirty="0" err="1">
                <a:solidFill>
                  <a:prstClr val="black"/>
                </a:solidFill>
                <a:latin typeface="Calibri" panose="020F0502020204030204"/>
              </a:rPr>
              <a:t>Azcopy</a:t>
            </a:r>
            <a:endParaRPr lang="en-US" sz="2700" b="0" dirty="0">
              <a:solidFill>
                <a:prstClr val="black"/>
              </a:solidFill>
              <a:latin typeface="Calibri" panose="020F0502020204030204"/>
            </a:endParaRPr>
          </a:p>
          <a:p>
            <a:pPr marL="428625" indent="-428625" defTabSz="685800" fontAlgn="auto">
              <a:spcBef>
                <a:spcPts val="750"/>
              </a:spcBef>
              <a:spcAft>
                <a:spcPts val="0"/>
              </a:spcAft>
              <a:buFont typeface="Arial" panose="020B0604020202020204" pitchFamily="34" charset="0"/>
              <a:buChar char="•"/>
              <a:defRPr/>
            </a:pPr>
            <a:endParaRPr lang="en-US" sz="2700" b="0" dirty="0">
              <a:solidFill>
                <a:prstClr val="black"/>
              </a:solidFill>
              <a:latin typeface="Calibri" panose="020F0502020204030204"/>
            </a:endParaRPr>
          </a:p>
          <a:p>
            <a:pPr marL="428625" indent="-428625" defTabSz="685800" fontAlgn="auto">
              <a:spcBef>
                <a:spcPts val="750"/>
              </a:spcBef>
              <a:spcAft>
                <a:spcPts val="0"/>
              </a:spcAft>
              <a:buFont typeface="Arial" panose="020B0604020202020204" pitchFamily="34" charset="0"/>
              <a:buChar char="•"/>
              <a:defRPr/>
            </a:pPr>
            <a:endParaRPr lang="en-US" sz="2700" b="0" dirty="0">
              <a:solidFill>
                <a:prstClr val="black"/>
              </a:solidFill>
              <a:latin typeface="Calibri" panose="020F0502020204030204"/>
            </a:endParaRPr>
          </a:p>
        </p:txBody>
      </p:sp>
    </p:spTree>
    <p:extLst>
      <p:ext uri="{BB962C8B-B14F-4D97-AF65-F5344CB8AC3E}">
        <p14:creationId xmlns:p14="http://schemas.microsoft.com/office/powerpoint/2010/main" val="92277545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4" name="Title 5"/>
          <p:cNvSpPr>
            <a:spLocks noGrp="1"/>
          </p:cNvSpPr>
          <p:nvPr>
            <p:ph type="title"/>
          </p:nvPr>
        </p:nvSpPr>
        <p:spPr>
          <a:xfrm>
            <a:off x="1" y="1074384"/>
            <a:ext cx="9143996" cy="674749"/>
          </a:xfrm>
        </p:spPr>
        <p:txBody>
          <a:bodyPr/>
          <a:lstStyle/>
          <a:p>
            <a:pPr algn="ctr"/>
            <a:r>
              <a:rPr lang="en-US" sz="3600" dirty="0"/>
              <a:t>Azure Data Services</a:t>
            </a:r>
            <a:endParaRPr lang="en-US" dirty="0"/>
          </a:p>
        </p:txBody>
      </p:sp>
      <p:sp>
        <p:nvSpPr>
          <p:cNvPr id="343" name="Rectangle 342"/>
          <p:cNvSpPr/>
          <p:nvPr/>
        </p:nvSpPr>
        <p:spPr bwMode="auto">
          <a:xfrm>
            <a:off x="5468448" y="4367118"/>
            <a:ext cx="1314531" cy="787128"/>
          </a:xfrm>
          <a:prstGeom prst="rect">
            <a:avLst/>
          </a:prstGeom>
          <a:solidFill>
            <a:schemeClr val="accent4"/>
          </a:solidFill>
          <a:ln w="3175">
            <a:noFill/>
          </a:ln>
          <a:effectLst/>
        </p:spPr>
        <p:txBody>
          <a:bodyPr spcFirstLastPara="0" vert="horz" wrap="square" lIns="67232" tIns="33616" rIns="67232" bIns="33616" numCol="1" spcCol="1270" anchor="t" anchorCtr="0">
            <a:noAutofit/>
          </a:bodyPr>
          <a:lstStyle/>
          <a:p>
            <a:pPr algn="ctr" defTabSz="532887" fontAlgn="auto">
              <a:spcAft>
                <a:spcPct val="35000"/>
              </a:spcAft>
              <a:defRPr/>
            </a:pPr>
            <a:r>
              <a:rPr lang="en-US" sz="882" b="0" kern="0" dirty="0">
                <a:solidFill>
                  <a:srgbClr val="FFFFFF"/>
                </a:solidFill>
                <a:latin typeface="Segoe UI Semibold" panose="020B0702040204020203" pitchFamily="34" charset="0"/>
                <a:ea typeface="MS PGothic" panose="020B0600070205080204" pitchFamily="34" charset="-128"/>
                <a:cs typeface="Segoe UI Semibold" panose="020B0702040204020203" pitchFamily="34" charset="0"/>
              </a:rPr>
              <a:t>Dashboards &amp; Visualizations</a:t>
            </a:r>
          </a:p>
        </p:txBody>
      </p:sp>
      <p:sp>
        <p:nvSpPr>
          <p:cNvPr id="344" name="Rectangle 343"/>
          <p:cNvSpPr/>
          <p:nvPr/>
        </p:nvSpPr>
        <p:spPr bwMode="auto">
          <a:xfrm>
            <a:off x="1382267" y="2076396"/>
            <a:ext cx="1314531" cy="3077850"/>
          </a:xfrm>
          <a:prstGeom prst="rect">
            <a:avLst/>
          </a:prstGeom>
          <a:solidFill>
            <a:srgbClr val="0078D7"/>
          </a:solidFill>
          <a:ln w="3175">
            <a:noFill/>
          </a:ln>
          <a:effectLst/>
        </p:spPr>
        <p:txBody>
          <a:bodyPr spcFirstLastPara="0" vert="horz" wrap="square" lIns="67232" tIns="33616" rIns="67232" bIns="33616" numCol="1" spcCol="1270" anchor="t" anchorCtr="0">
            <a:noAutofit/>
          </a:bodyPr>
          <a:lstStyle/>
          <a:p>
            <a:pPr algn="ctr" defTabSz="532887" fontAlgn="auto">
              <a:spcAft>
                <a:spcPct val="35000"/>
              </a:spcAft>
              <a:defRPr/>
            </a:pPr>
            <a:r>
              <a:rPr lang="en-US" sz="882" b="0" kern="0" dirty="0">
                <a:solidFill>
                  <a:srgbClr val="FFFFFF"/>
                </a:solidFill>
                <a:latin typeface="Segoe UI Semibold" panose="020B0702040204020203" pitchFamily="34" charset="0"/>
                <a:ea typeface="MS PGothic" panose="020B0600070205080204" pitchFamily="34" charset="-128"/>
                <a:cs typeface="Segoe UI Semibold" panose="020B0702040204020203" pitchFamily="34" charset="0"/>
              </a:rPr>
              <a:t>Information Management</a:t>
            </a:r>
          </a:p>
        </p:txBody>
      </p:sp>
      <p:sp>
        <p:nvSpPr>
          <p:cNvPr id="345" name="Rectangle 344"/>
          <p:cNvSpPr/>
          <p:nvPr/>
        </p:nvSpPr>
        <p:spPr bwMode="auto">
          <a:xfrm>
            <a:off x="2744327" y="2076396"/>
            <a:ext cx="1314531" cy="3077850"/>
          </a:xfrm>
          <a:prstGeom prst="rect">
            <a:avLst/>
          </a:prstGeom>
          <a:solidFill>
            <a:schemeClr val="accent2"/>
          </a:solidFill>
          <a:ln w="3175">
            <a:noFill/>
          </a:ln>
          <a:effectLst/>
        </p:spPr>
        <p:txBody>
          <a:bodyPr spcFirstLastPara="0" vert="horz" wrap="square" lIns="67232" tIns="33616" rIns="67232" bIns="33616" numCol="1" spcCol="1270" anchor="t" anchorCtr="0">
            <a:noAutofit/>
          </a:bodyPr>
          <a:lstStyle/>
          <a:p>
            <a:pPr algn="ctr" defTabSz="532887" fontAlgn="auto">
              <a:spcAft>
                <a:spcPct val="35000"/>
              </a:spcAft>
              <a:defRPr/>
            </a:pPr>
            <a:r>
              <a:rPr lang="en-US" sz="882" b="0" kern="0" dirty="0">
                <a:solidFill>
                  <a:srgbClr val="FFFFFF"/>
                </a:solidFill>
                <a:latin typeface="Segoe UI Semibold" panose="020B0702040204020203" pitchFamily="34" charset="0"/>
                <a:ea typeface="MS PGothic" panose="020B0600070205080204" pitchFamily="34" charset="-128"/>
                <a:cs typeface="Segoe UI Semibold" panose="020B0702040204020203" pitchFamily="34" charset="0"/>
              </a:rPr>
              <a:t>Data Store (small/big/all)</a:t>
            </a:r>
          </a:p>
        </p:txBody>
      </p:sp>
      <p:sp>
        <p:nvSpPr>
          <p:cNvPr id="346" name="Rectangle 345"/>
          <p:cNvSpPr/>
          <p:nvPr/>
        </p:nvSpPr>
        <p:spPr bwMode="auto">
          <a:xfrm>
            <a:off x="4106387" y="2076396"/>
            <a:ext cx="1314531" cy="3077850"/>
          </a:xfrm>
          <a:prstGeom prst="rect">
            <a:avLst/>
          </a:prstGeom>
          <a:solidFill>
            <a:schemeClr val="accent3"/>
          </a:solidFill>
          <a:ln w="3175">
            <a:noFill/>
          </a:ln>
          <a:effectLst/>
        </p:spPr>
        <p:txBody>
          <a:bodyPr spcFirstLastPara="0" vert="horz" wrap="square" lIns="67232" tIns="33616" rIns="67232" bIns="33616" numCol="1" spcCol="1270" anchor="t" anchorCtr="0">
            <a:noAutofit/>
          </a:bodyPr>
          <a:lstStyle/>
          <a:p>
            <a:pPr algn="ctr" defTabSz="532887" fontAlgn="auto">
              <a:spcAft>
                <a:spcPct val="35000"/>
              </a:spcAft>
              <a:defRPr/>
            </a:pPr>
            <a:r>
              <a:rPr lang="en-US" sz="882" b="0" kern="0" dirty="0">
                <a:solidFill>
                  <a:srgbClr val="FFFFFF"/>
                </a:solidFill>
                <a:latin typeface="Segoe UI Semibold" panose="020B0702040204020203" pitchFamily="34" charset="0"/>
                <a:ea typeface="MS PGothic" panose="020B0600070205080204" pitchFamily="34" charset="-128"/>
                <a:cs typeface="Segoe UI Semibold" panose="020B0702040204020203" pitchFamily="34" charset="0"/>
              </a:rPr>
              <a:t>Machine Learning</a:t>
            </a:r>
            <a:br>
              <a:rPr lang="en-US" sz="882" b="0" kern="0" dirty="0">
                <a:solidFill>
                  <a:srgbClr val="FFFFFF"/>
                </a:solidFill>
                <a:latin typeface="Segoe UI Semibold" panose="020B0702040204020203" pitchFamily="34" charset="0"/>
                <a:ea typeface="MS PGothic" panose="020B0600070205080204" pitchFamily="34" charset="-128"/>
                <a:cs typeface="Segoe UI Semibold" panose="020B0702040204020203" pitchFamily="34" charset="0"/>
              </a:rPr>
            </a:br>
            <a:r>
              <a:rPr lang="en-US" sz="882" b="0" kern="0" dirty="0">
                <a:solidFill>
                  <a:srgbClr val="FFFFFF"/>
                </a:solidFill>
                <a:latin typeface="Segoe UI Semibold" panose="020B0702040204020203" pitchFamily="34" charset="0"/>
                <a:ea typeface="MS PGothic" panose="020B0600070205080204" pitchFamily="34" charset="-128"/>
                <a:cs typeface="Segoe UI Semibold" panose="020B0702040204020203" pitchFamily="34" charset="0"/>
              </a:rPr>
              <a:t>and Analytics</a:t>
            </a:r>
          </a:p>
        </p:txBody>
      </p:sp>
      <p:sp>
        <p:nvSpPr>
          <p:cNvPr id="351" name="Rectangle 350"/>
          <p:cNvSpPr/>
          <p:nvPr/>
        </p:nvSpPr>
        <p:spPr>
          <a:xfrm>
            <a:off x="1779808" y="3626711"/>
            <a:ext cx="780170" cy="124201"/>
          </a:xfrm>
          <a:prstGeom prst="rect">
            <a:avLst/>
          </a:prstGeom>
        </p:spPr>
        <p:txBody>
          <a:bodyPr wrap="square" lIns="0" tIns="0" rIns="0" bIns="0" anchor="ctr">
            <a:spAutoFit/>
          </a:bodyPr>
          <a:lstStyle/>
          <a:p>
            <a:pPr defTabSz="685594" fontAlgn="auto">
              <a:spcBef>
                <a:spcPts val="0"/>
              </a:spcBef>
              <a:spcAft>
                <a:spcPts val="0"/>
              </a:spcAft>
              <a:defRPr/>
            </a:pPr>
            <a:r>
              <a:rPr lang="en-US" sz="807" b="0" kern="0" dirty="0">
                <a:solidFill>
                  <a:srgbClr val="FFFFFF"/>
                </a:solidFill>
                <a:latin typeface="Segoe UI Semilight"/>
                <a:ea typeface="MS PGothic" panose="020B0600070205080204" pitchFamily="34" charset="-128"/>
                <a:cs typeface="Segoe UI Semilight" panose="020B0402040204020203" pitchFamily="34" charset="0"/>
              </a:rPr>
              <a:t>Event Hub</a:t>
            </a:r>
          </a:p>
        </p:txBody>
      </p:sp>
      <p:sp>
        <p:nvSpPr>
          <p:cNvPr id="352" name="Rectangle 351"/>
          <p:cNvSpPr/>
          <p:nvPr/>
        </p:nvSpPr>
        <p:spPr>
          <a:xfrm>
            <a:off x="4536787" y="3510074"/>
            <a:ext cx="768959" cy="372603"/>
          </a:xfrm>
          <a:prstGeom prst="rect">
            <a:avLst/>
          </a:prstGeom>
        </p:spPr>
        <p:txBody>
          <a:bodyPr wrap="square" lIns="0" tIns="0" rIns="0" bIns="0" anchor="ctr">
            <a:spAutoFit/>
          </a:bodyPr>
          <a:lstStyle/>
          <a:p>
            <a:pPr defTabSz="685594" fontAlgn="auto">
              <a:spcBef>
                <a:spcPts val="0"/>
              </a:spcBef>
              <a:spcAft>
                <a:spcPts val="0"/>
              </a:spcAft>
              <a:defRPr/>
            </a:pPr>
            <a:r>
              <a:rPr lang="en-US" sz="807" b="0" kern="0" dirty="0">
                <a:solidFill>
                  <a:srgbClr val="FFFFFF"/>
                </a:solidFill>
                <a:latin typeface="Segoe UI Semilight"/>
                <a:ea typeface="MS PGothic" panose="020B0600070205080204" pitchFamily="34" charset="-128"/>
                <a:cs typeface="Segoe UI Semilight" panose="020B0402040204020203" pitchFamily="34" charset="0"/>
              </a:rPr>
              <a:t>HDInsight </a:t>
            </a:r>
          </a:p>
          <a:p>
            <a:pPr defTabSz="685594" fontAlgn="auto">
              <a:spcBef>
                <a:spcPts val="0"/>
              </a:spcBef>
              <a:spcAft>
                <a:spcPts val="0"/>
              </a:spcAft>
              <a:defRPr/>
            </a:pPr>
            <a:r>
              <a:rPr lang="en-US" sz="807" b="0" kern="0" dirty="0">
                <a:solidFill>
                  <a:srgbClr val="FFFFFF"/>
                </a:solidFill>
                <a:latin typeface="Segoe UI Semilight"/>
                <a:ea typeface="MS PGothic" panose="020B0600070205080204" pitchFamily="34" charset="-128"/>
                <a:cs typeface="Segoe UI Semilight" panose="020B0402040204020203" pitchFamily="34" charset="0"/>
              </a:rPr>
              <a:t>(Hadoop and Spark)</a:t>
            </a:r>
          </a:p>
        </p:txBody>
      </p:sp>
      <p:sp>
        <p:nvSpPr>
          <p:cNvPr id="353" name="Rectangle 352"/>
          <p:cNvSpPr/>
          <p:nvPr/>
        </p:nvSpPr>
        <p:spPr>
          <a:xfrm>
            <a:off x="4536787" y="4046154"/>
            <a:ext cx="768959" cy="124201"/>
          </a:xfrm>
          <a:prstGeom prst="rect">
            <a:avLst/>
          </a:prstGeom>
        </p:spPr>
        <p:txBody>
          <a:bodyPr wrap="square" lIns="0" tIns="0" rIns="0" bIns="0" anchor="ctr">
            <a:spAutoFit/>
          </a:bodyPr>
          <a:lstStyle/>
          <a:p>
            <a:pPr defTabSz="685594" fontAlgn="auto">
              <a:spcBef>
                <a:spcPts val="0"/>
              </a:spcBef>
              <a:spcAft>
                <a:spcPts val="0"/>
              </a:spcAft>
              <a:defRPr/>
            </a:pPr>
            <a:r>
              <a:rPr lang="en-US" sz="807" b="0" kern="0" dirty="0">
                <a:solidFill>
                  <a:srgbClr val="FFFFFF"/>
                </a:solidFill>
                <a:latin typeface="Segoe UI Semilight"/>
                <a:ea typeface="MS PGothic" panose="020B0600070205080204" pitchFamily="34" charset="-128"/>
                <a:cs typeface="Segoe UI Semilight" panose="020B0402040204020203" pitchFamily="34" charset="0"/>
              </a:rPr>
              <a:t>Stream Analytics</a:t>
            </a:r>
          </a:p>
        </p:txBody>
      </p:sp>
      <p:sp>
        <p:nvSpPr>
          <p:cNvPr id="355" name="TextBox 354"/>
          <p:cNvSpPr txBox="1"/>
          <p:nvPr/>
        </p:nvSpPr>
        <p:spPr>
          <a:xfrm>
            <a:off x="315891" y="2579875"/>
            <a:ext cx="747696" cy="285131"/>
          </a:xfrm>
          <a:prstGeom prst="rect">
            <a:avLst/>
          </a:prstGeom>
          <a:noFill/>
        </p:spPr>
        <p:txBody>
          <a:bodyPr wrap="none" lIns="0" tIns="0" rIns="0" bIns="0" rtlCol="0" anchor="ctr">
            <a:noAutofit/>
          </a:bodyPr>
          <a:lstStyle/>
          <a:p>
            <a:pPr algn="ctr" defTabSz="685437" fontAlgn="auto">
              <a:lnSpc>
                <a:spcPct val="90000"/>
              </a:lnSpc>
              <a:spcBef>
                <a:spcPts val="0"/>
              </a:spcBef>
              <a:spcAft>
                <a:spcPts val="441"/>
              </a:spcAft>
              <a:defRPr/>
            </a:pPr>
            <a:r>
              <a:rPr lang="en-US" sz="1029" b="0" kern="0" spc="-22" dirty="0">
                <a:solidFill>
                  <a:srgbClr val="0078D7"/>
                </a:solidFill>
                <a:latin typeface="Segoe UI Semilight"/>
                <a:ea typeface="MS PGothic" panose="020B0600070205080204" pitchFamily="34" charset="-128"/>
                <a:cs typeface="Segoe UI Semilight" panose="020B0402040204020203" pitchFamily="34" charset="0"/>
              </a:rPr>
              <a:t>Data Sources</a:t>
            </a:r>
          </a:p>
        </p:txBody>
      </p:sp>
      <p:sp>
        <p:nvSpPr>
          <p:cNvPr id="356" name="TextBox 355"/>
          <p:cNvSpPr txBox="1"/>
          <p:nvPr/>
        </p:nvSpPr>
        <p:spPr>
          <a:xfrm>
            <a:off x="551016" y="3790780"/>
            <a:ext cx="277447" cy="142565"/>
          </a:xfrm>
          <a:prstGeom prst="rect">
            <a:avLst/>
          </a:prstGeom>
          <a:noFill/>
        </p:spPr>
        <p:txBody>
          <a:bodyPr wrap="none" lIns="0" tIns="0" rIns="0" bIns="0" rtlCol="0" anchor="ctr">
            <a:noAutofit/>
          </a:bodyPr>
          <a:lstStyle/>
          <a:p>
            <a:pPr algn="ctr" defTabSz="685437" fontAlgn="auto">
              <a:lnSpc>
                <a:spcPct val="90000"/>
              </a:lnSpc>
              <a:spcAft>
                <a:spcPts val="441"/>
              </a:spcAft>
              <a:defRPr/>
            </a:pPr>
            <a:r>
              <a:rPr lang="en-US" sz="1029" b="0" kern="0" spc="-22" dirty="0">
                <a:solidFill>
                  <a:srgbClr val="0078D7"/>
                </a:solidFill>
                <a:latin typeface="Segoe UI Semilight"/>
                <a:ea typeface="MS PGothic" panose="020B0600070205080204" pitchFamily="34" charset="-128"/>
                <a:cs typeface="Segoe UI Semilight" panose="020B0402040204020203" pitchFamily="34" charset="0"/>
              </a:rPr>
              <a:t>Apps</a:t>
            </a:r>
          </a:p>
        </p:txBody>
      </p:sp>
      <p:sp>
        <p:nvSpPr>
          <p:cNvPr id="358" name="TextBox 357"/>
          <p:cNvSpPr txBox="1"/>
          <p:nvPr/>
        </p:nvSpPr>
        <p:spPr>
          <a:xfrm>
            <a:off x="371158" y="4854064"/>
            <a:ext cx="637162" cy="285131"/>
          </a:xfrm>
          <a:prstGeom prst="rect">
            <a:avLst/>
          </a:prstGeom>
          <a:noFill/>
        </p:spPr>
        <p:txBody>
          <a:bodyPr wrap="none" lIns="0" tIns="0" rIns="0" bIns="0" rtlCol="0" anchor="ctr">
            <a:noAutofit/>
          </a:bodyPr>
          <a:lstStyle/>
          <a:p>
            <a:pPr algn="ctr" defTabSz="685437" fontAlgn="auto">
              <a:lnSpc>
                <a:spcPct val="90000"/>
              </a:lnSpc>
              <a:spcAft>
                <a:spcPts val="441"/>
              </a:spcAft>
              <a:defRPr/>
            </a:pPr>
            <a:r>
              <a:rPr lang="en-US" sz="1029" b="0" kern="0" spc="-22" dirty="0">
                <a:solidFill>
                  <a:srgbClr val="0078D7"/>
                </a:solidFill>
                <a:latin typeface="Segoe UI Semilight"/>
                <a:ea typeface="MS PGothic" panose="020B0600070205080204" pitchFamily="34" charset="-128"/>
                <a:cs typeface="Segoe UI Semilight" panose="020B0402040204020203" pitchFamily="34" charset="0"/>
              </a:rPr>
              <a:t>Sensors</a:t>
            </a:r>
            <a:br>
              <a:rPr lang="en-US" sz="1029" b="0" kern="0" spc="-22" dirty="0">
                <a:solidFill>
                  <a:srgbClr val="0078D7"/>
                </a:solidFill>
                <a:latin typeface="Segoe UI Semilight"/>
                <a:ea typeface="MS PGothic" panose="020B0600070205080204" pitchFamily="34" charset="-128"/>
                <a:cs typeface="Segoe UI Semilight" panose="020B0402040204020203" pitchFamily="34" charset="0"/>
              </a:rPr>
            </a:br>
            <a:r>
              <a:rPr lang="en-US" sz="1029" b="0" kern="0" spc="-22" dirty="0">
                <a:solidFill>
                  <a:srgbClr val="0078D7"/>
                </a:solidFill>
                <a:latin typeface="Segoe UI Semilight"/>
                <a:ea typeface="MS PGothic" panose="020B0600070205080204" pitchFamily="34" charset="-128"/>
                <a:cs typeface="Segoe UI Semilight" panose="020B0402040204020203" pitchFamily="34" charset="0"/>
              </a:rPr>
              <a:t>and devices</a:t>
            </a:r>
          </a:p>
        </p:txBody>
      </p:sp>
      <p:sp>
        <p:nvSpPr>
          <p:cNvPr id="359" name="Rectangle 358"/>
          <p:cNvSpPr/>
          <p:nvPr/>
        </p:nvSpPr>
        <p:spPr>
          <a:xfrm>
            <a:off x="390494" y="5334059"/>
            <a:ext cx="686219" cy="236049"/>
          </a:xfrm>
          <a:prstGeom prst="rect">
            <a:avLst/>
          </a:prstGeom>
        </p:spPr>
        <p:txBody>
          <a:bodyPr wrap="none" lIns="0" tIns="0" rIns="0" bIns="0" anchor="ctr">
            <a:noAutofit/>
          </a:bodyPr>
          <a:lstStyle/>
          <a:p>
            <a:pPr algn="ctr" defTabSz="685594" fontAlgn="auto">
              <a:lnSpc>
                <a:spcPct val="90000"/>
              </a:lnSpc>
              <a:spcBef>
                <a:spcPts val="0"/>
              </a:spcBef>
              <a:spcAft>
                <a:spcPts val="0"/>
              </a:spcAft>
              <a:defRPr/>
            </a:pPr>
            <a:r>
              <a:rPr lang="en-US" sz="1765" b="0" kern="0" dirty="0">
                <a:solidFill>
                  <a:srgbClr val="353535"/>
                </a:solidFill>
                <a:latin typeface="Segoe UI Light"/>
                <a:ea typeface="MS PGothic" panose="020B0600070205080204" pitchFamily="34" charset="-128"/>
                <a:cs typeface="+mn-cs"/>
              </a:rPr>
              <a:t>Data</a:t>
            </a:r>
          </a:p>
        </p:txBody>
      </p:sp>
      <p:sp>
        <p:nvSpPr>
          <p:cNvPr id="360" name="Rectangle 359"/>
          <p:cNvSpPr/>
          <p:nvPr/>
        </p:nvSpPr>
        <p:spPr>
          <a:xfrm>
            <a:off x="3609672" y="5316277"/>
            <a:ext cx="1070807" cy="271613"/>
          </a:xfrm>
          <a:prstGeom prst="rect">
            <a:avLst/>
          </a:prstGeom>
        </p:spPr>
        <p:txBody>
          <a:bodyPr wrap="none" lIns="0" tIns="0" rIns="0" bIns="0" anchor="ctr">
            <a:spAutoFit/>
          </a:bodyPr>
          <a:lstStyle/>
          <a:p>
            <a:pPr algn="ctr" defTabSz="532887" fontAlgn="auto">
              <a:spcAft>
                <a:spcPct val="35000"/>
              </a:spcAft>
              <a:defRPr/>
            </a:pPr>
            <a:r>
              <a:rPr lang="en-US" sz="1765" b="0" kern="0" dirty="0">
                <a:solidFill>
                  <a:srgbClr val="353535"/>
                </a:solidFill>
                <a:latin typeface="Segoe UI Light"/>
                <a:ea typeface="MS PGothic" panose="020B0600070205080204" pitchFamily="34" charset="-128"/>
                <a:cs typeface="+mn-cs"/>
              </a:rPr>
              <a:t>Intelligence</a:t>
            </a:r>
            <a:endParaRPr lang="en-US" sz="1350" kern="0" spc="-22" dirty="0">
              <a:solidFill>
                <a:srgbClr val="353535"/>
              </a:solidFill>
              <a:latin typeface="Segoe UI Light"/>
              <a:ea typeface="MS PGothic" panose="020B0600070205080204" pitchFamily="34" charset="-128"/>
              <a:cs typeface="Segoe UI Semilight" panose="020B0402040204020203" pitchFamily="34" charset="0"/>
            </a:endParaRPr>
          </a:p>
        </p:txBody>
      </p:sp>
      <p:cxnSp>
        <p:nvCxnSpPr>
          <p:cNvPr id="361" name="Straight Connector 360"/>
          <p:cNvCxnSpPr/>
          <p:nvPr/>
        </p:nvCxnSpPr>
        <p:spPr>
          <a:xfrm>
            <a:off x="1476384" y="5452083"/>
            <a:ext cx="1747483" cy="0"/>
          </a:xfrm>
          <a:prstGeom prst="line">
            <a:avLst/>
          </a:prstGeom>
          <a:solidFill>
            <a:srgbClr val="FFFFFF">
              <a:lumMod val="85000"/>
            </a:srgbClr>
          </a:solidFill>
          <a:ln w="28575" cap="flat" cmpd="sng" algn="ctr">
            <a:solidFill>
              <a:schemeClr val="tx1"/>
            </a:solidFill>
            <a:prstDash val="solid"/>
            <a:headEnd type="none"/>
            <a:tailEnd type="none"/>
          </a:ln>
          <a:effectLst/>
        </p:spPr>
      </p:cxnSp>
      <p:grpSp>
        <p:nvGrpSpPr>
          <p:cNvPr id="362" name="Group 361"/>
          <p:cNvGrpSpPr/>
          <p:nvPr/>
        </p:nvGrpSpPr>
        <p:grpSpPr>
          <a:xfrm rot="13500000">
            <a:off x="3092341" y="5386378"/>
            <a:ext cx="133406" cy="131412"/>
            <a:chOff x="402446" y="5872915"/>
            <a:chExt cx="292608" cy="288235"/>
          </a:xfrm>
          <a:solidFill>
            <a:srgbClr val="FFFFFF">
              <a:lumMod val="85000"/>
            </a:srgbClr>
          </a:solidFill>
        </p:grpSpPr>
        <p:cxnSp>
          <p:nvCxnSpPr>
            <p:cNvPr id="363" name="Straight Connector 362"/>
            <p:cNvCxnSpPr/>
            <p:nvPr/>
          </p:nvCxnSpPr>
          <p:spPr>
            <a:xfrm>
              <a:off x="412598" y="5872915"/>
              <a:ext cx="0" cy="288235"/>
            </a:xfrm>
            <a:prstGeom prst="line">
              <a:avLst/>
            </a:prstGeom>
            <a:grpFill/>
            <a:ln w="28575" cap="flat" cmpd="sng" algn="ctr">
              <a:solidFill>
                <a:schemeClr val="tx1"/>
              </a:solidFill>
              <a:prstDash val="solid"/>
              <a:headEnd type="none"/>
              <a:tailEnd type="none"/>
            </a:ln>
            <a:effectLst/>
          </p:spPr>
        </p:cxnSp>
        <p:cxnSp>
          <p:nvCxnSpPr>
            <p:cNvPr id="364" name="Straight Connector 363"/>
            <p:cNvCxnSpPr/>
            <p:nvPr/>
          </p:nvCxnSpPr>
          <p:spPr>
            <a:xfrm>
              <a:off x="402446" y="6148978"/>
              <a:ext cx="292608" cy="0"/>
            </a:xfrm>
            <a:prstGeom prst="line">
              <a:avLst/>
            </a:prstGeom>
            <a:grpFill/>
            <a:ln w="28575" cap="flat" cmpd="sng" algn="ctr">
              <a:solidFill>
                <a:schemeClr val="tx1"/>
              </a:solidFill>
              <a:prstDash val="solid"/>
              <a:headEnd type="none"/>
              <a:tailEnd type="none"/>
            </a:ln>
            <a:effectLst/>
          </p:spPr>
        </p:cxnSp>
      </p:grpSp>
      <p:sp>
        <p:nvSpPr>
          <p:cNvPr id="369" name="Rectangle 368"/>
          <p:cNvSpPr/>
          <p:nvPr/>
        </p:nvSpPr>
        <p:spPr>
          <a:xfrm>
            <a:off x="7521990" y="5331571"/>
            <a:ext cx="1102987" cy="241025"/>
          </a:xfrm>
          <a:prstGeom prst="rect">
            <a:avLst/>
          </a:prstGeom>
        </p:spPr>
        <p:txBody>
          <a:bodyPr wrap="none" lIns="0" tIns="0" rIns="0" bIns="0" anchor="ctr">
            <a:noAutofit/>
          </a:bodyPr>
          <a:lstStyle/>
          <a:p>
            <a:pPr algn="ctr" defTabSz="685594" fontAlgn="auto">
              <a:lnSpc>
                <a:spcPct val="90000"/>
              </a:lnSpc>
              <a:spcBef>
                <a:spcPts val="0"/>
              </a:spcBef>
              <a:spcAft>
                <a:spcPts val="0"/>
              </a:spcAft>
              <a:defRPr/>
            </a:pPr>
            <a:r>
              <a:rPr lang="en-US" sz="1765" b="0" kern="0" dirty="0">
                <a:solidFill>
                  <a:srgbClr val="353535"/>
                </a:solidFill>
                <a:latin typeface="Segoe UI Light"/>
                <a:ea typeface="MS PGothic" panose="020B0600070205080204" pitchFamily="34" charset="-128"/>
                <a:cs typeface="+mn-cs"/>
              </a:rPr>
              <a:t>Action</a:t>
            </a:r>
          </a:p>
        </p:txBody>
      </p:sp>
      <p:grpSp>
        <p:nvGrpSpPr>
          <p:cNvPr id="374" name="Group 373"/>
          <p:cNvGrpSpPr/>
          <p:nvPr/>
        </p:nvGrpSpPr>
        <p:grpSpPr>
          <a:xfrm>
            <a:off x="1090461" y="2083118"/>
            <a:ext cx="226736" cy="3086502"/>
            <a:chOff x="1776319" y="1369399"/>
            <a:chExt cx="308472" cy="3830198"/>
          </a:xfrm>
        </p:grpSpPr>
        <p:sp>
          <p:nvSpPr>
            <p:cNvPr id="375" name="Freeform 374"/>
            <p:cNvSpPr/>
            <p:nvPr/>
          </p:nvSpPr>
          <p:spPr bwMode="auto">
            <a:xfrm>
              <a:off x="1960934" y="1369399"/>
              <a:ext cx="123857" cy="3830198"/>
            </a:xfrm>
            <a:custGeom>
              <a:avLst/>
              <a:gdLst>
                <a:gd name="connsiteX0" fmla="*/ 247650 w 247650"/>
                <a:gd name="connsiteY0" fmla="*/ 0 h 295275"/>
                <a:gd name="connsiteX1" fmla="*/ 0 w 247650"/>
                <a:gd name="connsiteY1" fmla="*/ 0 h 295275"/>
                <a:gd name="connsiteX2" fmla="*/ 0 w 247650"/>
                <a:gd name="connsiteY2" fmla="*/ 295275 h 295275"/>
                <a:gd name="connsiteX3" fmla="*/ 238125 w 247650"/>
                <a:gd name="connsiteY3" fmla="*/ 295275 h 295275"/>
              </a:gdLst>
              <a:ahLst/>
              <a:cxnLst>
                <a:cxn ang="0">
                  <a:pos x="connsiteX0" y="connsiteY0"/>
                </a:cxn>
                <a:cxn ang="0">
                  <a:pos x="connsiteX1" y="connsiteY1"/>
                </a:cxn>
                <a:cxn ang="0">
                  <a:pos x="connsiteX2" y="connsiteY2"/>
                </a:cxn>
                <a:cxn ang="0">
                  <a:pos x="connsiteX3" y="connsiteY3"/>
                </a:cxn>
              </a:cxnLst>
              <a:rect l="l" t="t" r="r" b="b"/>
              <a:pathLst>
                <a:path w="247650" h="295275">
                  <a:moveTo>
                    <a:pt x="247650" y="0"/>
                  </a:moveTo>
                  <a:lnTo>
                    <a:pt x="0" y="0"/>
                  </a:lnTo>
                  <a:lnTo>
                    <a:pt x="0" y="295275"/>
                  </a:lnTo>
                  <a:lnTo>
                    <a:pt x="238125" y="295275"/>
                  </a:lnTo>
                </a:path>
              </a:pathLst>
            </a:custGeom>
            <a:noFill/>
            <a:ln w="12700" cap="flat" cmpd="sng" algn="ctr">
              <a:solidFill>
                <a:schemeClr val="bg1">
                  <a:lumMod val="65000"/>
                </a:schemeClr>
              </a:solidFill>
              <a:prstDash val="solid"/>
              <a:headEnd type="none" w="med" len="med"/>
              <a:tailEnd type="none" w="med" len="med"/>
            </a:ln>
            <a:effectLst/>
          </p:spPr>
          <p:txBody>
            <a:bodyPr rtlCol="0" anchor="ctr"/>
            <a:lstStyle/>
            <a:p>
              <a:pPr algn="ctr" defTabSz="685594" fontAlgn="auto">
                <a:spcBef>
                  <a:spcPts val="0"/>
                </a:spcBef>
                <a:spcAft>
                  <a:spcPts val="0"/>
                </a:spcAft>
                <a:defRPr/>
              </a:pPr>
              <a:endParaRPr lang="en-US" sz="1325" b="0" kern="0" dirty="0">
                <a:solidFill>
                  <a:srgbClr val="FFFFFF"/>
                </a:solidFill>
                <a:latin typeface="Segoe UI Semilight"/>
                <a:ea typeface="MS PGothic" panose="020B0600070205080204" pitchFamily="34" charset="-128"/>
                <a:cs typeface="+mn-cs"/>
              </a:endParaRPr>
            </a:p>
          </p:txBody>
        </p:sp>
        <p:cxnSp>
          <p:nvCxnSpPr>
            <p:cNvPr id="376" name="Straight Connector 375"/>
            <p:cNvCxnSpPr/>
            <p:nvPr/>
          </p:nvCxnSpPr>
          <p:spPr>
            <a:xfrm>
              <a:off x="1776319" y="3284498"/>
              <a:ext cx="308472" cy="0"/>
            </a:xfrm>
            <a:prstGeom prst="line">
              <a:avLst/>
            </a:prstGeom>
            <a:noFill/>
            <a:ln w="12700" cap="flat" cmpd="sng" algn="ctr">
              <a:solidFill>
                <a:schemeClr val="bg1">
                  <a:lumMod val="65000"/>
                </a:schemeClr>
              </a:solidFill>
              <a:prstDash val="solid"/>
              <a:headEnd type="none"/>
              <a:tailEnd type="none"/>
            </a:ln>
            <a:effectLst/>
          </p:spPr>
        </p:cxnSp>
      </p:grpSp>
      <p:grpSp>
        <p:nvGrpSpPr>
          <p:cNvPr id="97" name="Group 96">
            <a:extLst>
              <a:ext uri="{FF2B5EF4-FFF2-40B4-BE49-F238E27FC236}">
                <a16:creationId xmlns:a16="http://schemas.microsoft.com/office/drawing/2014/main" id="{EB3EDC8B-3B02-46E4-9234-8F731CE2E8CD}"/>
              </a:ext>
            </a:extLst>
          </p:cNvPr>
          <p:cNvGrpSpPr/>
          <p:nvPr/>
        </p:nvGrpSpPr>
        <p:grpSpPr>
          <a:xfrm>
            <a:off x="5050753" y="5385381"/>
            <a:ext cx="1748366" cy="133406"/>
            <a:chOff x="7316413" y="6025994"/>
            <a:chExt cx="2377899" cy="181441"/>
          </a:xfrm>
        </p:grpSpPr>
        <p:cxnSp>
          <p:nvCxnSpPr>
            <p:cNvPr id="365" name="Straight Connector 364"/>
            <p:cNvCxnSpPr/>
            <p:nvPr/>
          </p:nvCxnSpPr>
          <p:spPr>
            <a:xfrm>
              <a:off x="7316413" y="6117326"/>
              <a:ext cx="2376698" cy="0"/>
            </a:xfrm>
            <a:prstGeom prst="line">
              <a:avLst/>
            </a:prstGeom>
            <a:solidFill>
              <a:srgbClr val="FFFFFF">
                <a:lumMod val="85000"/>
              </a:srgbClr>
            </a:solidFill>
            <a:ln w="28575" cap="flat" cmpd="sng" algn="ctr">
              <a:solidFill>
                <a:schemeClr val="tx1"/>
              </a:solidFill>
              <a:prstDash val="solid"/>
              <a:headEnd type="none"/>
              <a:tailEnd type="none"/>
            </a:ln>
            <a:effectLst/>
          </p:spPr>
        </p:cxnSp>
        <p:grpSp>
          <p:nvGrpSpPr>
            <p:cNvPr id="366" name="Group 365"/>
            <p:cNvGrpSpPr/>
            <p:nvPr/>
          </p:nvGrpSpPr>
          <p:grpSpPr>
            <a:xfrm rot="13500000">
              <a:off x="9514227" y="6027350"/>
              <a:ext cx="181441" cy="178729"/>
              <a:chOff x="402446" y="5872915"/>
              <a:chExt cx="292608" cy="288235"/>
            </a:xfrm>
            <a:solidFill>
              <a:srgbClr val="FFFFFF">
                <a:lumMod val="85000"/>
              </a:srgbClr>
            </a:solidFill>
          </p:grpSpPr>
          <p:cxnSp>
            <p:nvCxnSpPr>
              <p:cNvPr id="367" name="Straight Connector 366"/>
              <p:cNvCxnSpPr/>
              <p:nvPr/>
            </p:nvCxnSpPr>
            <p:spPr>
              <a:xfrm>
                <a:off x="412598" y="5872915"/>
                <a:ext cx="0" cy="288235"/>
              </a:xfrm>
              <a:prstGeom prst="line">
                <a:avLst/>
              </a:prstGeom>
              <a:solidFill>
                <a:srgbClr val="FFFFFF">
                  <a:lumMod val="85000"/>
                </a:srgbClr>
              </a:solidFill>
              <a:ln w="28575" cap="flat" cmpd="sng" algn="ctr">
                <a:solidFill>
                  <a:schemeClr val="tx1"/>
                </a:solidFill>
                <a:prstDash val="solid"/>
                <a:headEnd type="none"/>
                <a:tailEnd type="none"/>
              </a:ln>
              <a:effectLst/>
            </p:spPr>
          </p:cxnSp>
          <p:cxnSp>
            <p:nvCxnSpPr>
              <p:cNvPr id="368" name="Straight Connector 367"/>
              <p:cNvCxnSpPr/>
              <p:nvPr/>
            </p:nvCxnSpPr>
            <p:spPr>
              <a:xfrm>
                <a:off x="402446" y="6148978"/>
                <a:ext cx="292608" cy="0"/>
              </a:xfrm>
              <a:prstGeom prst="line">
                <a:avLst/>
              </a:prstGeom>
              <a:solidFill>
                <a:srgbClr val="FFFFFF">
                  <a:lumMod val="85000"/>
                </a:srgbClr>
              </a:solidFill>
              <a:ln w="28575" cap="flat" cmpd="sng" algn="ctr">
                <a:solidFill>
                  <a:schemeClr val="tx1"/>
                </a:solidFill>
                <a:prstDash val="solid"/>
                <a:headEnd type="none"/>
                <a:tailEnd type="none"/>
              </a:ln>
              <a:effectLst/>
            </p:spPr>
          </p:cxnSp>
        </p:grpSp>
      </p:grpSp>
      <p:grpSp>
        <p:nvGrpSpPr>
          <p:cNvPr id="96" name="Group 95">
            <a:extLst>
              <a:ext uri="{FF2B5EF4-FFF2-40B4-BE49-F238E27FC236}">
                <a16:creationId xmlns:a16="http://schemas.microsoft.com/office/drawing/2014/main" id="{08F15936-0791-4B56-A450-FD38C221E13D}"/>
              </a:ext>
            </a:extLst>
          </p:cNvPr>
          <p:cNvGrpSpPr/>
          <p:nvPr/>
        </p:nvGrpSpPr>
        <p:grpSpPr>
          <a:xfrm>
            <a:off x="6823452" y="2083118"/>
            <a:ext cx="384686" cy="3086502"/>
            <a:chOff x="9587665" y="1666769"/>
            <a:chExt cx="523200" cy="4197857"/>
          </a:xfrm>
        </p:grpSpPr>
        <p:sp>
          <p:nvSpPr>
            <p:cNvPr id="377" name="Freeform 376"/>
            <p:cNvSpPr/>
            <p:nvPr/>
          </p:nvSpPr>
          <p:spPr bwMode="auto">
            <a:xfrm flipH="1">
              <a:off x="9587665" y="1666769"/>
              <a:ext cx="123819" cy="4197857"/>
            </a:xfrm>
            <a:custGeom>
              <a:avLst/>
              <a:gdLst>
                <a:gd name="connsiteX0" fmla="*/ 247650 w 247650"/>
                <a:gd name="connsiteY0" fmla="*/ 0 h 295275"/>
                <a:gd name="connsiteX1" fmla="*/ 0 w 247650"/>
                <a:gd name="connsiteY1" fmla="*/ 0 h 295275"/>
                <a:gd name="connsiteX2" fmla="*/ 0 w 247650"/>
                <a:gd name="connsiteY2" fmla="*/ 295275 h 295275"/>
                <a:gd name="connsiteX3" fmla="*/ 238125 w 247650"/>
                <a:gd name="connsiteY3" fmla="*/ 295275 h 295275"/>
              </a:gdLst>
              <a:ahLst/>
              <a:cxnLst>
                <a:cxn ang="0">
                  <a:pos x="connsiteX0" y="connsiteY0"/>
                </a:cxn>
                <a:cxn ang="0">
                  <a:pos x="connsiteX1" y="connsiteY1"/>
                </a:cxn>
                <a:cxn ang="0">
                  <a:pos x="connsiteX2" y="connsiteY2"/>
                </a:cxn>
                <a:cxn ang="0">
                  <a:pos x="connsiteX3" y="connsiteY3"/>
                </a:cxn>
              </a:cxnLst>
              <a:rect l="l" t="t" r="r" b="b"/>
              <a:pathLst>
                <a:path w="247650" h="295275">
                  <a:moveTo>
                    <a:pt x="247650" y="0"/>
                  </a:moveTo>
                  <a:lnTo>
                    <a:pt x="0" y="0"/>
                  </a:lnTo>
                  <a:lnTo>
                    <a:pt x="0" y="295275"/>
                  </a:lnTo>
                  <a:lnTo>
                    <a:pt x="238125" y="295275"/>
                  </a:lnTo>
                </a:path>
              </a:pathLst>
            </a:custGeom>
            <a:noFill/>
            <a:ln w="12700" cap="flat" cmpd="sng" algn="ctr">
              <a:solidFill>
                <a:schemeClr val="bg1">
                  <a:lumMod val="65000"/>
                </a:schemeClr>
              </a:solidFill>
              <a:prstDash val="solid"/>
              <a:headEnd type="none" w="med" len="med"/>
              <a:tailEnd type="none" w="med" len="med"/>
            </a:ln>
            <a:effectLst/>
          </p:spPr>
          <p:txBody>
            <a:bodyPr rtlCol="0" anchor="ctr"/>
            <a:lstStyle/>
            <a:p>
              <a:pPr algn="ctr" defTabSz="685594" fontAlgn="auto">
                <a:spcBef>
                  <a:spcPts val="0"/>
                </a:spcBef>
                <a:spcAft>
                  <a:spcPts val="0"/>
                </a:spcAft>
                <a:defRPr/>
              </a:pPr>
              <a:endParaRPr lang="en-US" sz="1325" b="0" kern="0" dirty="0">
                <a:solidFill>
                  <a:srgbClr val="FFFFFF"/>
                </a:solidFill>
                <a:latin typeface="Segoe UI"/>
                <a:ea typeface="MS PGothic" panose="020B0600070205080204" pitchFamily="34" charset="-128"/>
                <a:cs typeface="+mn-cs"/>
              </a:endParaRPr>
            </a:p>
          </p:txBody>
        </p:sp>
        <p:cxnSp>
          <p:nvCxnSpPr>
            <p:cNvPr id="378" name="Straight Connector 377"/>
            <p:cNvCxnSpPr>
              <a:cxnSpLocks/>
            </p:cNvCxnSpPr>
            <p:nvPr/>
          </p:nvCxnSpPr>
          <p:spPr>
            <a:xfrm flipH="1">
              <a:off x="9587665" y="3765693"/>
              <a:ext cx="523200" cy="0"/>
            </a:xfrm>
            <a:prstGeom prst="line">
              <a:avLst/>
            </a:prstGeom>
            <a:noFill/>
            <a:ln w="12700" cap="flat" cmpd="sng" algn="ctr">
              <a:solidFill>
                <a:schemeClr val="bg1">
                  <a:lumMod val="65000"/>
                </a:schemeClr>
              </a:solidFill>
              <a:prstDash val="solid"/>
              <a:headEnd type="none"/>
              <a:tailEnd type="none"/>
            </a:ln>
            <a:effectLst/>
          </p:spPr>
        </p:cxnSp>
      </p:grpSp>
      <p:sp>
        <p:nvSpPr>
          <p:cNvPr id="379" name="TextBox 378"/>
          <p:cNvSpPr txBox="1"/>
          <p:nvPr/>
        </p:nvSpPr>
        <p:spPr>
          <a:xfrm>
            <a:off x="7139081" y="2722440"/>
            <a:ext cx="542818" cy="142540"/>
          </a:xfrm>
          <a:prstGeom prst="rect">
            <a:avLst/>
          </a:prstGeom>
          <a:noFill/>
        </p:spPr>
        <p:txBody>
          <a:bodyPr wrap="square" lIns="0" tIns="0" rIns="0" bIns="0" rtlCol="0">
            <a:spAutoFit/>
          </a:bodyPr>
          <a:lstStyle/>
          <a:p>
            <a:pPr algn="ctr" defTabSz="685437" fontAlgn="auto">
              <a:lnSpc>
                <a:spcPct val="90000"/>
              </a:lnSpc>
              <a:spcAft>
                <a:spcPts val="441"/>
              </a:spcAft>
              <a:defRPr/>
            </a:pPr>
            <a:r>
              <a:rPr lang="en-US" sz="1029" b="0" kern="0" spc="-22" dirty="0">
                <a:solidFill>
                  <a:srgbClr val="0078D7"/>
                </a:solidFill>
                <a:latin typeface="Segoe UI Semilight"/>
                <a:ea typeface="MS PGothic" panose="020B0600070205080204" pitchFamily="34" charset="-128"/>
                <a:cs typeface="Segoe UI Semilight" panose="020B0402040204020203" pitchFamily="34" charset="0"/>
              </a:rPr>
              <a:t>People</a:t>
            </a:r>
          </a:p>
        </p:txBody>
      </p:sp>
      <p:sp>
        <p:nvSpPr>
          <p:cNvPr id="380" name="TextBox 379"/>
          <p:cNvSpPr txBox="1"/>
          <p:nvPr/>
        </p:nvSpPr>
        <p:spPr>
          <a:xfrm>
            <a:off x="7091388" y="4854063"/>
            <a:ext cx="638203" cy="285078"/>
          </a:xfrm>
          <a:prstGeom prst="rect">
            <a:avLst/>
          </a:prstGeom>
          <a:noFill/>
        </p:spPr>
        <p:txBody>
          <a:bodyPr wrap="square" lIns="0" tIns="0" rIns="0" bIns="0" rtlCol="0">
            <a:spAutoFit/>
          </a:bodyPr>
          <a:lstStyle/>
          <a:p>
            <a:pPr algn="ctr" defTabSz="685437" fontAlgn="auto">
              <a:lnSpc>
                <a:spcPct val="90000"/>
              </a:lnSpc>
              <a:spcAft>
                <a:spcPts val="441"/>
              </a:spcAft>
              <a:defRPr/>
            </a:pPr>
            <a:r>
              <a:rPr lang="en-US" sz="1029" b="0" kern="0" spc="-22" dirty="0">
                <a:solidFill>
                  <a:srgbClr val="0078D7"/>
                </a:solidFill>
                <a:latin typeface="Segoe UI Semilight"/>
                <a:ea typeface="MS PGothic" panose="020B0600070205080204" pitchFamily="34" charset="-128"/>
                <a:cs typeface="Segoe UI Semilight" panose="020B0402040204020203" pitchFamily="34" charset="0"/>
              </a:rPr>
              <a:t>Automated </a:t>
            </a:r>
            <a:br>
              <a:rPr lang="en-US" sz="1029" b="0" kern="0" spc="-22" dirty="0">
                <a:solidFill>
                  <a:srgbClr val="0078D7"/>
                </a:solidFill>
                <a:latin typeface="Segoe UI Semilight"/>
                <a:ea typeface="MS PGothic" panose="020B0600070205080204" pitchFamily="34" charset="-128"/>
                <a:cs typeface="Segoe UI Semilight" panose="020B0402040204020203" pitchFamily="34" charset="0"/>
              </a:rPr>
            </a:br>
            <a:r>
              <a:rPr lang="en-US" sz="1029" b="0" kern="0" spc="-22" dirty="0">
                <a:solidFill>
                  <a:srgbClr val="0078D7"/>
                </a:solidFill>
                <a:latin typeface="Segoe UI Semilight"/>
                <a:ea typeface="MS PGothic" panose="020B0600070205080204" pitchFamily="34" charset="-128"/>
                <a:cs typeface="Segoe UI Semilight" panose="020B0402040204020203" pitchFamily="34" charset="0"/>
              </a:rPr>
              <a:t>Systems</a:t>
            </a:r>
          </a:p>
        </p:txBody>
      </p:sp>
      <p:grpSp>
        <p:nvGrpSpPr>
          <p:cNvPr id="381" name="Group 380"/>
          <p:cNvGrpSpPr/>
          <p:nvPr/>
        </p:nvGrpSpPr>
        <p:grpSpPr>
          <a:xfrm>
            <a:off x="7271853" y="2340912"/>
            <a:ext cx="277273" cy="283234"/>
            <a:chOff x="6112510" y="6954657"/>
            <a:chExt cx="1181100" cy="1206500"/>
          </a:xfrm>
          <a:solidFill>
            <a:schemeClr val="tx1"/>
          </a:solidFill>
        </p:grpSpPr>
        <p:sp>
          <p:nvSpPr>
            <p:cNvPr id="382" name="Freeform 5"/>
            <p:cNvSpPr>
              <a:spLocks noEditPoints="1"/>
            </p:cNvSpPr>
            <p:nvPr/>
          </p:nvSpPr>
          <p:spPr bwMode="auto">
            <a:xfrm>
              <a:off x="6233160" y="6954657"/>
              <a:ext cx="485775" cy="482600"/>
            </a:xfrm>
            <a:custGeom>
              <a:avLst/>
              <a:gdLst>
                <a:gd name="T0" fmla="*/ 154 w 306"/>
                <a:gd name="T1" fmla="*/ 304 h 304"/>
                <a:gd name="T2" fmla="*/ 122 w 306"/>
                <a:gd name="T3" fmla="*/ 302 h 304"/>
                <a:gd name="T4" fmla="*/ 94 w 306"/>
                <a:gd name="T5" fmla="*/ 292 h 304"/>
                <a:gd name="T6" fmla="*/ 68 w 306"/>
                <a:gd name="T7" fmla="*/ 278 h 304"/>
                <a:gd name="T8" fmla="*/ 46 w 306"/>
                <a:gd name="T9" fmla="*/ 260 h 304"/>
                <a:gd name="T10" fmla="*/ 26 w 306"/>
                <a:gd name="T11" fmla="*/ 238 h 304"/>
                <a:gd name="T12" fmla="*/ 12 w 306"/>
                <a:gd name="T13" fmla="*/ 212 h 304"/>
                <a:gd name="T14" fmla="*/ 4 w 306"/>
                <a:gd name="T15" fmla="*/ 182 h 304"/>
                <a:gd name="T16" fmla="*/ 0 w 306"/>
                <a:gd name="T17" fmla="*/ 152 h 304"/>
                <a:gd name="T18" fmla="*/ 2 w 306"/>
                <a:gd name="T19" fmla="*/ 136 h 304"/>
                <a:gd name="T20" fmla="*/ 8 w 306"/>
                <a:gd name="T21" fmla="*/ 106 h 304"/>
                <a:gd name="T22" fmla="*/ 20 w 306"/>
                <a:gd name="T23" fmla="*/ 80 h 304"/>
                <a:gd name="T24" fmla="*/ 36 w 306"/>
                <a:gd name="T25" fmla="*/ 56 h 304"/>
                <a:gd name="T26" fmla="*/ 56 w 306"/>
                <a:gd name="T27" fmla="*/ 34 h 304"/>
                <a:gd name="T28" fmla="*/ 80 w 306"/>
                <a:gd name="T29" fmla="*/ 18 h 304"/>
                <a:gd name="T30" fmla="*/ 108 w 306"/>
                <a:gd name="T31" fmla="*/ 6 h 304"/>
                <a:gd name="T32" fmla="*/ 138 w 306"/>
                <a:gd name="T33" fmla="*/ 0 h 304"/>
                <a:gd name="T34" fmla="*/ 154 w 306"/>
                <a:gd name="T35" fmla="*/ 0 h 304"/>
                <a:gd name="T36" fmla="*/ 184 w 306"/>
                <a:gd name="T37" fmla="*/ 2 h 304"/>
                <a:gd name="T38" fmla="*/ 212 w 306"/>
                <a:gd name="T39" fmla="*/ 12 h 304"/>
                <a:gd name="T40" fmla="*/ 238 w 306"/>
                <a:gd name="T41" fmla="*/ 26 h 304"/>
                <a:gd name="T42" fmla="*/ 260 w 306"/>
                <a:gd name="T43" fmla="*/ 44 h 304"/>
                <a:gd name="T44" fmla="*/ 280 w 306"/>
                <a:gd name="T45" fmla="*/ 66 h 304"/>
                <a:gd name="T46" fmla="*/ 294 w 306"/>
                <a:gd name="T47" fmla="*/ 92 h 304"/>
                <a:gd name="T48" fmla="*/ 302 w 306"/>
                <a:gd name="T49" fmla="*/ 122 h 304"/>
                <a:gd name="T50" fmla="*/ 306 w 306"/>
                <a:gd name="T51" fmla="*/ 152 h 304"/>
                <a:gd name="T52" fmla="*/ 304 w 306"/>
                <a:gd name="T53" fmla="*/ 168 h 304"/>
                <a:gd name="T54" fmla="*/ 298 w 306"/>
                <a:gd name="T55" fmla="*/ 198 h 304"/>
                <a:gd name="T56" fmla="*/ 288 w 306"/>
                <a:gd name="T57" fmla="*/ 224 h 304"/>
                <a:gd name="T58" fmla="*/ 270 w 306"/>
                <a:gd name="T59" fmla="*/ 248 h 304"/>
                <a:gd name="T60" fmla="*/ 250 w 306"/>
                <a:gd name="T61" fmla="*/ 270 h 304"/>
                <a:gd name="T62" fmla="*/ 226 w 306"/>
                <a:gd name="T63" fmla="*/ 286 h 304"/>
                <a:gd name="T64" fmla="*/ 198 w 306"/>
                <a:gd name="T65" fmla="*/ 298 h 304"/>
                <a:gd name="T66" fmla="*/ 168 w 306"/>
                <a:gd name="T67" fmla="*/ 304 h 304"/>
                <a:gd name="T68" fmla="*/ 154 w 306"/>
                <a:gd name="T69" fmla="*/ 304 h 304"/>
                <a:gd name="T70" fmla="*/ 154 w 306"/>
                <a:gd name="T71" fmla="*/ 28 h 304"/>
                <a:gd name="T72" fmla="*/ 128 w 306"/>
                <a:gd name="T73" fmla="*/ 30 h 304"/>
                <a:gd name="T74" fmla="*/ 104 w 306"/>
                <a:gd name="T75" fmla="*/ 38 h 304"/>
                <a:gd name="T76" fmla="*/ 66 w 306"/>
                <a:gd name="T77" fmla="*/ 64 h 304"/>
                <a:gd name="T78" fmla="*/ 38 w 306"/>
                <a:gd name="T79" fmla="*/ 104 h 304"/>
                <a:gd name="T80" fmla="*/ 32 w 306"/>
                <a:gd name="T81" fmla="*/ 128 h 304"/>
                <a:gd name="T82" fmla="*/ 28 w 306"/>
                <a:gd name="T83" fmla="*/ 152 h 304"/>
                <a:gd name="T84" fmla="*/ 30 w 306"/>
                <a:gd name="T85" fmla="*/ 164 h 304"/>
                <a:gd name="T86" fmla="*/ 34 w 306"/>
                <a:gd name="T87" fmla="*/ 190 h 304"/>
                <a:gd name="T88" fmla="*/ 50 w 306"/>
                <a:gd name="T89" fmla="*/ 222 h 304"/>
                <a:gd name="T90" fmla="*/ 84 w 306"/>
                <a:gd name="T91" fmla="*/ 256 h 304"/>
                <a:gd name="T92" fmla="*/ 116 w 306"/>
                <a:gd name="T93" fmla="*/ 270 h 304"/>
                <a:gd name="T94" fmla="*/ 140 w 306"/>
                <a:gd name="T95" fmla="*/ 276 h 304"/>
                <a:gd name="T96" fmla="*/ 154 w 306"/>
                <a:gd name="T97" fmla="*/ 276 h 304"/>
                <a:gd name="T98" fmla="*/ 178 w 306"/>
                <a:gd name="T99" fmla="*/ 274 h 304"/>
                <a:gd name="T100" fmla="*/ 202 w 306"/>
                <a:gd name="T101" fmla="*/ 266 h 304"/>
                <a:gd name="T102" fmla="*/ 242 w 306"/>
                <a:gd name="T103" fmla="*/ 240 h 304"/>
                <a:gd name="T104" fmla="*/ 268 w 306"/>
                <a:gd name="T105" fmla="*/ 200 h 304"/>
                <a:gd name="T106" fmla="*/ 274 w 306"/>
                <a:gd name="T107" fmla="*/ 178 h 304"/>
                <a:gd name="T108" fmla="*/ 278 w 306"/>
                <a:gd name="T109" fmla="*/ 152 h 304"/>
                <a:gd name="T110" fmla="*/ 276 w 306"/>
                <a:gd name="T111" fmla="*/ 140 h 304"/>
                <a:gd name="T112" fmla="*/ 272 w 306"/>
                <a:gd name="T113" fmla="*/ 116 h 304"/>
                <a:gd name="T114" fmla="*/ 256 w 306"/>
                <a:gd name="T115" fmla="*/ 82 h 304"/>
                <a:gd name="T116" fmla="*/ 222 w 306"/>
                <a:gd name="T117" fmla="*/ 50 h 304"/>
                <a:gd name="T118" fmla="*/ 190 w 306"/>
                <a:gd name="T119" fmla="*/ 34 h 304"/>
                <a:gd name="T120" fmla="*/ 166 w 306"/>
                <a:gd name="T121" fmla="*/ 28 h 304"/>
                <a:gd name="T122" fmla="*/ 154 w 306"/>
                <a:gd name="T123" fmla="*/ 28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6" h="304">
                  <a:moveTo>
                    <a:pt x="154" y="304"/>
                  </a:moveTo>
                  <a:lnTo>
                    <a:pt x="154" y="304"/>
                  </a:lnTo>
                  <a:lnTo>
                    <a:pt x="138" y="304"/>
                  </a:lnTo>
                  <a:lnTo>
                    <a:pt x="122" y="302"/>
                  </a:lnTo>
                  <a:lnTo>
                    <a:pt x="108" y="298"/>
                  </a:lnTo>
                  <a:lnTo>
                    <a:pt x="94" y="292"/>
                  </a:lnTo>
                  <a:lnTo>
                    <a:pt x="80" y="286"/>
                  </a:lnTo>
                  <a:lnTo>
                    <a:pt x="68" y="278"/>
                  </a:lnTo>
                  <a:lnTo>
                    <a:pt x="56" y="270"/>
                  </a:lnTo>
                  <a:lnTo>
                    <a:pt x="46" y="260"/>
                  </a:lnTo>
                  <a:lnTo>
                    <a:pt x="36" y="248"/>
                  </a:lnTo>
                  <a:lnTo>
                    <a:pt x="26" y="238"/>
                  </a:lnTo>
                  <a:lnTo>
                    <a:pt x="20" y="224"/>
                  </a:lnTo>
                  <a:lnTo>
                    <a:pt x="12" y="212"/>
                  </a:lnTo>
                  <a:lnTo>
                    <a:pt x="8" y="198"/>
                  </a:lnTo>
                  <a:lnTo>
                    <a:pt x="4" y="182"/>
                  </a:lnTo>
                  <a:lnTo>
                    <a:pt x="2" y="168"/>
                  </a:lnTo>
                  <a:lnTo>
                    <a:pt x="0" y="152"/>
                  </a:lnTo>
                  <a:lnTo>
                    <a:pt x="0" y="152"/>
                  </a:lnTo>
                  <a:lnTo>
                    <a:pt x="2" y="136"/>
                  </a:lnTo>
                  <a:lnTo>
                    <a:pt x="4" y="122"/>
                  </a:lnTo>
                  <a:lnTo>
                    <a:pt x="8" y="106"/>
                  </a:lnTo>
                  <a:lnTo>
                    <a:pt x="12" y="92"/>
                  </a:lnTo>
                  <a:lnTo>
                    <a:pt x="20" y="80"/>
                  </a:lnTo>
                  <a:lnTo>
                    <a:pt x="26" y="66"/>
                  </a:lnTo>
                  <a:lnTo>
                    <a:pt x="36" y="56"/>
                  </a:lnTo>
                  <a:lnTo>
                    <a:pt x="46" y="44"/>
                  </a:lnTo>
                  <a:lnTo>
                    <a:pt x="56" y="34"/>
                  </a:lnTo>
                  <a:lnTo>
                    <a:pt x="68" y="26"/>
                  </a:lnTo>
                  <a:lnTo>
                    <a:pt x="80" y="18"/>
                  </a:lnTo>
                  <a:lnTo>
                    <a:pt x="94" y="12"/>
                  </a:lnTo>
                  <a:lnTo>
                    <a:pt x="108" y="6"/>
                  </a:lnTo>
                  <a:lnTo>
                    <a:pt x="122" y="2"/>
                  </a:lnTo>
                  <a:lnTo>
                    <a:pt x="138" y="0"/>
                  </a:lnTo>
                  <a:lnTo>
                    <a:pt x="154" y="0"/>
                  </a:lnTo>
                  <a:lnTo>
                    <a:pt x="154" y="0"/>
                  </a:lnTo>
                  <a:lnTo>
                    <a:pt x="168" y="0"/>
                  </a:lnTo>
                  <a:lnTo>
                    <a:pt x="184" y="2"/>
                  </a:lnTo>
                  <a:lnTo>
                    <a:pt x="198" y="6"/>
                  </a:lnTo>
                  <a:lnTo>
                    <a:pt x="212" y="12"/>
                  </a:lnTo>
                  <a:lnTo>
                    <a:pt x="226" y="18"/>
                  </a:lnTo>
                  <a:lnTo>
                    <a:pt x="238" y="26"/>
                  </a:lnTo>
                  <a:lnTo>
                    <a:pt x="250" y="34"/>
                  </a:lnTo>
                  <a:lnTo>
                    <a:pt x="260" y="44"/>
                  </a:lnTo>
                  <a:lnTo>
                    <a:pt x="270" y="56"/>
                  </a:lnTo>
                  <a:lnTo>
                    <a:pt x="280" y="66"/>
                  </a:lnTo>
                  <a:lnTo>
                    <a:pt x="288" y="80"/>
                  </a:lnTo>
                  <a:lnTo>
                    <a:pt x="294" y="92"/>
                  </a:lnTo>
                  <a:lnTo>
                    <a:pt x="298" y="106"/>
                  </a:lnTo>
                  <a:lnTo>
                    <a:pt x="302" y="122"/>
                  </a:lnTo>
                  <a:lnTo>
                    <a:pt x="304" y="136"/>
                  </a:lnTo>
                  <a:lnTo>
                    <a:pt x="306" y="152"/>
                  </a:lnTo>
                  <a:lnTo>
                    <a:pt x="306" y="152"/>
                  </a:lnTo>
                  <a:lnTo>
                    <a:pt x="304" y="168"/>
                  </a:lnTo>
                  <a:lnTo>
                    <a:pt x="302" y="182"/>
                  </a:lnTo>
                  <a:lnTo>
                    <a:pt x="298" y="198"/>
                  </a:lnTo>
                  <a:lnTo>
                    <a:pt x="294" y="212"/>
                  </a:lnTo>
                  <a:lnTo>
                    <a:pt x="288" y="224"/>
                  </a:lnTo>
                  <a:lnTo>
                    <a:pt x="280" y="238"/>
                  </a:lnTo>
                  <a:lnTo>
                    <a:pt x="270" y="248"/>
                  </a:lnTo>
                  <a:lnTo>
                    <a:pt x="260" y="260"/>
                  </a:lnTo>
                  <a:lnTo>
                    <a:pt x="250" y="270"/>
                  </a:lnTo>
                  <a:lnTo>
                    <a:pt x="238" y="278"/>
                  </a:lnTo>
                  <a:lnTo>
                    <a:pt x="226" y="286"/>
                  </a:lnTo>
                  <a:lnTo>
                    <a:pt x="212" y="292"/>
                  </a:lnTo>
                  <a:lnTo>
                    <a:pt x="198" y="298"/>
                  </a:lnTo>
                  <a:lnTo>
                    <a:pt x="184" y="302"/>
                  </a:lnTo>
                  <a:lnTo>
                    <a:pt x="168" y="304"/>
                  </a:lnTo>
                  <a:lnTo>
                    <a:pt x="154" y="304"/>
                  </a:lnTo>
                  <a:lnTo>
                    <a:pt x="154" y="304"/>
                  </a:lnTo>
                  <a:close/>
                  <a:moveTo>
                    <a:pt x="154" y="28"/>
                  </a:moveTo>
                  <a:lnTo>
                    <a:pt x="154" y="28"/>
                  </a:lnTo>
                  <a:lnTo>
                    <a:pt x="140" y="28"/>
                  </a:lnTo>
                  <a:lnTo>
                    <a:pt x="128" y="30"/>
                  </a:lnTo>
                  <a:lnTo>
                    <a:pt x="116" y="34"/>
                  </a:lnTo>
                  <a:lnTo>
                    <a:pt x="104" y="38"/>
                  </a:lnTo>
                  <a:lnTo>
                    <a:pt x="84" y="50"/>
                  </a:lnTo>
                  <a:lnTo>
                    <a:pt x="66" y="64"/>
                  </a:lnTo>
                  <a:lnTo>
                    <a:pt x="50" y="82"/>
                  </a:lnTo>
                  <a:lnTo>
                    <a:pt x="38" y="104"/>
                  </a:lnTo>
                  <a:lnTo>
                    <a:pt x="34" y="116"/>
                  </a:lnTo>
                  <a:lnTo>
                    <a:pt x="32" y="128"/>
                  </a:lnTo>
                  <a:lnTo>
                    <a:pt x="30" y="140"/>
                  </a:lnTo>
                  <a:lnTo>
                    <a:pt x="28" y="152"/>
                  </a:lnTo>
                  <a:lnTo>
                    <a:pt x="28" y="152"/>
                  </a:lnTo>
                  <a:lnTo>
                    <a:pt x="30" y="164"/>
                  </a:lnTo>
                  <a:lnTo>
                    <a:pt x="32" y="178"/>
                  </a:lnTo>
                  <a:lnTo>
                    <a:pt x="34" y="190"/>
                  </a:lnTo>
                  <a:lnTo>
                    <a:pt x="38" y="200"/>
                  </a:lnTo>
                  <a:lnTo>
                    <a:pt x="50" y="222"/>
                  </a:lnTo>
                  <a:lnTo>
                    <a:pt x="66" y="240"/>
                  </a:lnTo>
                  <a:lnTo>
                    <a:pt x="84" y="256"/>
                  </a:lnTo>
                  <a:lnTo>
                    <a:pt x="104" y="266"/>
                  </a:lnTo>
                  <a:lnTo>
                    <a:pt x="116" y="270"/>
                  </a:lnTo>
                  <a:lnTo>
                    <a:pt x="128" y="274"/>
                  </a:lnTo>
                  <a:lnTo>
                    <a:pt x="140" y="276"/>
                  </a:lnTo>
                  <a:lnTo>
                    <a:pt x="154" y="276"/>
                  </a:lnTo>
                  <a:lnTo>
                    <a:pt x="154" y="276"/>
                  </a:lnTo>
                  <a:lnTo>
                    <a:pt x="166" y="276"/>
                  </a:lnTo>
                  <a:lnTo>
                    <a:pt x="178" y="274"/>
                  </a:lnTo>
                  <a:lnTo>
                    <a:pt x="190" y="270"/>
                  </a:lnTo>
                  <a:lnTo>
                    <a:pt x="202" y="266"/>
                  </a:lnTo>
                  <a:lnTo>
                    <a:pt x="222" y="256"/>
                  </a:lnTo>
                  <a:lnTo>
                    <a:pt x="242" y="240"/>
                  </a:lnTo>
                  <a:lnTo>
                    <a:pt x="256" y="222"/>
                  </a:lnTo>
                  <a:lnTo>
                    <a:pt x="268" y="200"/>
                  </a:lnTo>
                  <a:lnTo>
                    <a:pt x="272" y="190"/>
                  </a:lnTo>
                  <a:lnTo>
                    <a:pt x="274" y="178"/>
                  </a:lnTo>
                  <a:lnTo>
                    <a:pt x="276" y="164"/>
                  </a:lnTo>
                  <a:lnTo>
                    <a:pt x="278" y="152"/>
                  </a:lnTo>
                  <a:lnTo>
                    <a:pt x="278" y="152"/>
                  </a:lnTo>
                  <a:lnTo>
                    <a:pt x="276" y="140"/>
                  </a:lnTo>
                  <a:lnTo>
                    <a:pt x="274" y="128"/>
                  </a:lnTo>
                  <a:lnTo>
                    <a:pt x="272" y="116"/>
                  </a:lnTo>
                  <a:lnTo>
                    <a:pt x="268" y="104"/>
                  </a:lnTo>
                  <a:lnTo>
                    <a:pt x="256" y="82"/>
                  </a:lnTo>
                  <a:lnTo>
                    <a:pt x="242" y="64"/>
                  </a:lnTo>
                  <a:lnTo>
                    <a:pt x="222" y="50"/>
                  </a:lnTo>
                  <a:lnTo>
                    <a:pt x="202" y="38"/>
                  </a:lnTo>
                  <a:lnTo>
                    <a:pt x="190" y="34"/>
                  </a:lnTo>
                  <a:lnTo>
                    <a:pt x="178" y="30"/>
                  </a:lnTo>
                  <a:lnTo>
                    <a:pt x="166" y="28"/>
                  </a:lnTo>
                  <a:lnTo>
                    <a:pt x="154" y="28"/>
                  </a:lnTo>
                  <a:lnTo>
                    <a:pt x="154"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11" tIns="33605" rIns="67211" bIns="33605" numCol="1" anchor="t" anchorCtr="0" compatLnSpc="1">
              <a:prstTxWarp prst="textNoShape">
                <a:avLst/>
              </a:prstTxWarp>
            </a:bodyPr>
            <a:lstStyle/>
            <a:p>
              <a:pPr defTabSz="685594" fontAlgn="auto">
                <a:spcBef>
                  <a:spcPts val="0"/>
                </a:spcBef>
                <a:spcAft>
                  <a:spcPts val="0"/>
                </a:spcAft>
                <a:defRPr/>
              </a:pPr>
              <a:endParaRPr lang="en-US" sz="1325" b="0" kern="0" dirty="0">
                <a:solidFill>
                  <a:srgbClr val="FFFFFF"/>
                </a:solidFill>
                <a:latin typeface="Segoe UI Semilight"/>
                <a:ea typeface="MS PGothic" panose="020B0600070205080204" pitchFamily="34" charset="-128"/>
                <a:cs typeface="+mn-cs"/>
              </a:endParaRPr>
            </a:p>
          </p:txBody>
        </p:sp>
        <p:sp>
          <p:nvSpPr>
            <p:cNvPr id="383" name="Freeform 6"/>
            <p:cNvSpPr>
              <a:spLocks noEditPoints="1"/>
            </p:cNvSpPr>
            <p:nvPr/>
          </p:nvSpPr>
          <p:spPr bwMode="auto">
            <a:xfrm>
              <a:off x="6112510" y="7481707"/>
              <a:ext cx="727075" cy="679450"/>
            </a:xfrm>
            <a:custGeom>
              <a:avLst/>
              <a:gdLst>
                <a:gd name="T0" fmla="*/ 0 w 458"/>
                <a:gd name="T1" fmla="*/ 428 h 428"/>
                <a:gd name="T2" fmla="*/ 16 w 458"/>
                <a:gd name="T3" fmla="*/ 210 h 428"/>
                <a:gd name="T4" fmla="*/ 22 w 458"/>
                <a:gd name="T5" fmla="*/ 166 h 428"/>
                <a:gd name="T6" fmla="*/ 36 w 458"/>
                <a:gd name="T7" fmla="*/ 126 h 428"/>
                <a:gd name="T8" fmla="*/ 56 w 458"/>
                <a:gd name="T9" fmla="*/ 90 h 428"/>
                <a:gd name="T10" fmla="*/ 82 w 458"/>
                <a:gd name="T11" fmla="*/ 60 h 428"/>
                <a:gd name="T12" fmla="*/ 112 w 458"/>
                <a:gd name="T13" fmla="*/ 34 h 428"/>
                <a:gd name="T14" fmla="*/ 148 w 458"/>
                <a:gd name="T15" fmla="*/ 16 h 428"/>
                <a:gd name="T16" fmla="*/ 186 w 458"/>
                <a:gd name="T17" fmla="*/ 4 h 428"/>
                <a:gd name="T18" fmla="*/ 226 w 458"/>
                <a:gd name="T19" fmla="*/ 0 h 428"/>
                <a:gd name="T20" fmla="*/ 248 w 458"/>
                <a:gd name="T21" fmla="*/ 0 h 428"/>
                <a:gd name="T22" fmla="*/ 286 w 458"/>
                <a:gd name="T23" fmla="*/ 8 h 428"/>
                <a:gd name="T24" fmla="*/ 322 w 458"/>
                <a:gd name="T25" fmla="*/ 24 h 428"/>
                <a:gd name="T26" fmla="*/ 356 w 458"/>
                <a:gd name="T27" fmla="*/ 48 h 428"/>
                <a:gd name="T28" fmla="*/ 384 w 458"/>
                <a:gd name="T29" fmla="*/ 76 h 428"/>
                <a:gd name="T30" fmla="*/ 408 w 458"/>
                <a:gd name="T31" fmla="*/ 108 h 428"/>
                <a:gd name="T32" fmla="*/ 424 w 458"/>
                <a:gd name="T33" fmla="*/ 146 h 428"/>
                <a:gd name="T34" fmla="*/ 436 w 458"/>
                <a:gd name="T35" fmla="*/ 188 h 428"/>
                <a:gd name="T36" fmla="*/ 458 w 458"/>
                <a:gd name="T37" fmla="*/ 428 h 428"/>
                <a:gd name="T38" fmla="*/ 428 w 458"/>
                <a:gd name="T39" fmla="*/ 400 h 428"/>
                <a:gd name="T40" fmla="*/ 410 w 458"/>
                <a:gd name="T41" fmla="*/ 212 h 428"/>
                <a:gd name="T42" fmla="*/ 404 w 458"/>
                <a:gd name="T43" fmla="*/ 174 h 428"/>
                <a:gd name="T44" fmla="*/ 392 w 458"/>
                <a:gd name="T45" fmla="*/ 140 h 428"/>
                <a:gd name="T46" fmla="*/ 374 w 458"/>
                <a:gd name="T47" fmla="*/ 108 h 428"/>
                <a:gd name="T48" fmla="*/ 352 w 458"/>
                <a:gd name="T49" fmla="*/ 82 h 428"/>
                <a:gd name="T50" fmla="*/ 324 w 458"/>
                <a:gd name="T51" fmla="*/ 58 h 428"/>
                <a:gd name="T52" fmla="*/ 294 w 458"/>
                <a:gd name="T53" fmla="*/ 42 h 428"/>
                <a:gd name="T54" fmla="*/ 262 w 458"/>
                <a:gd name="T55" fmla="*/ 32 h 428"/>
                <a:gd name="T56" fmla="*/ 226 w 458"/>
                <a:gd name="T57" fmla="*/ 28 h 428"/>
                <a:gd name="T58" fmla="*/ 208 w 458"/>
                <a:gd name="T59" fmla="*/ 28 h 428"/>
                <a:gd name="T60" fmla="*/ 174 w 458"/>
                <a:gd name="T61" fmla="*/ 36 h 428"/>
                <a:gd name="T62" fmla="*/ 142 w 458"/>
                <a:gd name="T63" fmla="*/ 50 h 428"/>
                <a:gd name="T64" fmla="*/ 114 w 458"/>
                <a:gd name="T65" fmla="*/ 68 h 428"/>
                <a:gd name="T66" fmla="*/ 90 w 458"/>
                <a:gd name="T67" fmla="*/ 94 h 428"/>
                <a:gd name="T68" fmla="*/ 70 w 458"/>
                <a:gd name="T69" fmla="*/ 122 h 428"/>
                <a:gd name="T70" fmla="*/ 54 w 458"/>
                <a:gd name="T71" fmla="*/ 156 h 428"/>
                <a:gd name="T72" fmla="*/ 46 w 458"/>
                <a:gd name="T73" fmla="*/ 192 h 428"/>
                <a:gd name="T74" fmla="*/ 30 w 458"/>
                <a:gd name="T75" fmla="*/ 400 h 4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58" h="428">
                  <a:moveTo>
                    <a:pt x="458" y="428"/>
                  </a:moveTo>
                  <a:lnTo>
                    <a:pt x="0" y="428"/>
                  </a:lnTo>
                  <a:lnTo>
                    <a:pt x="16" y="210"/>
                  </a:lnTo>
                  <a:lnTo>
                    <a:pt x="16" y="210"/>
                  </a:lnTo>
                  <a:lnTo>
                    <a:pt x="18" y="188"/>
                  </a:lnTo>
                  <a:lnTo>
                    <a:pt x="22" y="166"/>
                  </a:lnTo>
                  <a:lnTo>
                    <a:pt x="28" y="146"/>
                  </a:lnTo>
                  <a:lnTo>
                    <a:pt x="36" y="126"/>
                  </a:lnTo>
                  <a:lnTo>
                    <a:pt x="46" y="108"/>
                  </a:lnTo>
                  <a:lnTo>
                    <a:pt x="56" y="90"/>
                  </a:lnTo>
                  <a:lnTo>
                    <a:pt x="68" y="74"/>
                  </a:lnTo>
                  <a:lnTo>
                    <a:pt x="82" y="60"/>
                  </a:lnTo>
                  <a:lnTo>
                    <a:pt x="98" y="46"/>
                  </a:lnTo>
                  <a:lnTo>
                    <a:pt x="112" y="34"/>
                  </a:lnTo>
                  <a:lnTo>
                    <a:pt x="130" y="24"/>
                  </a:lnTo>
                  <a:lnTo>
                    <a:pt x="148" y="16"/>
                  </a:lnTo>
                  <a:lnTo>
                    <a:pt x="166" y="8"/>
                  </a:lnTo>
                  <a:lnTo>
                    <a:pt x="186" y="4"/>
                  </a:lnTo>
                  <a:lnTo>
                    <a:pt x="206" y="0"/>
                  </a:lnTo>
                  <a:lnTo>
                    <a:pt x="226" y="0"/>
                  </a:lnTo>
                  <a:lnTo>
                    <a:pt x="226" y="0"/>
                  </a:lnTo>
                  <a:lnTo>
                    <a:pt x="248" y="0"/>
                  </a:lnTo>
                  <a:lnTo>
                    <a:pt x="268" y="4"/>
                  </a:lnTo>
                  <a:lnTo>
                    <a:pt x="286" y="8"/>
                  </a:lnTo>
                  <a:lnTo>
                    <a:pt x="306" y="16"/>
                  </a:lnTo>
                  <a:lnTo>
                    <a:pt x="322" y="24"/>
                  </a:lnTo>
                  <a:lnTo>
                    <a:pt x="340" y="36"/>
                  </a:lnTo>
                  <a:lnTo>
                    <a:pt x="356" y="48"/>
                  </a:lnTo>
                  <a:lnTo>
                    <a:pt x="370" y="60"/>
                  </a:lnTo>
                  <a:lnTo>
                    <a:pt x="384" y="76"/>
                  </a:lnTo>
                  <a:lnTo>
                    <a:pt x="396" y="92"/>
                  </a:lnTo>
                  <a:lnTo>
                    <a:pt x="408" y="108"/>
                  </a:lnTo>
                  <a:lnTo>
                    <a:pt x="418" y="128"/>
                  </a:lnTo>
                  <a:lnTo>
                    <a:pt x="424" y="146"/>
                  </a:lnTo>
                  <a:lnTo>
                    <a:pt x="432" y="168"/>
                  </a:lnTo>
                  <a:lnTo>
                    <a:pt x="436" y="188"/>
                  </a:lnTo>
                  <a:lnTo>
                    <a:pt x="438" y="210"/>
                  </a:lnTo>
                  <a:lnTo>
                    <a:pt x="458" y="428"/>
                  </a:lnTo>
                  <a:close/>
                  <a:moveTo>
                    <a:pt x="30" y="400"/>
                  </a:moveTo>
                  <a:lnTo>
                    <a:pt x="428" y="400"/>
                  </a:lnTo>
                  <a:lnTo>
                    <a:pt x="410" y="212"/>
                  </a:lnTo>
                  <a:lnTo>
                    <a:pt x="410" y="212"/>
                  </a:lnTo>
                  <a:lnTo>
                    <a:pt x="408" y="194"/>
                  </a:lnTo>
                  <a:lnTo>
                    <a:pt x="404" y="174"/>
                  </a:lnTo>
                  <a:lnTo>
                    <a:pt x="398" y="156"/>
                  </a:lnTo>
                  <a:lnTo>
                    <a:pt x="392" y="140"/>
                  </a:lnTo>
                  <a:lnTo>
                    <a:pt x="384" y="124"/>
                  </a:lnTo>
                  <a:lnTo>
                    <a:pt x="374" y="108"/>
                  </a:lnTo>
                  <a:lnTo>
                    <a:pt x="364" y="94"/>
                  </a:lnTo>
                  <a:lnTo>
                    <a:pt x="352" y="82"/>
                  </a:lnTo>
                  <a:lnTo>
                    <a:pt x="338" y="70"/>
                  </a:lnTo>
                  <a:lnTo>
                    <a:pt x="324" y="58"/>
                  </a:lnTo>
                  <a:lnTo>
                    <a:pt x="310" y="50"/>
                  </a:lnTo>
                  <a:lnTo>
                    <a:pt x="294" y="42"/>
                  </a:lnTo>
                  <a:lnTo>
                    <a:pt x="278" y="36"/>
                  </a:lnTo>
                  <a:lnTo>
                    <a:pt x="262" y="32"/>
                  </a:lnTo>
                  <a:lnTo>
                    <a:pt x="244" y="28"/>
                  </a:lnTo>
                  <a:lnTo>
                    <a:pt x="226" y="28"/>
                  </a:lnTo>
                  <a:lnTo>
                    <a:pt x="226" y="28"/>
                  </a:lnTo>
                  <a:lnTo>
                    <a:pt x="208" y="28"/>
                  </a:lnTo>
                  <a:lnTo>
                    <a:pt x="192" y="32"/>
                  </a:lnTo>
                  <a:lnTo>
                    <a:pt x="174" y="36"/>
                  </a:lnTo>
                  <a:lnTo>
                    <a:pt x="158" y="42"/>
                  </a:lnTo>
                  <a:lnTo>
                    <a:pt x="142" y="50"/>
                  </a:lnTo>
                  <a:lnTo>
                    <a:pt x="128" y="58"/>
                  </a:lnTo>
                  <a:lnTo>
                    <a:pt x="114" y="68"/>
                  </a:lnTo>
                  <a:lnTo>
                    <a:pt x="102" y="80"/>
                  </a:lnTo>
                  <a:lnTo>
                    <a:pt x="90" y="94"/>
                  </a:lnTo>
                  <a:lnTo>
                    <a:pt x="80" y="108"/>
                  </a:lnTo>
                  <a:lnTo>
                    <a:pt x="70" y="122"/>
                  </a:lnTo>
                  <a:lnTo>
                    <a:pt x="62" y="138"/>
                  </a:lnTo>
                  <a:lnTo>
                    <a:pt x="54" y="156"/>
                  </a:lnTo>
                  <a:lnTo>
                    <a:pt x="50" y="174"/>
                  </a:lnTo>
                  <a:lnTo>
                    <a:pt x="46" y="192"/>
                  </a:lnTo>
                  <a:lnTo>
                    <a:pt x="44" y="212"/>
                  </a:lnTo>
                  <a:lnTo>
                    <a:pt x="30" y="4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11" tIns="33605" rIns="67211" bIns="33605" numCol="1" anchor="t" anchorCtr="0" compatLnSpc="1">
              <a:prstTxWarp prst="textNoShape">
                <a:avLst/>
              </a:prstTxWarp>
            </a:bodyPr>
            <a:lstStyle/>
            <a:p>
              <a:pPr defTabSz="685594" fontAlgn="auto">
                <a:spcBef>
                  <a:spcPts val="0"/>
                </a:spcBef>
                <a:spcAft>
                  <a:spcPts val="0"/>
                </a:spcAft>
                <a:defRPr/>
              </a:pPr>
              <a:endParaRPr lang="en-US" sz="1325" b="0" kern="0" dirty="0">
                <a:solidFill>
                  <a:srgbClr val="FFFFFF"/>
                </a:solidFill>
                <a:latin typeface="Segoe UI Semilight"/>
                <a:ea typeface="MS PGothic" panose="020B0600070205080204" pitchFamily="34" charset="-128"/>
                <a:cs typeface="+mn-cs"/>
              </a:endParaRPr>
            </a:p>
          </p:txBody>
        </p:sp>
        <p:sp>
          <p:nvSpPr>
            <p:cNvPr id="384" name="Freeform 7"/>
            <p:cNvSpPr>
              <a:spLocks noEditPoints="1"/>
            </p:cNvSpPr>
            <p:nvPr/>
          </p:nvSpPr>
          <p:spPr bwMode="auto">
            <a:xfrm>
              <a:off x="6826885" y="7173732"/>
              <a:ext cx="374650" cy="374650"/>
            </a:xfrm>
            <a:custGeom>
              <a:avLst/>
              <a:gdLst>
                <a:gd name="T0" fmla="*/ 118 w 236"/>
                <a:gd name="T1" fmla="*/ 236 h 236"/>
                <a:gd name="T2" fmla="*/ 94 w 236"/>
                <a:gd name="T3" fmla="*/ 234 h 236"/>
                <a:gd name="T4" fmla="*/ 52 w 236"/>
                <a:gd name="T5" fmla="*/ 216 h 236"/>
                <a:gd name="T6" fmla="*/ 20 w 236"/>
                <a:gd name="T7" fmla="*/ 184 h 236"/>
                <a:gd name="T8" fmla="*/ 2 w 236"/>
                <a:gd name="T9" fmla="*/ 142 h 236"/>
                <a:gd name="T10" fmla="*/ 0 w 236"/>
                <a:gd name="T11" fmla="*/ 118 h 236"/>
                <a:gd name="T12" fmla="*/ 2 w 236"/>
                <a:gd name="T13" fmla="*/ 106 h 236"/>
                <a:gd name="T14" fmla="*/ 10 w 236"/>
                <a:gd name="T15" fmla="*/ 72 h 236"/>
                <a:gd name="T16" fmla="*/ 34 w 236"/>
                <a:gd name="T17" fmla="*/ 34 h 236"/>
                <a:gd name="T18" fmla="*/ 72 w 236"/>
                <a:gd name="T19" fmla="*/ 10 h 236"/>
                <a:gd name="T20" fmla="*/ 106 w 236"/>
                <a:gd name="T21" fmla="*/ 0 h 236"/>
                <a:gd name="T22" fmla="*/ 118 w 236"/>
                <a:gd name="T23" fmla="*/ 0 h 236"/>
                <a:gd name="T24" fmla="*/ 142 w 236"/>
                <a:gd name="T25" fmla="*/ 2 h 236"/>
                <a:gd name="T26" fmla="*/ 184 w 236"/>
                <a:gd name="T27" fmla="*/ 20 h 236"/>
                <a:gd name="T28" fmla="*/ 216 w 236"/>
                <a:gd name="T29" fmla="*/ 52 h 236"/>
                <a:gd name="T30" fmla="*/ 234 w 236"/>
                <a:gd name="T31" fmla="*/ 94 h 236"/>
                <a:gd name="T32" fmla="*/ 236 w 236"/>
                <a:gd name="T33" fmla="*/ 118 h 236"/>
                <a:gd name="T34" fmla="*/ 236 w 236"/>
                <a:gd name="T35" fmla="*/ 130 h 236"/>
                <a:gd name="T36" fmla="*/ 226 w 236"/>
                <a:gd name="T37" fmla="*/ 164 h 236"/>
                <a:gd name="T38" fmla="*/ 202 w 236"/>
                <a:gd name="T39" fmla="*/ 200 h 236"/>
                <a:gd name="T40" fmla="*/ 164 w 236"/>
                <a:gd name="T41" fmla="*/ 226 h 236"/>
                <a:gd name="T42" fmla="*/ 130 w 236"/>
                <a:gd name="T43" fmla="*/ 234 h 236"/>
                <a:gd name="T44" fmla="*/ 118 w 236"/>
                <a:gd name="T45" fmla="*/ 236 h 236"/>
                <a:gd name="T46" fmla="*/ 118 w 236"/>
                <a:gd name="T47" fmla="*/ 28 h 236"/>
                <a:gd name="T48" fmla="*/ 84 w 236"/>
                <a:gd name="T49" fmla="*/ 36 h 236"/>
                <a:gd name="T50" fmla="*/ 54 w 236"/>
                <a:gd name="T51" fmla="*/ 54 h 236"/>
                <a:gd name="T52" fmla="*/ 36 w 236"/>
                <a:gd name="T53" fmla="*/ 82 h 236"/>
                <a:gd name="T54" fmla="*/ 28 w 236"/>
                <a:gd name="T55" fmla="*/ 118 h 236"/>
                <a:gd name="T56" fmla="*/ 30 w 236"/>
                <a:gd name="T57" fmla="*/ 136 h 236"/>
                <a:gd name="T58" fmla="*/ 44 w 236"/>
                <a:gd name="T59" fmla="*/ 168 h 236"/>
                <a:gd name="T60" fmla="*/ 68 w 236"/>
                <a:gd name="T61" fmla="*/ 192 h 236"/>
                <a:gd name="T62" fmla="*/ 100 w 236"/>
                <a:gd name="T63" fmla="*/ 206 h 236"/>
                <a:gd name="T64" fmla="*/ 118 w 236"/>
                <a:gd name="T65" fmla="*/ 208 h 236"/>
                <a:gd name="T66" fmla="*/ 154 w 236"/>
                <a:gd name="T67" fmla="*/ 200 h 236"/>
                <a:gd name="T68" fmla="*/ 182 w 236"/>
                <a:gd name="T69" fmla="*/ 182 h 236"/>
                <a:gd name="T70" fmla="*/ 200 w 236"/>
                <a:gd name="T71" fmla="*/ 152 h 236"/>
                <a:gd name="T72" fmla="*/ 208 w 236"/>
                <a:gd name="T73" fmla="*/ 118 h 236"/>
                <a:gd name="T74" fmla="*/ 206 w 236"/>
                <a:gd name="T75" fmla="*/ 100 h 236"/>
                <a:gd name="T76" fmla="*/ 192 w 236"/>
                <a:gd name="T77" fmla="*/ 68 h 236"/>
                <a:gd name="T78" fmla="*/ 168 w 236"/>
                <a:gd name="T79" fmla="*/ 44 h 236"/>
                <a:gd name="T80" fmla="*/ 136 w 236"/>
                <a:gd name="T81" fmla="*/ 30 h 236"/>
                <a:gd name="T82" fmla="*/ 118 w 236"/>
                <a:gd name="T83" fmla="*/ 28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6" h="236">
                  <a:moveTo>
                    <a:pt x="118" y="236"/>
                  </a:moveTo>
                  <a:lnTo>
                    <a:pt x="118" y="236"/>
                  </a:lnTo>
                  <a:lnTo>
                    <a:pt x="106" y="234"/>
                  </a:lnTo>
                  <a:lnTo>
                    <a:pt x="94" y="234"/>
                  </a:lnTo>
                  <a:lnTo>
                    <a:pt x="72" y="226"/>
                  </a:lnTo>
                  <a:lnTo>
                    <a:pt x="52" y="216"/>
                  </a:lnTo>
                  <a:lnTo>
                    <a:pt x="34" y="200"/>
                  </a:lnTo>
                  <a:lnTo>
                    <a:pt x="20" y="184"/>
                  </a:lnTo>
                  <a:lnTo>
                    <a:pt x="10" y="164"/>
                  </a:lnTo>
                  <a:lnTo>
                    <a:pt x="2" y="142"/>
                  </a:lnTo>
                  <a:lnTo>
                    <a:pt x="2" y="130"/>
                  </a:lnTo>
                  <a:lnTo>
                    <a:pt x="0" y="118"/>
                  </a:lnTo>
                  <a:lnTo>
                    <a:pt x="0" y="118"/>
                  </a:lnTo>
                  <a:lnTo>
                    <a:pt x="2" y="106"/>
                  </a:lnTo>
                  <a:lnTo>
                    <a:pt x="2" y="94"/>
                  </a:lnTo>
                  <a:lnTo>
                    <a:pt x="10" y="72"/>
                  </a:lnTo>
                  <a:lnTo>
                    <a:pt x="20" y="52"/>
                  </a:lnTo>
                  <a:lnTo>
                    <a:pt x="34" y="34"/>
                  </a:lnTo>
                  <a:lnTo>
                    <a:pt x="52" y="20"/>
                  </a:lnTo>
                  <a:lnTo>
                    <a:pt x="72" y="10"/>
                  </a:lnTo>
                  <a:lnTo>
                    <a:pt x="94" y="2"/>
                  </a:lnTo>
                  <a:lnTo>
                    <a:pt x="106" y="0"/>
                  </a:lnTo>
                  <a:lnTo>
                    <a:pt x="118" y="0"/>
                  </a:lnTo>
                  <a:lnTo>
                    <a:pt x="118" y="0"/>
                  </a:lnTo>
                  <a:lnTo>
                    <a:pt x="130" y="0"/>
                  </a:lnTo>
                  <a:lnTo>
                    <a:pt x="142" y="2"/>
                  </a:lnTo>
                  <a:lnTo>
                    <a:pt x="164" y="10"/>
                  </a:lnTo>
                  <a:lnTo>
                    <a:pt x="184" y="20"/>
                  </a:lnTo>
                  <a:lnTo>
                    <a:pt x="202" y="34"/>
                  </a:lnTo>
                  <a:lnTo>
                    <a:pt x="216" y="52"/>
                  </a:lnTo>
                  <a:lnTo>
                    <a:pt x="226" y="72"/>
                  </a:lnTo>
                  <a:lnTo>
                    <a:pt x="234" y="94"/>
                  </a:lnTo>
                  <a:lnTo>
                    <a:pt x="236" y="106"/>
                  </a:lnTo>
                  <a:lnTo>
                    <a:pt x="236" y="118"/>
                  </a:lnTo>
                  <a:lnTo>
                    <a:pt x="236" y="118"/>
                  </a:lnTo>
                  <a:lnTo>
                    <a:pt x="236" y="130"/>
                  </a:lnTo>
                  <a:lnTo>
                    <a:pt x="234" y="142"/>
                  </a:lnTo>
                  <a:lnTo>
                    <a:pt x="226" y="164"/>
                  </a:lnTo>
                  <a:lnTo>
                    <a:pt x="216" y="184"/>
                  </a:lnTo>
                  <a:lnTo>
                    <a:pt x="202" y="200"/>
                  </a:lnTo>
                  <a:lnTo>
                    <a:pt x="184" y="216"/>
                  </a:lnTo>
                  <a:lnTo>
                    <a:pt x="164" y="226"/>
                  </a:lnTo>
                  <a:lnTo>
                    <a:pt x="142" y="234"/>
                  </a:lnTo>
                  <a:lnTo>
                    <a:pt x="130" y="234"/>
                  </a:lnTo>
                  <a:lnTo>
                    <a:pt x="118" y="236"/>
                  </a:lnTo>
                  <a:lnTo>
                    <a:pt x="118" y="236"/>
                  </a:lnTo>
                  <a:close/>
                  <a:moveTo>
                    <a:pt x="118" y="28"/>
                  </a:moveTo>
                  <a:lnTo>
                    <a:pt x="118" y="28"/>
                  </a:lnTo>
                  <a:lnTo>
                    <a:pt x="100" y="30"/>
                  </a:lnTo>
                  <a:lnTo>
                    <a:pt x="84" y="36"/>
                  </a:lnTo>
                  <a:lnTo>
                    <a:pt x="68" y="44"/>
                  </a:lnTo>
                  <a:lnTo>
                    <a:pt x="54" y="54"/>
                  </a:lnTo>
                  <a:lnTo>
                    <a:pt x="44" y="68"/>
                  </a:lnTo>
                  <a:lnTo>
                    <a:pt x="36" y="82"/>
                  </a:lnTo>
                  <a:lnTo>
                    <a:pt x="30" y="100"/>
                  </a:lnTo>
                  <a:lnTo>
                    <a:pt x="28" y="118"/>
                  </a:lnTo>
                  <a:lnTo>
                    <a:pt x="28" y="118"/>
                  </a:lnTo>
                  <a:lnTo>
                    <a:pt x="30" y="136"/>
                  </a:lnTo>
                  <a:lnTo>
                    <a:pt x="36" y="152"/>
                  </a:lnTo>
                  <a:lnTo>
                    <a:pt x="44" y="168"/>
                  </a:lnTo>
                  <a:lnTo>
                    <a:pt x="54" y="182"/>
                  </a:lnTo>
                  <a:lnTo>
                    <a:pt x="68" y="192"/>
                  </a:lnTo>
                  <a:lnTo>
                    <a:pt x="84" y="200"/>
                  </a:lnTo>
                  <a:lnTo>
                    <a:pt x="100" y="206"/>
                  </a:lnTo>
                  <a:lnTo>
                    <a:pt x="118" y="208"/>
                  </a:lnTo>
                  <a:lnTo>
                    <a:pt x="118" y="208"/>
                  </a:lnTo>
                  <a:lnTo>
                    <a:pt x="136" y="206"/>
                  </a:lnTo>
                  <a:lnTo>
                    <a:pt x="154" y="200"/>
                  </a:lnTo>
                  <a:lnTo>
                    <a:pt x="168" y="192"/>
                  </a:lnTo>
                  <a:lnTo>
                    <a:pt x="182" y="182"/>
                  </a:lnTo>
                  <a:lnTo>
                    <a:pt x="192" y="168"/>
                  </a:lnTo>
                  <a:lnTo>
                    <a:pt x="200" y="152"/>
                  </a:lnTo>
                  <a:lnTo>
                    <a:pt x="206" y="136"/>
                  </a:lnTo>
                  <a:lnTo>
                    <a:pt x="208" y="118"/>
                  </a:lnTo>
                  <a:lnTo>
                    <a:pt x="208" y="118"/>
                  </a:lnTo>
                  <a:lnTo>
                    <a:pt x="206" y="100"/>
                  </a:lnTo>
                  <a:lnTo>
                    <a:pt x="200" y="82"/>
                  </a:lnTo>
                  <a:lnTo>
                    <a:pt x="192" y="68"/>
                  </a:lnTo>
                  <a:lnTo>
                    <a:pt x="182" y="54"/>
                  </a:lnTo>
                  <a:lnTo>
                    <a:pt x="168" y="44"/>
                  </a:lnTo>
                  <a:lnTo>
                    <a:pt x="154" y="36"/>
                  </a:lnTo>
                  <a:lnTo>
                    <a:pt x="136" y="30"/>
                  </a:lnTo>
                  <a:lnTo>
                    <a:pt x="118" y="28"/>
                  </a:lnTo>
                  <a:lnTo>
                    <a:pt x="118"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11" tIns="33605" rIns="67211" bIns="33605" numCol="1" anchor="t" anchorCtr="0" compatLnSpc="1">
              <a:prstTxWarp prst="textNoShape">
                <a:avLst/>
              </a:prstTxWarp>
            </a:bodyPr>
            <a:lstStyle/>
            <a:p>
              <a:pPr defTabSz="685594" fontAlgn="auto">
                <a:spcBef>
                  <a:spcPts val="0"/>
                </a:spcBef>
                <a:spcAft>
                  <a:spcPts val="0"/>
                </a:spcAft>
                <a:defRPr/>
              </a:pPr>
              <a:endParaRPr lang="en-US" sz="1325" b="0" kern="0" dirty="0">
                <a:solidFill>
                  <a:srgbClr val="FFFFFF"/>
                </a:solidFill>
                <a:latin typeface="Segoe UI Semilight"/>
                <a:ea typeface="MS PGothic" panose="020B0600070205080204" pitchFamily="34" charset="-128"/>
                <a:cs typeface="+mn-cs"/>
              </a:endParaRPr>
            </a:p>
          </p:txBody>
        </p:sp>
        <p:sp>
          <p:nvSpPr>
            <p:cNvPr id="385" name="Freeform 8"/>
            <p:cNvSpPr>
              <a:spLocks noEditPoints="1"/>
            </p:cNvSpPr>
            <p:nvPr/>
          </p:nvSpPr>
          <p:spPr bwMode="auto">
            <a:xfrm>
              <a:off x="6817360" y="7567432"/>
              <a:ext cx="476250" cy="523875"/>
            </a:xfrm>
            <a:custGeom>
              <a:avLst/>
              <a:gdLst>
                <a:gd name="T0" fmla="*/ 46 w 300"/>
                <a:gd name="T1" fmla="*/ 330 h 330"/>
                <a:gd name="T2" fmla="*/ 32 w 300"/>
                <a:gd name="T3" fmla="*/ 158 h 330"/>
                <a:gd name="T4" fmla="*/ 22 w 300"/>
                <a:gd name="T5" fmla="*/ 114 h 330"/>
                <a:gd name="T6" fmla="*/ 4 w 300"/>
                <a:gd name="T7" fmla="*/ 70 h 330"/>
                <a:gd name="T8" fmla="*/ 6 w 300"/>
                <a:gd name="T9" fmla="*/ 54 h 330"/>
                <a:gd name="T10" fmla="*/ 18 w 300"/>
                <a:gd name="T11" fmla="*/ 42 h 330"/>
                <a:gd name="T12" fmla="*/ 44 w 300"/>
                <a:gd name="T13" fmla="*/ 22 h 330"/>
                <a:gd name="T14" fmla="*/ 74 w 300"/>
                <a:gd name="T15" fmla="*/ 8 h 330"/>
                <a:gd name="T16" fmla="*/ 106 w 300"/>
                <a:gd name="T17" fmla="*/ 2 h 330"/>
                <a:gd name="T18" fmla="*/ 122 w 300"/>
                <a:gd name="T19" fmla="*/ 0 h 330"/>
                <a:gd name="T20" fmla="*/ 154 w 300"/>
                <a:gd name="T21" fmla="*/ 4 h 330"/>
                <a:gd name="T22" fmla="*/ 182 w 300"/>
                <a:gd name="T23" fmla="*/ 14 h 330"/>
                <a:gd name="T24" fmla="*/ 210 w 300"/>
                <a:gd name="T25" fmla="*/ 28 h 330"/>
                <a:gd name="T26" fmla="*/ 232 w 300"/>
                <a:gd name="T27" fmla="*/ 48 h 330"/>
                <a:gd name="T28" fmla="*/ 252 w 300"/>
                <a:gd name="T29" fmla="*/ 72 h 330"/>
                <a:gd name="T30" fmla="*/ 268 w 300"/>
                <a:gd name="T31" fmla="*/ 98 h 330"/>
                <a:gd name="T32" fmla="*/ 280 w 300"/>
                <a:gd name="T33" fmla="*/ 130 h 330"/>
                <a:gd name="T34" fmla="*/ 284 w 300"/>
                <a:gd name="T35" fmla="*/ 162 h 330"/>
                <a:gd name="T36" fmla="*/ 72 w 300"/>
                <a:gd name="T37" fmla="*/ 302 h 330"/>
                <a:gd name="T38" fmla="*/ 256 w 300"/>
                <a:gd name="T39" fmla="*/ 164 h 330"/>
                <a:gd name="T40" fmla="*/ 252 w 300"/>
                <a:gd name="T41" fmla="*/ 140 h 330"/>
                <a:gd name="T42" fmla="*/ 232 w 300"/>
                <a:gd name="T43" fmla="*/ 92 h 330"/>
                <a:gd name="T44" fmla="*/ 208 w 300"/>
                <a:gd name="T45" fmla="*/ 62 h 330"/>
                <a:gd name="T46" fmla="*/ 188 w 300"/>
                <a:gd name="T47" fmla="*/ 46 h 330"/>
                <a:gd name="T48" fmla="*/ 164 w 300"/>
                <a:gd name="T49" fmla="*/ 36 h 330"/>
                <a:gd name="T50" fmla="*/ 136 w 300"/>
                <a:gd name="T51" fmla="*/ 30 h 330"/>
                <a:gd name="T52" fmla="*/ 122 w 300"/>
                <a:gd name="T53" fmla="*/ 28 h 330"/>
                <a:gd name="T54" fmla="*/ 98 w 300"/>
                <a:gd name="T55" fmla="*/ 32 h 330"/>
                <a:gd name="T56" fmla="*/ 52 w 300"/>
                <a:gd name="T57" fmla="*/ 50 h 330"/>
                <a:gd name="T58" fmla="*/ 34 w 300"/>
                <a:gd name="T59" fmla="*/ 66 h 330"/>
                <a:gd name="T60" fmla="*/ 52 w 300"/>
                <a:gd name="T61" fmla="*/ 110 h 330"/>
                <a:gd name="T62" fmla="*/ 60 w 300"/>
                <a:gd name="T63" fmla="*/ 156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00" h="330">
                  <a:moveTo>
                    <a:pt x="300" y="330"/>
                  </a:moveTo>
                  <a:lnTo>
                    <a:pt x="46" y="330"/>
                  </a:lnTo>
                  <a:lnTo>
                    <a:pt x="32" y="158"/>
                  </a:lnTo>
                  <a:lnTo>
                    <a:pt x="32" y="158"/>
                  </a:lnTo>
                  <a:lnTo>
                    <a:pt x="28" y="136"/>
                  </a:lnTo>
                  <a:lnTo>
                    <a:pt x="22" y="114"/>
                  </a:lnTo>
                  <a:lnTo>
                    <a:pt x="14" y="92"/>
                  </a:lnTo>
                  <a:lnTo>
                    <a:pt x="4" y="70"/>
                  </a:lnTo>
                  <a:lnTo>
                    <a:pt x="0" y="62"/>
                  </a:lnTo>
                  <a:lnTo>
                    <a:pt x="6" y="54"/>
                  </a:lnTo>
                  <a:lnTo>
                    <a:pt x="6" y="54"/>
                  </a:lnTo>
                  <a:lnTo>
                    <a:pt x="18" y="42"/>
                  </a:lnTo>
                  <a:lnTo>
                    <a:pt x="30" y="32"/>
                  </a:lnTo>
                  <a:lnTo>
                    <a:pt x="44" y="22"/>
                  </a:lnTo>
                  <a:lnTo>
                    <a:pt x="58" y="14"/>
                  </a:lnTo>
                  <a:lnTo>
                    <a:pt x="74" y="8"/>
                  </a:lnTo>
                  <a:lnTo>
                    <a:pt x="90" y="4"/>
                  </a:lnTo>
                  <a:lnTo>
                    <a:pt x="106" y="2"/>
                  </a:lnTo>
                  <a:lnTo>
                    <a:pt x="122" y="0"/>
                  </a:lnTo>
                  <a:lnTo>
                    <a:pt x="122" y="0"/>
                  </a:lnTo>
                  <a:lnTo>
                    <a:pt x="138" y="2"/>
                  </a:lnTo>
                  <a:lnTo>
                    <a:pt x="154" y="4"/>
                  </a:lnTo>
                  <a:lnTo>
                    <a:pt x="168" y="8"/>
                  </a:lnTo>
                  <a:lnTo>
                    <a:pt x="182" y="14"/>
                  </a:lnTo>
                  <a:lnTo>
                    <a:pt x="196" y="20"/>
                  </a:lnTo>
                  <a:lnTo>
                    <a:pt x="210" y="28"/>
                  </a:lnTo>
                  <a:lnTo>
                    <a:pt x="222" y="38"/>
                  </a:lnTo>
                  <a:lnTo>
                    <a:pt x="232" y="48"/>
                  </a:lnTo>
                  <a:lnTo>
                    <a:pt x="244" y="58"/>
                  </a:lnTo>
                  <a:lnTo>
                    <a:pt x="252" y="72"/>
                  </a:lnTo>
                  <a:lnTo>
                    <a:pt x="260" y="84"/>
                  </a:lnTo>
                  <a:lnTo>
                    <a:pt x="268" y="98"/>
                  </a:lnTo>
                  <a:lnTo>
                    <a:pt x="274" y="114"/>
                  </a:lnTo>
                  <a:lnTo>
                    <a:pt x="280" y="130"/>
                  </a:lnTo>
                  <a:lnTo>
                    <a:pt x="282" y="146"/>
                  </a:lnTo>
                  <a:lnTo>
                    <a:pt x="284" y="162"/>
                  </a:lnTo>
                  <a:lnTo>
                    <a:pt x="300" y="330"/>
                  </a:lnTo>
                  <a:close/>
                  <a:moveTo>
                    <a:pt x="72" y="302"/>
                  </a:moveTo>
                  <a:lnTo>
                    <a:pt x="268" y="302"/>
                  </a:lnTo>
                  <a:lnTo>
                    <a:pt x="256" y="164"/>
                  </a:lnTo>
                  <a:lnTo>
                    <a:pt x="256" y="164"/>
                  </a:lnTo>
                  <a:lnTo>
                    <a:pt x="252" y="140"/>
                  </a:lnTo>
                  <a:lnTo>
                    <a:pt x="244" y="114"/>
                  </a:lnTo>
                  <a:lnTo>
                    <a:pt x="232" y="92"/>
                  </a:lnTo>
                  <a:lnTo>
                    <a:pt x="216" y="72"/>
                  </a:lnTo>
                  <a:lnTo>
                    <a:pt x="208" y="62"/>
                  </a:lnTo>
                  <a:lnTo>
                    <a:pt x="198" y="54"/>
                  </a:lnTo>
                  <a:lnTo>
                    <a:pt x="188" y="46"/>
                  </a:lnTo>
                  <a:lnTo>
                    <a:pt x="176" y="40"/>
                  </a:lnTo>
                  <a:lnTo>
                    <a:pt x="164" y="36"/>
                  </a:lnTo>
                  <a:lnTo>
                    <a:pt x="150" y="32"/>
                  </a:lnTo>
                  <a:lnTo>
                    <a:pt x="136" y="30"/>
                  </a:lnTo>
                  <a:lnTo>
                    <a:pt x="122" y="28"/>
                  </a:lnTo>
                  <a:lnTo>
                    <a:pt x="122" y="28"/>
                  </a:lnTo>
                  <a:lnTo>
                    <a:pt x="110" y="30"/>
                  </a:lnTo>
                  <a:lnTo>
                    <a:pt x="98" y="32"/>
                  </a:lnTo>
                  <a:lnTo>
                    <a:pt x="74" y="38"/>
                  </a:lnTo>
                  <a:lnTo>
                    <a:pt x="52" y="50"/>
                  </a:lnTo>
                  <a:lnTo>
                    <a:pt x="34" y="66"/>
                  </a:lnTo>
                  <a:lnTo>
                    <a:pt x="34" y="66"/>
                  </a:lnTo>
                  <a:lnTo>
                    <a:pt x="44" y="88"/>
                  </a:lnTo>
                  <a:lnTo>
                    <a:pt x="52" y="110"/>
                  </a:lnTo>
                  <a:lnTo>
                    <a:pt x="56" y="132"/>
                  </a:lnTo>
                  <a:lnTo>
                    <a:pt x="60" y="156"/>
                  </a:lnTo>
                  <a:lnTo>
                    <a:pt x="72" y="3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11" tIns="33605" rIns="67211" bIns="33605" numCol="1" anchor="t" anchorCtr="0" compatLnSpc="1">
              <a:prstTxWarp prst="textNoShape">
                <a:avLst/>
              </a:prstTxWarp>
            </a:bodyPr>
            <a:lstStyle/>
            <a:p>
              <a:pPr defTabSz="685594" fontAlgn="auto">
                <a:spcBef>
                  <a:spcPts val="0"/>
                </a:spcBef>
                <a:spcAft>
                  <a:spcPts val="0"/>
                </a:spcAft>
                <a:defRPr/>
              </a:pPr>
              <a:endParaRPr lang="en-US" sz="1325" b="0" kern="0" dirty="0">
                <a:solidFill>
                  <a:srgbClr val="FFFFFF"/>
                </a:solidFill>
                <a:latin typeface="Segoe UI Semilight"/>
                <a:ea typeface="MS PGothic" panose="020B0600070205080204" pitchFamily="34" charset="-128"/>
                <a:cs typeface="+mn-cs"/>
              </a:endParaRPr>
            </a:p>
          </p:txBody>
        </p:sp>
      </p:grpSp>
      <p:grpSp>
        <p:nvGrpSpPr>
          <p:cNvPr id="386" name="Group 385"/>
          <p:cNvGrpSpPr/>
          <p:nvPr/>
        </p:nvGrpSpPr>
        <p:grpSpPr>
          <a:xfrm>
            <a:off x="7268723" y="4435962"/>
            <a:ext cx="283536" cy="354421"/>
            <a:chOff x="2954338" y="6831013"/>
            <a:chExt cx="1041400" cy="1301750"/>
          </a:xfrm>
          <a:solidFill>
            <a:schemeClr val="tx1"/>
          </a:solidFill>
        </p:grpSpPr>
        <p:sp>
          <p:nvSpPr>
            <p:cNvPr id="387" name="Freeform 36"/>
            <p:cNvSpPr>
              <a:spLocks noEditPoints="1"/>
            </p:cNvSpPr>
            <p:nvPr/>
          </p:nvSpPr>
          <p:spPr bwMode="auto">
            <a:xfrm>
              <a:off x="3195638" y="7329488"/>
              <a:ext cx="390525" cy="393700"/>
            </a:xfrm>
            <a:custGeom>
              <a:avLst/>
              <a:gdLst>
                <a:gd name="T0" fmla="*/ 122 w 246"/>
                <a:gd name="T1" fmla="*/ 248 h 248"/>
                <a:gd name="T2" fmla="*/ 98 w 246"/>
                <a:gd name="T3" fmla="*/ 244 h 248"/>
                <a:gd name="T4" fmla="*/ 74 w 246"/>
                <a:gd name="T5" fmla="*/ 238 h 248"/>
                <a:gd name="T6" fmla="*/ 36 w 246"/>
                <a:gd name="T7" fmla="*/ 210 h 248"/>
                <a:gd name="T8" fmla="*/ 8 w 246"/>
                <a:gd name="T9" fmla="*/ 172 h 248"/>
                <a:gd name="T10" fmla="*/ 2 w 246"/>
                <a:gd name="T11" fmla="*/ 148 h 248"/>
                <a:gd name="T12" fmla="*/ 0 w 246"/>
                <a:gd name="T13" fmla="*/ 124 h 248"/>
                <a:gd name="T14" fmla="*/ 0 w 246"/>
                <a:gd name="T15" fmla="*/ 112 h 248"/>
                <a:gd name="T16" fmla="*/ 4 w 246"/>
                <a:gd name="T17" fmla="*/ 88 h 248"/>
                <a:gd name="T18" fmla="*/ 20 w 246"/>
                <a:gd name="T19" fmla="*/ 56 h 248"/>
                <a:gd name="T20" fmla="*/ 54 w 246"/>
                <a:gd name="T21" fmla="*/ 22 h 248"/>
                <a:gd name="T22" fmla="*/ 86 w 246"/>
                <a:gd name="T23" fmla="*/ 6 h 248"/>
                <a:gd name="T24" fmla="*/ 110 w 246"/>
                <a:gd name="T25" fmla="*/ 2 h 248"/>
                <a:gd name="T26" fmla="*/ 122 w 246"/>
                <a:gd name="T27" fmla="*/ 0 h 248"/>
                <a:gd name="T28" fmla="*/ 148 w 246"/>
                <a:gd name="T29" fmla="*/ 4 h 248"/>
                <a:gd name="T30" fmla="*/ 170 w 246"/>
                <a:gd name="T31" fmla="*/ 10 h 248"/>
                <a:gd name="T32" fmla="*/ 210 w 246"/>
                <a:gd name="T33" fmla="*/ 36 h 248"/>
                <a:gd name="T34" fmla="*/ 236 w 246"/>
                <a:gd name="T35" fmla="*/ 76 h 248"/>
                <a:gd name="T36" fmla="*/ 242 w 246"/>
                <a:gd name="T37" fmla="*/ 100 h 248"/>
                <a:gd name="T38" fmla="*/ 246 w 246"/>
                <a:gd name="T39" fmla="*/ 124 h 248"/>
                <a:gd name="T40" fmla="*/ 244 w 246"/>
                <a:gd name="T41" fmla="*/ 136 h 248"/>
                <a:gd name="T42" fmla="*/ 240 w 246"/>
                <a:gd name="T43" fmla="*/ 160 h 248"/>
                <a:gd name="T44" fmla="*/ 224 w 246"/>
                <a:gd name="T45" fmla="*/ 192 h 248"/>
                <a:gd name="T46" fmla="*/ 192 w 246"/>
                <a:gd name="T47" fmla="*/ 226 h 248"/>
                <a:gd name="T48" fmla="*/ 158 w 246"/>
                <a:gd name="T49" fmla="*/ 242 h 248"/>
                <a:gd name="T50" fmla="*/ 134 w 246"/>
                <a:gd name="T51" fmla="*/ 246 h 248"/>
                <a:gd name="T52" fmla="*/ 122 w 246"/>
                <a:gd name="T53" fmla="*/ 248 h 248"/>
                <a:gd name="T54" fmla="*/ 122 w 246"/>
                <a:gd name="T55" fmla="*/ 28 h 248"/>
                <a:gd name="T56" fmla="*/ 86 w 246"/>
                <a:gd name="T57" fmla="*/ 36 h 248"/>
                <a:gd name="T58" fmla="*/ 56 w 246"/>
                <a:gd name="T59" fmla="*/ 56 h 248"/>
                <a:gd name="T60" fmla="*/ 34 w 246"/>
                <a:gd name="T61" fmla="*/ 86 h 248"/>
                <a:gd name="T62" fmla="*/ 28 w 246"/>
                <a:gd name="T63" fmla="*/ 124 h 248"/>
                <a:gd name="T64" fmla="*/ 30 w 246"/>
                <a:gd name="T65" fmla="*/ 144 h 248"/>
                <a:gd name="T66" fmla="*/ 44 w 246"/>
                <a:gd name="T67" fmla="*/ 178 h 248"/>
                <a:gd name="T68" fmla="*/ 70 w 246"/>
                <a:gd name="T69" fmla="*/ 202 h 248"/>
                <a:gd name="T70" fmla="*/ 104 w 246"/>
                <a:gd name="T71" fmla="*/ 218 h 248"/>
                <a:gd name="T72" fmla="*/ 122 w 246"/>
                <a:gd name="T73" fmla="*/ 220 h 248"/>
                <a:gd name="T74" fmla="*/ 160 w 246"/>
                <a:gd name="T75" fmla="*/ 212 h 248"/>
                <a:gd name="T76" fmla="*/ 190 w 246"/>
                <a:gd name="T77" fmla="*/ 192 h 248"/>
                <a:gd name="T78" fmla="*/ 210 w 246"/>
                <a:gd name="T79" fmla="*/ 160 h 248"/>
                <a:gd name="T80" fmla="*/ 218 w 246"/>
                <a:gd name="T81" fmla="*/ 124 h 248"/>
                <a:gd name="T82" fmla="*/ 216 w 246"/>
                <a:gd name="T83" fmla="*/ 104 h 248"/>
                <a:gd name="T84" fmla="*/ 202 w 246"/>
                <a:gd name="T85" fmla="*/ 70 h 248"/>
                <a:gd name="T86" fmla="*/ 176 w 246"/>
                <a:gd name="T87" fmla="*/ 46 h 248"/>
                <a:gd name="T88" fmla="*/ 142 w 246"/>
                <a:gd name="T89" fmla="*/ 30 h 248"/>
                <a:gd name="T90" fmla="*/ 122 w 246"/>
                <a:gd name="T91" fmla="*/ 28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46" h="248">
                  <a:moveTo>
                    <a:pt x="122" y="248"/>
                  </a:moveTo>
                  <a:lnTo>
                    <a:pt x="122" y="248"/>
                  </a:lnTo>
                  <a:lnTo>
                    <a:pt x="110" y="246"/>
                  </a:lnTo>
                  <a:lnTo>
                    <a:pt x="98" y="244"/>
                  </a:lnTo>
                  <a:lnTo>
                    <a:pt x="86" y="242"/>
                  </a:lnTo>
                  <a:lnTo>
                    <a:pt x="74" y="238"/>
                  </a:lnTo>
                  <a:lnTo>
                    <a:pt x="54" y="226"/>
                  </a:lnTo>
                  <a:lnTo>
                    <a:pt x="36" y="210"/>
                  </a:lnTo>
                  <a:lnTo>
                    <a:pt x="20" y="192"/>
                  </a:lnTo>
                  <a:lnTo>
                    <a:pt x="8" y="172"/>
                  </a:lnTo>
                  <a:lnTo>
                    <a:pt x="4" y="160"/>
                  </a:lnTo>
                  <a:lnTo>
                    <a:pt x="2" y="148"/>
                  </a:lnTo>
                  <a:lnTo>
                    <a:pt x="0" y="136"/>
                  </a:lnTo>
                  <a:lnTo>
                    <a:pt x="0" y="124"/>
                  </a:lnTo>
                  <a:lnTo>
                    <a:pt x="0" y="124"/>
                  </a:lnTo>
                  <a:lnTo>
                    <a:pt x="0" y="112"/>
                  </a:lnTo>
                  <a:lnTo>
                    <a:pt x="2" y="100"/>
                  </a:lnTo>
                  <a:lnTo>
                    <a:pt x="4" y="88"/>
                  </a:lnTo>
                  <a:lnTo>
                    <a:pt x="8" y="76"/>
                  </a:lnTo>
                  <a:lnTo>
                    <a:pt x="20" y="56"/>
                  </a:lnTo>
                  <a:lnTo>
                    <a:pt x="36" y="36"/>
                  </a:lnTo>
                  <a:lnTo>
                    <a:pt x="54" y="22"/>
                  </a:lnTo>
                  <a:lnTo>
                    <a:pt x="74" y="10"/>
                  </a:lnTo>
                  <a:lnTo>
                    <a:pt x="86" y="6"/>
                  </a:lnTo>
                  <a:lnTo>
                    <a:pt x="98" y="4"/>
                  </a:lnTo>
                  <a:lnTo>
                    <a:pt x="110" y="2"/>
                  </a:lnTo>
                  <a:lnTo>
                    <a:pt x="122" y="0"/>
                  </a:lnTo>
                  <a:lnTo>
                    <a:pt x="122" y="0"/>
                  </a:lnTo>
                  <a:lnTo>
                    <a:pt x="134" y="2"/>
                  </a:lnTo>
                  <a:lnTo>
                    <a:pt x="148" y="4"/>
                  </a:lnTo>
                  <a:lnTo>
                    <a:pt x="158" y="6"/>
                  </a:lnTo>
                  <a:lnTo>
                    <a:pt x="170" y="10"/>
                  </a:lnTo>
                  <a:lnTo>
                    <a:pt x="192" y="22"/>
                  </a:lnTo>
                  <a:lnTo>
                    <a:pt x="210" y="36"/>
                  </a:lnTo>
                  <a:lnTo>
                    <a:pt x="224" y="56"/>
                  </a:lnTo>
                  <a:lnTo>
                    <a:pt x="236" y="76"/>
                  </a:lnTo>
                  <a:lnTo>
                    <a:pt x="240" y="88"/>
                  </a:lnTo>
                  <a:lnTo>
                    <a:pt x="242" y="100"/>
                  </a:lnTo>
                  <a:lnTo>
                    <a:pt x="244" y="112"/>
                  </a:lnTo>
                  <a:lnTo>
                    <a:pt x="246" y="124"/>
                  </a:lnTo>
                  <a:lnTo>
                    <a:pt x="246" y="124"/>
                  </a:lnTo>
                  <a:lnTo>
                    <a:pt x="244" y="136"/>
                  </a:lnTo>
                  <a:lnTo>
                    <a:pt x="242" y="148"/>
                  </a:lnTo>
                  <a:lnTo>
                    <a:pt x="240" y="160"/>
                  </a:lnTo>
                  <a:lnTo>
                    <a:pt x="236" y="172"/>
                  </a:lnTo>
                  <a:lnTo>
                    <a:pt x="224" y="192"/>
                  </a:lnTo>
                  <a:lnTo>
                    <a:pt x="210" y="210"/>
                  </a:lnTo>
                  <a:lnTo>
                    <a:pt x="192" y="226"/>
                  </a:lnTo>
                  <a:lnTo>
                    <a:pt x="170" y="238"/>
                  </a:lnTo>
                  <a:lnTo>
                    <a:pt x="158" y="242"/>
                  </a:lnTo>
                  <a:lnTo>
                    <a:pt x="148" y="244"/>
                  </a:lnTo>
                  <a:lnTo>
                    <a:pt x="134" y="246"/>
                  </a:lnTo>
                  <a:lnTo>
                    <a:pt x="122" y="248"/>
                  </a:lnTo>
                  <a:lnTo>
                    <a:pt x="122" y="248"/>
                  </a:lnTo>
                  <a:close/>
                  <a:moveTo>
                    <a:pt x="122" y="28"/>
                  </a:moveTo>
                  <a:lnTo>
                    <a:pt x="122" y="28"/>
                  </a:lnTo>
                  <a:lnTo>
                    <a:pt x="104" y="30"/>
                  </a:lnTo>
                  <a:lnTo>
                    <a:pt x="86" y="36"/>
                  </a:lnTo>
                  <a:lnTo>
                    <a:pt x="70" y="46"/>
                  </a:lnTo>
                  <a:lnTo>
                    <a:pt x="56" y="56"/>
                  </a:lnTo>
                  <a:lnTo>
                    <a:pt x="44" y="70"/>
                  </a:lnTo>
                  <a:lnTo>
                    <a:pt x="34" y="86"/>
                  </a:lnTo>
                  <a:lnTo>
                    <a:pt x="30" y="104"/>
                  </a:lnTo>
                  <a:lnTo>
                    <a:pt x="28" y="124"/>
                  </a:lnTo>
                  <a:lnTo>
                    <a:pt x="28" y="124"/>
                  </a:lnTo>
                  <a:lnTo>
                    <a:pt x="30" y="144"/>
                  </a:lnTo>
                  <a:lnTo>
                    <a:pt x="34" y="160"/>
                  </a:lnTo>
                  <a:lnTo>
                    <a:pt x="44" y="178"/>
                  </a:lnTo>
                  <a:lnTo>
                    <a:pt x="56" y="192"/>
                  </a:lnTo>
                  <a:lnTo>
                    <a:pt x="70" y="202"/>
                  </a:lnTo>
                  <a:lnTo>
                    <a:pt x="86" y="212"/>
                  </a:lnTo>
                  <a:lnTo>
                    <a:pt x="104" y="218"/>
                  </a:lnTo>
                  <a:lnTo>
                    <a:pt x="122" y="220"/>
                  </a:lnTo>
                  <a:lnTo>
                    <a:pt x="122" y="220"/>
                  </a:lnTo>
                  <a:lnTo>
                    <a:pt x="142" y="218"/>
                  </a:lnTo>
                  <a:lnTo>
                    <a:pt x="160" y="212"/>
                  </a:lnTo>
                  <a:lnTo>
                    <a:pt x="176" y="202"/>
                  </a:lnTo>
                  <a:lnTo>
                    <a:pt x="190" y="192"/>
                  </a:lnTo>
                  <a:lnTo>
                    <a:pt x="202" y="178"/>
                  </a:lnTo>
                  <a:lnTo>
                    <a:pt x="210" y="160"/>
                  </a:lnTo>
                  <a:lnTo>
                    <a:pt x="216" y="144"/>
                  </a:lnTo>
                  <a:lnTo>
                    <a:pt x="218" y="124"/>
                  </a:lnTo>
                  <a:lnTo>
                    <a:pt x="218" y="124"/>
                  </a:lnTo>
                  <a:lnTo>
                    <a:pt x="216" y="104"/>
                  </a:lnTo>
                  <a:lnTo>
                    <a:pt x="210" y="86"/>
                  </a:lnTo>
                  <a:lnTo>
                    <a:pt x="202" y="70"/>
                  </a:lnTo>
                  <a:lnTo>
                    <a:pt x="190" y="56"/>
                  </a:lnTo>
                  <a:lnTo>
                    <a:pt x="176" y="46"/>
                  </a:lnTo>
                  <a:lnTo>
                    <a:pt x="160" y="36"/>
                  </a:lnTo>
                  <a:lnTo>
                    <a:pt x="142" y="30"/>
                  </a:lnTo>
                  <a:lnTo>
                    <a:pt x="122" y="28"/>
                  </a:lnTo>
                  <a:lnTo>
                    <a:pt x="122" y="28"/>
                  </a:lnTo>
                  <a:close/>
                </a:path>
              </a:pathLst>
            </a:custGeom>
            <a:grpFill/>
            <a:ln>
              <a:noFill/>
            </a:ln>
          </p:spPr>
          <p:txBody>
            <a:bodyPr vert="horz" wrap="square" lIns="67211" tIns="33605" rIns="67211" bIns="33605" numCol="1" anchor="t" anchorCtr="0" compatLnSpc="1">
              <a:prstTxWarp prst="textNoShape">
                <a:avLst/>
              </a:prstTxWarp>
            </a:bodyPr>
            <a:lstStyle/>
            <a:p>
              <a:pPr defTabSz="685594" fontAlgn="auto">
                <a:spcBef>
                  <a:spcPts val="0"/>
                </a:spcBef>
                <a:spcAft>
                  <a:spcPts val="0"/>
                </a:spcAft>
                <a:defRPr/>
              </a:pPr>
              <a:endParaRPr lang="en-US" sz="1325" b="0" kern="0" dirty="0">
                <a:solidFill>
                  <a:srgbClr val="FFFFFF"/>
                </a:solidFill>
                <a:latin typeface="Segoe UI Semilight"/>
                <a:ea typeface="MS PGothic" panose="020B0600070205080204" pitchFamily="34" charset="-128"/>
                <a:cs typeface="+mn-cs"/>
              </a:endParaRPr>
            </a:p>
          </p:txBody>
        </p:sp>
        <p:sp>
          <p:nvSpPr>
            <p:cNvPr id="388" name="Freeform 37"/>
            <p:cNvSpPr>
              <a:spLocks/>
            </p:cNvSpPr>
            <p:nvPr/>
          </p:nvSpPr>
          <p:spPr bwMode="auto">
            <a:xfrm>
              <a:off x="2954338" y="6831013"/>
              <a:ext cx="1041400" cy="1301750"/>
            </a:xfrm>
            <a:custGeom>
              <a:avLst/>
              <a:gdLst>
                <a:gd name="T0" fmla="*/ 114 w 656"/>
                <a:gd name="T1" fmla="*/ 784 h 820"/>
                <a:gd name="T2" fmla="*/ 80 w 656"/>
                <a:gd name="T3" fmla="*/ 760 h 820"/>
                <a:gd name="T4" fmla="*/ 172 w 656"/>
                <a:gd name="T5" fmla="*/ 608 h 820"/>
                <a:gd name="T6" fmla="*/ 238 w 656"/>
                <a:gd name="T7" fmla="*/ 672 h 820"/>
                <a:gd name="T8" fmla="*/ 300 w 656"/>
                <a:gd name="T9" fmla="*/ 684 h 820"/>
                <a:gd name="T10" fmla="*/ 328 w 656"/>
                <a:gd name="T11" fmla="*/ 628 h 820"/>
                <a:gd name="T12" fmla="*/ 416 w 656"/>
                <a:gd name="T13" fmla="*/ 630 h 820"/>
                <a:gd name="T14" fmla="*/ 466 w 656"/>
                <a:gd name="T15" fmla="*/ 592 h 820"/>
                <a:gd name="T16" fmla="*/ 446 w 656"/>
                <a:gd name="T17" fmla="*/ 536 h 820"/>
                <a:gd name="T18" fmla="*/ 512 w 656"/>
                <a:gd name="T19" fmla="*/ 474 h 820"/>
                <a:gd name="T20" fmla="*/ 518 w 656"/>
                <a:gd name="T21" fmla="*/ 406 h 820"/>
                <a:gd name="T22" fmla="*/ 464 w 656"/>
                <a:gd name="T23" fmla="*/ 386 h 820"/>
                <a:gd name="T24" fmla="*/ 466 w 656"/>
                <a:gd name="T25" fmla="*/ 296 h 820"/>
                <a:gd name="T26" fmla="*/ 424 w 656"/>
                <a:gd name="T27" fmla="*/ 244 h 820"/>
                <a:gd name="T28" fmla="*/ 372 w 656"/>
                <a:gd name="T29" fmla="*/ 266 h 820"/>
                <a:gd name="T30" fmla="*/ 310 w 656"/>
                <a:gd name="T31" fmla="*/ 200 h 820"/>
                <a:gd name="T32" fmla="*/ 240 w 656"/>
                <a:gd name="T33" fmla="*/ 198 h 820"/>
                <a:gd name="T34" fmla="*/ 198 w 656"/>
                <a:gd name="T35" fmla="*/ 256 h 820"/>
                <a:gd name="T36" fmla="*/ 128 w 656"/>
                <a:gd name="T37" fmla="*/ 244 h 820"/>
                <a:gd name="T38" fmla="*/ 82 w 656"/>
                <a:gd name="T39" fmla="*/ 296 h 820"/>
                <a:gd name="T40" fmla="*/ 84 w 656"/>
                <a:gd name="T41" fmla="*/ 386 h 820"/>
                <a:gd name="T42" fmla="*/ 32 w 656"/>
                <a:gd name="T43" fmla="*/ 406 h 820"/>
                <a:gd name="T44" fmla="*/ 38 w 656"/>
                <a:gd name="T45" fmla="*/ 474 h 820"/>
                <a:gd name="T46" fmla="*/ 102 w 656"/>
                <a:gd name="T47" fmla="*/ 536 h 820"/>
                <a:gd name="T48" fmla="*/ 78 w 656"/>
                <a:gd name="T49" fmla="*/ 550 h 820"/>
                <a:gd name="T50" fmla="*/ 10 w 656"/>
                <a:gd name="T51" fmla="*/ 488 h 820"/>
                <a:gd name="T52" fmla="*/ 6 w 656"/>
                <a:gd name="T53" fmla="*/ 394 h 820"/>
                <a:gd name="T54" fmla="*/ 74 w 656"/>
                <a:gd name="T55" fmla="*/ 334 h 820"/>
                <a:gd name="T56" fmla="*/ 60 w 656"/>
                <a:gd name="T57" fmla="*/ 264 h 820"/>
                <a:gd name="T58" fmla="*/ 138 w 656"/>
                <a:gd name="T59" fmla="*/ 218 h 820"/>
                <a:gd name="T60" fmla="*/ 212 w 656"/>
                <a:gd name="T61" fmla="*/ 192 h 820"/>
                <a:gd name="T62" fmla="*/ 296 w 656"/>
                <a:gd name="T63" fmla="*/ 164 h 820"/>
                <a:gd name="T64" fmla="*/ 342 w 656"/>
                <a:gd name="T65" fmla="*/ 222 h 820"/>
                <a:gd name="T66" fmla="*/ 426 w 656"/>
                <a:gd name="T67" fmla="*/ 216 h 820"/>
                <a:gd name="T68" fmla="*/ 494 w 656"/>
                <a:gd name="T69" fmla="*/ 278 h 820"/>
                <a:gd name="T70" fmla="*/ 490 w 656"/>
                <a:gd name="T71" fmla="*/ 370 h 820"/>
                <a:gd name="T72" fmla="*/ 548 w 656"/>
                <a:gd name="T73" fmla="*/ 410 h 820"/>
                <a:gd name="T74" fmla="*/ 528 w 656"/>
                <a:gd name="T75" fmla="*/ 498 h 820"/>
                <a:gd name="T76" fmla="*/ 492 w 656"/>
                <a:gd name="T77" fmla="*/ 568 h 820"/>
                <a:gd name="T78" fmla="*/ 452 w 656"/>
                <a:gd name="T79" fmla="*/ 646 h 820"/>
                <a:gd name="T80" fmla="*/ 398 w 656"/>
                <a:gd name="T81" fmla="*/ 652 h 820"/>
                <a:gd name="T82" fmla="*/ 330 w 656"/>
                <a:gd name="T83" fmla="*/ 696 h 820"/>
                <a:gd name="T84" fmla="*/ 238 w 656"/>
                <a:gd name="T85" fmla="*/ 710 h 820"/>
                <a:gd name="T86" fmla="*/ 176 w 656"/>
                <a:gd name="T87" fmla="*/ 640 h 820"/>
                <a:gd name="T88" fmla="*/ 232 w 656"/>
                <a:gd name="T89" fmla="*/ 788 h 820"/>
                <a:gd name="T90" fmla="*/ 472 w 656"/>
                <a:gd name="T91" fmla="*/ 730 h 820"/>
                <a:gd name="T92" fmla="*/ 626 w 656"/>
                <a:gd name="T93" fmla="*/ 474 h 820"/>
                <a:gd name="T94" fmla="*/ 546 w 656"/>
                <a:gd name="T95" fmla="*/ 214 h 820"/>
                <a:gd name="T96" fmla="*/ 274 w 656"/>
                <a:gd name="T97" fmla="*/ 84 h 820"/>
                <a:gd name="T98" fmla="*/ 186 w 656"/>
                <a:gd name="T99" fmla="*/ 170 h 820"/>
                <a:gd name="T100" fmla="*/ 30 w 656"/>
                <a:gd name="T101" fmla="*/ 136 h 820"/>
                <a:gd name="T102" fmla="*/ 124 w 656"/>
                <a:gd name="T103" fmla="*/ 2 h 820"/>
                <a:gd name="T104" fmla="*/ 130 w 656"/>
                <a:gd name="T105" fmla="*/ 100 h 820"/>
                <a:gd name="T106" fmla="*/ 240 w 656"/>
                <a:gd name="T107" fmla="*/ 58 h 820"/>
                <a:gd name="T108" fmla="*/ 516 w 656"/>
                <a:gd name="T109" fmla="*/ 144 h 820"/>
                <a:gd name="T110" fmla="*/ 656 w 656"/>
                <a:gd name="T111" fmla="*/ 438 h 820"/>
                <a:gd name="T112" fmla="*/ 544 w 656"/>
                <a:gd name="T113" fmla="*/ 708 h 820"/>
                <a:gd name="T114" fmla="*/ 274 w 656"/>
                <a:gd name="T115" fmla="*/ 820 h 8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56" h="820">
                  <a:moveTo>
                    <a:pt x="274" y="820"/>
                  </a:moveTo>
                  <a:lnTo>
                    <a:pt x="274" y="820"/>
                  </a:lnTo>
                  <a:lnTo>
                    <a:pt x="250" y="818"/>
                  </a:lnTo>
                  <a:lnTo>
                    <a:pt x="228" y="816"/>
                  </a:lnTo>
                  <a:lnTo>
                    <a:pt x="204" y="812"/>
                  </a:lnTo>
                  <a:lnTo>
                    <a:pt x="182" y="808"/>
                  </a:lnTo>
                  <a:lnTo>
                    <a:pt x="158" y="802"/>
                  </a:lnTo>
                  <a:lnTo>
                    <a:pt x="136" y="794"/>
                  </a:lnTo>
                  <a:lnTo>
                    <a:pt x="114" y="784"/>
                  </a:lnTo>
                  <a:lnTo>
                    <a:pt x="94" y="774"/>
                  </a:lnTo>
                  <a:lnTo>
                    <a:pt x="94" y="774"/>
                  </a:lnTo>
                  <a:lnTo>
                    <a:pt x="88" y="770"/>
                  </a:lnTo>
                  <a:lnTo>
                    <a:pt x="88" y="770"/>
                  </a:lnTo>
                  <a:lnTo>
                    <a:pt x="86" y="768"/>
                  </a:lnTo>
                  <a:lnTo>
                    <a:pt x="86" y="768"/>
                  </a:lnTo>
                  <a:lnTo>
                    <a:pt x="82" y="766"/>
                  </a:lnTo>
                  <a:lnTo>
                    <a:pt x="80" y="760"/>
                  </a:lnTo>
                  <a:lnTo>
                    <a:pt x="80" y="760"/>
                  </a:lnTo>
                  <a:lnTo>
                    <a:pt x="80" y="754"/>
                  </a:lnTo>
                  <a:lnTo>
                    <a:pt x="82" y="750"/>
                  </a:lnTo>
                  <a:lnTo>
                    <a:pt x="94" y="730"/>
                  </a:lnTo>
                  <a:lnTo>
                    <a:pt x="158" y="616"/>
                  </a:lnTo>
                  <a:lnTo>
                    <a:pt x="158" y="616"/>
                  </a:lnTo>
                  <a:lnTo>
                    <a:pt x="162" y="612"/>
                  </a:lnTo>
                  <a:lnTo>
                    <a:pt x="166" y="608"/>
                  </a:lnTo>
                  <a:lnTo>
                    <a:pt x="166" y="608"/>
                  </a:lnTo>
                  <a:lnTo>
                    <a:pt x="172" y="608"/>
                  </a:lnTo>
                  <a:lnTo>
                    <a:pt x="176" y="610"/>
                  </a:lnTo>
                  <a:lnTo>
                    <a:pt x="176" y="610"/>
                  </a:lnTo>
                  <a:lnTo>
                    <a:pt x="198" y="620"/>
                  </a:lnTo>
                  <a:lnTo>
                    <a:pt x="222" y="628"/>
                  </a:lnTo>
                  <a:lnTo>
                    <a:pt x="222" y="628"/>
                  </a:lnTo>
                  <a:lnTo>
                    <a:pt x="228" y="632"/>
                  </a:lnTo>
                  <a:lnTo>
                    <a:pt x="232" y="638"/>
                  </a:lnTo>
                  <a:lnTo>
                    <a:pt x="238" y="672"/>
                  </a:lnTo>
                  <a:lnTo>
                    <a:pt x="238" y="672"/>
                  </a:lnTo>
                  <a:lnTo>
                    <a:pt x="238" y="674"/>
                  </a:lnTo>
                  <a:lnTo>
                    <a:pt x="238" y="674"/>
                  </a:lnTo>
                  <a:lnTo>
                    <a:pt x="240" y="678"/>
                  </a:lnTo>
                  <a:lnTo>
                    <a:pt x="244" y="680"/>
                  </a:lnTo>
                  <a:lnTo>
                    <a:pt x="248" y="684"/>
                  </a:lnTo>
                  <a:lnTo>
                    <a:pt x="252" y="684"/>
                  </a:lnTo>
                  <a:lnTo>
                    <a:pt x="296" y="684"/>
                  </a:lnTo>
                  <a:lnTo>
                    <a:pt x="296" y="684"/>
                  </a:lnTo>
                  <a:lnTo>
                    <a:pt x="300" y="684"/>
                  </a:lnTo>
                  <a:lnTo>
                    <a:pt x="306" y="680"/>
                  </a:lnTo>
                  <a:lnTo>
                    <a:pt x="308" y="678"/>
                  </a:lnTo>
                  <a:lnTo>
                    <a:pt x="310" y="674"/>
                  </a:lnTo>
                  <a:lnTo>
                    <a:pt x="310" y="674"/>
                  </a:lnTo>
                  <a:lnTo>
                    <a:pt x="310" y="672"/>
                  </a:lnTo>
                  <a:lnTo>
                    <a:pt x="318" y="638"/>
                  </a:lnTo>
                  <a:lnTo>
                    <a:pt x="318" y="638"/>
                  </a:lnTo>
                  <a:lnTo>
                    <a:pt x="320" y="632"/>
                  </a:lnTo>
                  <a:lnTo>
                    <a:pt x="328" y="628"/>
                  </a:lnTo>
                  <a:lnTo>
                    <a:pt x="328" y="628"/>
                  </a:lnTo>
                  <a:lnTo>
                    <a:pt x="350" y="620"/>
                  </a:lnTo>
                  <a:lnTo>
                    <a:pt x="372" y="610"/>
                  </a:lnTo>
                  <a:lnTo>
                    <a:pt x="372" y="610"/>
                  </a:lnTo>
                  <a:lnTo>
                    <a:pt x="380" y="608"/>
                  </a:lnTo>
                  <a:lnTo>
                    <a:pt x="386" y="610"/>
                  </a:lnTo>
                  <a:lnTo>
                    <a:pt x="414" y="628"/>
                  </a:lnTo>
                  <a:lnTo>
                    <a:pt x="414" y="628"/>
                  </a:lnTo>
                  <a:lnTo>
                    <a:pt x="416" y="630"/>
                  </a:lnTo>
                  <a:lnTo>
                    <a:pt x="416" y="630"/>
                  </a:lnTo>
                  <a:lnTo>
                    <a:pt x="420" y="632"/>
                  </a:lnTo>
                  <a:lnTo>
                    <a:pt x="424" y="632"/>
                  </a:lnTo>
                  <a:lnTo>
                    <a:pt x="424" y="632"/>
                  </a:lnTo>
                  <a:lnTo>
                    <a:pt x="428" y="630"/>
                  </a:lnTo>
                  <a:lnTo>
                    <a:pt x="434" y="628"/>
                  </a:lnTo>
                  <a:lnTo>
                    <a:pt x="464" y="596"/>
                  </a:lnTo>
                  <a:lnTo>
                    <a:pt x="464" y="596"/>
                  </a:lnTo>
                  <a:lnTo>
                    <a:pt x="466" y="592"/>
                  </a:lnTo>
                  <a:lnTo>
                    <a:pt x="468" y="588"/>
                  </a:lnTo>
                  <a:lnTo>
                    <a:pt x="468" y="584"/>
                  </a:lnTo>
                  <a:lnTo>
                    <a:pt x="466" y="580"/>
                  </a:lnTo>
                  <a:lnTo>
                    <a:pt x="466" y="580"/>
                  </a:lnTo>
                  <a:lnTo>
                    <a:pt x="466" y="578"/>
                  </a:lnTo>
                  <a:lnTo>
                    <a:pt x="446" y="550"/>
                  </a:lnTo>
                  <a:lnTo>
                    <a:pt x="446" y="550"/>
                  </a:lnTo>
                  <a:lnTo>
                    <a:pt x="444" y="542"/>
                  </a:lnTo>
                  <a:lnTo>
                    <a:pt x="446" y="536"/>
                  </a:lnTo>
                  <a:lnTo>
                    <a:pt x="446" y="536"/>
                  </a:lnTo>
                  <a:lnTo>
                    <a:pt x="456" y="514"/>
                  </a:lnTo>
                  <a:lnTo>
                    <a:pt x="464" y="490"/>
                  </a:lnTo>
                  <a:lnTo>
                    <a:pt x="464" y="490"/>
                  </a:lnTo>
                  <a:lnTo>
                    <a:pt x="468" y="484"/>
                  </a:lnTo>
                  <a:lnTo>
                    <a:pt x="476" y="480"/>
                  </a:lnTo>
                  <a:lnTo>
                    <a:pt x="508" y="474"/>
                  </a:lnTo>
                  <a:lnTo>
                    <a:pt x="508" y="474"/>
                  </a:lnTo>
                  <a:lnTo>
                    <a:pt x="512" y="474"/>
                  </a:lnTo>
                  <a:lnTo>
                    <a:pt x="512" y="474"/>
                  </a:lnTo>
                  <a:lnTo>
                    <a:pt x="514" y="472"/>
                  </a:lnTo>
                  <a:lnTo>
                    <a:pt x="518" y="468"/>
                  </a:lnTo>
                  <a:lnTo>
                    <a:pt x="520" y="464"/>
                  </a:lnTo>
                  <a:lnTo>
                    <a:pt x="520" y="460"/>
                  </a:lnTo>
                  <a:lnTo>
                    <a:pt x="520" y="416"/>
                  </a:lnTo>
                  <a:lnTo>
                    <a:pt x="520" y="416"/>
                  </a:lnTo>
                  <a:lnTo>
                    <a:pt x="520" y="412"/>
                  </a:lnTo>
                  <a:lnTo>
                    <a:pt x="518" y="406"/>
                  </a:lnTo>
                  <a:lnTo>
                    <a:pt x="514" y="404"/>
                  </a:lnTo>
                  <a:lnTo>
                    <a:pt x="512" y="402"/>
                  </a:lnTo>
                  <a:lnTo>
                    <a:pt x="512" y="402"/>
                  </a:lnTo>
                  <a:lnTo>
                    <a:pt x="508" y="402"/>
                  </a:lnTo>
                  <a:lnTo>
                    <a:pt x="476" y="396"/>
                  </a:lnTo>
                  <a:lnTo>
                    <a:pt x="476" y="396"/>
                  </a:lnTo>
                  <a:lnTo>
                    <a:pt x="468" y="392"/>
                  </a:lnTo>
                  <a:lnTo>
                    <a:pt x="464" y="386"/>
                  </a:lnTo>
                  <a:lnTo>
                    <a:pt x="464" y="386"/>
                  </a:lnTo>
                  <a:lnTo>
                    <a:pt x="456" y="362"/>
                  </a:lnTo>
                  <a:lnTo>
                    <a:pt x="446" y="340"/>
                  </a:lnTo>
                  <a:lnTo>
                    <a:pt x="446" y="340"/>
                  </a:lnTo>
                  <a:lnTo>
                    <a:pt x="444" y="334"/>
                  </a:lnTo>
                  <a:lnTo>
                    <a:pt x="446" y="326"/>
                  </a:lnTo>
                  <a:lnTo>
                    <a:pt x="466" y="298"/>
                  </a:lnTo>
                  <a:lnTo>
                    <a:pt x="466" y="298"/>
                  </a:lnTo>
                  <a:lnTo>
                    <a:pt x="466" y="296"/>
                  </a:lnTo>
                  <a:lnTo>
                    <a:pt x="466" y="296"/>
                  </a:lnTo>
                  <a:lnTo>
                    <a:pt x="468" y="292"/>
                  </a:lnTo>
                  <a:lnTo>
                    <a:pt x="468" y="288"/>
                  </a:lnTo>
                  <a:lnTo>
                    <a:pt x="466" y="284"/>
                  </a:lnTo>
                  <a:lnTo>
                    <a:pt x="464" y="280"/>
                  </a:lnTo>
                  <a:lnTo>
                    <a:pt x="434" y="248"/>
                  </a:lnTo>
                  <a:lnTo>
                    <a:pt x="434" y="248"/>
                  </a:lnTo>
                  <a:lnTo>
                    <a:pt x="428" y="246"/>
                  </a:lnTo>
                  <a:lnTo>
                    <a:pt x="424" y="244"/>
                  </a:lnTo>
                  <a:lnTo>
                    <a:pt x="424" y="244"/>
                  </a:lnTo>
                  <a:lnTo>
                    <a:pt x="420" y="244"/>
                  </a:lnTo>
                  <a:lnTo>
                    <a:pt x="416" y="246"/>
                  </a:lnTo>
                  <a:lnTo>
                    <a:pt x="416" y="246"/>
                  </a:lnTo>
                  <a:lnTo>
                    <a:pt x="414" y="248"/>
                  </a:lnTo>
                  <a:lnTo>
                    <a:pt x="386" y="266"/>
                  </a:lnTo>
                  <a:lnTo>
                    <a:pt x="386" y="266"/>
                  </a:lnTo>
                  <a:lnTo>
                    <a:pt x="380" y="268"/>
                  </a:lnTo>
                  <a:lnTo>
                    <a:pt x="372" y="266"/>
                  </a:lnTo>
                  <a:lnTo>
                    <a:pt x="372" y="266"/>
                  </a:lnTo>
                  <a:lnTo>
                    <a:pt x="350" y="256"/>
                  </a:lnTo>
                  <a:lnTo>
                    <a:pt x="328" y="248"/>
                  </a:lnTo>
                  <a:lnTo>
                    <a:pt x="328" y="248"/>
                  </a:lnTo>
                  <a:lnTo>
                    <a:pt x="320" y="244"/>
                  </a:lnTo>
                  <a:lnTo>
                    <a:pt x="318" y="236"/>
                  </a:lnTo>
                  <a:lnTo>
                    <a:pt x="310" y="204"/>
                  </a:lnTo>
                  <a:lnTo>
                    <a:pt x="310" y="204"/>
                  </a:lnTo>
                  <a:lnTo>
                    <a:pt x="310" y="200"/>
                  </a:lnTo>
                  <a:lnTo>
                    <a:pt x="310" y="200"/>
                  </a:lnTo>
                  <a:lnTo>
                    <a:pt x="308" y="198"/>
                  </a:lnTo>
                  <a:lnTo>
                    <a:pt x="306" y="196"/>
                  </a:lnTo>
                  <a:lnTo>
                    <a:pt x="300" y="192"/>
                  </a:lnTo>
                  <a:lnTo>
                    <a:pt x="296" y="192"/>
                  </a:lnTo>
                  <a:lnTo>
                    <a:pt x="254" y="192"/>
                  </a:lnTo>
                  <a:lnTo>
                    <a:pt x="254" y="192"/>
                  </a:lnTo>
                  <a:lnTo>
                    <a:pt x="248" y="192"/>
                  </a:lnTo>
                  <a:lnTo>
                    <a:pt x="244" y="196"/>
                  </a:lnTo>
                  <a:lnTo>
                    <a:pt x="240" y="198"/>
                  </a:lnTo>
                  <a:lnTo>
                    <a:pt x="238" y="200"/>
                  </a:lnTo>
                  <a:lnTo>
                    <a:pt x="238" y="200"/>
                  </a:lnTo>
                  <a:lnTo>
                    <a:pt x="238" y="204"/>
                  </a:lnTo>
                  <a:lnTo>
                    <a:pt x="232" y="236"/>
                  </a:lnTo>
                  <a:lnTo>
                    <a:pt x="232" y="236"/>
                  </a:lnTo>
                  <a:lnTo>
                    <a:pt x="228" y="244"/>
                  </a:lnTo>
                  <a:lnTo>
                    <a:pt x="222" y="248"/>
                  </a:lnTo>
                  <a:lnTo>
                    <a:pt x="222" y="248"/>
                  </a:lnTo>
                  <a:lnTo>
                    <a:pt x="198" y="256"/>
                  </a:lnTo>
                  <a:lnTo>
                    <a:pt x="176" y="266"/>
                  </a:lnTo>
                  <a:lnTo>
                    <a:pt x="176" y="266"/>
                  </a:lnTo>
                  <a:lnTo>
                    <a:pt x="170" y="268"/>
                  </a:lnTo>
                  <a:lnTo>
                    <a:pt x="162" y="266"/>
                  </a:lnTo>
                  <a:lnTo>
                    <a:pt x="134" y="248"/>
                  </a:lnTo>
                  <a:lnTo>
                    <a:pt x="134" y="248"/>
                  </a:lnTo>
                  <a:lnTo>
                    <a:pt x="132" y="246"/>
                  </a:lnTo>
                  <a:lnTo>
                    <a:pt x="132" y="246"/>
                  </a:lnTo>
                  <a:lnTo>
                    <a:pt x="128" y="244"/>
                  </a:lnTo>
                  <a:lnTo>
                    <a:pt x="124" y="244"/>
                  </a:lnTo>
                  <a:lnTo>
                    <a:pt x="120" y="246"/>
                  </a:lnTo>
                  <a:lnTo>
                    <a:pt x="116" y="248"/>
                  </a:lnTo>
                  <a:lnTo>
                    <a:pt x="86" y="278"/>
                  </a:lnTo>
                  <a:lnTo>
                    <a:pt x="86" y="278"/>
                  </a:lnTo>
                  <a:lnTo>
                    <a:pt x="82" y="284"/>
                  </a:lnTo>
                  <a:lnTo>
                    <a:pt x="80" y="288"/>
                  </a:lnTo>
                  <a:lnTo>
                    <a:pt x="80" y="292"/>
                  </a:lnTo>
                  <a:lnTo>
                    <a:pt x="82" y="296"/>
                  </a:lnTo>
                  <a:lnTo>
                    <a:pt x="82" y="296"/>
                  </a:lnTo>
                  <a:lnTo>
                    <a:pt x="84" y="298"/>
                  </a:lnTo>
                  <a:lnTo>
                    <a:pt x="102" y="326"/>
                  </a:lnTo>
                  <a:lnTo>
                    <a:pt x="102" y="326"/>
                  </a:lnTo>
                  <a:lnTo>
                    <a:pt x="104" y="334"/>
                  </a:lnTo>
                  <a:lnTo>
                    <a:pt x="102" y="340"/>
                  </a:lnTo>
                  <a:lnTo>
                    <a:pt x="102" y="340"/>
                  </a:lnTo>
                  <a:lnTo>
                    <a:pt x="92" y="362"/>
                  </a:lnTo>
                  <a:lnTo>
                    <a:pt x="84" y="386"/>
                  </a:lnTo>
                  <a:lnTo>
                    <a:pt x="84" y="386"/>
                  </a:lnTo>
                  <a:lnTo>
                    <a:pt x="80" y="392"/>
                  </a:lnTo>
                  <a:lnTo>
                    <a:pt x="74" y="396"/>
                  </a:lnTo>
                  <a:lnTo>
                    <a:pt x="40" y="402"/>
                  </a:lnTo>
                  <a:lnTo>
                    <a:pt x="40" y="402"/>
                  </a:lnTo>
                  <a:lnTo>
                    <a:pt x="38" y="402"/>
                  </a:lnTo>
                  <a:lnTo>
                    <a:pt x="38" y="402"/>
                  </a:lnTo>
                  <a:lnTo>
                    <a:pt x="34" y="404"/>
                  </a:lnTo>
                  <a:lnTo>
                    <a:pt x="32" y="406"/>
                  </a:lnTo>
                  <a:lnTo>
                    <a:pt x="30" y="412"/>
                  </a:lnTo>
                  <a:lnTo>
                    <a:pt x="28" y="416"/>
                  </a:lnTo>
                  <a:lnTo>
                    <a:pt x="28" y="460"/>
                  </a:lnTo>
                  <a:lnTo>
                    <a:pt x="28" y="460"/>
                  </a:lnTo>
                  <a:lnTo>
                    <a:pt x="30" y="464"/>
                  </a:lnTo>
                  <a:lnTo>
                    <a:pt x="32" y="468"/>
                  </a:lnTo>
                  <a:lnTo>
                    <a:pt x="34" y="472"/>
                  </a:lnTo>
                  <a:lnTo>
                    <a:pt x="38" y="474"/>
                  </a:lnTo>
                  <a:lnTo>
                    <a:pt x="38" y="474"/>
                  </a:lnTo>
                  <a:lnTo>
                    <a:pt x="40" y="474"/>
                  </a:lnTo>
                  <a:lnTo>
                    <a:pt x="74" y="480"/>
                  </a:lnTo>
                  <a:lnTo>
                    <a:pt x="74" y="480"/>
                  </a:lnTo>
                  <a:lnTo>
                    <a:pt x="80" y="484"/>
                  </a:lnTo>
                  <a:lnTo>
                    <a:pt x="84" y="490"/>
                  </a:lnTo>
                  <a:lnTo>
                    <a:pt x="84" y="490"/>
                  </a:lnTo>
                  <a:lnTo>
                    <a:pt x="92" y="514"/>
                  </a:lnTo>
                  <a:lnTo>
                    <a:pt x="102" y="536"/>
                  </a:lnTo>
                  <a:lnTo>
                    <a:pt x="102" y="536"/>
                  </a:lnTo>
                  <a:lnTo>
                    <a:pt x="104" y="540"/>
                  </a:lnTo>
                  <a:lnTo>
                    <a:pt x="104" y="546"/>
                  </a:lnTo>
                  <a:lnTo>
                    <a:pt x="102" y="550"/>
                  </a:lnTo>
                  <a:lnTo>
                    <a:pt x="98" y="554"/>
                  </a:lnTo>
                  <a:lnTo>
                    <a:pt x="98" y="554"/>
                  </a:lnTo>
                  <a:lnTo>
                    <a:pt x="92" y="556"/>
                  </a:lnTo>
                  <a:lnTo>
                    <a:pt x="86" y="556"/>
                  </a:lnTo>
                  <a:lnTo>
                    <a:pt x="82" y="554"/>
                  </a:lnTo>
                  <a:lnTo>
                    <a:pt x="78" y="550"/>
                  </a:lnTo>
                  <a:lnTo>
                    <a:pt x="78" y="550"/>
                  </a:lnTo>
                  <a:lnTo>
                    <a:pt x="68" y="528"/>
                  </a:lnTo>
                  <a:lnTo>
                    <a:pt x="60" y="506"/>
                  </a:lnTo>
                  <a:lnTo>
                    <a:pt x="36" y="502"/>
                  </a:lnTo>
                  <a:lnTo>
                    <a:pt x="36" y="502"/>
                  </a:lnTo>
                  <a:lnTo>
                    <a:pt x="28" y="500"/>
                  </a:lnTo>
                  <a:lnTo>
                    <a:pt x="22" y="496"/>
                  </a:lnTo>
                  <a:lnTo>
                    <a:pt x="16" y="492"/>
                  </a:lnTo>
                  <a:lnTo>
                    <a:pt x="10" y="488"/>
                  </a:lnTo>
                  <a:lnTo>
                    <a:pt x="6" y="480"/>
                  </a:lnTo>
                  <a:lnTo>
                    <a:pt x="2" y="474"/>
                  </a:lnTo>
                  <a:lnTo>
                    <a:pt x="0" y="466"/>
                  </a:lnTo>
                  <a:lnTo>
                    <a:pt x="0" y="460"/>
                  </a:lnTo>
                  <a:lnTo>
                    <a:pt x="0" y="416"/>
                  </a:lnTo>
                  <a:lnTo>
                    <a:pt x="0" y="416"/>
                  </a:lnTo>
                  <a:lnTo>
                    <a:pt x="0" y="410"/>
                  </a:lnTo>
                  <a:lnTo>
                    <a:pt x="2" y="402"/>
                  </a:lnTo>
                  <a:lnTo>
                    <a:pt x="6" y="394"/>
                  </a:lnTo>
                  <a:lnTo>
                    <a:pt x="10" y="388"/>
                  </a:lnTo>
                  <a:lnTo>
                    <a:pt x="16" y="384"/>
                  </a:lnTo>
                  <a:lnTo>
                    <a:pt x="22" y="378"/>
                  </a:lnTo>
                  <a:lnTo>
                    <a:pt x="28" y="376"/>
                  </a:lnTo>
                  <a:lnTo>
                    <a:pt x="36" y="374"/>
                  </a:lnTo>
                  <a:lnTo>
                    <a:pt x="60" y="370"/>
                  </a:lnTo>
                  <a:lnTo>
                    <a:pt x="60" y="370"/>
                  </a:lnTo>
                  <a:lnTo>
                    <a:pt x="66" y="352"/>
                  </a:lnTo>
                  <a:lnTo>
                    <a:pt x="74" y="334"/>
                  </a:lnTo>
                  <a:lnTo>
                    <a:pt x="60" y="314"/>
                  </a:lnTo>
                  <a:lnTo>
                    <a:pt x="60" y="314"/>
                  </a:lnTo>
                  <a:lnTo>
                    <a:pt x="56" y="308"/>
                  </a:lnTo>
                  <a:lnTo>
                    <a:pt x="54" y="300"/>
                  </a:lnTo>
                  <a:lnTo>
                    <a:pt x="52" y="294"/>
                  </a:lnTo>
                  <a:lnTo>
                    <a:pt x="52" y="286"/>
                  </a:lnTo>
                  <a:lnTo>
                    <a:pt x="54" y="278"/>
                  </a:lnTo>
                  <a:lnTo>
                    <a:pt x="56" y="272"/>
                  </a:lnTo>
                  <a:lnTo>
                    <a:pt x="60" y="264"/>
                  </a:lnTo>
                  <a:lnTo>
                    <a:pt x="66" y="260"/>
                  </a:lnTo>
                  <a:lnTo>
                    <a:pt x="96" y="228"/>
                  </a:lnTo>
                  <a:lnTo>
                    <a:pt x="96" y="228"/>
                  </a:lnTo>
                  <a:lnTo>
                    <a:pt x="102" y="224"/>
                  </a:lnTo>
                  <a:lnTo>
                    <a:pt x="108" y="220"/>
                  </a:lnTo>
                  <a:lnTo>
                    <a:pt x="114" y="218"/>
                  </a:lnTo>
                  <a:lnTo>
                    <a:pt x="122" y="216"/>
                  </a:lnTo>
                  <a:lnTo>
                    <a:pt x="130" y="216"/>
                  </a:lnTo>
                  <a:lnTo>
                    <a:pt x="138" y="218"/>
                  </a:lnTo>
                  <a:lnTo>
                    <a:pt x="144" y="220"/>
                  </a:lnTo>
                  <a:lnTo>
                    <a:pt x="150" y="224"/>
                  </a:lnTo>
                  <a:lnTo>
                    <a:pt x="170" y="238"/>
                  </a:lnTo>
                  <a:lnTo>
                    <a:pt x="170" y="238"/>
                  </a:lnTo>
                  <a:lnTo>
                    <a:pt x="188" y="230"/>
                  </a:lnTo>
                  <a:lnTo>
                    <a:pt x="206" y="222"/>
                  </a:lnTo>
                  <a:lnTo>
                    <a:pt x="210" y="200"/>
                  </a:lnTo>
                  <a:lnTo>
                    <a:pt x="210" y="200"/>
                  </a:lnTo>
                  <a:lnTo>
                    <a:pt x="212" y="192"/>
                  </a:lnTo>
                  <a:lnTo>
                    <a:pt x="216" y="186"/>
                  </a:lnTo>
                  <a:lnTo>
                    <a:pt x="220" y="180"/>
                  </a:lnTo>
                  <a:lnTo>
                    <a:pt x="226" y="174"/>
                  </a:lnTo>
                  <a:lnTo>
                    <a:pt x="232" y="170"/>
                  </a:lnTo>
                  <a:lnTo>
                    <a:pt x="238" y="166"/>
                  </a:lnTo>
                  <a:lnTo>
                    <a:pt x="246" y="164"/>
                  </a:lnTo>
                  <a:lnTo>
                    <a:pt x="254" y="164"/>
                  </a:lnTo>
                  <a:lnTo>
                    <a:pt x="296" y="164"/>
                  </a:lnTo>
                  <a:lnTo>
                    <a:pt x="296" y="164"/>
                  </a:lnTo>
                  <a:lnTo>
                    <a:pt x="304" y="164"/>
                  </a:lnTo>
                  <a:lnTo>
                    <a:pt x="310" y="166"/>
                  </a:lnTo>
                  <a:lnTo>
                    <a:pt x="318" y="170"/>
                  </a:lnTo>
                  <a:lnTo>
                    <a:pt x="324" y="174"/>
                  </a:lnTo>
                  <a:lnTo>
                    <a:pt x="330" y="180"/>
                  </a:lnTo>
                  <a:lnTo>
                    <a:pt x="334" y="186"/>
                  </a:lnTo>
                  <a:lnTo>
                    <a:pt x="336" y="192"/>
                  </a:lnTo>
                  <a:lnTo>
                    <a:pt x="338" y="200"/>
                  </a:lnTo>
                  <a:lnTo>
                    <a:pt x="342" y="222"/>
                  </a:lnTo>
                  <a:lnTo>
                    <a:pt x="342" y="222"/>
                  </a:lnTo>
                  <a:lnTo>
                    <a:pt x="360" y="230"/>
                  </a:lnTo>
                  <a:lnTo>
                    <a:pt x="378" y="238"/>
                  </a:lnTo>
                  <a:lnTo>
                    <a:pt x="398" y="224"/>
                  </a:lnTo>
                  <a:lnTo>
                    <a:pt x="398" y="224"/>
                  </a:lnTo>
                  <a:lnTo>
                    <a:pt x="404" y="220"/>
                  </a:lnTo>
                  <a:lnTo>
                    <a:pt x="412" y="218"/>
                  </a:lnTo>
                  <a:lnTo>
                    <a:pt x="418" y="216"/>
                  </a:lnTo>
                  <a:lnTo>
                    <a:pt x="426" y="216"/>
                  </a:lnTo>
                  <a:lnTo>
                    <a:pt x="426" y="216"/>
                  </a:lnTo>
                  <a:lnTo>
                    <a:pt x="442" y="220"/>
                  </a:lnTo>
                  <a:lnTo>
                    <a:pt x="448" y="224"/>
                  </a:lnTo>
                  <a:lnTo>
                    <a:pt x="454" y="230"/>
                  </a:lnTo>
                  <a:lnTo>
                    <a:pt x="484" y="260"/>
                  </a:lnTo>
                  <a:lnTo>
                    <a:pt x="484" y="260"/>
                  </a:lnTo>
                  <a:lnTo>
                    <a:pt x="488" y="264"/>
                  </a:lnTo>
                  <a:lnTo>
                    <a:pt x="492" y="272"/>
                  </a:lnTo>
                  <a:lnTo>
                    <a:pt x="494" y="278"/>
                  </a:lnTo>
                  <a:lnTo>
                    <a:pt x="496" y="286"/>
                  </a:lnTo>
                  <a:lnTo>
                    <a:pt x="496" y="294"/>
                  </a:lnTo>
                  <a:lnTo>
                    <a:pt x="494" y="300"/>
                  </a:lnTo>
                  <a:lnTo>
                    <a:pt x="492" y="308"/>
                  </a:lnTo>
                  <a:lnTo>
                    <a:pt x="488" y="314"/>
                  </a:lnTo>
                  <a:lnTo>
                    <a:pt x="474" y="334"/>
                  </a:lnTo>
                  <a:lnTo>
                    <a:pt x="474" y="334"/>
                  </a:lnTo>
                  <a:lnTo>
                    <a:pt x="482" y="352"/>
                  </a:lnTo>
                  <a:lnTo>
                    <a:pt x="490" y="370"/>
                  </a:lnTo>
                  <a:lnTo>
                    <a:pt x="512" y="374"/>
                  </a:lnTo>
                  <a:lnTo>
                    <a:pt x="512" y="374"/>
                  </a:lnTo>
                  <a:lnTo>
                    <a:pt x="520" y="376"/>
                  </a:lnTo>
                  <a:lnTo>
                    <a:pt x="528" y="378"/>
                  </a:lnTo>
                  <a:lnTo>
                    <a:pt x="534" y="384"/>
                  </a:lnTo>
                  <a:lnTo>
                    <a:pt x="538" y="388"/>
                  </a:lnTo>
                  <a:lnTo>
                    <a:pt x="542" y="396"/>
                  </a:lnTo>
                  <a:lnTo>
                    <a:pt x="546" y="402"/>
                  </a:lnTo>
                  <a:lnTo>
                    <a:pt x="548" y="410"/>
                  </a:lnTo>
                  <a:lnTo>
                    <a:pt x="548" y="416"/>
                  </a:lnTo>
                  <a:lnTo>
                    <a:pt x="548" y="460"/>
                  </a:lnTo>
                  <a:lnTo>
                    <a:pt x="548" y="460"/>
                  </a:lnTo>
                  <a:lnTo>
                    <a:pt x="548" y="466"/>
                  </a:lnTo>
                  <a:lnTo>
                    <a:pt x="546" y="474"/>
                  </a:lnTo>
                  <a:lnTo>
                    <a:pt x="542" y="480"/>
                  </a:lnTo>
                  <a:lnTo>
                    <a:pt x="538" y="488"/>
                  </a:lnTo>
                  <a:lnTo>
                    <a:pt x="534" y="492"/>
                  </a:lnTo>
                  <a:lnTo>
                    <a:pt x="528" y="498"/>
                  </a:lnTo>
                  <a:lnTo>
                    <a:pt x="520" y="500"/>
                  </a:lnTo>
                  <a:lnTo>
                    <a:pt x="512" y="502"/>
                  </a:lnTo>
                  <a:lnTo>
                    <a:pt x="490" y="506"/>
                  </a:lnTo>
                  <a:lnTo>
                    <a:pt x="490" y="506"/>
                  </a:lnTo>
                  <a:lnTo>
                    <a:pt x="482" y="524"/>
                  </a:lnTo>
                  <a:lnTo>
                    <a:pt x="474" y="542"/>
                  </a:lnTo>
                  <a:lnTo>
                    <a:pt x="488" y="562"/>
                  </a:lnTo>
                  <a:lnTo>
                    <a:pt x="488" y="562"/>
                  </a:lnTo>
                  <a:lnTo>
                    <a:pt x="492" y="568"/>
                  </a:lnTo>
                  <a:lnTo>
                    <a:pt x="494" y="574"/>
                  </a:lnTo>
                  <a:lnTo>
                    <a:pt x="496" y="582"/>
                  </a:lnTo>
                  <a:lnTo>
                    <a:pt x="496" y="590"/>
                  </a:lnTo>
                  <a:lnTo>
                    <a:pt x="494" y="598"/>
                  </a:lnTo>
                  <a:lnTo>
                    <a:pt x="492" y="604"/>
                  </a:lnTo>
                  <a:lnTo>
                    <a:pt x="488" y="610"/>
                  </a:lnTo>
                  <a:lnTo>
                    <a:pt x="484" y="616"/>
                  </a:lnTo>
                  <a:lnTo>
                    <a:pt x="452" y="646"/>
                  </a:lnTo>
                  <a:lnTo>
                    <a:pt x="452" y="646"/>
                  </a:lnTo>
                  <a:lnTo>
                    <a:pt x="448" y="652"/>
                  </a:lnTo>
                  <a:lnTo>
                    <a:pt x="442" y="656"/>
                  </a:lnTo>
                  <a:lnTo>
                    <a:pt x="434" y="658"/>
                  </a:lnTo>
                  <a:lnTo>
                    <a:pt x="426" y="660"/>
                  </a:lnTo>
                  <a:lnTo>
                    <a:pt x="426" y="660"/>
                  </a:lnTo>
                  <a:lnTo>
                    <a:pt x="418" y="660"/>
                  </a:lnTo>
                  <a:lnTo>
                    <a:pt x="412" y="658"/>
                  </a:lnTo>
                  <a:lnTo>
                    <a:pt x="404" y="656"/>
                  </a:lnTo>
                  <a:lnTo>
                    <a:pt x="398" y="652"/>
                  </a:lnTo>
                  <a:lnTo>
                    <a:pt x="378" y="638"/>
                  </a:lnTo>
                  <a:lnTo>
                    <a:pt x="378" y="638"/>
                  </a:lnTo>
                  <a:lnTo>
                    <a:pt x="360" y="646"/>
                  </a:lnTo>
                  <a:lnTo>
                    <a:pt x="342" y="652"/>
                  </a:lnTo>
                  <a:lnTo>
                    <a:pt x="338" y="676"/>
                  </a:lnTo>
                  <a:lnTo>
                    <a:pt x="338" y="676"/>
                  </a:lnTo>
                  <a:lnTo>
                    <a:pt x="336" y="684"/>
                  </a:lnTo>
                  <a:lnTo>
                    <a:pt x="334" y="690"/>
                  </a:lnTo>
                  <a:lnTo>
                    <a:pt x="330" y="696"/>
                  </a:lnTo>
                  <a:lnTo>
                    <a:pt x="324" y="702"/>
                  </a:lnTo>
                  <a:lnTo>
                    <a:pt x="318" y="706"/>
                  </a:lnTo>
                  <a:lnTo>
                    <a:pt x="310" y="710"/>
                  </a:lnTo>
                  <a:lnTo>
                    <a:pt x="302" y="712"/>
                  </a:lnTo>
                  <a:lnTo>
                    <a:pt x="296" y="712"/>
                  </a:lnTo>
                  <a:lnTo>
                    <a:pt x="252" y="712"/>
                  </a:lnTo>
                  <a:lnTo>
                    <a:pt x="252" y="712"/>
                  </a:lnTo>
                  <a:lnTo>
                    <a:pt x="246" y="712"/>
                  </a:lnTo>
                  <a:lnTo>
                    <a:pt x="238" y="710"/>
                  </a:lnTo>
                  <a:lnTo>
                    <a:pt x="232" y="706"/>
                  </a:lnTo>
                  <a:lnTo>
                    <a:pt x="226" y="702"/>
                  </a:lnTo>
                  <a:lnTo>
                    <a:pt x="220" y="696"/>
                  </a:lnTo>
                  <a:lnTo>
                    <a:pt x="216" y="690"/>
                  </a:lnTo>
                  <a:lnTo>
                    <a:pt x="212" y="684"/>
                  </a:lnTo>
                  <a:lnTo>
                    <a:pt x="210" y="676"/>
                  </a:lnTo>
                  <a:lnTo>
                    <a:pt x="206" y="652"/>
                  </a:lnTo>
                  <a:lnTo>
                    <a:pt x="206" y="652"/>
                  </a:lnTo>
                  <a:lnTo>
                    <a:pt x="176" y="640"/>
                  </a:lnTo>
                  <a:lnTo>
                    <a:pt x="118" y="744"/>
                  </a:lnTo>
                  <a:lnTo>
                    <a:pt x="112" y="752"/>
                  </a:lnTo>
                  <a:lnTo>
                    <a:pt x="112" y="752"/>
                  </a:lnTo>
                  <a:lnTo>
                    <a:pt x="132" y="762"/>
                  </a:lnTo>
                  <a:lnTo>
                    <a:pt x="150" y="770"/>
                  </a:lnTo>
                  <a:lnTo>
                    <a:pt x="170" y="776"/>
                  </a:lnTo>
                  <a:lnTo>
                    <a:pt x="190" y="782"/>
                  </a:lnTo>
                  <a:lnTo>
                    <a:pt x="212" y="786"/>
                  </a:lnTo>
                  <a:lnTo>
                    <a:pt x="232" y="788"/>
                  </a:lnTo>
                  <a:lnTo>
                    <a:pt x="254" y="790"/>
                  </a:lnTo>
                  <a:lnTo>
                    <a:pt x="274" y="792"/>
                  </a:lnTo>
                  <a:lnTo>
                    <a:pt x="274" y="792"/>
                  </a:lnTo>
                  <a:lnTo>
                    <a:pt x="310" y="790"/>
                  </a:lnTo>
                  <a:lnTo>
                    <a:pt x="346" y="784"/>
                  </a:lnTo>
                  <a:lnTo>
                    <a:pt x="380" y="776"/>
                  </a:lnTo>
                  <a:lnTo>
                    <a:pt x="412" y="764"/>
                  </a:lnTo>
                  <a:lnTo>
                    <a:pt x="442" y="748"/>
                  </a:lnTo>
                  <a:lnTo>
                    <a:pt x="472" y="730"/>
                  </a:lnTo>
                  <a:lnTo>
                    <a:pt x="500" y="710"/>
                  </a:lnTo>
                  <a:lnTo>
                    <a:pt x="524" y="688"/>
                  </a:lnTo>
                  <a:lnTo>
                    <a:pt x="546" y="662"/>
                  </a:lnTo>
                  <a:lnTo>
                    <a:pt x="568" y="636"/>
                  </a:lnTo>
                  <a:lnTo>
                    <a:pt x="586" y="606"/>
                  </a:lnTo>
                  <a:lnTo>
                    <a:pt x="600" y="576"/>
                  </a:lnTo>
                  <a:lnTo>
                    <a:pt x="612" y="542"/>
                  </a:lnTo>
                  <a:lnTo>
                    <a:pt x="620" y="510"/>
                  </a:lnTo>
                  <a:lnTo>
                    <a:pt x="626" y="474"/>
                  </a:lnTo>
                  <a:lnTo>
                    <a:pt x="628" y="438"/>
                  </a:lnTo>
                  <a:lnTo>
                    <a:pt x="628" y="438"/>
                  </a:lnTo>
                  <a:lnTo>
                    <a:pt x="626" y="402"/>
                  </a:lnTo>
                  <a:lnTo>
                    <a:pt x="620" y="366"/>
                  </a:lnTo>
                  <a:lnTo>
                    <a:pt x="612" y="332"/>
                  </a:lnTo>
                  <a:lnTo>
                    <a:pt x="600" y="300"/>
                  </a:lnTo>
                  <a:lnTo>
                    <a:pt x="586" y="270"/>
                  </a:lnTo>
                  <a:lnTo>
                    <a:pt x="568" y="240"/>
                  </a:lnTo>
                  <a:lnTo>
                    <a:pt x="546" y="214"/>
                  </a:lnTo>
                  <a:lnTo>
                    <a:pt x="524" y="188"/>
                  </a:lnTo>
                  <a:lnTo>
                    <a:pt x="500" y="166"/>
                  </a:lnTo>
                  <a:lnTo>
                    <a:pt x="472" y="144"/>
                  </a:lnTo>
                  <a:lnTo>
                    <a:pt x="442" y="128"/>
                  </a:lnTo>
                  <a:lnTo>
                    <a:pt x="412" y="112"/>
                  </a:lnTo>
                  <a:lnTo>
                    <a:pt x="380" y="100"/>
                  </a:lnTo>
                  <a:lnTo>
                    <a:pt x="346" y="92"/>
                  </a:lnTo>
                  <a:lnTo>
                    <a:pt x="310" y="86"/>
                  </a:lnTo>
                  <a:lnTo>
                    <a:pt x="274" y="84"/>
                  </a:lnTo>
                  <a:lnTo>
                    <a:pt x="274" y="84"/>
                  </a:lnTo>
                  <a:lnTo>
                    <a:pt x="246" y="86"/>
                  </a:lnTo>
                  <a:lnTo>
                    <a:pt x="218" y="88"/>
                  </a:lnTo>
                  <a:lnTo>
                    <a:pt x="190" y="94"/>
                  </a:lnTo>
                  <a:lnTo>
                    <a:pt x="162" y="102"/>
                  </a:lnTo>
                  <a:lnTo>
                    <a:pt x="174" y="130"/>
                  </a:lnTo>
                  <a:lnTo>
                    <a:pt x="186" y="164"/>
                  </a:lnTo>
                  <a:lnTo>
                    <a:pt x="186" y="164"/>
                  </a:lnTo>
                  <a:lnTo>
                    <a:pt x="186" y="170"/>
                  </a:lnTo>
                  <a:lnTo>
                    <a:pt x="184" y="178"/>
                  </a:lnTo>
                  <a:lnTo>
                    <a:pt x="184" y="178"/>
                  </a:lnTo>
                  <a:lnTo>
                    <a:pt x="176" y="182"/>
                  </a:lnTo>
                  <a:lnTo>
                    <a:pt x="170" y="182"/>
                  </a:lnTo>
                  <a:lnTo>
                    <a:pt x="40" y="144"/>
                  </a:lnTo>
                  <a:lnTo>
                    <a:pt x="40" y="144"/>
                  </a:lnTo>
                  <a:lnTo>
                    <a:pt x="34" y="142"/>
                  </a:lnTo>
                  <a:lnTo>
                    <a:pt x="30" y="136"/>
                  </a:lnTo>
                  <a:lnTo>
                    <a:pt x="30" y="136"/>
                  </a:lnTo>
                  <a:lnTo>
                    <a:pt x="28" y="130"/>
                  </a:lnTo>
                  <a:lnTo>
                    <a:pt x="32" y="124"/>
                  </a:lnTo>
                  <a:lnTo>
                    <a:pt x="104" y="8"/>
                  </a:lnTo>
                  <a:lnTo>
                    <a:pt x="104" y="8"/>
                  </a:lnTo>
                  <a:lnTo>
                    <a:pt x="108" y="4"/>
                  </a:lnTo>
                  <a:lnTo>
                    <a:pt x="112" y="0"/>
                  </a:lnTo>
                  <a:lnTo>
                    <a:pt x="118" y="0"/>
                  </a:lnTo>
                  <a:lnTo>
                    <a:pt x="124" y="2"/>
                  </a:lnTo>
                  <a:lnTo>
                    <a:pt x="124" y="2"/>
                  </a:lnTo>
                  <a:lnTo>
                    <a:pt x="128" y="6"/>
                  </a:lnTo>
                  <a:lnTo>
                    <a:pt x="130" y="12"/>
                  </a:lnTo>
                  <a:lnTo>
                    <a:pt x="130" y="16"/>
                  </a:lnTo>
                  <a:lnTo>
                    <a:pt x="128" y="22"/>
                  </a:lnTo>
                  <a:lnTo>
                    <a:pt x="64" y="122"/>
                  </a:lnTo>
                  <a:lnTo>
                    <a:pt x="150" y="148"/>
                  </a:lnTo>
                  <a:lnTo>
                    <a:pt x="148" y="140"/>
                  </a:lnTo>
                  <a:lnTo>
                    <a:pt x="130" y="100"/>
                  </a:lnTo>
                  <a:lnTo>
                    <a:pt x="130" y="100"/>
                  </a:lnTo>
                  <a:lnTo>
                    <a:pt x="130" y="94"/>
                  </a:lnTo>
                  <a:lnTo>
                    <a:pt x="130" y="88"/>
                  </a:lnTo>
                  <a:lnTo>
                    <a:pt x="130" y="88"/>
                  </a:lnTo>
                  <a:lnTo>
                    <a:pt x="134" y="84"/>
                  </a:lnTo>
                  <a:lnTo>
                    <a:pt x="138" y="82"/>
                  </a:lnTo>
                  <a:lnTo>
                    <a:pt x="138" y="82"/>
                  </a:lnTo>
                  <a:lnTo>
                    <a:pt x="172" y="70"/>
                  </a:lnTo>
                  <a:lnTo>
                    <a:pt x="206" y="62"/>
                  </a:lnTo>
                  <a:lnTo>
                    <a:pt x="240" y="58"/>
                  </a:lnTo>
                  <a:lnTo>
                    <a:pt x="274" y="56"/>
                  </a:lnTo>
                  <a:lnTo>
                    <a:pt x="274" y="56"/>
                  </a:lnTo>
                  <a:lnTo>
                    <a:pt x="314" y="58"/>
                  </a:lnTo>
                  <a:lnTo>
                    <a:pt x="352" y="64"/>
                  </a:lnTo>
                  <a:lnTo>
                    <a:pt x="388" y="74"/>
                  </a:lnTo>
                  <a:lnTo>
                    <a:pt x="422" y="86"/>
                  </a:lnTo>
                  <a:lnTo>
                    <a:pt x="456" y="102"/>
                  </a:lnTo>
                  <a:lnTo>
                    <a:pt x="488" y="122"/>
                  </a:lnTo>
                  <a:lnTo>
                    <a:pt x="516" y="144"/>
                  </a:lnTo>
                  <a:lnTo>
                    <a:pt x="544" y="168"/>
                  </a:lnTo>
                  <a:lnTo>
                    <a:pt x="568" y="196"/>
                  </a:lnTo>
                  <a:lnTo>
                    <a:pt x="590" y="224"/>
                  </a:lnTo>
                  <a:lnTo>
                    <a:pt x="610" y="256"/>
                  </a:lnTo>
                  <a:lnTo>
                    <a:pt x="626" y="290"/>
                  </a:lnTo>
                  <a:lnTo>
                    <a:pt x="638" y="324"/>
                  </a:lnTo>
                  <a:lnTo>
                    <a:pt x="648" y="362"/>
                  </a:lnTo>
                  <a:lnTo>
                    <a:pt x="654" y="398"/>
                  </a:lnTo>
                  <a:lnTo>
                    <a:pt x="656" y="438"/>
                  </a:lnTo>
                  <a:lnTo>
                    <a:pt x="656" y="438"/>
                  </a:lnTo>
                  <a:lnTo>
                    <a:pt x="654" y="476"/>
                  </a:lnTo>
                  <a:lnTo>
                    <a:pt x="648" y="514"/>
                  </a:lnTo>
                  <a:lnTo>
                    <a:pt x="638" y="552"/>
                  </a:lnTo>
                  <a:lnTo>
                    <a:pt x="626" y="586"/>
                  </a:lnTo>
                  <a:lnTo>
                    <a:pt x="610" y="620"/>
                  </a:lnTo>
                  <a:lnTo>
                    <a:pt x="590" y="652"/>
                  </a:lnTo>
                  <a:lnTo>
                    <a:pt x="568" y="680"/>
                  </a:lnTo>
                  <a:lnTo>
                    <a:pt x="544" y="708"/>
                  </a:lnTo>
                  <a:lnTo>
                    <a:pt x="516" y="732"/>
                  </a:lnTo>
                  <a:lnTo>
                    <a:pt x="488" y="754"/>
                  </a:lnTo>
                  <a:lnTo>
                    <a:pt x="456" y="774"/>
                  </a:lnTo>
                  <a:lnTo>
                    <a:pt x="422" y="790"/>
                  </a:lnTo>
                  <a:lnTo>
                    <a:pt x="388" y="802"/>
                  </a:lnTo>
                  <a:lnTo>
                    <a:pt x="352" y="812"/>
                  </a:lnTo>
                  <a:lnTo>
                    <a:pt x="314" y="818"/>
                  </a:lnTo>
                  <a:lnTo>
                    <a:pt x="274" y="820"/>
                  </a:lnTo>
                  <a:lnTo>
                    <a:pt x="274" y="820"/>
                  </a:lnTo>
                  <a:close/>
                </a:path>
              </a:pathLst>
            </a:custGeom>
            <a:grpFill/>
            <a:ln>
              <a:noFill/>
            </a:ln>
          </p:spPr>
          <p:txBody>
            <a:bodyPr vert="horz" wrap="square" lIns="67211" tIns="33605" rIns="67211" bIns="33605" numCol="1" anchor="t" anchorCtr="0" compatLnSpc="1">
              <a:prstTxWarp prst="textNoShape">
                <a:avLst/>
              </a:prstTxWarp>
            </a:bodyPr>
            <a:lstStyle/>
            <a:p>
              <a:pPr defTabSz="685594" fontAlgn="auto">
                <a:spcBef>
                  <a:spcPts val="0"/>
                </a:spcBef>
                <a:spcAft>
                  <a:spcPts val="0"/>
                </a:spcAft>
                <a:defRPr/>
              </a:pPr>
              <a:endParaRPr lang="en-US" sz="1325" b="0" kern="0" dirty="0">
                <a:solidFill>
                  <a:srgbClr val="FFFFFF"/>
                </a:solidFill>
                <a:latin typeface="Segoe UI Semilight"/>
                <a:ea typeface="MS PGothic" panose="020B0600070205080204" pitchFamily="34" charset="-128"/>
                <a:cs typeface="+mn-cs"/>
              </a:endParaRPr>
            </a:p>
          </p:txBody>
        </p:sp>
      </p:grpSp>
      <p:sp>
        <p:nvSpPr>
          <p:cNvPr id="390" name="TextBox 389"/>
          <p:cNvSpPr txBox="1"/>
          <p:nvPr/>
        </p:nvSpPr>
        <p:spPr>
          <a:xfrm>
            <a:off x="7193893" y="3790780"/>
            <a:ext cx="433195" cy="142540"/>
          </a:xfrm>
          <a:prstGeom prst="rect">
            <a:avLst/>
          </a:prstGeom>
          <a:noFill/>
        </p:spPr>
        <p:txBody>
          <a:bodyPr wrap="square" lIns="0" tIns="0" rIns="0" bIns="0" rtlCol="0">
            <a:spAutoFit/>
          </a:bodyPr>
          <a:lstStyle/>
          <a:p>
            <a:pPr algn="ctr" defTabSz="685437" fontAlgn="auto">
              <a:lnSpc>
                <a:spcPct val="90000"/>
              </a:lnSpc>
              <a:spcAft>
                <a:spcPts val="441"/>
              </a:spcAft>
              <a:defRPr/>
            </a:pPr>
            <a:r>
              <a:rPr lang="en-US" sz="1029" b="0" kern="0" spc="-22" dirty="0">
                <a:solidFill>
                  <a:srgbClr val="0078D7"/>
                </a:solidFill>
                <a:latin typeface="Segoe UI Semilight"/>
                <a:ea typeface="MS PGothic" panose="020B0600070205080204" pitchFamily="34" charset="-128"/>
                <a:cs typeface="Segoe UI Semilight" panose="020B0402040204020203" pitchFamily="34" charset="0"/>
              </a:rPr>
              <a:t>Apps</a:t>
            </a:r>
          </a:p>
        </p:txBody>
      </p:sp>
      <p:grpSp>
        <p:nvGrpSpPr>
          <p:cNvPr id="391" name="Group 390"/>
          <p:cNvGrpSpPr/>
          <p:nvPr/>
        </p:nvGrpSpPr>
        <p:grpSpPr>
          <a:xfrm>
            <a:off x="7240554" y="3463751"/>
            <a:ext cx="339873" cy="262896"/>
            <a:chOff x="5007615" y="2323753"/>
            <a:chExt cx="649029" cy="502032"/>
          </a:xfrm>
          <a:solidFill>
            <a:srgbClr val="0078D7"/>
          </a:solidFill>
        </p:grpSpPr>
        <p:sp>
          <p:nvSpPr>
            <p:cNvPr id="408" name="Freeform 407"/>
            <p:cNvSpPr>
              <a:spLocks/>
            </p:cNvSpPr>
            <p:nvPr/>
          </p:nvSpPr>
          <p:spPr bwMode="auto">
            <a:xfrm>
              <a:off x="5175285" y="2455306"/>
              <a:ext cx="313688" cy="314768"/>
            </a:xfrm>
            <a:custGeom>
              <a:avLst/>
              <a:gdLst>
                <a:gd name="connsiteX0" fmla="*/ 193673 w 319670"/>
                <a:gd name="connsiteY0" fmla="*/ 280605 h 320770"/>
                <a:gd name="connsiteX1" fmla="*/ 165888 w 319670"/>
                <a:gd name="connsiteY1" fmla="*/ 281661 h 320770"/>
                <a:gd name="connsiteX2" fmla="*/ 167460 w 319670"/>
                <a:gd name="connsiteY2" fmla="*/ 307015 h 320770"/>
                <a:gd name="connsiteX3" fmla="*/ 181091 w 319670"/>
                <a:gd name="connsiteY3" fmla="*/ 305430 h 320770"/>
                <a:gd name="connsiteX4" fmla="*/ 193673 w 319670"/>
                <a:gd name="connsiteY4" fmla="*/ 280605 h 320770"/>
                <a:gd name="connsiteX5" fmla="*/ 127923 w 319670"/>
                <a:gd name="connsiteY5" fmla="*/ 280054 h 320770"/>
                <a:gd name="connsiteX6" fmla="*/ 141657 w 319670"/>
                <a:gd name="connsiteY6" fmla="*/ 305957 h 320770"/>
                <a:gd name="connsiteX7" fmla="*/ 154333 w 319670"/>
                <a:gd name="connsiteY7" fmla="*/ 307015 h 320770"/>
                <a:gd name="connsiteX8" fmla="*/ 152749 w 319670"/>
                <a:gd name="connsiteY8" fmla="*/ 281640 h 320770"/>
                <a:gd name="connsiteX9" fmla="*/ 127923 w 319670"/>
                <a:gd name="connsiteY9" fmla="*/ 280054 h 320770"/>
                <a:gd name="connsiteX10" fmla="*/ 226960 w 319670"/>
                <a:gd name="connsiteY10" fmla="*/ 275378 h 320770"/>
                <a:gd name="connsiteX11" fmla="*/ 209629 w 319670"/>
                <a:gd name="connsiteY11" fmla="*/ 278547 h 320770"/>
                <a:gd name="connsiteX12" fmla="*/ 198075 w 319670"/>
                <a:gd name="connsiteY12" fmla="*/ 301788 h 320770"/>
                <a:gd name="connsiteX13" fmla="*/ 204377 w 319670"/>
                <a:gd name="connsiteY13" fmla="*/ 300203 h 320770"/>
                <a:gd name="connsiteX14" fmla="*/ 226960 w 319670"/>
                <a:gd name="connsiteY14" fmla="*/ 275378 h 320770"/>
                <a:gd name="connsiteX15" fmla="*/ 94911 w 319670"/>
                <a:gd name="connsiteY15" fmla="*/ 274277 h 320770"/>
                <a:gd name="connsiteX16" fmla="*/ 120163 w 319670"/>
                <a:gd name="connsiteY16" fmla="*/ 301828 h 320770"/>
                <a:gd name="connsiteX17" fmla="*/ 124897 w 319670"/>
                <a:gd name="connsiteY17" fmla="*/ 302888 h 320770"/>
                <a:gd name="connsiteX18" fmla="*/ 112797 w 319670"/>
                <a:gd name="connsiteY18" fmla="*/ 277456 h 320770"/>
                <a:gd name="connsiteX19" fmla="*/ 94911 w 319670"/>
                <a:gd name="connsiteY19" fmla="*/ 274277 h 320770"/>
                <a:gd name="connsiteX20" fmla="*/ 261623 w 319670"/>
                <a:gd name="connsiteY20" fmla="*/ 266024 h 320770"/>
                <a:gd name="connsiteX21" fmla="*/ 247511 w 319670"/>
                <a:gd name="connsiteY21" fmla="*/ 270781 h 320770"/>
                <a:gd name="connsiteX22" fmla="*/ 235489 w 319670"/>
                <a:gd name="connsiteY22" fmla="*/ 286107 h 320770"/>
                <a:gd name="connsiteX23" fmla="*/ 261623 w 319670"/>
                <a:gd name="connsiteY23" fmla="*/ 266024 h 320770"/>
                <a:gd name="connsiteX24" fmla="*/ 53646 w 319670"/>
                <a:gd name="connsiteY24" fmla="*/ 261072 h 320770"/>
                <a:gd name="connsiteX25" fmla="*/ 90509 w 319670"/>
                <a:gd name="connsiteY25" fmla="*/ 289683 h 320770"/>
                <a:gd name="connsiteX26" fmla="*/ 74184 w 319670"/>
                <a:gd name="connsiteY26" fmla="*/ 268490 h 320770"/>
                <a:gd name="connsiteX27" fmla="*/ 53646 w 319670"/>
                <a:gd name="connsiteY27" fmla="*/ 261072 h 320770"/>
                <a:gd name="connsiteX28" fmla="*/ 213205 w 319670"/>
                <a:gd name="connsiteY28" fmla="*/ 224209 h 320770"/>
                <a:gd name="connsiteX29" fmla="*/ 163687 w 319670"/>
                <a:gd name="connsiteY29" fmla="*/ 228957 h 320770"/>
                <a:gd name="connsiteX30" fmla="*/ 165267 w 319670"/>
                <a:gd name="connsiteY30" fmla="*/ 269051 h 320770"/>
                <a:gd name="connsiteX31" fmla="*/ 200035 w 319670"/>
                <a:gd name="connsiteY31" fmla="*/ 266413 h 320770"/>
                <a:gd name="connsiteX32" fmla="*/ 213205 w 319670"/>
                <a:gd name="connsiteY32" fmla="*/ 224209 h 320770"/>
                <a:gd name="connsiteX33" fmla="*/ 108941 w 319670"/>
                <a:gd name="connsiteY33" fmla="*/ 224209 h 320770"/>
                <a:gd name="connsiteX34" fmla="*/ 122109 w 319670"/>
                <a:gd name="connsiteY34" fmla="*/ 265864 h 320770"/>
                <a:gd name="connsiteX35" fmla="*/ 152132 w 319670"/>
                <a:gd name="connsiteY35" fmla="*/ 268500 h 320770"/>
                <a:gd name="connsiteX36" fmla="*/ 150552 w 319670"/>
                <a:gd name="connsiteY36" fmla="*/ 228954 h 320770"/>
                <a:gd name="connsiteX37" fmla="*/ 108941 w 319670"/>
                <a:gd name="connsiteY37" fmla="*/ 224209 h 320770"/>
                <a:gd name="connsiteX38" fmla="*/ 58322 w 319670"/>
                <a:gd name="connsiteY38" fmla="*/ 209903 h 320770"/>
                <a:gd name="connsiteX39" fmla="*/ 82669 w 319670"/>
                <a:gd name="connsiteY39" fmla="*/ 257461 h 320770"/>
                <a:gd name="connsiteX40" fmla="*/ 107016 w 319670"/>
                <a:gd name="connsiteY40" fmla="*/ 263273 h 320770"/>
                <a:gd name="connsiteX41" fmla="*/ 94842 w 319670"/>
                <a:gd name="connsiteY41" fmla="*/ 221000 h 320770"/>
                <a:gd name="connsiteX42" fmla="*/ 58322 w 319670"/>
                <a:gd name="connsiteY42" fmla="*/ 209903 h 320770"/>
                <a:gd name="connsiteX43" fmla="*/ 264925 w 319670"/>
                <a:gd name="connsiteY43" fmla="*/ 209078 h 320770"/>
                <a:gd name="connsiteX44" fmla="*/ 227505 w 319670"/>
                <a:gd name="connsiteY44" fmla="*/ 221190 h 320770"/>
                <a:gd name="connsiteX45" fmla="*/ 214856 w 319670"/>
                <a:gd name="connsiteY45" fmla="*/ 264374 h 320770"/>
                <a:gd name="connsiteX46" fmla="*/ 239100 w 319670"/>
                <a:gd name="connsiteY46" fmla="*/ 259634 h 320770"/>
                <a:gd name="connsiteX47" fmla="*/ 264925 w 319670"/>
                <a:gd name="connsiteY47" fmla="*/ 209078 h 320770"/>
                <a:gd name="connsiteX48" fmla="*/ 303989 w 319670"/>
                <a:gd name="connsiteY48" fmla="*/ 187895 h 320770"/>
                <a:gd name="connsiteX49" fmla="*/ 280765 w 319670"/>
                <a:gd name="connsiteY49" fmla="*/ 201624 h 320770"/>
                <a:gd name="connsiteX50" fmla="*/ 258597 w 319670"/>
                <a:gd name="connsiteY50" fmla="*/ 253370 h 320770"/>
                <a:gd name="connsiteX51" fmla="*/ 279710 w 319670"/>
                <a:gd name="connsiteY51" fmla="*/ 244921 h 320770"/>
                <a:gd name="connsiteX52" fmla="*/ 303989 w 319670"/>
                <a:gd name="connsiteY52" fmla="*/ 187895 h 320770"/>
                <a:gd name="connsiteX53" fmla="*/ 15131 w 319670"/>
                <a:gd name="connsiteY53" fmla="*/ 186244 h 320770"/>
                <a:gd name="connsiteX54" fmla="*/ 35764 w 319670"/>
                <a:gd name="connsiteY54" fmla="*/ 239029 h 320770"/>
                <a:gd name="connsiteX55" fmla="*/ 63274 w 319670"/>
                <a:gd name="connsiteY55" fmla="*/ 251169 h 320770"/>
                <a:gd name="connsiteX56" fmla="*/ 42641 w 319670"/>
                <a:gd name="connsiteY56" fmla="*/ 202607 h 320770"/>
                <a:gd name="connsiteX57" fmla="*/ 15131 w 319670"/>
                <a:gd name="connsiteY57" fmla="*/ 186244 h 320770"/>
                <a:gd name="connsiteX58" fmla="*/ 220633 w 319670"/>
                <a:gd name="connsiteY58" fmla="*/ 169463 h 320770"/>
                <a:gd name="connsiteX59" fmla="*/ 162861 w 319670"/>
                <a:gd name="connsiteY59" fmla="*/ 176816 h 320770"/>
                <a:gd name="connsiteX60" fmla="*/ 163386 w 319670"/>
                <a:gd name="connsiteY60" fmla="*/ 215680 h 320770"/>
                <a:gd name="connsiteX61" fmla="*/ 216431 w 319670"/>
                <a:gd name="connsiteY61" fmla="*/ 209903 h 320770"/>
                <a:gd name="connsiteX62" fmla="*/ 220633 w 319670"/>
                <a:gd name="connsiteY62" fmla="*/ 169463 h 320770"/>
                <a:gd name="connsiteX63" fmla="*/ 101513 w 319670"/>
                <a:gd name="connsiteY63" fmla="*/ 169463 h 320770"/>
                <a:gd name="connsiteX64" fmla="*/ 105748 w 319670"/>
                <a:gd name="connsiteY64" fmla="*/ 210428 h 320770"/>
                <a:gd name="connsiteX65" fmla="*/ 150207 w 319670"/>
                <a:gd name="connsiteY65" fmla="*/ 215680 h 320770"/>
                <a:gd name="connsiteX66" fmla="*/ 149678 w 319670"/>
                <a:gd name="connsiteY66" fmla="*/ 176291 h 320770"/>
                <a:gd name="connsiteX67" fmla="*/ 101513 w 319670"/>
                <a:gd name="connsiteY67" fmla="*/ 169463 h 320770"/>
                <a:gd name="connsiteX68" fmla="*/ 51121 w 319670"/>
                <a:gd name="connsiteY68" fmla="*/ 149931 h 320770"/>
                <a:gd name="connsiteX69" fmla="*/ 50069 w 319670"/>
                <a:gd name="connsiteY69" fmla="*/ 159953 h 320770"/>
                <a:gd name="connsiteX70" fmla="*/ 53752 w 319670"/>
                <a:gd name="connsiteY70" fmla="*/ 193713 h 320770"/>
                <a:gd name="connsiteX71" fmla="*/ 92160 w 319670"/>
                <a:gd name="connsiteY71" fmla="*/ 207427 h 320770"/>
                <a:gd name="connsiteX72" fmla="*/ 89003 w 319670"/>
                <a:gd name="connsiteY72" fmla="*/ 166283 h 320770"/>
                <a:gd name="connsiteX73" fmla="*/ 51121 w 319670"/>
                <a:gd name="connsiteY73" fmla="*/ 149931 h 320770"/>
                <a:gd name="connsiteX74" fmla="*/ 271850 w 319670"/>
                <a:gd name="connsiteY74" fmla="*/ 148830 h 320770"/>
                <a:gd name="connsiteX75" fmla="*/ 233420 w 319670"/>
                <a:gd name="connsiteY75" fmla="*/ 165717 h 320770"/>
                <a:gd name="connsiteX76" fmla="*/ 230262 w 319670"/>
                <a:gd name="connsiteY76" fmla="*/ 206877 h 320770"/>
                <a:gd name="connsiteX77" fmla="*/ 269218 w 319670"/>
                <a:gd name="connsiteY77" fmla="*/ 193157 h 320770"/>
                <a:gd name="connsiteX78" fmla="*/ 272903 w 319670"/>
                <a:gd name="connsiteY78" fmla="*/ 159912 h 320770"/>
                <a:gd name="connsiteX79" fmla="*/ 271850 w 319670"/>
                <a:gd name="connsiteY79" fmla="*/ 148830 h 320770"/>
                <a:gd name="connsiteX80" fmla="*/ 302793 w 319670"/>
                <a:gd name="connsiteY80" fmla="*/ 126547 h 320770"/>
                <a:gd name="connsiteX81" fmla="*/ 284431 w 319670"/>
                <a:gd name="connsiteY81" fmla="*/ 141328 h 320770"/>
                <a:gd name="connsiteX82" fmla="*/ 286005 w 319670"/>
                <a:gd name="connsiteY82" fmla="*/ 159805 h 320770"/>
                <a:gd name="connsiteX83" fmla="*/ 283907 w 319670"/>
                <a:gd name="connsiteY83" fmla="*/ 185144 h 320770"/>
                <a:gd name="connsiteX84" fmla="*/ 306465 w 319670"/>
                <a:gd name="connsiteY84" fmla="*/ 169835 h 320770"/>
                <a:gd name="connsiteX85" fmla="*/ 306465 w 319670"/>
                <a:gd name="connsiteY85" fmla="*/ 160333 h 320770"/>
                <a:gd name="connsiteX86" fmla="*/ 302793 w 319670"/>
                <a:gd name="connsiteY86" fmla="*/ 126547 h 320770"/>
                <a:gd name="connsiteX87" fmla="*/ 17427 w 319670"/>
                <a:gd name="connsiteY87" fmla="*/ 125172 h 320770"/>
                <a:gd name="connsiteX88" fmla="*/ 13205 w 319670"/>
                <a:gd name="connsiteY88" fmla="*/ 160446 h 320770"/>
                <a:gd name="connsiteX89" fmla="*/ 13205 w 319670"/>
                <a:gd name="connsiteY89" fmla="*/ 168870 h 320770"/>
                <a:gd name="connsiteX90" fmla="*/ 39065 w 319670"/>
                <a:gd name="connsiteY90" fmla="*/ 186244 h 320770"/>
                <a:gd name="connsiteX91" fmla="*/ 36954 w 319670"/>
                <a:gd name="connsiteY91" fmla="*/ 159920 h 320770"/>
                <a:gd name="connsiteX92" fmla="*/ 38537 w 319670"/>
                <a:gd name="connsiteY92" fmla="*/ 142546 h 320770"/>
                <a:gd name="connsiteX93" fmla="*/ 17427 w 319670"/>
                <a:gd name="connsiteY93" fmla="*/ 125172 h 320770"/>
                <a:gd name="connsiteX94" fmla="*/ 215883 w 319670"/>
                <a:gd name="connsiteY94" fmla="*/ 122420 h 320770"/>
                <a:gd name="connsiteX95" fmla="*/ 165486 w 319670"/>
                <a:gd name="connsiteY95" fmla="*/ 128769 h 320770"/>
                <a:gd name="connsiteX96" fmla="*/ 163386 w 319670"/>
                <a:gd name="connsiteY96" fmla="*/ 128769 h 320770"/>
                <a:gd name="connsiteX97" fmla="*/ 162861 w 319670"/>
                <a:gd name="connsiteY97" fmla="*/ 155221 h 320770"/>
                <a:gd name="connsiteX98" fmla="*/ 162861 w 319670"/>
                <a:gd name="connsiteY98" fmla="*/ 163686 h 320770"/>
                <a:gd name="connsiteX99" fmla="*/ 220083 w 319670"/>
                <a:gd name="connsiteY99" fmla="*/ 155750 h 320770"/>
                <a:gd name="connsiteX100" fmla="*/ 215883 w 319670"/>
                <a:gd name="connsiteY100" fmla="*/ 122420 h 320770"/>
                <a:gd name="connsiteX101" fmla="*/ 106825 w 319670"/>
                <a:gd name="connsiteY101" fmla="*/ 120220 h 320770"/>
                <a:gd name="connsiteX102" fmla="*/ 102064 w 319670"/>
                <a:gd name="connsiteY102" fmla="*/ 156248 h 320770"/>
                <a:gd name="connsiteX103" fmla="*/ 149678 w 319670"/>
                <a:gd name="connsiteY103" fmla="*/ 163136 h 320770"/>
                <a:gd name="connsiteX104" fmla="*/ 149678 w 319670"/>
                <a:gd name="connsiteY104" fmla="*/ 155188 h 320770"/>
                <a:gd name="connsiteX105" fmla="*/ 150207 w 319670"/>
                <a:gd name="connsiteY105" fmla="*/ 128167 h 320770"/>
                <a:gd name="connsiteX106" fmla="*/ 106825 w 319670"/>
                <a:gd name="connsiteY106" fmla="*/ 120220 h 320770"/>
                <a:gd name="connsiteX107" fmla="*/ 259617 w 319670"/>
                <a:gd name="connsiteY107" fmla="*/ 103988 h 320770"/>
                <a:gd name="connsiteX108" fmla="*/ 228611 w 319670"/>
                <a:gd name="connsiteY108" fmla="*/ 118717 h 320770"/>
                <a:gd name="connsiteX109" fmla="*/ 233341 w 319670"/>
                <a:gd name="connsiteY109" fmla="*/ 151856 h 320770"/>
                <a:gd name="connsiteX110" fmla="*/ 269602 w 319670"/>
                <a:gd name="connsiteY110" fmla="*/ 135024 h 320770"/>
                <a:gd name="connsiteX111" fmla="*/ 259617 w 319670"/>
                <a:gd name="connsiteY111" fmla="*/ 103988 h 320770"/>
                <a:gd name="connsiteX112" fmla="*/ 65249 w 319670"/>
                <a:gd name="connsiteY112" fmla="*/ 99862 h 320770"/>
                <a:gd name="connsiteX113" fmla="*/ 52545 w 319670"/>
                <a:gd name="connsiteY113" fmla="*/ 136118 h 320770"/>
                <a:gd name="connsiteX114" fmla="*/ 89068 w 319670"/>
                <a:gd name="connsiteY114" fmla="*/ 152407 h 320770"/>
                <a:gd name="connsiteX115" fmla="*/ 94361 w 319670"/>
                <a:gd name="connsiteY115" fmla="*/ 115625 h 320770"/>
                <a:gd name="connsiteX116" fmla="*/ 65249 w 319670"/>
                <a:gd name="connsiteY116" fmla="*/ 99862 h 320770"/>
                <a:gd name="connsiteX117" fmla="*/ 285381 w 319670"/>
                <a:gd name="connsiteY117" fmla="*/ 83906 h 320770"/>
                <a:gd name="connsiteX118" fmla="*/ 270702 w 319670"/>
                <a:gd name="connsiteY118" fmla="*/ 96554 h 320770"/>
                <a:gd name="connsiteX119" fmla="*/ 281711 w 319670"/>
                <a:gd name="connsiteY119" fmla="*/ 127648 h 320770"/>
                <a:gd name="connsiteX120" fmla="*/ 298487 w 319670"/>
                <a:gd name="connsiteY120" fmla="*/ 112365 h 320770"/>
                <a:gd name="connsiteX121" fmla="*/ 285381 w 319670"/>
                <a:gd name="connsiteY121" fmla="*/ 83906 h 320770"/>
                <a:gd name="connsiteX122" fmla="*/ 39411 w 319670"/>
                <a:gd name="connsiteY122" fmla="*/ 75928 h 320770"/>
                <a:gd name="connsiteX123" fmla="*/ 21458 w 319670"/>
                <a:gd name="connsiteY123" fmla="*/ 111317 h 320770"/>
                <a:gd name="connsiteX124" fmla="*/ 40995 w 319670"/>
                <a:gd name="connsiteY124" fmla="*/ 128748 h 320770"/>
                <a:gd name="connsiteX125" fmla="*/ 54196 w 319670"/>
                <a:gd name="connsiteY125" fmla="*/ 91774 h 320770"/>
                <a:gd name="connsiteX126" fmla="*/ 39411 w 319670"/>
                <a:gd name="connsiteY126" fmla="*/ 75928 h 320770"/>
                <a:gd name="connsiteX127" fmla="*/ 201616 w 319670"/>
                <a:gd name="connsiteY127" fmla="*/ 73452 h 320770"/>
                <a:gd name="connsiteX128" fmla="*/ 165267 w 319670"/>
                <a:gd name="connsiteY128" fmla="*/ 78187 h 320770"/>
                <a:gd name="connsiteX129" fmla="*/ 164740 w 319670"/>
                <a:gd name="connsiteY129" fmla="*/ 78187 h 320770"/>
                <a:gd name="connsiteX130" fmla="*/ 163687 w 319670"/>
                <a:gd name="connsiteY130" fmla="*/ 115543 h 320770"/>
                <a:gd name="connsiteX131" fmla="*/ 165267 w 319670"/>
                <a:gd name="connsiteY131" fmla="*/ 115543 h 320770"/>
                <a:gd name="connsiteX132" fmla="*/ 213205 w 319670"/>
                <a:gd name="connsiteY132" fmla="*/ 109756 h 320770"/>
                <a:gd name="connsiteX133" fmla="*/ 201616 w 319670"/>
                <a:gd name="connsiteY133" fmla="*/ 73452 h 320770"/>
                <a:gd name="connsiteX134" fmla="*/ 121592 w 319670"/>
                <a:gd name="connsiteY134" fmla="*/ 70701 h 320770"/>
                <a:gd name="connsiteX135" fmla="*/ 109491 w 319670"/>
                <a:gd name="connsiteY135" fmla="*/ 107084 h 320770"/>
                <a:gd name="connsiteX136" fmla="*/ 150530 w 319670"/>
                <a:gd name="connsiteY136" fmla="*/ 114993 h 320770"/>
                <a:gd name="connsiteX137" fmla="*/ 151582 w 319670"/>
                <a:gd name="connsiteY137" fmla="*/ 77028 h 320770"/>
                <a:gd name="connsiteX138" fmla="*/ 121592 w 319670"/>
                <a:gd name="connsiteY138" fmla="*/ 70701 h 320770"/>
                <a:gd name="connsiteX139" fmla="*/ 233321 w 319670"/>
                <a:gd name="connsiteY139" fmla="*/ 59697 h 320770"/>
                <a:gd name="connsiteX140" fmla="*/ 214306 w 319670"/>
                <a:gd name="connsiteY140" fmla="*/ 69207 h 320770"/>
                <a:gd name="connsiteX141" fmla="*/ 225926 w 319670"/>
                <a:gd name="connsiteY141" fmla="*/ 106189 h 320770"/>
                <a:gd name="connsiteX142" fmla="*/ 253921 w 319670"/>
                <a:gd name="connsiteY142" fmla="*/ 92453 h 320770"/>
                <a:gd name="connsiteX143" fmla="*/ 233321 w 319670"/>
                <a:gd name="connsiteY143" fmla="*/ 59697 h 320770"/>
                <a:gd name="connsiteX144" fmla="*/ 92595 w 319670"/>
                <a:gd name="connsiteY144" fmla="*/ 55846 h 320770"/>
                <a:gd name="connsiteX145" fmla="*/ 70977 w 319670"/>
                <a:gd name="connsiteY145" fmla="*/ 88088 h 320770"/>
                <a:gd name="connsiteX146" fmla="*/ 97341 w 319670"/>
                <a:gd name="connsiteY146" fmla="*/ 102888 h 320770"/>
                <a:gd name="connsiteX147" fmla="*/ 108941 w 319670"/>
                <a:gd name="connsiteY147" fmla="*/ 65360 h 320770"/>
                <a:gd name="connsiteX148" fmla="*/ 92595 w 319670"/>
                <a:gd name="connsiteY148" fmla="*/ 55846 h 320770"/>
                <a:gd name="connsiteX149" fmla="*/ 251144 w 319670"/>
                <a:gd name="connsiteY149" fmla="*/ 44842 h 320770"/>
                <a:gd name="connsiteX150" fmla="*/ 243742 w 319670"/>
                <a:gd name="connsiteY150" fmla="*/ 51712 h 320770"/>
                <a:gd name="connsiteX151" fmla="*/ 264890 w 319670"/>
                <a:gd name="connsiteY151" fmla="*/ 85007 h 320770"/>
                <a:gd name="connsiteX152" fmla="*/ 277579 w 319670"/>
                <a:gd name="connsiteY152" fmla="*/ 72851 h 320770"/>
                <a:gd name="connsiteX153" fmla="*/ 251144 w 319670"/>
                <a:gd name="connsiteY153" fmla="*/ 44842 h 320770"/>
                <a:gd name="connsiteX154" fmla="*/ 75908 w 319670"/>
                <a:gd name="connsiteY154" fmla="*/ 39614 h 320770"/>
                <a:gd name="connsiteX155" fmla="*/ 47868 w 319670"/>
                <a:gd name="connsiteY155" fmla="*/ 65510 h 320770"/>
                <a:gd name="connsiteX156" fmla="*/ 60565 w 319670"/>
                <a:gd name="connsiteY156" fmla="*/ 79779 h 320770"/>
                <a:gd name="connsiteX157" fmla="*/ 82256 w 319670"/>
                <a:gd name="connsiteY157" fmla="*/ 47013 h 320770"/>
                <a:gd name="connsiteX158" fmla="*/ 75908 w 319670"/>
                <a:gd name="connsiteY158" fmla="*/ 39614 h 320770"/>
                <a:gd name="connsiteX159" fmla="*/ 224484 w 319670"/>
                <a:gd name="connsiteY159" fmla="*/ 28060 h 320770"/>
                <a:gd name="connsiteX160" fmla="*/ 236003 w 319670"/>
                <a:gd name="connsiteY160" fmla="*/ 41815 h 320770"/>
                <a:gd name="connsiteX161" fmla="*/ 240716 w 319670"/>
                <a:gd name="connsiteY161" fmla="*/ 37583 h 320770"/>
                <a:gd name="connsiteX162" fmla="*/ 224484 w 319670"/>
                <a:gd name="connsiteY162" fmla="*/ 28060 h 320770"/>
                <a:gd name="connsiteX163" fmla="*/ 101238 w 319670"/>
                <a:gd name="connsiteY163" fmla="*/ 25309 h 320770"/>
                <a:gd name="connsiteX164" fmla="*/ 86933 w 319670"/>
                <a:gd name="connsiteY164" fmla="*/ 32662 h 320770"/>
                <a:gd name="connsiteX165" fmla="*/ 90642 w 319670"/>
                <a:gd name="connsiteY165" fmla="*/ 36863 h 320770"/>
                <a:gd name="connsiteX166" fmla="*/ 101238 w 319670"/>
                <a:gd name="connsiteY166" fmla="*/ 25309 h 320770"/>
                <a:gd name="connsiteX167" fmla="*/ 189546 w 319670"/>
                <a:gd name="connsiteY167" fmla="*/ 16506 h 320770"/>
                <a:gd name="connsiteX168" fmla="*/ 209532 w 319670"/>
                <a:gd name="connsiteY168" fmla="*/ 56946 h 320770"/>
                <a:gd name="connsiteX169" fmla="*/ 225310 w 319670"/>
                <a:gd name="connsiteY169" fmla="*/ 49068 h 320770"/>
                <a:gd name="connsiteX170" fmla="*/ 194280 w 319670"/>
                <a:gd name="connsiteY170" fmla="*/ 17556 h 320770"/>
                <a:gd name="connsiteX171" fmla="*/ 189546 w 319670"/>
                <a:gd name="connsiteY171" fmla="*/ 16506 h 320770"/>
                <a:gd name="connsiteX172" fmla="*/ 132600 w 319670"/>
                <a:gd name="connsiteY172" fmla="*/ 15955 h 320770"/>
                <a:gd name="connsiteX173" fmla="*/ 128938 w 319670"/>
                <a:gd name="connsiteY173" fmla="*/ 16483 h 320770"/>
                <a:gd name="connsiteX174" fmla="*/ 100688 w 319670"/>
                <a:gd name="connsiteY174" fmla="*/ 46010 h 320770"/>
                <a:gd name="connsiteX175" fmla="*/ 114290 w 319670"/>
                <a:gd name="connsiteY175" fmla="*/ 53920 h 320770"/>
                <a:gd name="connsiteX176" fmla="*/ 132600 w 319670"/>
                <a:gd name="connsiteY176" fmla="*/ 15955 h 320770"/>
                <a:gd name="connsiteX177" fmla="*/ 167974 w 319670"/>
                <a:gd name="connsiteY177" fmla="*/ 13204 h 320770"/>
                <a:gd name="connsiteX178" fmla="*/ 165337 w 319670"/>
                <a:gd name="connsiteY178" fmla="*/ 64924 h 320770"/>
                <a:gd name="connsiteX179" fmla="*/ 196974 w 319670"/>
                <a:gd name="connsiteY179" fmla="*/ 60702 h 320770"/>
                <a:gd name="connsiteX180" fmla="*/ 173247 w 319670"/>
                <a:gd name="connsiteY180" fmla="*/ 13732 h 320770"/>
                <a:gd name="connsiteX181" fmla="*/ 167974 w 319670"/>
                <a:gd name="connsiteY181" fmla="*/ 13204 h 320770"/>
                <a:gd name="connsiteX182" fmla="*/ 149585 w 319670"/>
                <a:gd name="connsiteY182" fmla="*/ 13204 h 320770"/>
                <a:gd name="connsiteX183" fmla="*/ 126273 w 319670"/>
                <a:gd name="connsiteY183" fmla="*/ 58551 h 320770"/>
                <a:gd name="connsiteX184" fmla="*/ 152764 w 319670"/>
                <a:gd name="connsiteY184" fmla="*/ 63823 h 320770"/>
                <a:gd name="connsiteX185" fmla="*/ 154883 w 319670"/>
                <a:gd name="connsiteY185" fmla="*/ 13204 h 320770"/>
                <a:gd name="connsiteX186" fmla="*/ 149585 w 319670"/>
                <a:gd name="connsiteY186" fmla="*/ 13204 h 320770"/>
                <a:gd name="connsiteX187" fmla="*/ 160099 w 319670"/>
                <a:gd name="connsiteY187" fmla="*/ 0 h 320770"/>
                <a:gd name="connsiteX188" fmla="*/ 248047 w 319670"/>
                <a:gd name="connsiteY188" fmla="*/ 26906 h 320770"/>
                <a:gd name="connsiteX189" fmla="*/ 259107 w 319670"/>
                <a:gd name="connsiteY189" fmla="*/ 34293 h 320770"/>
                <a:gd name="connsiteX190" fmla="*/ 285965 w 319670"/>
                <a:gd name="connsiteY190" fmla="*/ 61727 h 320770"/>
                <a:gd name="connsiteX191" fmla="*/ 293865 w 319670"/>
                <a:gd name="connsiteY191" fmla="*/ 72806 h 320770"/>
                <a:gd name="connsiteX192" fmla="*/ 308084 w 319670"/>
                <a:gd name="connsiteY192" fmla="*/ 100768 h 320770"/>
                <a:gd name="connsiteX193" fmla="*/ 313350 w 319670"/>
                <a:gd name="connsiteY193" fmla="*/ 115013 h 320770"/>
                <a:gd name="connsiteX194" fmla="*/ 319670 w 319670"/>
                <a:gd name="connsiteY194" fmla="*/ 157747 h 320770"/>
                <a:gd name="connsiteX195" fmla="*/ 319670 w 319670"/>
                <a:gd name="connsiteY195" fmla="*/ 160385 h 320770"/>
                <a:gd name="connsiteX196" fmla="*/ 319144 w 319670"/>
                <a:gd name="connsiteY196" fmla="*/ 176212 h 320770"/>
                <a:gd name="connsiteX197" fmla="*/ 302291 w 319670"/>
                <a:gd name="connsiteY197" fmla="*/ 232664 h 320770"/>
                <a:gd name="connsiteX198" fmla="*/ 288598 w 319670"/>
                <a:gd name="connsiteY198" fmla="*/ 254822 h 320770"/>
                <a:gd name="connsiteX199" fmla="*/ 160099 w 319670"/>
                <a:gd name="connsiteY199" fmla="*/ 320242 h 320770"/>
                <a:gd name="connsiteX200" fmla="*/ 159572 w 319670"/>
                <a:gd name="connsiteY200" fmla="*/ 320242 h 320770"/>
                <a:gd name="connsiteX201" fmla="*/ 155359 w 319670"/>
                <a:gd name="connsiteY201" fmla="*/ 320770 h 320770"/>
                <a:gd name="connsiteX202" fmla="*/ 155359 w 319670"/>
                <a:gd name="connsiteY202" fmla="*/ 320242 h 320770"/>
                <a:gd name="connsiteX203" fmla="*/ 26332 w 319670"/>
                <a:gd name="connsiteY203" fmla="*/ 248491 h 320770"/>
                <a:gd name="connsiteX204" fmla="*/ 13693 w 319670"/>
                <a:gd name="connsiteY204" fmla="*/ 225278 h 320770"/>
                <a:gd name="connsiteX205" fmla="*/ 527 w 319670"/>
                <a:gd name="connsiteY205" fmla="*/ 174630 h 320770"/>
                <a:gd name="connsiteX206" fmla="*/ 0 w 319670"/>
                <a:gd name="connsiteY206" fmla="*/ 160385 h 320770"/>
                <a:gd name="connsiteX207" fmla="*/ 0 w 319670"/>
                <a:gd name="connsiteY207" fmla="*/ 156164 h 320770"/>
                <a:gd name="connsiteX208" fmla="*/ 6847 w 319670"/>
                <a:gd name="connsiteY208" fmla="*/ 113958 h 320770"/>
                <a:gd name="connsiteX209" fmla="*/ 12113 w 319670"/>
                <a:gd name="connsiteY209" fmla="*/ 99185 h 320770"/>
                <a:gd name="connsiteX210" fmla="*/ 32125 w 319670"/>
                <a:gd name="connsiteY210" fmla="*/ 64365 h 320770"/>
                <a:gd name="connsiteX211" fmla="*/ 41078 w 319670"/>
                <a:gd name="connsiteY211" fmla="*/ 52758 h 320770"/>
                <a:gd name="connsiteX212" fmla="*/ 68990 w 319670"/>
                <a:gd name="connsiteY212" fmla="*/ 28489 h 320770"/>
                <a:gd name="connsiteX213" fmla="*/ 80576 w 319670"/>
                <a:gd name="connsiteY213" fmla="*/ 21103 h 320770"/>
                <a:gd name="connsiteX214" fmla="*/ 160099 w 319670"/>
                <a:gd name="connsiteY214" fmla="*/ 0 h 3207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Lst>
              <a:rect l="l" t="t" r="r" b="b"/>
              <a:pathLst>
                <a:path w="319670" h="320770">
                  <a:moveTo>
                    <a:pt x="193673" y="280605"/>
                  </a:moveTo>
                  <a:cubicBezTo>
                    <a:pt x="184761" y="281133"/>
                    <a:pt x="175324" y="281661"/>
                    <a:pt x="165888" y="281661"/>
                  </a:cubicBezTo>
                  <a:cubicBezTo>
                    <a:pt x="166412" y="292225"/>
                    <a:pt x="166936" y="300676"/>
                    <a:pt x="167460" y="307015"/>
                  </a:cubicBezTo>
                  <a:cubicBezTo>
                    <a:pt x="172179" y="306486"/>
                    <a:pt x="176373" y="305958"/>
                    <a:pt x="181091" y="305430"/>
                  </a:cubicBezTo>
                  <a:cubicBezTo>
                    <a:pt x="183188" y="301733"/>
                    <a:pt x="188430" y="292753"/>
                    <a:pt x="193673" y="280605"/>
                  </a:cubicBezTo>
                  <a:close/>
                  <a:moveTo>
                    <a:pt x="127923" y="280054"/>
                  </a:moveTo>
                  <a:cubicBezTo>
                    <a:pt x="133734" y="293270"/>
                    <a:pt x="139016" y="302257"/>
                    <a:pt x="141657" y="305957"/>
                  </a:cubicBezTo>
                  <a:cubicBezTo>
                    <a:pt x="145882" y="306486"/>
                    <a:pt x="150108" y="307015"/>
                    <a:pt x="154333" y="307015"/>
                  </a:cubicBezTo>
                  <a:cubicBezTo>
                    <a:pt x="153805" y="300671"/>
                    <a:pt x="153277" y="291684"/>
                    <a:pt x="152749" y="281640"/>
                  </a:cubicBezTo>
                  <a:cubicBezTo>
                    <a:pt x="144298" y="281640"/>
                    <a:pt x="135846" y="280583"/>
                    <a:pt x="127923" y="280054"/>
                  </a:cubicBezTo>
                  <a:close/>
                  <a:moveTo>
                    <a:pt x="226960" y="275378"/>
                  </a:moveTo>
                  <a:cubicBezTo>
                    <a:pt x="221183" y="276962"/>
                    <a:pt x="215406" y="277491"/>
                    <a:pt x="209629" y="278547"/>
                  </a:cubicBezTo>
                  <a:cubicBezTo>
                    <a:pt x="205427" y="288055"/>
                    <a:pt x="201226" y="295978"/>
                    <a:pt x="198075" y="301788"/>
                  </a:cubicBezTo>
                  <a:cubicBezTo>
                    <a:pt x="200175" y="301260"/>
                    <a:pt x="202276" y="300731"/>
                    <a:pt x="204377" y="300203"/>
                  </a:cubicBezTo>
                  <a:cubicBezTo>
                    <a:pt x="208053" y="296506"/>
                    <a:pt x="216982" y="288055"/>
                    <a:pt x="226960" y="275378"/>
                  </a:cubicBezTo>
                  <a:close/>
                  <a:moveTo>
                    <a:pt x="94911" y="274277"/>
                  </a:moveTo>
                  <a:cubicBezTo>
                    <a:pt x="107537" y="290172"/>
                    <a:pt x="118584" y="300239"/>
                    <a:pt x="120163" y="301828"/>
                  </a:cubicBezTo>
                  <a:cubicBezTo>
                    <a:pt x="121741" y="302358"/>
                    <a:pt x="123319" y="302358"/>
                    <a:pt x="124897" y="302888"/>
                  </a:cubicBezTo>
                  <a:cubicBezTo>
                    <a:pt x="121215" y="296530"/>
                    <a:pt x="117006" y="288053"/>
                    <a:pt x="112797" y="277456"/>
                  </a:cubicBezTo>
                  <a:cubicBezTo>
                    <a:pt x="106485" y="276927"/>
                    <a:pt x="100698" y="275337"/>
                    <a:pt x="94911" y="274277"/>
                  </a:cubicBezTo>
                  <a:close/>
                  <a:moveTo>
                    <a:pt x="261623" y="266024"/>
                  </a:moveTo>
                  <a:cubicBezTo>
                    <a:pt x="256919" y="267610"/>
                    <a:pt x="252215" y="269195"/>
                    <a:pt x="247511" y="270781"/>
                  </a:cubicBezTo>
                  <a:cubicBezTo>
                    <a:pt x="243329" y="276066"/>
                    <a:pt x="239670" y="281351"/>
                    <a:pt x="235489" y="286107"/>
                  </a:cubicBezTo>
                  <a:cubicBezTo>
                    <a:pt x="244897" y="280294"/>
                    <a:pt x="253783" y="273952"/>
                    <a:pt x="261623" y="266024"/>
                  </a:cubicBezTo>
                  <a:close/>
                  <a:moveTo>
                    <a:pt x="53646" y="261072"/>
                  </a:moveTo>
                  <a:cubicBezTo>
                    <a:pt x="64178" y="272729"/>
                    <a:pt x="76817" y="282266"/>
                    <a:pt x="90509" y="289683"/>
                  </a:cubicBezTo>
                  <a:cubicBezTo>
                    <a:pt x="85243" y="283855"/>
                    <a:pt x="79977" y="276438"/>
                    <a:pt x="74184" y="268490"/>
                  </a:cubicBezTo>
                  <a:cubicBezTo>
                    <a:pt x="66811" y="266371"/>
                    <a:pt x="59965" y="264252"/>
                    <a:pt x="53646" y="261072"/>
                  </a:cubicBezTo>
                  <a:close/>
                  <a:moveTo>
                    <a:pt x="213205" y="224209"/>
                  </a:moveTo>
                  <a:cubicBezTo>
                    <a:pt x="197402" y="226846"/>
                    <a:pt x="180544" y="228429"/>
                    <a:pt x="163687" y="228957"/>
                  </a:cubicBezTo>
                  <a:cubicBezTo>
                    <a:pt x="163687" y="243201"/>
                    <a:pt x="164740" y="256917"/>
                    <a:pt x="165267" y="269051"/>
                  </a:cubicBezTo>
                  <a:cubicBezTo>
                    <a:pt x="176857" y="268523"/>
                    <a:pt x="188446" y="267996"/>
                    <a:pt x="200035" y="266413"/>
                  </a:cubicBezTo>
                  <a:cubicBezTo>
                    <a:pt x="204777" y="254279"/>
                    <a:pt x="209518" y="240035"/>
                    <a:pt x="213205" y="224209"/>
                  </a:cubicBezTo>
                  <a:close/>
                  <a:moveTo>
                    <a:pt x="108941" y="224209"/>
                  </a:moveTo>
                  <a:cubicBezTo>
                    <a:pt x="112628" y="240027"/>
                    <a:pt x="117369" y="253736"/>
                    <a:pt x="122109" y="265864"/>
                  </a:cubicBezTo>
                  <a:cubicBezTo>
                    <a:pt x="131590" y="267446"/>
                    <a:pt x="141598" y="267973"/>
                    <a:pt x="152132" y="268500"/>
                  </a:cubicBezTo>
                  <a:cubicBezTo>
                    <a:pt x="151606" y="256373"/>
                    <a:pt x="151079" y="243191"/>
                    <a:pt x="150552" y="228954"/>
                  </a:cubicBezTo>
                  <a:cubicBezTo>
                    <a:pt x="135804" y="228427"/>
                    <a:pt x="122109" y="226845"/>
                    <a:pt x="108941" y="224209"/>
                  </a:cubicBezTo>
                  <a:close/>
                  <a:moveTo>
                    <a:pt x="58322" y="209903"/>
                  </a:moveTo>
                  <a:cubicBezTo>
                    <a:pt x="64673" y="227869"/>
                    <a:pt x="73671" y="243722"/>
                    <a:pt x="82669" y="257461"/>
                  </a:cubicBezTo>
                  <a:cubicBezTo>
                    <a:pt x="90608" y="260103"/>
                    <a:pt x="98547" y="261688"/>
                    <a:pt x="107016" y="263273"/>
                  </a:cubicBezTo>
                  <a:cubicBezTo>
                    <a:pt x="102252" y="251120"/>
                    <a:pt x="98018" y="236852"/>
                    <a:pt x="94842" y="221000"/>
                  </a:cubicBezTo>
                  <a:cubicBezTo>
                    <a:pt x="82140" y="218358"/>
                    <a:pt x="69966" y="214131"/>
                    <a:pt x="58322" y="209903"/>
                  </a:cubicBezTo>
                  <a:close/>
                  <a:moveTo>
                    <a:pt x="264925" y="209078"/>
                  </a:moveTo>
                  <a:cubicBezTo>
                    <a:pt x="253330" y="213818"/>
                    <a:pt x="240681" y="218031"/>
                    <a:pt x="227505" y="221190"/>
                  </a:cubicBezTo>
                  <a:cubicBezTo>
                    <a:pt x="224343" y="236989"/>
                    <a:pt x="219599" y="251735"/>
                    <a:pt x="214856" y="264374"/>
                  </a:cubicBezTo>
                  <a:cubicBezTo>
                    <a:pt x="223289" y="263320"/>
                    <a:pt x="231194" y="261214"/>
                    <a:pt x="239100" y="259634"/>
                  </a:cubicBezTo>
                  <a:cubicBezTo>
                    <a:pt x="248586" y="245415"/>
                    <a:pt x="258073" y="228037"/>
                    <a:pt x="264925" y="209078"/>
                  </a:cubicBezTo>
                  <a:close/>
                  <a:moveTo>
                    <a:pt x="303989" y="187895"/>
                  </a:moveTo>
                  <a:cubicBezTo>
                    <a:pt x="297128" y="192647"/>
                    <a:pt x="289211" y="197399"/>
                    <a:pt x="280765" y="201624"/>
                  </a:cubicBezTo>
                  <a:cubicBezTo>
                    <a:pt x="275487" y="220632"/>
                    <a:pt x="267570" y="238057"/>
                    <a:pt x="258597" y="253370"/>
                  </a:cubicBezTo>
                  <a:cubicBezTo>
                    <a:pt x="265987" y="250729"/>
                    <a:pt x="273376" y="248089"/>
                    <a:pt x="279710" y="244921"/>
                  </a:cubicBezTo>
                  <a:cubicBezTo>
                    <a:pt x="291850" y="228025"/>
                    <a:pt x="300295" y="209016"/>
                    <a:pt x="303989" y="187895"/>
                  </a:cubicBezTo>
                  <a:close/>
                  <a:moveTo>
                    <a:pt x="15131" y="186244"/>
                  </a:moveTo>
                  <a:cubicBezTo>
                    <a:pt x="18834" y="205247"/>
                    <a:pt x="25712" y="223193"/>
                    <a:pt x="35764" y="239029"/>
                  </a:cubicBezTo>
                  <a:cubicBezTo>
                    <a:pt x="44229" y="243251"/>
                    <a:pt x="53751" y="247474"/>
                    <a:pt x="63274" y="251169"/>
                  </a:cubicBezTo>
                  <a:cubicBezTo>
                    <a:pt x="54810" y="236917"/>
                    <a:pt x="47403" y="220554"/>
                    <a:pt x="42641" y="202607"/>
                  </a:cubicBezTo>
                  <a:cubicBezTo>
                    <a:pt x="32590" y="197857"/>
                    <a:pt x="23596" y="192578"/>
                    <a:pt x="15131" y="186244"/>
                  </a:cubicBezTo>
                  <a:close/>
                  <a:moveTo>
                    <a:pt x="220633" y="169463"/>
                  </a:moveTo>
                  <a:cubicBezTo>
                    <a:pt x="202251" y="174190"/>
                    <a:pt x="182819" y="176291"/>
                    <a:pt x="162861" y="176816"/>
                  </a:cubicBezTo>
                  <a:cubicBezTo>
                    <a:pt x="162861" y="189946"/>
                    <a:pt x="162861" y="203076"/>
                    <a:pt x="163386" y="215680"/>
                  </a:cubicBezTo>
                  <a:cubicBezTo>
                    <a:pt x="181768" y="215680"/>
                    <a:pt x="199625" y="213580"/>
                    <a:pt x="216431" y="209903"/>
                  </a:cubicBezTo>
                  <a:cubicBezTo>
                    <a:pt x="218532" y="197298"/>
                    <a:pt x="220108" y="183643"/>
                    <a:pt x="220633" y="169463"/>
                  </a:cubicBezTo>
                  <a:close/>
                  <a:moveTo>
                    <a:pt x="101513" y="169463"/>
                  </a:moveTo>
                  <a:cubicBezTo>
                    <a:pt x="102043" y="183643"/>
                    <a:pt x="103631" y="197298"/>
                    <a:pt x="105748" y="210428"/>
                  </a:cubicBezTo>
                  <a:cubicBezTo>
                    <a:pt x="120038" y="213054"/>
                    <a:pt x="134858" y="215155"/>
                    <a:pt x="150207" y="215680"/>
                  </a:cubicBezTo>
                  <a:cubicBezTo>
                    <a:pt x="149678" y="203076"/>
                    <a:pt x="149678" y="189946"/>
                    <a:pt x="149678" y="176291"/>
                  </a:cubicBezTo>
                  <a:cubicBezTo>
                    <a:pt x="132741" y="175765"/>
                    <a:pt x="116862" y="173139"/>
                    <a:pt x="101513" y="169463"/>
                  </a:cubicBezTo>
                  <a:close/>
                  <a:moveTo>
                    <a:pt x="51121" y="149931"/>
                  </a:moveTo>
                  <a:cubicBezTo>
                    <a:pt x="50595" y="153623"/>
                    <a:pt x="50069" y="156788"/>
                    <a:pt x="50069" y="159953"/>
                  </a:cubicBezTo>
                  <a:cubicBezTo>
                    <a:pt x="50069" y="171558"/>
                    <a:pt x="51647" y="183163"/>
                    <a:pt x="53752" y="193713"/>
                  </a:cubicBezTo>
                  <a:cubicBezTo>
                    <a:pt x="65853" y="198988"/>
                    <a:pt x="78480" y="203735"/>
                    <a:pt x="92160" y="207427"/>
                  </a:cubicBezTo>
                  <a:cubicBezTo>
                    <a:pt x="90055" y="194240"/>
                    <a:pt x="88477" y="180525"/>
                    <a:pt x="89003" y="166283"/>
                  </a:cubicBezTo>
                  <a:cubicBezTo>
                    <a:pt x="75324" y="161536"/>
                    <a:pt x="62170" y="156261"/>
                    <a:pt x="51121" y="149931"/>
                  </a:cubicBezTo>
                  <a:close/>
                  <a:moveTo>
                    <a:pt x="271850" y="148830"/>
                  </a:moveTo>
                  <a:cubicBezTo>
                    <a:pt x="260269" y="155690"/>
                    <a:pt x="247634" y="161495"/>
                    <a:pt x="233420" y="165717"/>
                  </a:cubicBezTo>
                  <a:cubicBezTo>
                    <a:pt x="233947" y="179965"/>
                    <a:pt x="232367" y="193685"/>
                    <a:pt x="230262" y="206877"/>
                  </a:cubicBezTo>
                  <a:cubicBezTo>
                    <a:pt x="244475" y="203183"/>
                    <a:pt x="257110" y="198434"/>
                    <a:pt x="269218" y="193157"/>
                  </a:cubicBezTo>
                  <a:cubicBezTo>
                    <a:pt x="271850" y="182603"/>
                    <a:pt x="272903" y="171521"/>
                    <a:pt x="272903" y="159912"/>
                  </a:cubicBezTo>
                  <a:cubicBezTo>
                    <a:pt x="272903" y="156218"/>
                    <a:pt x="272376" y="152524"/>
                    <a:pt x="271850" y="148830"/>
                  </a:cubicBezTo>
                  <a:close/>
                  <a:moveTo>
                    <a:pt x="302793" y="126547"/>
                  </a:moveTo>
                  <a:cubicBezTo>
                    <a:pt x="297022" y="131826"/>
                    <a:pt x="290727" y="136577"/>
                    <a:pt x="284431" y="141328"/>
                  </a:cubicBezTo>
                  <a:cubicBezTo>
                    <a:pt x="284956" y="147135"/>
                    <a:pt x="286005" y="153470"/>
                    <a:pt x="286005" y="159805"/>
                  </a:cubicBezTo>
                  <a:cubicBezTo>
                    <a:pt x="286005" y="168251"/>
                    <a:pt x="285481" y="176698"/>
                    <a:pt x="283907" y="185144"/>
                  </a:cubicBezTo>
                  <a:cubicBezTo>
                    <a:pt x="292301" y="180393"/>
                    <a:pt x="299645" y="175642"/>
                    <a:pt x="306465" y="169835"/>
                  </a:cubicBezTo>
                  <a:cubicBezTo>
                    <a:pt x="306465" y="166668"/>
                    <a:pt x="306465" y="163500"/>
                    <a:pt x="306465" y="160333"/>
                  </a:cubicBezTo>
                  <a:cubicBezTo>
                    <a:pt x="306465" y="148719"/>
                    <a:pt x="305416" y="137105"/>
                    <a:pt x="302793" y="126547"/>
                  </a:cubicBezTo>
                  <a:close/>
                  <a:moveTo>
                    <a:pt x="17427" y="125172"/>
                  </a:moveTo>
                  <a:cubicBezTo>
                    <a:pt x="14789" y="136754"/>
                    <a:pt x="13205" y="148337"/>
                    <a:pt x="13205" y="160446"/>
                  </a:cubicBezTo>
                  <a:cubicBezTo>
                    <a:pt x="13205" y="163079"/>
                    <a:pt x="13205" y="165711"/>
                    <a:pt x="13205" y="168870"/>
                  </a:cubicBezTo>
                  <a:cubicBezTo>
                    <a:pt x="21122" y="175188"/>
                    <a:pt x="29565" y="180979"/>
                    <a:pt x="39065" y="186244"/>
                  </a:cubicBezTo>
                  <a:cubicBezTo>
                    <a:pt x="37482" y="177821"/>
                    <a:pt x="36954" y="168870"/>
                    <a:pt x="36954" y="159920"/>
                  </a:cubicBezTo>
                  <a:cubicBezTo>
                    <a:pt x="37482" y="154128"/>
                    <a:pt x="38009" y="148337"/>
                    <a:pt x="38537" y="142546"/>
                  </a:cubicBezTo>
                  <a:cubicBezTo>
                    <a:pt x="30621" y="137281"/>
                    <a:pt x="23760" y="131489"/>
                    <a:pt x="17427" y="125172"/>
                  </a:cubicBezTo>
                  <a:close/>
                  <a:moveTo>
                    <a:pt x="215883" y="122420"/>
                  </a:moveTo>
                  <a:cubicBezTo>
                    <a:pt x="200134" y="126653"/>
                    <a:pt x="183335" y="128769"/>
                    <a:pt x="165486" y="128769"/>
                  </a:cubicBezTo>
                  <a:cubicBezTo>
                    <a:pt x="164961" y="128769"/>
                    <a:pt x="164436" y="128769"/>
                    <a:pt x="163386" y="128769"/>
                  </a:cubicBezTo>
                  <a:cubicBezTo>
                    <a:pt x="163386" y="137763"/>
                    <a:pt x="163386" y="146228"/>
                    <a:pt x="162861" y="155221"/>
                  </a:cubicBezTo>
                  <a:cubicBezTo>
                    <a:pt x="162861" y="157866"/>
                    <a:pt x="162861" y="161041"/>
                    <a:pt x="162861" y="163686"/>
                  </a:cubicBezTo>
                  <a:cubicBezTo>
                    <a:pt x="183335" y="163157"/>
                    <a:pt x="202234" y="160512"/>
                    <a:pt x="220083" y="155750"/>
                  </a:cubicBezTo>
                  <a:cubicBezTo>
                    <a:pt x="219558" y="144640"/>
                    <a:pt x="217983" y="133530"/>
                    <a:pt x="215883" y="122420"/>
                  </a:cubicBezTo>
                  <a:close/>
                  <a:moveTo>
                    <a:pt x="106825" y="120220"/>
                  </a:moveTo>
                  <a:cubicBezTo>
                    <a:pt x="104180" y="131876"/>
                    <a:pt x="102593" y="144062"/>
                    <a:pt x="102064" y="156248"/>
                  </a:cubicBezTo>
                  <a:cubicBezTo>
                    <a:pt x="116877" y="159957"/>
                    <a:pt x="132748" y="162606"/>
                    <a:pt x="149678" y="163136"/>
                  </a:cubicBezTo>
                  <a:cubicBezTo>
                    <a:pt x="149678" y="160487"/>
                    <a:pt x="149678" y="157837"/>
                    <a:pt x="149678" y="155188"/>
                  </a:cubicBezTo>
                  <a:cubicBezTo>
                    <a:pt x="150207" y="146181"/>
                    <a:pt x="150207" y="137174"/>
                    <a:pt x="150207" y="128167"/>
                  </a:cubicBezTo>
                  <a:cubicBezTo>
                    <a:pt x="134864" y="127107"/>
                    <a:pt x="120051" y="124458"/>
                    <a:pt x="106825" y="120220"/>
                  </a:cubicBezTo>
                  <a:close/>
                  <a:moveTo>
                    <a:pt x="259617" y="103988"/>
                  </a:moveTo>
                  <a:cubicBezTo>
                    <a:pt x="250157" y="109775"/>
                    <a:pt x="240173" y="115035"/>
                    <a:pt x="228611" y="118717"/>
                  </a:cubicBezTo>
                  <a:cubicBezTo>
                    <a:pt x="230713" y="129238"/>
                    <a:pt x="232290" y="140810"/>
                    <a:pt x="233341" y="151856"/>
                  </a:cubicBezTo>
                  <a:cubicBezTo>
                    <a:pt x="246479" y="147648"/>
                    <a:pt x="258566" y="141862"/>
                    <a:pt x="269602" y="135024"/>
                  </a:cubicBezTo>
                  <a:cubicBezTo>
                    <a:pt x="267500" y="124503"/>
                    <a:pt x="263821" y="113983"/>
                    <a:pt x="259617" y="103988"/>
                  </a:cubicBezTo>
                  <a:close/>
                  <a:moveTo>
                    <a:pt x="65249" y="99862"/>
                  </a:moveTo>
                  <a:cubicBezTo>
                    <a:pt x="59956" y="111422"/>
                    <a:pt x="55192" y="123507"/>
                    <a:pt x="52545" y="136118"/>
                  </a:cubicBezTo>
                  <a:cubicBezTo>
                    <a:pt x="63661" y="142423"/>
                    <a:pt x="75835" y="148203"/>
                    <a:pt x="89068" y="152407"/>
                  </a:cubicBezTo>
                  <a:cubicBezTo>
                    <a:pt x="90126" y="139796"/>
                    <a:pt x="91714" y="127185"/>
                    <a:pt x="94361" y="115625"/>
                  </a:cubicBezTo>
                  <a:cubicBezTo>
                    <a:pt x="83774" y="111422"/>
                    <a:pt x="73718" y="106167"/>
                    <a:pt x="65249" y="99862"/>
                  </a:cubicBezTo>
                  <a:close/>
                  <a:moveTo>
                    <a:pt x="285381" y="83906"/>
                  </a:moveTo>
                  <a:cubicBezTo>
                    <a:pt x="280663" y="88122"/>
                    <a:pt x="275944" y="92338"/>
                    <a:pt x="270702" y="96554"/>
                  </a:cubicBezTo>
                  <a:cubicBezTo>
                    <a:pt x="275420" y="106567"/>
                    <a:pt x="279090" y="116581"/>
                    <a:pt x="281711" y="127648"/>
                  </a:cubicBezTo>
                  <a:cubicBezTo>
                    <a:pt x="288002" y="122905"/>
                    <a:pt x="293769" y="117635"/>
                    <a:pt x="298487" y="112365"/>
                  </a:cubicBezTo>
                  <a:cubicBezTo>
                    <a:pt x="295342" y="102351"/>
                    <a:pt x="290624" y="92865"/>
                    <a:pt x="285381" y="83906"/>
                  </a:cubicBezTo>
                  <a:close/>
                  <a:moveTo>
                    <a:pt x="39411" y="75928"/>
                  </a:moveTo>
                  <a:cubicBezTo>
                    <a:pt x="32019" y="87020"/>
                    <a:pt x="25683" y="98640"/>
                    <a:pt x="21458" y="111317"/>
                  </a:cubicBezTo>
                  <a:cubicBezTo>
                    <a:pt x="26739" y="117656"/>
                    <a:pt x="33603" y="122938"/>
                    <a:pt x="40995" y="128748"/>
                  </a:cubicBezTo>
                  <a:cubicBezTo>
                    <a:pt x="44163" y="115543"/>
                    <a:pt x="48916" y="103394"/>
                    <a:pt x="54196" y="91774"/>
                  </a:cubicBezTo>
                  <a:cubicBezTo>
                    <a:pt x="48916" y="87020"/>
                    <a:pt x="43635" y="81738"/>
                    <a:pt x="39411" y="75928"/>
                  </a:cubicBezTo>
                  <a:close/>
                  <a:moveTo>
                    <a:pt x="201616" y="73452"/>
                  </a:moveTo>
                  <a:cubicBezTo>
                    <a:pt x="190553" y="76083"/>
                    <a:pt x="178437" y="78187"/>
                    <a:pt x="165267" y="78187"/>
                  </a:cubicBezTo>
                  <a:cubicBezTo>
                    <a:pt x="165267" y="78187"/>
                    <a:pt x="165267" y="78187"/>
                    <a:pt x="164740" y="78187"/>
                  </a:cubicBezTo>
                  <a:cubicBezTo>
                    <a:pt x="164740" y="89762"/>
                    <a:pt x="164214" y="102390"/>
                    <a:pt x="163687" y="115543"/>
                  </a:cubicBezTo>
                  <a:cubicBezTo>
                    <a:pt x="164214" y="115543"/>
                    <a:pt x="164740" y="115543"/>
                    <a:pt x="165267" y="115543"/>
                  </a:cubicBezTo>
                  <a:cubicBezTo>
                    <a:pt x="182125" y="115543"/>
                    <a:pt x="198455" y="113438"/>
                    <a:pt x="213205" y="109756"/>
                  </a:cubicBezTo>
                  <a:cubicBezTo>
                    <a:pt x="210044" y="96602"/>
                    <a:pt x="205830" y="84501"/>
                    <a:pt x="201616" y="73452"/>
                  </a:cubicBezTo>
                  <a:close/>
                  <a:moveTo>
                    <a:pt x="121592" y="70701"/>
                  </a:moveTo>
                  <a:cubicBezTo>
                    <a:pt x="116857" y="81774"/>
                    <a:pt x="113174" y="94429"/>
                    <a:pt x="109491" y="107084"/>
                  </a:cubicBezTo>
                  <a:cubicBezTo>
                    <a:pt x="122119" y="111302"/>
                    <a:pt x="136324" y="113938"/>
                    <a:pt x="150530" y="114993"/>
                  </a:cubicBezTo>
                  <a:cubicBezTo>
                    <a:pt x="151056" y="101811"/>
                    <a:pt x="151582" y="88629"/>
                    <a:pt x="151582" y="77028"/>
                  </a:cubicBezTo>
                  <a:cubicBezTo>
                    <a:pt x="141060" y="75974"/>
                    <a:pt x="131063" y="73865"/>
                    <a:pt x="121592" y="70701"/>
                  </a:cubicBezTo>
                  <a:close/>
                  <a:moveTo>
                    <a:pt x="233321" y="59697"/>
                  </a:moveTo>
                  <a:cubicBezTo>
                    <a:pt x="227511" y="63395"/>
                    <a:pt x="221172" y="66565"/>
                    <a:pt x="214306" y="69207"/>
                  </a:cubicBezTo>
                  <a:cubicBezTo>
                    <a:pt x="218531" y="80302"/>
                    <a:pt x="222757" y="92981"/>
                    <a:pt x="225926" y="106189"/>
                  </a:cubicBezTo>
                  <a:cubicBezTo>
                    <a:pt x="235962" y="102491"/>
                    <a:pt x="245469" y="97736"/>
                    <a:pt x="253921" y="92453"/>
                  </a:cubicBezTo>
                  <a:cubicBezTo>
                    <a:pt x="247582" y="80302"/>
                    <a:pt x="240716" y="69207"/>
                    <a:pt x="233321" y="59697"/>
                  </a:cubicBezTo>
                  <a:close/>
                  <a:moveTo>
                    <a:pt x="92595" y="55846"/>
                  </a:moveTo>
                  <a:cubicBezTo>
                    <a:pt x="85214" y="65360"/>
                    <a:pt x="77832" y="76460"/>
                    <a:pt x="70977" y="88088"/>
                  </a:cubicBezTo>
                  <a:cubicBezTo>
                    <a:pt x="78886" y="93902"/>
                    <a:pt x="87323" y="98660"/>
                    <a:pt x="97341" y="102888"/>
                  </a:cubicBezTo>
                  <a:cubicBezTo>
                    <a:pt x="100505" y="89674"/>
                    <a:pt x="104723" y="76988"/>
                    <a:pt x="108941" y="65360"/>
                  </a:cubicBezTo>
                  <a:cubicBezTo>
                    <a:pt x="103141" y="62717"/>
                    <a:pt x="97341" y="59546"/>
                    <a:pt x="92595" y="55846"/>
                  </a:cubicBezTo>
                  <a:close/>
                  <a:moveTo>
                    <a:pt x="251144" y="44842"/>
                  </a:moveTo>
                  <a:cubicBezTo>
                    <a:pt x="248500" y="47484"/>
                    <a:pt x="246385" y="49598"/>
                    <a:pt x="243742" y="51712"/>
                  </a:cubicBezTo>
                  <a:cubicBezTo>
                    <a:pt x="251144" y="61225"/>
                    <a:pt x="258546" y="72323"/>
                    <a:pt x="264890" y="85007"/>
                  </a:cubicBezTo>
                  <a:cubicBezTo>
                    <a:pt x="269649" y="80779"/>
                    <a:pt x="273878" y="77079"/>
                    <a:pt x="277579" y="72851"/>
                  </a:cubicBezTo>
                  <a:cubicBezTo>
                    <a:pt x="270177" y="62282"/>
                    <a:pt x="261189" y="52769"/>
                    <a:pt x="251144" y="44842"/>
                  </a:cubicBezTo>
                  <a:close/>
                  <a:moveTo>
                    <a:pt x="75908" y="39614"/>
                  </a:moveTo>
                  <a:cubicBezTo>
                    <a:pt x="65327" y="47013"/>
                    <a:pt x="55804" y="55469"/>
                    <a:pt x="47868" y="65510"/>
                  </a:cubicBezTo>
                  <a:cubicBezTo>
                    <a:pt x="51043" y="70795"/>
                    <a:pt x="55804" y="75551"/>
                    <a:pt x="60565" y="79779"/>
                  </a:cubicBezTo>
                  <a:cubicBezTo>
                    <a:pt x="67443" y="67624"/>
                    <a:pt x="74850" y="56526"/>
                    <a:pt x="82256" y="47013"/>
                  </a:cubicBezTo>
                  <a:cubicBezTo>
                    <a:pt x="80140" y="44899"/>
                    <a:pt x="78024" y="42257"/>
                    <a:pt x="75908" y="39614"/>
                  </a:cubicBezTo>
                  <a:close/>
                  <a:moveTo>
                    <a:pt x="224484" y="28060"/>
                  </a:moveTo>
                  <a:cubicBezTo>
                    <a:pt x="228150" y="32293"/>
                    <a:pt x="231815" y="36525"/>
                    <a:pt x="236003" y="41815"/>
                  </a:cubicBezTo>
                  <a:cubicBezTo>
                    <a:pt x="237574" y="40228"/>
                    <a:pt x="239145" y="38641"/>
                    <a:pt x="240716" y="37583"/>
                  </a:cubicBezTo>
                  <a:cubicBezTo>
                    <a:pt x="235480" y="33880"/>
                    <a:pt x="230244" y="31234"/>
                    <a:pt x="224484" y="28060"/>
                  </a:cubicBezTo>
                  <a:close/>
                  <a:moveTo>
                    <a:pt x="101238" y="25309"/>
                  </a:moveTo>
                  <a:cubicBezTo>
                    <a:pt x="95940" y="27410"/>
                    <a:pt x="91172" y="30036"/>
                    <a:pt x="86933" y="32662"/>
                  </a:cubicBezTo>
                  <a:cubicBezTo>
                    <a:pt x="87993" y="34237"/>
                    <a:pt x="89582" y="35288"/>
                    <a:pt x="90642" y="36863"/>
                  </a:cubicBezTo>
                  <a:cubicBezTo>
                    <a:pt x="94350" y="32662"/>
                    <a:pt x="97529" y="28985"/>
                    <a:pt x="101238" y="25309"/>
                  </a:cubicBezTo>
                  <a:close/>
                  <a:moveTo>
                    <a:pt x="189546" y="16506"/>
                  </a:moveTo>
                  <a:cubicBezTo>
                    <a:pt x="195332" y="25959"/>
                    <a:pt x="202695" y="39614"/>
                    <a:pt x="209532" y="56946"/>
                  </a:cubicBezTo>
                  <a:cubicBezTo>
                    <a:pt x="215317" y="54845"/>
                    <a:pt x="220576" y="52219"/>
                    <a:pt x="225310" y="49068"/>
                  </a:cubicBezTo>
                  <a:cubicBezTo>
                    <a:pt x="210584" y="31736"/>
                    <a:pt x="197961" y="20707"/>
                    <a:pt x="194280" y="17556"/>
                  </a:cubicBezTo>
                  <a:cubicBezTo>
                    <a:pt x="192702" y="17031"/>
                    <a:pt x="191124" y="16506"/>
                    <a:pt x="189546" y="16506"/>
                  </a:cubicBezTo>
                  <a:close/>
                  <a:moveTo>
                    <a:pt x="132600" y="15955"/>
                  </a:moveTo>
                  <a:cubicBezTo>
                    <a:pt x="131554" y="15955"/>
                    <a:pt x="130507" y="15955"/>
                    <a:pt x="128938" y="16483"/>
                  </a:cubicBezTo>
                  <a:cubicBezTo>
                    <a:pt x="128938" y="17010"/>
                    <a:pt x="115859" y="27556"/>
                    <a:pt x="100688" y="46010"/>
                  </a:cubicBezTo>
                  <a:cubicBezTo>
                    <a:pt x="104873" y="48647"/>
                    <a:pt x="109058" y="51283"/>
                    <a:pt x="114290" y="53920"/>
                  </a:cubicBezTo>
                  <a:cubicBezTo>
                    <a:pt x="121091" y="37574"/>
                    <a:pt x="127892" y="24919"/>
                    <a:pt x="132600" y="15955"/>
                  </a:cubicBezTo>
                  <a:close/>
                  <a:moveTo>
                    <a:pt x="167974" y="13204"/>
                  </a:moveTo>
                  <a:cubicBezTo>
                    <a:pt x="167447" y="22704"/>
                    <a:pt x="166392" y="40647"/>
                    <a:pt x="165337" y="64924"/>
                  </a:cubicBezTo>
                  <a:cubicBezTo>
                    <a:pt x="176410" y="64924"/>
                    <a:pt x="186956" y="63341"/>
                    <a:pt x="196974" y="60702"/>
                  </a:cubicBezTo>
                  <a:cubicBezTo>
                    <a:pt x="187483" y="38009"/>
                    <a:pt x="177465" y="21121"/>
                    <a:pt x="173247" y="13732"/>
                  </a:cubicBezTo>
                  <a:cubicBezTo>
                    <a:pt x="171665" y="13732"/>
                    <a:pt x="169556" y="13732"/>
                    <a:pt x="167974" y="13204"/>
                  </a:cubicBezTo>
                  <a:close/>
                  <a:moveTo>
                    <a:pt x="149585" y="13204"/>
                  </a:moveTo>
                  <a:cubicBezTo>
                    <a:pt x="145346" y="20059"/>
                    <a:pt x="135810" y="36405"/>
                    <a:pt x="126273" y="58551"/>
                  </a:cubicBezTo>
                  <a:cubicBezTo>
                    <a:pt x="134220" y="61187"/>
                    <a:pt x="143227" y="63296"/>
                    <a:pt x="152764" y="63823"/>
                  </a:cubicBezTo>
                  <a:cubicBezTo>
                    <a:pt x="153294" y="40623"/>
                    <a:pt x="154354" y="22696"/>
                    <a:pt x="154883" y="13204"/>
                  </a:cubicBezTo>
                  <a:cubicBezTo>
                    <a:pt x="153294" y="13204"/>
                    <a:pt x="151175" y="13204"/>
                    <a:pt x="149585" y="13204"/>
                  </a:cubicBezTo>
                  <a:close/>
                  <a:moveTo>
                    <a:pt x="160099" y="0"/>
                  </a:moveTo>
                  <a:cubicBezTo>
                    <a:pt x="192750" y="0"/>
                    <a:pt x="222769" y="10024"/>
                    <a:pt x="248047" y="26906"/>
                  </a:cubicBezTo>
                  <a:cubicBezTo>
                    <a:pt x="251734" y="29017"/>
                    <a:pt x="255420" y="31655"/>
                    <a:pt x="259107" y="34293"/>
                  </a:cubicBezTo>
                  <a:cubicBezTo>
                    <a:pt x="269113" y="42206"/>
                    <a:pt x="278066" y="51703"/>
                    <a:pt x="285965" y="61727"/>
                  </a:cubicBezTo>
                  <a:cubicBezTo>
                    <a:pt x="288598" y="65420"/>
                    <a:pt x="291232" y="69113"/>
                    <a:pt x="293865" y="72806"/>
                  </a:cubicBezTo>
                  <a:cubicBezTo>
                    <a:pt x="299658" y="81775"/>
                    <a:pt x="304398" y="90744"/>
                    <a:pt x="308084" y="100768"/>
                  </a:cubicBezTo>
                  <a:cubicBezTo>
                    <a:pt x="310191" y="105516"/>
                    <a:pt x="311771" y="110264"/>
                    <a:pt x="313350" y="115013"/>
                  </a:cubicBezTo>
                  <a:cubicBezTo>
                    <a:pt x="317564" y="128730"/>
                    <a:pt x="319670" y="142975"/>
                    <a:pt x="319670" y="157747"/>
                  </a:cubicBezTo>
                  <a:cubicBezTo>
                    <a:pt x="319670" y="158275"/>
                    <a:pt x="319670" y="159330"/>
                    <a:pt x="319670" y="160385"/>
                  </a:cubicBezTo>
                  <a:cubicBezTo>
                    <a:pt x="319670" y="165661"/>
                    <a:pt x="319670" y="170937"/>
                    <a:pt x="319144" y="176212"/>
                  </a:cubicBezTo>
                  <a:cubicBezTo>
                    <a:pt x="317037" y="196260"/>
                    <a:pt x="311244" y="215253"/>
                    <a:pt x="302291" y="232664"/>
                  </a:cubicBezTo>
                  <a:cubicBezTo>
                    <a:pt x="298605" y="240577"/>
                    <a:pt x="293865" y="247964"/>
                    <a:pt x="288598" y="254822"/>
                  </a:cubicBezTo>
                  <a:cubicBezTo>
                    <a:pt x="259633" y="294391"/>
                    <a:pt x="212763" y="320242"/>
                    <a:pt x="160099" y="320242"/>
                  </a:cubicBezTo>
                  <a:cubicBezTo>
                    <a:pt x="159572" y="320242"/>
                    <a:pt x="159572" y="320242"/>
                    <a:pt x="159572" y="320242"/>
                  </a:cubicBezTo>
                  <a:cubicBezTo>
                    <a:pt x="159572" y="320242"/>
                    <a:pt x="159572" y="320242"/>
                    <a:pt x="155359" y="320770"/>
                  </a:cubicBezTo>
                  <a:cubicBezTo>
                    <a:pt x="155359" y="320770"/>
                    <a:pt x="155359" y="320242"/>
                    <a:pt x="155359" y="320242"/>
                  </a:cubicBezTo>
                  <a:cubicBezTo>
                    <a:pt x="101642" y="318660"/>
                    <a:pt x="54244" y="290698"/>
                    <a:pt x="26332" y="248491"/>
                  </a:cubicBezTo>
                  <a:cubicBezTo>
                    <a:pt x="21593" y="241105"/>
                    <a:pt x="17379" y="233191"/>
                    <a:pt x="13693" y="225278"/>
                  </a:cubicBezTo>
                  <a:cubicBezTo>
                    <a:pt x="6847" y="209450"/>
                    <a:pt x="2107" y="192567"/>
                    <a:pt x="527" y="174630"/>
                  </a:cubicBezTo>
                  <a:cubicBezTo>
                    <a:pt x="0" y="169881"/>
                    <a:pt x="0" y="165133"/>
                    <a:pt x="0" y="160385"/>
                  </a:cubicBezTo>
                  <a:cubicBezTo>
                    <a:pt x="0" y="158802"/>
                    <a:pt x="0" y="157219"/>
                    <a:pt x="0" y="156164"/>
                  </a:cubicBezTo>
                  <a:cubicBezTo>
                    <a:pt x="527" y="141392"/>
                    <a:pt x="2634" y="127147"/>
                    <a:pt x="6847" y="113958"/>
                  </a:cubicBezTo>
                  <a:cubicBezTo>
                    <a:pt x="8427" y="108682"/>
                    <a:pt x="10006" y="103934"/>
                    <a:pt x="12113" y="99185"/>
                  </a:cubicBezTo>
                  <a:cubicBezTo>
                    <a:pt x="17379" y="86523"/>
                    <a:pt x="23699" y="74916"/>
                    <a:pt x="32125" y="64365"/>
                  </a:cubicBezTo>
                  <a:cubicBezTo>
                    <a:pt x="34758" y="60144"/>
                    <a:pt x="37918" y="56451"/>
                    <a:pt x="41078" y="52758"/>
                  </a:cubicBezTo>
                  <a:cubicBezTo>
                    <a:pt x="49505" y="43789"/>
                    <a:pt x="58984" y="35348"/>
                    <a:pt x="68990" y="28489"/>
                  </a:cubicBezTo>
                  <a:cubicBezTo>
                    <a:pt x="72677" y="25851"/>
                    <a:pt x="76363" y="23213"/>
                    <a:pt x="80576" y="21103"/>
                  </a:cubicBezTo>
                  <a:cubicBezTo>
                    <a:pt x="103748" y="7913"/>
                    <a:pt x="131133" y="0"/>
                    <a:pt x="160099" y="0"/>
                  </a:cubicBezTo>
                  <a:close/>
                </a:path>
              </a:pathLst>
            </a:custGeom>
            <a:solidFill>
              <a:schemeClr val="tx1"/>
            </a:solidFill>
            <a:ln>
              <a:noFill/>
            </a:ln>
            <a:extLst/>
          </p:spPr>
          <p:txBody>
            <a:bodyPr vert="horz" wrap="square" lIns="67211" tIns="33605" rIns="67211" bIns="33605" numCol="1" anchor="t" anchorCtr="0" compatLnSpc="1">
              <a:prstTxWarp prst="textNoShape">
                <a:avLst/>
              </a:prstTxWarp>
              <a:noAutofit/>
            </a:bodyPr>
            <a:lstStyle/>
            <a:p>
              <a:pPr defTabSz="685594" fontAlgn="auto">
                <a:spcBef>
                  <a:spcPts val="0"/>
                </a:spcBef>
                <a:spcAft>
                  <a:spcPts val="0"/>
                </a:spcAft>
                <a:defRPr/>
              </a:pPr>
              <a:endParaRPr lang="en-US" sz="1325" b="0" kern="0" dirty="0">
                <a:solidFill>
                  <a:srgbClr val="FFFFFF"/>
                </a:solidFill>
                <a:latin typeface="Segoe UI"/>
                <a:ea typeface="MS PGothic" panose="020B0600070205080204" pitchFamily="34" charset="-128"/>
                <a:cs typeface="+mn-cs"/>
              </a:endParaRPr>
            </a:p>
          </p:txBody>
        </p:sp>
        <p:sp>
          <p:nvSpPr>
            <p:cNvPr id="409" name="Freeform 408"/>
            <p:cNvSpPr>
              <a:spLocks/>
            </p:cNvSpPr>
            <p:nvPr/>
          </p:nvSpPr>
          <p:spPr bwMode="auto">
            <a:xfrm>
              <a:off x="5007615" y="2323753"/>
              <a:ext cx="649029" cy="502032"/>
            </a:xfrm>
            <a:custGeom>
              <a:avLst/>
              <a:gdLst>
                <a:gd name="connsiteX0" fmla="*/ 33287 w 649029"/>
                <a:gd name="connsiteY0" fmla="*/ 88963 h 502032"/>
                <a:gd name="connsiteX1" fmla="*/ 21098 w 649029"/>
                <a:gd name="connsiteY1" fmla="*/ 102250 h 502032"/>
                <a:gd name="connsiteX2" fmla="*/ 21098 w 649029"/>
                <a:gd name="connsiteY2" fmla="*/ 467370 h 502032"/>
                <a:gd name="connsiteX3" fmla="*/ 33287 w 649029"/>
                <a:gd name="connsiteY3" fmla="*/ 480657 h 502032"/>
                <a:gd name="connsiteX4" fmla="*/ 615742 w 649029"/>
                <a:gd name="connsiteY4" fmla="*/ 480657 h 502032"/>
                <a:gd name="connsiteX5" fmla="*/ 627932 w 649029"/>
                <a:gd name="connsiteY5" fmla="*/ 467370 h 502032"/>
                <a:gd name="connsiteX6" fmla="*/ 627932 w 649029"/>
                <a:gd name="connsiteY6" fmla="*/ 102250 h 502032"/>
                <a:gd name="connsiteX7" fmla="*/ 615742 w 649029"/>
                <a:gd name="connsiteY7" fmla="*/ 88963 h 502032"/>
                <a:gd name="connsiteX8" fmla="*/ 71744 w 649029"/>
                <a:gd name="connsiteY8" fmla="*/ 21375 h 502032"/>
                <a:gd name="connsiteX9" fmla="*/ 61676 w 649029"/>
                <a:gd name="connsiteY9" fmla="*/ 31460 h 502032"/>
                <a:gd name="connsiteX10" fmla="*/ 61676 w 649029"/>
                <a:gd name="connsiteY10" fmla="*/ 67588 h 502032"/>
                <a:gd name="connsiteX11" fmla="*/ 281061 w 649029"/>
                <a:gd name="connsiteY11" fmla="*/ 67588 h 502032"/>
                <a:gd name="connsiteX12" fmla="*/ 281061 w 649029"/>
                <a:gd name="connsiteY12" fmla="*/ 31460 h 502032"/>
                <a:gd name="connsiteX13" fmla="*/ 270993 w 649029"/>
                <a:gd name="connsiteY13" fmla="*/ 21375 h 502032"/>
                <a:gd name="connsiteX14" fmla="*/ 71826 w 649029"/>
                <a:gd name="connsiteY14" fmla="*/ 0 h 502032"/>
                <a:gd name="connsiteX15" fmla="*/ 271010 w 649029"/>
                <a:gd name="connsiteY15" fmla="*/ 0 h 502032"/>
                <a:gd name="connsiteX16" fmla="*/ 302265 w 649029"/>
                <a:gd name="connsiteY16" fmla="*/ 31399 h 502032"/>
                <a:gd name="connsiteX17" fmla="*/ 302265 w 649029"/>
                <a:gd name="connsiteY17" fmla="*/ 59604 h 502032"/>
                <a:gd name="connsiteX18" fmla="*/ 614285 w 649029"/>
                <a:gd name="connsiteY18" fmla="*/ 59604 h 502032"/>
                <a:gd name="connsiteX19" fmla="*/ 625873 w 649029"/>
                <a:gd name="connsiteY19" fmla="*/ 64461 h 502032"/>
                <a:gd name="connsiteX20" fmla="*/ 629657 w 649029"/>
                <a:gd name="connsiteY20" fmla="*/ 73573 h 502032"/>
                <a:gd name="connsiteX21" fmla="*/ 639294 w 649029"/>
                <a:gd name="connsiteY21" fmla="*/ 77692 h 502032"/>
                <a:gd name="connsiteX22" fmla="*/ 649029 w 649029"/>
                <a:gd name="connsiteY22" fmla="*/ 102152 h 502032"/>
                <a:gd name="connsiteX23" fmla="*/ 649029 w 649029"/>
                <a:gd name="connsiteY23" fmla="*/ 467468 h 502032"/>
                <a:gd name="connsiteX24" fmla="*/ 615651 w 649029"/>
                <a:gd name="connsiteY24" fmla="*/ 502032 h 502032"/>
                <a:gd name="connsiteX25" fmla="*/ 33379 w 649029"/>
                <a:gd name="connsiteY25" fmla="*/ 502032 h 502032"/>
                <a:gd name="connsiteX26" fmla="*/ 0 w 649029"/>
                <a:gd name="connsiteY26" fmla="*/ 467468 h 502032"/>
                <a:gd name="connsiteX27" fmla="*/ 0 w 649029"/>
                <a:gd name="connsiteY27" fmla="*/ 102152 h 502032"/>
                <a:gd name="connsiteX28" fmla="*/ 9735 w 649029"/>
                <a:gd name="connsiteY28" fmla="*/ 77692 h 502032"/>
                <a:gd name="connsiteX29" fmla="*/ 19371 w 649029"/>
                <a:gd name="connsiteY29" fmla="*/ 73574 h 502032"/>
                <a:gd name="connsiteX30" fmla="*/ 23155 w 649029"/>
                <a:gd name="connsiteY30" fmla="*/ 64461 h 502032"/>
                <a:gd name="connsiteX31" fmla="*/ 34744 w 649029"/>
                <a:gd name="connsiteY31" fmla="*/ 59604 h 502032"/>
                <a:gd name="connsiteX32" fmla="*/ 40571 w 649029"/>
                <a:gd name="connsiteY32" fmla="*/ 59604 h 502032"/>
                <a:gd name="connsiteX33" fmla="*/ 40571 w 649029"/>
                <a:gd name="connsiteY33" fmla="*/ 31399 h 502032"/>
                <a:gd name="connsiteX34" fmla="*/ 71826 w 649029"/>
                <a:gd name="connsiteY34" fmla="*/ 0 h 502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649029" h="502032">
                  <a:moveTo>
                    <a:pt x="33287" y="88963"/>
                  </a:moveTo>
                  <a:cubicBezTo>
                    <a:pt x="26398" y="88963"/>
                    <a:pt x="21098" y="94809"/>
                    <a:pt x="21098" y="102250"/>
                  </a:cubicBezTo>
                  <a:lnTo>
                    <a:pt x="21098" y="467370"/>
                  </a:lnTo>
                  <a:cubicBezTo>
                    <a:pt x="21098" y="474811"/>
                    <a:pt x="26398" y="480657"/>
                    <a:pt x="33287" y="480657"/>
                  </a:cubicBezTo>
                  <a:lnTo>
                    <a:pt x="615742" y="480657"/>
                  </a:lnTo>
                  <a:cubicBezTo>
                    <a:pt x="622632" y="480657"/>
                    <a:pt x="627932" y="474811"/>
                    <a:pt x="627932" y="467370"/>
                  </a:cubicBezTo>
                  <a:lnTo>
                    <a:pt x="627932" y="102250"/>
                  </a:lnTo>
                  <a:cubicBezTo>
                    <a:pt x="627932" y="94809"/>
                    <a:pt x="622632" y="88963"/>
                    <a:pt x="615742" y="88963"/>
                  </a:cubicBezTo>
                  <a:close/>
                  <a:moveTo>
                    <a:pt x="71744" y="21375"/>
                  </a:moveTo>
                  <a:cubicBezTo>
                    <a:pt x="66445" y="21375"/>
                    <a:pt x="61676" y="26152"/>
                    <a:pt x="61676" y="31460"/>
                  </a:cubicBezTo>
                  <a:lnTo>
                    <a:pt x="61676" y="67588"/>
                  </a:lnTo>
                  <a:lnTo>
                    <a:pt x="281061" y="67588"/>
                  </a:lnTo>
                  <a:lnTo>
                    <a:pt x="281061" y="31460"/>
                  </a:lnTo>
                  <a:cubicBezTo>
                    <a:pt x="281061" y="26152"/>
                    <a:pt x="276292" y="21375"/>
                    <a:pt x="270993" y="21375"/>
                  </a:cubicBezTo>
                  <a:close/>
                  <a:moveTo>
                    <a:pt x="71826" y="0"/>
                  </a:moveTo>
                  <a:lnTo>
                    <a:pt x="271010" y="0"/>
                  </a:lnTo>
                  <a:cubicBezTo>
                    <a:pt x="287962" y="0"/>
                    <a:pt x="302265" y="14369"/>
                    <a:pt x="302265" y="31399"/>
                  </a:cubicBezTo>
                  <a:lnTo>
                    <a:pt x="302265" y="59604"/>
                  </a:lnTo>
                  <a:lnTo>
                    <a:pt x="614285" y="59604"/>
                  </a:lnTo>
                  <a:cubicBezTo>
                    <a:pt x="618788" y="59604"/>
                    <a:pt x="622894" y="61467"/>
                    <a:pt x="625873" y="64461"/>
                  </a:cubicBezTo>
                  <a:lnTo>
                    <a:pt x="629657" y="73573"/>
                  </a:lnTo>
                  <a:lnTo>
                    <a:pt x="639294" y="77692"/>
                  </a:lnTo>
                  <a:cubicBezTo>
                    <a:pt x="645320" y="83940"/>
                    <a:pt x="649029" y="92581"/>
                    <a:pt x="649029" y="102152"/>
                  </a:cubicBezTo>
                  <a:lnTo>
                    <a:pt x="649029" y="467468"/>
                  </a:lnTo>
                  <a:cubicBezTo>
                    <a:pt x="649029" y="486611"/>
                    <a:pt x="634194" y="502032"/>
                    <a:pt x="615651" y="502032"/>
                  </a:cubicBezTo>
                  <a:lnTo>
                    <a:pt x="33379" y="502032"/>
                  </a:lnTo>
                  <a:cubicBezTo>
                    <a:pt x="14835" y="502032"/>
                    <a:pt x="0" y="486611"/>
                    <a:pt x="0" y="467468"/>
                  </a:cubicBezTo>
                  <a:lnTo>
                    <a:pt x="0" y="102152"/>
                  </a:lnTo>
                  <a:cubicBezTo>
                    <a:pt x="0" y="92581"/>
                    <a:pt x="3709" y="83940"/>
                    <a:pt x="9735" y="77692"/>
                  </a:cubicBezTo>
                  <a:lnTo>
                    <a:pt x="19371" y="73574"/>
                  </a:lnTo>
                  <a:lnTo>
                    <a:pt x="23155" y="64461"/>
                  </a:lnTo>
                  <a:cubicBezTo>
                    <a:pt x="26135" y="61467"/>
                    <a:pt x="30241" y="59604"/>
                    <a:pt x="34744" y="59604"/>
                  </a:cubicBezTo>
                  <a:lnTo>
                    <a:pt x="40571" y="59604"/>
                  </a:lnTo>
                  <a:lnTo>
                    <a:pt x="40571" y="31399"/>
                  </a:lnTo>
                  <a:cubicBezTo>
                    <a:pt x="40571" y="14369"/>
                    <a:pt x="54344" y="0"/>
                    <a:pt x="71826"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11" tIns="33605" rIns="67211" bIns="33605" numCol="1" anchor="t" anchorCtr="0" compatLnSpc="1">
              <a:prstTxWarp prst="textNoShape">
                <a:avLst/>
              </a:prstTxWarp>
              <a:noAutofit/>
            </a:bodyPr>
            <a:lstStyle/>
            <a:p>
              <a:pPr defTabSz="685594" fontAlgn="auto">
                <a:spcBef>
                  <a:spcPts val="0"/>
                </a:spcBef>
                <a:spcAft>
                  <a:spcPts val="0"/>
                </a:spcAft>
                <a:defRPr/>
              </a:pPr>
              <a:endParaRPr lang="en-US" sz="1325" b="0" kern="0" dirty="0">
                <a:solidFill>
                  <a:srgbClr val="FFFFFF"/>
                </a:solidFill>
                <a:latin typeface="Segoe UI"/>
                <a:ea typeface="MS PGothic" panose="020B0600070205080204" pitchFamily="34" charset="-128"/>
                <a:cs typeface="+mn-cs"/>
              </a:endParaRPr>
            </a:p>
          </p:txBody>
        </p:sp>
      </p:grpSp>
      <p:sp>
        <p:nvSpPr>
          <p:cNvPr id="393" name="Rectangle 392"/>
          <p:cNvSpPr/>
          <p:nvPr/>
        </p:nvSpPr>
        <p:spPr bwMode="auto">
          <a:xfrm>
            <a:off x="7913794" y="3023363"/>
            <a:ext cx="884270" cy="1303819"/>
          </a:xfrm>
          <a:prstGeom prst="rect">
            <a:avLst/>
          </a:prstGeom>
          <a:noFill/>
          <a:ln w="9525" cap="flat" cmpd="sng" algn="ctr">
            <a:solidFill>
              <a:srgbClr val="FFFFFF">
                <a:lumMod val="65000"/>
              </a:srgbClr>
            </a:solidFill>
            <a:prstDash val="dash"/>
            <a:headEnd type="none" w="med" len="med"/>
            <a:tailEnd type="none" w="med" len="med"/>
          </a:ln>
          <a:effectLst/>
        </p:spPr>
        <p:txBody>
          <a:bodyPr rot="0" spcFirstLastPara="0" vertOverflow="overflow" horzOverflow="overflow" vert="horz" wrap="square" lIns="134423" tIns="107537" rIns="134423" bIns="107537" numCol="1" spcCol="0" rtlCol="0" fromWordArt="0" anchor="t" anchorCtr="0" forceAA="0" compatLnSpc="1">
            <a:prstTxWarp prst="textNoShape">
              <a:avLst/>
            </a:prstTxWarp>
            <a:noAutofit/>
          </a:bodyPr>
          <a:lstStyle/>
          <a:p>
            <a:pPr algn="ctr" defTabSz="685370">
              <a:lnSpc>
                <a:spcPct val="90000"/>
              </a:lnSpc>
              <a:defRPr/>
            </a:pPr>
            <a:endParaRPr lang="en-US" sz="1765" b="0" kern="0" dirty="0">
              <a:solidFill>
                <a:srgbClr val="FFFFFF"/>
              </a:solidFill>
              <a:latin typeface="Segoe UI Semilight"/>
              <a:ea typeface="Segoe UI" pitchFamily="34" charset="0"/>
              <a:cs typeface="Segoe UI" pitchFamily="34" charset="0"/>
            </a:endParaRPr>
          </a:p>
        </p:txBody>
      </p:sp>
      <p:sp>
        <p:nvSpPr>
          <p:cNvPr id="394" name="TextBox 393"/>
          <p:cNvSpPr txBox="1"/>
          <p:nvPr/>
        </p:nvSpPr>
        <p:spPr>
          <a:xfrm>
            <a:off x="8277841" y="3181273"/>
            <a:ext cx="347954" cy="135743"/>
          </a:xfrm>
          <a:prstGeom prst="rect">
            <a:avLst/>
          </a:prstGeom>
          <a:noFill/>
        </p:spPr>
        <p:txBody>
          <a:bodyPr wrap="square" lIns="0" tIns="0" rIns="0" bIns="0" rtlCol="0">
            <a:spAutoFit/>
          </a:bodyPr>
          <a:lstStyle/>
          <a:p>
            <a:pPr defTabSz="685437" fontAlgn="auto">
              <a:spcAft>
                <a:spcPts val="441"/>
              </a:spcAft>
              <a:defRPr/>
            </a:pPr>
            <a:r>
              <a:rPr lang="en-US" sz="882" b="0" kern="0" dirty="0">
                <a:solidFill>
                  <a:srgbClr val="353535"/>
                </a:solidFill>
                <a:latin typeface="Segoe UI Semilight"/>
                <a:ea typeface="MS PGothic" panose="020B0600070205080204" pitchFamily="34" charset="-128"/>
                <a:cs typeface="Segoe UI Semilight" panose="020B0402040204020203" pitchFamily="34" charset="0"/>
              </a:rPr>
              <a:t>Web</a:t>
            </a:r>
          </a:p>
        </p:txBody>
      </p:sp>
      <p:sp>
        <p:nvSpPr>
          <p:cNvPr id="395" name="TextBox 394"/>
          <p:cNvSpPr txBox="1"/>
          <p:nvPr/>
        </p:nvSpPr>
        <p:spPr>
          <a:xfrm>
            <a:off x="8277841" y="3585266"/>
            <a:ext cx="347954" cy="135743"/>
          </a:xfrm>
          <a:prstGeom prst="rect">
            <a:avLst/>
          </a:prstGeom>
          <a:noFill/>
        </p:spPr>
        <p:txBody>
          <a:bodyPr wrap="square" lIns="0" tIns="0" rIns="0" bIns="0" rtlCol="0">
            <a:spAutoFit/>
          </a:bodyPr>
          <a:lstStyle/>
          <a:p>
            <a:pPr defTabSz="685437" fontAlgn="auto">
              <a:spcAft>
                <a:spcPts val="441"/>
              </a:spcAft>
              <a:defRPr/>
            </a:pPr>
            <a:r>
              <a:rPr lang="en-US" sz="882" b="0" kern="0" dirty="0">
                <a:solidFill>
                  <a:srgbClr val="353535"/>
                </a:solidFill>
                <a:latin typeface="Segoe UI Semilight"/>
                <a:ea typeface="MS PGothic" panose="020B0600070205080204" pitchFamily="34" charset="-128"/>
                <a:cs typeface="Segoe UI Semilight" panose="020B0402040204020203" pitchFamily="34" charset="0"/>
              </a:rPr>
              <a:t>Mobile</a:t>
            </a:r>
          </a:p>
        </p:txBody>
      </p:sp>
      <p:sp>
        <p:nvSpPr>
          <p:cNvPr id="396" name="TextBox 395"/>
          <p:cNvSpPr txBox="1"/>
          <p:nvPr/>
        </p:nvSpPr>
        <p:spPr>
          <a:xfrm>
            <a:off x="8277841" y="4017623"/>
            <a:ext cx="347954" cy="135743"/>
          </a:xfrm>
          <a:prstGeom prst="rect">
            <a:avLst/>
          </a:prstGeom>
          <a:noFill/>
        </p:spPr>
        <p:txBody>
          <a:bodyPr wrap="square" lIns="0" tIns="0" rIns="0" bIns="0" rtlCol="0">
            <a:spAutoFit/>
          </a:bodyPr>
          <a:lstStyle/>
          <a:p>
            <a:pPr defTabSz="685437" fontAlgn="auto">
              <a:spcAft>
                <a:spcPts val="441"/>
              </a:spcAft>
              <a:defRPr/>
            </a:pPr>
            <a:r>
              <a:rPr lang="en-US" sz="882" b="0" kern="0" dirty="0">
                <a:solidFill>
                  <a:srgbClr val="353535"/>
                </a:solidFill>
                <a:latin typeface="Segoe UI Semilight"/>
                <a:ea typeface="MS PGothic" panose="020B0600070205080204" pitchFamily="34" charset="-128"/>
                <a:cs typeface="Segoe UI Semilight" panose="020B0402040204020203" pitchFamily="34" charset="0"/>
              </a:rPr>
              <a:t>Bots</a:t>
            </a:r>
          </a:p>
        </p:txBody>
      </p:sp>
      <p:sp>
        <p:nvSpPr>
          <p:cNvPr id="397" name="Freeform 396"/>
          <p:cNvSpPr>
            <a:spLocks noChangeArrowheads="1"/>
          </p:cNvSpPr>
          <p:nvPr/>
        </p:nvSpPr>
        <p:spPr bwMode="auto">
          <a:xfrm>
            <a:off x="7999126" y="3170398"/>
            <a:ext cx="157337" cy="157336"/>
          </a:xfrm>
          <a:custGeom>
            <a:avLst/>
            <a:gdLst>
              <a:gd name="connsiteX0" fmla="*/ 2240514 w 3214688"/>
              <a:gd name="connsiteY0" fmla="*/ 2452692 h 3214688"/>
              <a:gd name="connsiteX1" fmla="*/ 2164154 w 3214688"/>
              <a:gd name="connsiteY1" fmla="*/ 2577661 h 3214688"/>
              <a:gd name="connsiteX2" fmla="*/ 2066550 w 3214688"/>
              <a:gd name="connsiteY2" fmla="*/ 2716118 h 3214688"/>
              <a:gd name="connsiteX3" fmla="*/ 1754615 w 3214688"/>
              <a:gd name="connsiteY3" fmla="*/ 3074168 h 3214688"/>
              <a:gd name="connsiteX4" fmla="*/ 1740871 w 3214688"/>
              <a:gd name="connsiteY4" fmla="*/ 3087292 h 3214688"/>
              <a:gd name="connsiteX5" fmla="*/ 1759187 w 3214688"/>
              <a:gd name="connsiteY5" fmla="*/ 3086367 h 3214688"/>
              <a:gd name="connsiteX6" fmla="*/ 2552008 w 3214688"/>
              <a:gd name="connsiteY6" fmla="*/ 2754731 h 3214688"/>
              <a:gd name="connsiteX7" fmla="*/ 2647815 w 3214688"/>
              <a:gd name="connsiteY7" fmla="*/ 2667609 h 3214688"/>
              <a:gd name="connsiteX8" fmla="*/ 2533366 w 3214688"/>
              <a:gd name="connsiteY8" fmla="*/ 2587696 h 3214688"/>
              <a:gd name="connsiteX9" fmla="*/ 2342448 w 3214688"/>
              <a:gd name="connsiteY9" fmla="*/ 2491033 h 3214688"/>
              <a:gd name="connsiteX10" fmla="*/ 974642 w 3214688"/>
              <a:gd name="connsiteY10" fmla="*/ 2452516 h 3214688"/>
              <a:gd name="connsiteX11" fmla="*/ 872242 w 3214688"/>
              <a:gd name="connsiteY11" fmla="*/ 2491033 h 3214688"/>
              <a:gd name="connsiteX12" fmla="*/ 681324 w 3214688"/>
              <a:gd name="connsiteY12" fmla="*/ 2587696 h 3214688"/>
              <a:gd name="connsiteX13" fmla="*/ 566873 w 3214688"/>
              <a:gd name="connsiteY13" fmla="*/ 2667611 h 3214688"/>
              <a:gd name="connsiteX14" fmla="*/ 662678 w 3214688"/>
              <a:gd name="connsiteY14" fmla="*/ 2754731 h 3214688"/>
              <a:gd name="connsiteX15" fmla="*/ 1455500 w 3214688"/>
              <a:gd name="connsiteY15" fmla="*/ 3086367 h 3214688"/>
              <a:gd name="connsiteX16" fmla="*/ 1473960 w 3214688"/>
              <a:gd name="connsiteY16" fmla="*/ 3087299 h 3214688"/>
              <a:gd name="connsiteX17" fmla="*/ 1460208 w 3214688"/>
              <a:gd name="connsiteY17" fmla="*/ 3074168 h 3214688"/>
              <a:gd name="connsiteX18" fmla="*/ 1148273 w 3214688"/>
              <a:gd name="connsiteY18" fmla="*/ 2716118 h 3214688"/>
              <a:gd name="connsiteX19" fmla="*/ 1050800 w 3214688"/>
              <a:gd name="connsiteY19" fmla="*/ 2577661 h 3214688"/>
              <a:gd name="connsiteX20" fmla="*/ 1668463 w 3214688"/>
              <a:gd name="connsiteY20" fmla="*/ 2349078 h 3214688"/>
              <a:gd name="connsiteX21" fmla="*/ 1668463 w 3214688"/>
              <a:gd name="connsiteY21" fmla="*/ 2987045 h 3214688"/>
              <a:gd name="connsiteX22" fmla="*/ 1686282 w 3214688"/>
              <a:gd name="connsiteY22" fmla="*/ 2969732 h 3214688"/>
              <a:gd name="connsiteX23" fmla="*/ 2047573 w 3214688"/>
              <a:gd name="connsiteY23" fmla="*/ 2532767 h 3214688"/>
              <a:gd name="connsiteX24" fmla="*/ 2118389 w 3214688"/>
              <a:gd name="connsiteY24" fmla="*/ 2414793 h 3214688"/>
              <a:gd name="connsiteX25" fmla="*/ 2062644 w 3214688"/>
              <a:gd name="connsiteY25" fmla="*/ 2398957 h 3214688"/>
              <a:gd name="connsiteX26" fmla="*/ 1838838 w 3214688"/>
              <a:gd name="connsiteY26" fmla="*/ 2359062 h 3214688"/>
              <a:gd name="connsiteX27" fmla="*/ 1546226 w 3214688"/>
              <a:gd name="connsiteY27" fmla="*/ 2349078 h 3214688"/>
              <a:gd name="connsiteX28" fmla="*/ 1375851 w 3214688"/>
              <a:gd name="connsiteY28" fmla="*/ 2359062 h 3214688"/>
              <a:gd name="connsiteX29" fmla="*/ 1152046 w 3214688"/>
              <a:gd name="connsiteY29" fmla="*/ 2398957 h 3214688"/>
              <a:gd name="connsiteX30" fmla="*/ 1097994 w 3214688"/>
              <a:gd name="connsiteY30" fmla="*/ 2414312 h 3214688"/>
              <a:gd name="connsiteX31" fmla="*/ 1168773 w 3214688"/>
              <a:gd name="connsiteY31" fmla="*/ 2532767 h 3214688"/>
              <a:gd name="connsiteX32" fmla="*/ 1528675 w 3214688"/>
              <a:gd name="connsiteY32" fmla="*/ 2969732 h 3214688"/>
              <a:gd name="connsiteX33" fmla="*/ 1546226 w 3214688"/>
              <a:gd name="connsiteY33" fmla="*/ 2986822 h 3214688"/>
              <a:gd name="connsiteX34" fmla="*/ 2486262 w 3214688"/>
              <a:gd name="connsiteY34" fmla="*/ 1668463 h 3214688"/>
              <a:gd name="connsiteX35" fmla="*/ 2482389 w 3214688"/>
              <a:gd name="connsiteY35" fmla="*/ 1744921 h 3214688"/>
              <a:gd name="connsiteX36" fmla="*/ 2321876 w 3214688"/>
              <a:gd name="connsiteY36" fmla="*/ 2298467 h 3214688"/>
              <a:gd name="connsiteX37" fmla="*/ 2297383 w 3214688"/>
              <a:gd name="connsiteY37" fmla="*/ 2345664 h 3214688"/>
              <a:gd name="connsiteX38" fmla="*/ 2392218 w 3214688"/>
              <a:gd name="connsiteY38" fmla="*/ 2381629 h 3214688"/>
              <a:gd name="connsiteX39" fmla="*/ 2596737 w 3214688"/>
              <a:gd name="connsiteY39" fmla="*/ 2485449 h 3214688"/>
              <a:gd name="connsiteX40" fmla="*/ 2730520 w 3214688"/>
              <a:gd name="connsiteY40" fmla="*/ 2578412 h 3214688"/>
              <a:gd name="connsiteX41" fmla="*/ 2753323 w 3214688"/>
              <a:gd name="connsiteY41" fmla="*/ 2553309 h 3214688"/>
              <a:gd name="connsiteX42" fmla="*/ 3084782 w 3214688"/>
              <a:gd name="connsiteY42" fmla="*/ 1760063 h 3214688"/>
              <a:gd name="connsiteX43" fmla="*/ 3089405 w 3214688"/>
              <a:gd name="connsiteY43" fmla="*/ 1668463 h 3214688"/>
              <a:gd name="connsiteX44" fmla="*/ 1668463 w 3214688"/>
              <a:gd name="connsiteY44" fmla="*/ 1668463 h 3214688"/>
              <a:gd name="connsiteX45" fmla="*/ 1668463 w 3214688"/>
              <a:gd name="connsiteY45" fmla="*/ 2227749 h 3214688"/>
              <a:gd name="connsiteX46" fmla="*/ 1854174 w 3214688"/>
              <a:gd name="connsiteY46" fmla="*/ 2238874 h 3214688"/>
              <a:gd name="connsiteX47" fmla="*/ 2093075 w 3214688"/>
              <a:gd name="connsiteY47" fmla="*/ 2282190 h 3214688"/>
              <a:gd name="connsiteX48" fmla="*/ 2180461 w 3214688"/>
              <a:gd name="connsiteY48" fmla="*/ 2307322 h 3214688"/>
              <a:gd name="connsiteX49" fmla="*/ 2223231 w 3214688"/>
              <a:gd name="connsiteY49" fmla="*/ 2220775 h 3214688"/>
              <a:gd name="connsiteX50" fmla="*/ 2360202 w 3214688"/>
              <a:gd name="connsiteY50" fmla="*/ 1739141 h 3214688"/>
              <a:gd name="connsiteX51" fmla="*/ 2363915 w 3214688"/>
              <a:gd name="connsiteY51" fmla="*/ 1668463 h 3214688"/>
              <a:gd name="connsiteX52" fmla="*/ 853934 w 3214688"/>
              <a:gd name="connsiteY52" fmla="*/ 1668463 h 3214688"/>
              <a:gd name="connsiteX53" fmla="*/ 857628 w 3214688"/>
              <a:gd name="connsiteY53" fmla="*/ 1739141 h 3214688"/>
              <a:gd name="connsiteX54" fmla="*/ 993929 w 3214688"/>
              <a:gd name="connsiteY54" fmla="*/ 2220775 h 3214688"/>
              <a:gd name="connsiteX55" fmla="*/ 1036215 w 3214688"/>
              <a:gd name="connsiteY55" fmla="*/ 2306750 h 3214688"/>
              <a:gd name="connsiteX56" fmla="*/ 1121614 w 3214688"/>
              <a:gd name="connsiteY56" fmla="*/ 2282190 h 3214688"/>
              <a:gd name="connsiteX57" fmla="*/ 1360516 w 3214688"/>
              <a:gd name="connsiteY57" fmla="*/ 2238874 h 3214688"/>
              <a:gd name="connsiteX58" fmla="*/ 1546226 w 3214688"/>
              <a:gd name="connsiteY58" fmla="*/ 2227749 h 3214688"/>
              <a:gd name="connsiteX59" fmla="*/ 1546226 w 3214688"/>
              <a:gd name="connsiteY59" fmla="*/ 1668463 h 3214688"/>
              <a:gd name="connsiteX60" fmla="*/ 125282 w 3214688"/>
              <a:gd name="connsiteY60" fmla="*/ 1668463 h 3214688"/>
              <a:gd name="connsiteX61" fmla="*/ 129905 w 3214688"/>
              <a:gd name="connsiteY61" fmla="*/ 1760063 h 3214688"/>
              <a:gd name="connsiteX62" fmla="*/ 461363 w 3214688"/>
              <a:gd name="connsiteY62" fmla="*/ 2553309 h 3214688"/>
              <a:gd name="connsiteX63" fmla="*/ 484168 w 3214688"/>
              <a:gd name="connsiteY63" fmla="*/ 2578414 h 3214688"/>
              <a:gd name="connsiteX64" fmla="*/ 617953 w 3214688"/>
              <a:gd name="connsiteY64" fmla="*/ 2485449 h 3214688"/>
              <a:gd name="connsiteX65" fmla="*/ 822472 w 3214688"/>
              <a:gd name="connsiteY65" fmla="*/ 2381629 h 3214688"/>
              <a:gd name="connsiteX66" fmla="*/ 918086 w 3214688"/>
              <a:gd name="connsiteY66" fmla="*/ 2345368 h 3214688"/>
              <a:gd name="connsiteX67" fmla="*/ 893910 w 3214688"/>
              <a:gd name="connsiteY67" fmla="*/ 2298467 h 3214688"/>
              <a:gd name="connsiteX68" fmla="*/ 735344 w 3214688"/>
              <a:gd name="connsiteY68" fmla="*/ 1744921 h 3214688"/>
              <a:gd name="connsiteX69" fmla="*/ 731546 w 3214688"/>
              <a:gd name="connsiteY69" fmla="*/ 1668463 h 3214688"/>
              <a:gd name="connsiteX70" fmla="*/ 1036436 w 3214688"/>
              <a:gd name="connsiteY70" fmla="*/ 911460 h 3214688"/>
              <a:gd name="connsiteX71" fmla="*/ 993929 w 3214688"/>
              <a:gd name="connsiteY71" fmla="*/ 998077 h 3214688"/>
              <a:gd name="connsiteX72" fmla="*/ 857628 w 3214688"/>
              <a:gd name="connsiteY72" fmla="*/ 1481228 h 3214688"/>
              <a:gd name="connsiteX73" fmla="*/ 854245 w 3214688"/>
              <a:gd name="connsiteY73" fmla="*/ 1546225 h 3214688"/>
              <a:gd name="connsiteX74" fmla="*/ 1546226 w 3214688"/>
              <a:gd name="connsiteY74" fmla="*/ 1546225 h 3214688"/>
              <a:gd name="connsiteX75" fmla="*/ 1546226 w 3214688"/>
              <a:gd name="connsiteY75" fmla="*/ 990118 h 3214688"/>
              <a:gd name="connsiteX76" fmla="*/ 1360255 w 3214688"/>
              <a:gd name="connsiteY76" fmla="*/ 978989 h 3214688"/>
              <a:gd name="connsiteX77" fmla="*/ 1120814 w 3214688"/>
              <a:gd name="connsiteY77" fmla="*/ 935673 h 3214688"/>
              <a:gd name="connsiteX78" fmla="*/ 2180241 w 3214688"/>
              <a:gd name="connsiteY78" fmla="*/ 910890 h 3214688"/>
              <a:gd name="connsiteX79" fmla="*/ 2093876 w 3214688"/>
              <a:gd name="connsiteY79" fmla="*/ 935673 h 3214688"/>
              <a:gd name="connsiteX80" fmla="*/ 1854434 w 3214688"/>
              <a:gd name="connsiteY80" fmla="*/ 978989 h 3214688"/>
              <a:gd name="connsiteX81" fmla="*/ 1668463 w 3214688"/>
              <a:gd name="connsiteY81" fmla="*/ 990118 h 3214688"/>
              <a:gd name="connsiteX82" fmla="*/ 1668463 w 3214688"/>
              <a:gd name="connsiteY82" fmla="*/ 1546225 h 3214688"/>
              <a:gd name="connsiteX83" fmla="*/ 2363603 w 3214688"/>
              <a:gd name="connsiteY83" fmla="*/ 1546225 h 3214688"/>
              <a:gd name="connsiteX84" fmla="*/ 2360202 w 3214688"/>
              <a:gd name="connsiteY84" fmla="*/ 1481228 h 3214688"/>
              <a:gd name="connsiteX85" fmla="*/ 2223231 w 3214688"/>
              <a:gd name="connsiteY85" fmla="*/ 998077 h 3214688"/>
              <a:gd name="connsiteX86" fmla="*/ 2731519 w 3214688"/>
              <a:gd name="connsiteY86" fmla="*/ 638964 h 3214688"/>
              <a:gd name="connsiteX87" fmla="*/ 2597865 w 3214688"/>
              <a:gd name="connsiteY87" fmla="*/ 732415 h 3214688"/>
              <a:gd name="connsiteX88" fmla="*/ 2393553 w 3214688"/>
              <a:gd name="connsiteY88" fmla="*/ 836234 h 3214688"/>
              <a:gd name="connsiteX89" fmla="*/ 2297528 w 3214688"/>
              <a:gd name="connsiteY89" fmla="*/ 872602 h 3214688"/>
              <a:gd name="connsiteX90" fmla="*/ 2321876 w 3214688"/>
              <a:gd name="connsiteY90" fmla="*/ 919557 h 3214688"/>
              <a:gd name="connsiteX91" fmla="*/ 2482389 w 3214688"/>
              <a:gd name="connsiteY91" fmla="*/ 1474977 h 3214688"/>
              <a:gd name="connsiteX92" fmla="*/ 2485971 w 3214688"/>
              <a:gd name="connsiteY92" fmla="*/ 1546225 h 3214688"/>
              <a:gd name="connsiteX93" fmla="*/ 3089325 w 3214688"/>
              <a:gd name="connsiteY93" fmla="*/ 1546225 h 3214688"/>
              <a:gd name="connsiteX94" fmla="*/ 3084782 w 3214688"/>
              <a:gd name="connsiteY94" fmla="*/ 1456213 h 3214688"/>
              <a:gd name="connsiteX95" fmla="*/ 2753323 w 3214688"/>
              <a:gd name="connsiteY95" fmla="*/ 662968 h 3214688"/>
              <a:gd name="connsiteX96" fmla="*/ 483169 w 3214688"/>
              <a:gd name="connsiteY96" fmla="*/ 638963 h 3214688"/>
              <a:gd name="connsiteX97" fmla="*/ 461363 w 3214688"/>
              <a:gd name="connsiteY97" fmla="*/ 662968 h 3214688"/>
              <a:gd name="connsiteX98" fmla="*/ 129905 w 3214688"/>
              <a:gd name="connsiteY98" fmla="*/ 1456213 h 3214688"/>
              <a:gd name="connsiteX99" fmla="*/ 125362 w 3214688"/>
              <a:gd name="connsiteY99" fmla="*/ 1546225 h 3214688"/>
              <a:gd name="connsiteX100" fmla="*/ 731831 w 3214688"/>
              <a:gd name="connsiteY100" fmla="*/ 1546225 h 3214688"/>
              <a:gd name="connsiteX101" fmla="*/ 735344 w 3214688"/>
              <a:gd name="connsiteY101" fmla="*/ 1474977 h 3214688"/>
              <a:gd name="connsiteX102" fmla="*/ 893910 w 3214688"/>
              <a:gd name="connsiteY102" fmla="*/ 919557 h 3214688"/>
              <a:gd name="connsiteX103" fmla="*/ 917942 w 3214688"/>
              <a:gd name="connsiteY103" fmla="*/ 872897 h 3214688"/>
              <a:gd name="connsiteX104" fmla="*/ 821137 w 3214688"/>
              <a:gd name="connsiteY104" fmla="*/ 836234 h 3214688"/>
              <a:gd name="connsiteX105" fmla="*/ 616825 w 3214688"/>
              <a:gd name="connsiteY105" fmla="*/ 732415 h 3214688"/>
              <a:gd name="connsiteX106" fmla="*/ 1546226 w 3214688"/>
              <a:gd name="connsiteY106" fmla="*/ 231046 h 3214688"/>
              <a:gd name="connsiteX107" fmla="*/ 1528675 w 3214688"/>
              <a:gd name="connsiteY107" fmla="*/ 248139 h 3214688"/>
              <a:gd name="connsiteX108" fmla="*/ 1168773 w 3214688"/>
              <a:gd name="connsiteY108" fmla="*/ 685478 h 3214688"/>
              <a:gd name="connsiteX109" fmla="*/ 1098769 w 3214688"/>
              <a:gd name="connsiteY109" fmla="*/ 802845 h 3214688"/>
              <a:gd name="connsiteX110" fmla="*/ 1152046 w 3214688"/>
              <a:gd name="connsiteY110" fmla="*/ 818106 h 3214688"/>
              <a:gd name="connsiteX111" fmla="*/ 1375851 w 3214688"/>
              <a:gd name="connsiteY111" fmla="*/ 858541 h 3214688"/>
              <a:gd name="connsiteX112" fmla="*/ 1546226 w 3214688"/>
              <a:gd name="connsiteY112" fmla="*/ 868716 h 3214688"/>
              <a:gd name="connsiteX113" fmla="*/ 1668463 w 3214688"/>
              <a:gd name="connsiteY113" fmla="*/ 230823 h 3214688"/>
              <a:gd name="connsiteX114" fmla="*/ 1668463 w 3214688"/>
              <a:gd name="connsiteY114" fmla="*/ 868716 h 3214688"/>
              <a:gd name="connsiteX115" fmla="*/ 1838838 w 3214688"/>
              <a:gd name="connsiteY115" fmla="*/ 858541 h 3214688"/>
              <a:gd name="connsiteX116" fmla="*/ 2062644 w 3214688"/>
              <a:gd name="connsiteY116" fmla="*/ 818106 h 3214688"/>
              <a:gd name="connsiteX117" fmla="*/ 2117610 w 3214688"/>
              <a:gd name="connsiteY117" fmla="*/ 802362 h 3214688"/>
              <a:gd name="connsiteX118" fmla="*/ 2047573 w 3214688"/>
              <a:gd name="connsiteY118" fmla="*/ 685478 h 3214688"/>
              <a:gd name="connsiteX119" fmla="*/ 1686282 w 3214688"/>
              <a:gd name="connsiteY119" fmla="*/ 248139 h 3214688"/>
              <a:gd name="connsiteX120" fmla="*/ 1739116 w 3214688"/>
              <a:gd name="connsiteY120" fmla="*/ 128896 h 3214688"/>
              <a:gd name="connsiteX121" fmla="*/ 1754615 w 3214688"/>
              <a:gd name="connsiteY121" fmla="*/ 143696 h 3214688"/>
              <a:gd name="connsiteX122" fmla="*/ 2066550 w 3214688"/>
              <a:gd name="connsiteY122" fmla="*/ 501745 h 3214688"/>
              <a:gd name="connsiteX123" fmla="*/ 2164154 w 3214688"/>
              <a:gd name="connsiteY123" fmla="*/ 640209 h 3214688"/>
              <a:gd name="connsiteX124" fmla="*/ 2239903 w 3214688"/>
              <a:gd name="connsiteY124" fmla="*/ 764214 h 3214688"/>
              <a:gd name="connsiteX125" fmla="*/ 2342448 w 3214688"/>
              <a:gd name="connsiteY125" fmla="*/ 725496 h 3214688"/>
              <a:gd name="connsiteX126" fmla="*/ 2533366 w 3214688"/>
              <a:gd name="connsiteY126" fmla="*/ 629040 h 3214688"/>
              <a:gd name="connsiteX127" fmla="*/ 2648575 w 3214688"/>
              <a:gd name="connsiteY127" fmla="*/ 549358 h 3214688"/>
              <a:gd name="connsiteX128" fmla="*/ 2552008 w 3214688"/>
              <a:gd name="connsiteY128" fmla="*/ 461545 h 3214688"/>
              <a:gd name="connsiteX129" fmla="*/ 1759187 w 3214688"/>
              <a:gd name="connsiteY129" fmla="*/ 129910 h 3214688"/>
              <a:gd name="connsiteX130" fmla="*/ 1475715 w 3214688"/>
              <a:gd name="connsiteY130" fmla="*/ 128888 h 3214688"/>
              <a:gd name="connsiteX131" fmla="*/ 1455500 w 3214688"/>
              <a:gd name="connsiteY131" fmla="*/ 129910 h 3214688"/>
              <a:gd name="connsiteX132" fmla="*/ 662678 w 3214688"/>
              <a:gd name="connsiteY132" fmla="*/ 461545 h 3214688"/>
              <a:gd name="connsiteX133" fmla="*/ 566113 w 3214688"/>
              <a:gd name="connsiteY133" fmla="*/ 549357 h 3214688"/>
              <a:gd name="connsiteX134" fmla="*/ 681324 w 3214688"/>
              <a:gd name="connsiteY134" fmla="*/ 629040 h 3214688"/>
              <a:gd name="connsiteX135" fmla="*/ 872242 w 3214688"/>
              <a:gd name="connsiteY135" fmla="*/ 725496 h 3214688"/>
              <a:gd name="connsiteX136" fmla="*/ 975251 w 3214688"/>
              <a:gd name="connsiteY136" fmla="*/ 764389 h 3214688"/>
              <a:gd name="connsiteX137" fmla="*/ 1050800 w 3214688"/>
              <a:gd name="connsiteY137" fmla="*/ 640209 h 3214688"/>
              <a:gd name="connsiteX138" fmla="*/ 1148273 w 3214688"/>
              <a:gd name="connsiteY138" fmla="*/ 501745 h 3214688"/>
              <a:gd name="connsiteX139" fmla="*/ 1460208 w 3214688"/>
              <a:gd name="connsiteY139" fmla="*/ 143696 h 3214688"/>
              <a:gd name="connsiteX140" fmla="*/ 1607344 w 3214688"/>
              <a:gd name="connsiteY140" fmla="*/ 0 h 3214688"/>
              <a:gd name="connsiteX141" fmla="*/ 3214688 w 3214688"/>
              <a:gd name="connsiteY141" fmla="*/ 1607344 h 3214688"/>
              <a:gd name="connsiteX142" fmla="*/ 1607344 w 3214688"/>
              <a:gd name="connsiteY142" fmla="*/ 3214688 h 3214688"/>
              <a:gd name="connsiteX143" fmla="*/ 0 w 3214688"/>
              <a:gd name="connsiteY143" fmla="*/ 1607344 h 3214688"/>
              <a:gd name="connsiteX144" fmla="*/ 1607344 w 3214688"/>
              <a:gd name="connsiteY144" fmla="*/ 0 h 32146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Lst>
            <a:rect l="l" t="t" r="r" b="b"/>
            <a:pathLst>
              <a:path w="3214688" h="3214688">
                <a:moveTo>
                  <a:pt x="2240514" y="2452692"/>
                </a:moveTo>
                <a:lnTo>
                  <a:pt x="2164154" y="2577661"/>
                </a:lnTo>
                <a:cubicBezTo>
                  <a:pt x="2133682" y="2623995"/>
                  <a:pt x="2101138" y="2670175"/>
                  <a:pt x="2066550" y="2716118"/>
                </a:cubicBezTo>
                <a:cubicBezTo>
                  <a:pt x="1950245" y="2873312"/>
                  <a:pt x="1834903" y="2995905"/>
                  <a:pt x="1754615" y="3074168"/>
                </a:cubicBezTo>
                <a:lnTo>
                  <a:pt x="1740871" y="3087292"/>
                </a:lnTo>
                <a:lnTo>
                  <a:pt x="1759187" y="3086367"/>
                </a:lnTo>
                <a:cubicBezTo>
                  <a:pt x="2058736" y="3055930"/>
                  <a:pt x="2331968" y="2936422"/>
                  <a:pt x="2552008" y="2754731"/>
                </a:cubicBezTo>
                <a:lnTo>
                  <a:pt x="2647815" y="2667609"/>
                </a:lnTo>
                <a:lnTo>
                  <a:pt x="2533366" y="2587696"/>
                </a:lnTo>
                <a:cubicBezTo>
                  <a:pt x="2472930" y="2551687"/>
                  <a:pt x="2409077" y="2519400"/>
                  <a:pt x="2342448" y="2491033"/>
                </a:cubicBezTo>
                <a:close/>
                <a:moveTo>
                  <a:pt x="974642" y="2452516"/>
                </a:moveTo>
                <a:lnTo>
                  <a:pt x="872242" y="2491033"/>
                </a:lnTo>
                <a:cubicBezTo>
                  <a:pt x="805613" y="2519400"/>
                  <a:pt x="741760" y="2551687"/>
                  <a:pt x="681324" y="2587696"/>
                </a:cubicBezTo>
                <a:lnTo>
                  <a:pt x="566873" y="2667611"/>
                </a:lnTo>
                <a:lnTo>
                  <a:pt x="662678" y="2754731"/>
                </a:lnTo>
                <a:cubicBezTo>
                  <a:pt x="882719" y="2936422"/>
                  <a:pt x="1155951" y="3055930"/>
                  <a:pt x="1455500" y="3086367"/>
                </a:cubicBezTo>
                <a:lnTo>
                  <a:pt x="1473960" y="3087299"/>
                </a:lnTo>
                <a:lnTo>
                  <a:pt x="1460208" y="3074168"/>
                </a:lnTo>
                <a:cubicBezTo>
                  <a:pt x="1379921" y="2995905"/>
                  <a:pt x="1264578" y="2873312"/>
                  <a:pt x="1148273" y="2716118"/>
                </a:cubicBezTo>
                <a:cubicBezTo>
                  <a:pt x="1113686" y="2670175"/>
                  <a:pt x="1081189" y="2623995"/>
                  <a:pt x="1050800" y="2577661"/>
                </a:cubicBezTo>
                <a:close/>
                <a:moveTo>
                  <a:pt x="1668463" y="2349078"/>
                </a:moveTo>
                <a:lnTo>
                  <a:pt x="1668463" y="2987045"/>
                </a:lnTo>
                <a:lnTo>
                  <a:pt x="1686282" y="2969732"/>
                </a:lnTo>
                <a:cubicBezTo>
                  <a:pt x="1781612" y="2874931"/>
                  <a:pt x="1920253" y="2723080"/>
                  <a:pt x="2047573" y="2532767"/>
                </a:cubicBezTo>
                <a:lnTo>
                  <a:pt x="2118389" y="2414793"/>
                </a:lnTo>
                <a:lnTo>
                  <a:pt x="2062644" y="2398957"/>
                </a:lnTo>
                <a:cubicBezTo>
                  <a:pt x="1989750" y="2381404"/>
                  <a:pt x="1914935" y="2368039"/>
                  <a:pt x="1838838" y="2359062"/>
                </a:cubicBezTo>
                <a:close/>
                <a:moveTo>
                  <a:pt x="1546226" y="2349078"/>
                </a:moveTo>
                <a:lnTo>
                  <a:pt x="1375851" y="2359062"/>
                </a:lnTo>
                <a:cubicBezTo>
                  <a:pt x="1299755" y="2368039"/>
                  <a:pt x="1224940" y="2381404"/>
                  <a:pt x="1152046" y="2398957"/>
                </a:cubicBezTo>
                <a:lnTo>
                  <a:pt x="1097994" y="2414312"/>
                </a:lnTo>
                <a:lnTo>
                  <a:pt x="1168773" y="2532767"/>
                </a:lnTo>
                <a:cubicBezTo>
                  <a:pt x="1295523" y="2723080"/>
                  <a:pt x="1433595" y="2874931"/>
                  <a:pt x="1528675" y="2969732"/>
                </a:cubicBezTo>
                <a:lnTo>
                  <a:pt x="1546226" y="2986822"/>
                </a:lnTo>
                <a:close/>
                <a:moveTo>
                  <a:pt x="2486262" y="1668463"/>
                </a:moveTo>
                <a:lnTo>
                  <a:pt x="2482389" y="1744921"/>
                </a:lnTo>
                <a:cubicBezTo>
                  <a:pt x="2464263" y="1925703"/>
                  <a:pt x="2410126" y="2111990"/>
                  <a:pt x="2321876" y="2298467"/>
                </a:cubicBezTo>
                <a:lnTo>
                  <a:pt x="2297383" y="2345664"/>
                </a:lnTo>
                <a:lnTo>
                  <a:pt x="2392218" y="2381629"/>
                </a:lnTo>
                <a:cubicBezTo>
                  <a:pt x="2463528" y="2412174"/>
                  <a:pt x="2531927" y="2446867"/>
                  <a:pt x="2596737" y="2485449"/>
                </a:cubicBezTo>
                <a:lnTo>
                  <a:pt x="2730520" y="2578412"/>
                </a:lnTo>
                <a:lnTo>
                  <a:pt x="2753323" y="2553309"/>
                </a:lnTo>
                <a:cubicBezTo>
                  <a:pt x="2934917" y="2333150"/>
                  <a:pt x="3054361" y="2059772"/>
                  <a:pt x="3084782" y="1760063"/>
                </a:cubicBezTo>
                <a:lnTo>
                  <a:pt x="3089405" y="1668463"/>
                </a:lnTo>
                <a:close/>
                <a:moveTo>
                  <a:pt x="1668463" y="1668463"/>
                </a:moveTo>
                <a:lnTo>
                  <a:pt x="1668463" y="2227749"/>
                </a:lnTo>
                <a:lnTo>
                  <a:pt x="1854174" y="2238874"/>
                </a:lnTo>
                <a:cubicBezTo>
                  <a:pt x="1935356" y="2248644"/>
                  <a:pt x="2015217" y="2263170"/>
                  <a:pt x="2093075" y="2282190"/>
                </a:cubicBezTo>
                <a:lnTo>
                  <a:pt x="2180461" y="2307322"/>
                </a:lnTo>
                <a:lnTo>
                  <a:pt x="2223231" y="2220775"/>
                </a:lnTo>
                <a:cubicBezTo>
                  <a:pt x="2291457" y="2071357"/>
                  <a:pt x="2342510" y="1908976"/>
                  <a:pt x="2360202" y="1739141"/>
                </a:cubicBezTo>
                <a:lnTo>
                  <a:pt x="2363915" y="1668463"/>
                </a:lnTo>
                <a:close/>
                <a:moveTo>
                  <a:pt x="853934" y="1668463"/>
                </a:moveTo>
                <a:lnTo>
                  <a:pt x="857628" y="1739141"/>
                </a:lnTo>
                <a:cubicBezTo>
                  <a:pt x="875231" y="1908976"/>
                  <a:pt x="926029" y="2071357"/>
                  <a:pt x="993929" y="2220775"/>
                </a:cubicBezTo>
                <a:lnTo>
                  <a:pt x="1036215" y="2306750"/>
                </a:lnTo>
                <a:lnTo>
                  <a:pt x="1121614" y="2282190"/>
                </a:lnTo>
                <a:cubicBezTo>
                  <a:pt x="1199473" y="2263170"/>
                  <a:pt x="1279334" y="2248644"/>
                  <a:pt x="1360516" y="2238874"/>
                </a:cubicBezTo>
                <a:lnTo>
                  <a:pt x="1546226" y="2227749"/>
                </a:lnTo>
                <a:lnTo>
                  <a:pt x="1546226" y="1668463"/>
                </a:lnTo>
                <a:close/>
                <a:moveTo>
                  <a:pt x="125282" y="1668463"/>
                </a:moveTo>
                <a:lnTo>
                  <a:pt x="129905" y="1760063"/>
                </a:lnTo>
                <a:cubicBezTo>
                  <a:pt x="160326" y="2059772"/>
                  <a:pt x="279770" y="2333150"/>
                  <a:pt x="461363" y="2553309"/>
                </a:cubicBezTo>
                <a:lnTo>
                  <a:pt x="484168" y="2578414"/>
                </a:lnTo>
                <a:lnTo>
                  <a:pt x="617953" y="2485449"/>
                </a:lnTo>
                <a:cubicBezTo>
                  <a:pt x="682763" y="2446867"/>
                  <a:pt x="751163" y="2412174"/>
                  <a:pt x="822472" y="2381629"/>
                </a:cubicBezTo>
                <a:lnTo>
                  <a:pt x="918086" y="2345368"/>
                </a:lnTo>
                <a:lnTo>
                  <a:pt x="893910" y="2298467"/>
                </a:lnTo>
                <a:cubicBezTo>
                  <a:pt x="806372" y="2111990"/>
                  <a:pt x="753137" y="1925703"/>
                  <a:pt x="735344" y="1744921"/>
                </a:cubicBezTo>
                <a:lnTo>
                  <a:pt x="731546" y="1668463"/>
                </a:lnTo>
                <a:close/>
                <a:moveTo>
                  <a:pt x="1036436" y="911460"/>
                </a:moveTo>
                <a:lnTo>
                  <a:pt x="993929" y="998077"/>
                </a:lnTo>
                <a:cubicBezTo>
                  <a:pt x="926029" y="1147854"/>
                  <a:pt x="875231" y="1310725"/>
                  <a:pt x="857628" y="1481228"/>
                </a:cubicBezTo>
                <a:lnTo>
                  <a:pt x="854245" y="1546225"/>
                </a:lnTo>
                <a:lnTo>
                  <a:pt x="1546226" y="1546225"/>
                </a:lnTo>
                <a:lnTo>
                  <a:pt x="1546226" y="990118"/>
                </a:lnTo>
                <a:lnTo>
                  <a:pt x="1360255" y="978989"/>
                </a:lnTo>
                <a:cubicBezTo>
                  <a:pt x="1278920" y="969219"/>
                  <a:pt x="1198859" y="954694"/>
                  <a:pt x="1120814" y="935673"/>
                </a:cubicBezTo>
                <a:close/>
                <a:moveTo>
                  <a:pt x="2180241" y="910890"/>
                </a:moveTo>
                <a:lnTo>
                  <a:pt x="2093876" y="935673"/>
                </a:lnTo>
                <a:cubicBezTo>
                  <a:pt x="2015831" y="954694"/>
                  <a:pt x="1935770" y="969219"/>
                  <a:pt x="1854434" y="978989"/>
                </a:cubicBezTo>
                <a:lnTo>
                  <a:pt x="1668463" y="990118"/>
                </a:lnTo>
                <a:lnTo>
                  <a:pt x="1668463" y="1546225"/>
                </a:lnTo>
                <a:lnTo>
                  <a:pt x="2363603" y="1546225"/>
                </a:lnTo>
                <a:lnTo>
                  <a:pt x="2360202" y="1481228"/>
                </a:lnTo>
                <a:cubicBezTo>
                  <a:pt x="2342510" y="1310725"/>
                  <a:pt x="2291457" y="1147854"/>
                  <a:pt x="2223231" y="998077"/>
                </a:cubicBezTo>
                <a:close/>
                <a:moveTo>
                  <a:pt x="2731519" y="638964"/>
                </a:moveTo>
                <a:lnTo>
                  <a:pt x="2597865" y="732415"/>
                </a:lnTo>
                <a:cubicBezTo>
                  <a:pt x="2533258" y="770996"/>
                  <a:pt x="2464907" y="805689"/>
                  <a:pt x="2393553" y="836234"/>
                </a:cubicBezTo>
                <a:lnTo>
                  <a:pt x="2297528" y="872602"/>
                </a:lnTo>
                <a:lnTo>
                  <a:pt x="2321876" y="919557"/>
                </a:lnTo>
                <a:cubicBezTo>
                  <a:pt x="2410126" y="1106247"/>
                  <a:pt x="2464263" y="1293033"/>
                  <a:pt x="2482389" y="1474977"/>
                </a:cubicBezTo>
                <a:lnTo>
                  <a:pt x="2485971" y="1546225"/>
                </a:lnTo>
                <a:lnTo>
                  <a:pt x="3089325" y="1546225"/>
                </a:lnTo>
                <a:lnTo>
                  <a:pt x="3084782" y="1456213"/>
                </a:lnTo>
                <a:cubicBezTo>
                  <a:pt x="3054361" y="1156504"/>
                  <a:pt x="2934917" y="883126"/>
                  <a:pt x="2753323" y="662968"/>
                </a:cubicBezTo>
                <a:close/>
                <a:moveTo>
                  <a:pt x="483169" y="638963"/>
                </a:moveTo>
                <a:lnTo>
                  <a:pt x="461363" y="662968"/>
                </a:lnTo>
                <a:cubicBezTo>
                  <a:pt x="279770" y="883126"/>
                  <a:pt x="160326" y="1156504"/>
                  <a:pt x="129905" y="1456213"/>
                </a:cubicBezTo>
                <a:lnTo>
                  <a:pt x="125362" y="1546225"/>
                </a:lnTo>
                <a:lnTo>
                  <a:pt x="731831" y="1546225"/>
                </a:lnTo>
                <a:lnTo>
                  <a:pt x="735344" y="1474977"/>
                </a:lnTo>
                <a:cubicBezTo>
                  <a:pt x="753137" y="1293033"/>
                  <a:pt x="806372" y="1106247"/>
                  <a:pt x="893910" y="919557"/>
                </a:cubicBezTo>
                <a:lnTo>
                  <a:pt x="917942" y="872897"/>
                </a:lnTo>
                <a:lnTo>
                  <a:pt x="821137" y="836234"/>
                </a:lnTo>
                <a:cubicBezTo>
                  <a:pt x="749783" y="805689"/>
                  <a:pt x="681432" y="770996"/>
                  <a:pt x="616825" y="732415"/>
                </a:cubicBezTo>
                <a:close/>
                <a:moveTo>
                  <a:pt x="1546226" y="231046"/>
                </a:moveTo>
                <a:lnTo>
                  <a:pt x="1528675" y="248139"/>
                </a:lnTo>
                <a:cubicBezTo>
                  <a:pt x="1433595" y="342957"/>
                  <a:pt x="1295523" y="494880"/>
                  <a:pt x="1168773" y="685478"/>
                </a:cubicBezTo>
                <a:lnTo>
                  <a:pt x="1098769" y="802845"/>
                </a:lnTo>
                <a:lnTo>
                  <a:pt x="1152046" y="818106"/>
                </a:lnTo>
                <a:cubicBezTo>
                  <a:pt x="1224940" y="835846"/>
                  <a:pt x="1299755" y="849411"/>
                  <a:pt x="1375851" y="858541"/>
                </a:cubicBezTo>
                <a:lnTo>
                  <a:pt x="1546226" y="868716"/>
                </a:lnTo>
                <a:close/>
                <a:moveTo>
                  <a:pt x="1668463" y="230823"/>
                </a:moveTo>
                <a:lnTo>
                  <a:pt x="1668463" y="868716"/>
                </a:lnTo>
                <a:lnTo>
                  <a:pt x="1838838" y="858541"/>
                </a:lnTo>
                <a:cubicBezTo>
                  <a:pt x="1914935" y="849411"/>
                  <a:pt x="1989750" y="835846"/>
                  <a:pt x="2062644" y="818106"/>
                </a:cubicBezTo>
                <a:lnTo>
                  <a:pt x="2117610" y="802362"/>
                </a:lnTo>
                <a:lnTo>
                  <a:pt x="2047573" y="685478"/>
                </a:lnTo>
                <a:cubicBezTo>
                  <a:pt x="1920253" y="494880"/>
                  <a:pt x="1781612" y="342957"/>
                  <a:pt x="1686282" y="248139"/>
                </a:cubicBezTo>
                <a:close/>
                <a:moveTo>
                  <a:pt x="1739116" y="128896"/>
                </a:moveTo>
                <a:lnTo>
                  <a:pt x="1754615" y="143696"/>
                </a:lnTo>
                <a:cubicBezTo>
                  <a:pt x="1834903" y="221959"/>
                  <a:pt x="1950245" y="344552"/>
                  <a:pt x="2066550" y="501745"/>
                </a:cubicBezTo>
                <a:cubicBezTo>
                  <a:pt x="2101138" y="547688"/>
                  <a:pt x="2133682" y="593868"/>
                  <a:pt x="2164154" y="640209"/>
                </a:cubicBezTo>
                <a:lnTo>
                  <a:pt x="2239903" y="764214"/>
                </a:lnTo>
                <a:lnTo>
                  <a:pt x="2342448" y="725496"/>
                </a:lnTo>
                <a:cubicBezTo>
                  <a:pt x="2409077" y="697086"/>
                  <a:pt x="2472930" y="664847"/>
                  <a:pt x="2533366" y="629040"/>
                </a:cubicBezTo>
                <a:lnTo>
                  <a:pt x="2648575" y="549358"/>
                </a:lnTo>
                <a:lnTo>
                  <a:pt x="2552008" y="461545"/>
                </a:lnTo>
                <a:cubicBezTo>
                  <a:pt x="2331968" y="279855"/>
                  <a:pt x="2058736" y="160347"/>
                  <a:pt x="1759187" y="129910"/>
                </a:cubicBezTo>
                <a:close/>
                <a:moveTo>
                  <a:pt x="1475715" y="128888"/>
                </a:moveTo>
                <a:lnTo>
                  <a:pt x="1455500" y="129910"/>
                </a:lnTo>
                <a:cubicBezTo>
                  <a:pt x="1155951" y="160347"/>
                  <a:pt x="882719" y="279855"/>
                  <a:pt x="662678" y="461545"/>
                </a:cubicBezTo>
                <a:lnTo>
                  <a:pt x="566113" y="549357"/>
                </a:lnTo>
                <a:lnTo>
                  <a:pt x="681324" y="629040"/>
                </a:lnTo>
                <a:cubicBezTo>
                  <a:pt x="741760" y="664847"/>
                  <a:pt x="805613" y="697086"/>
                  <a:pt x="872242" y="725496"/>
                </a:cubicBezTo>
                <a:lnTo>
                  <a:pt x="975251" y="764389"/>
                </a:lnTo>
                <a:lnTo>
                  <a:pt x="1050800" y="640209"/>
                </a:lnTo>
                <a:cubicBezTo>
                  <a:pt x="1081189" y="593868"/>
                  <a:pt x="1113686" y="547688"/>
                  <a:pt x="1148273" y="501745"/>
                </a:cubicBezTo>
                <a:cubicBezTo>
                  <a:pt x="1264578" y="344552"/>
                  <a:pt x="1379921" y="221959"/>
                  <a:pt x="1460208" y="143696"/>
                </a:cubicBezTo>
                <a:close/>
                <a:moveTo>
                  <a:pt x="1607344" y="0"/>
                </a:moveTo>
                <a:cubicBezTo>
                  <a:pt x="2495056" y="0"/>
                  <a:pt x="3214688" y="719632"/>
                  <a:pt x="3214688" y="1607344"/>
                </a:cubicBezTo>
                <a:cubicBezTo>
                  <a:pt x="3214688" y="2495056"/>
                  <a:pt x="2495056" y="3214688"/>
                  <a:pt x="1607344" y="3214688"/>
                </a:cubicBezTo>
                <a:cubicBezTo>
                  <a:pt x="719632" y="3214688"/>
                  <a:pt x="0" y="2495056"/>
                  <a:pt x="0" y="1607344"/>
                </a:cubicBezTo>
                <a:cubicBezTo>
                  <a:pt x="0" y="719632"/>
                  <a:pt x="719632" y="0"/>
                  <a:pt x="1607344" y="0"/>
                </a:cubicBezTo>
                <a:close/>
              </a:path>
            </a:pathLst>
          </a:custGeom>
          <a:solidFill>
            <a:schemeClr val="tx1"/>
          </a:solidFill>
          <a:ln>
            <a:noFill/>
          </a:ln>
        </p:spPr>
        <p:txBody>
          <a:bodyPr vert="horz" wrap="square" lIns="67211" tIns="33605" rIns="67211" bIns="33605" numCol="1" anchor="t" anchorCtr="0" compatLnSpc="1">
            <a:prstTxWarp prst="textNoShape">
              <a:avLst/>
            </a:prstTxWarp>
            <a:noAutofit/>
          </a:bodyPr>
          <a:lstStyle/>
          <a:p>
            <a:pPr defTabSz="685594" fontAlgn="auto">
              <a:spcBef>
                <a:spcPts val="0"/>
              </a:spcBef>
              <a:spcAft>
                <a:spcPts val="0"/>
              </a:spcAft>
              <a:defRPr/>
            </a:pPr>
            <a:endParaRPr lang="en-US" sz="1325" b="0" kern="0" dirty="0">
              <a:solidFill>
                <a:srgbClr val="FFFFFF"/>
              </a:solidFill>
              <a:latin typeface="Segoe UI Semilight"/>
              <a:ea typeface="MS PGothic" panose="020B0600070205080204" pitchFamily="34" charset="-128"/>
              <a:cs typeface="+mn-cs"/>
            </a:endParaRPr>
          </a:p>
        </p:txBody>
      </p:sp>
      <p:sp>
        <p:nvSpPr>
          <p:cNvPr id="398" name="Freeform 397"/>
          <p:cNvSpPr>
            <a:spLocks/>
          </p:cNvSpPr>
          <p:nvPr/>
        </p:nvSpPr>
        <p:spPr bwMode="auto">
          <a:xfrm>
            <a:off x="8022439" y="3576622"/>
            <a:ext cx="110003" cy="197666"/>
          </a:xfrm>
          <a:custGeom>
            <a:avLst/>
            <a:gdLst>
              <a:gd name="connsiteX0" fmla="*/ 930274 w 1860550"/>
              <a:gd name="connsiteY0" fmla="*/ 2997199 h 3343276"/>
              <a:gd name="connsiteX1" fmla="*/ 898524 w 1860550"/>
              <a:gd name="connsiteY1" fmla="*/ 3030537 h 3343276"/>
              <a:gd name="connsiteX2" fmla="*/ 930274 w 1860550"/>
              <a:gd name="connsiteY2" fmla="*/ 3063875 h 3343276"/>
              <a:gd name="connsiteX3" fmla="*/ 962024 w 1860550"/>
              <a:gd name="connsiteY3" fmla="*/ 3030537 h 3343276"/>
              <a:gd name="connsiteX4" fmla="*/ 930274 w 1860550"/>
              <a:gd name="connsiteY4" fmla="*/ 2997199 h 3343276"/>
              <a:gd name="connsiteX5" fmla="*/ 930275 w 1860550"/>
              <a:gd name="connsiteY5" fmla="*/ 2874962 h 3343276"/>
              <a:gd name="connsiteX6" fmla="*/ 1084263 w 1860550"/>
              <a:gd name="connsiteY6" fmla="*/ 3029744 h 3343276"/>
              <a:gd name="connsiteX7" fmla="*/ 930275 w 1860550"/>
              <a:gd name="connsiteY7" fmla="*/ 3184526 h 3343276"/>
              <a:gd name="connsiteX8" fmla="*/ 776287 w 1860550"/>
              <a:gd name="connsiteY8" fmla="*/ 3029744 h 3343276"/>
              <a:gd name="connsiteX9" fmla="*/ 930275 w 1860550"/>
              <a:gd name="connsiteY9" fmla="*/ 2874962 h 3343276"/>
              <a:gd name="connsiteX10" fmla="*/ 122238 w 1860550"/>
              <a:gd name="connsiteY10" fmla="*/ 2844800 h 3343276"/>
              <a:gd name="connsiteX11" fmla="*/ 122238 w 1860550"/>
              <a:gd name="connsiteY11" fmla="*/ 2858922 h 3343276"/>
              <a:gd name="connsiteX12" fmla="*/ 122238 w 1860550"/>
              <a:gd name="connsiteY12" fmla="*/ 2919914 h 3343276"/>
              <a:gd name="connsiteX13" fmla="*/ 122238 w 1860550"/>
              <a:gd name="connsiteY13" fmla="*/ 2937881 h 3343276"/>
              <a:gd name="connsiteX14" fmla="*/ 122238 w 1860550"/>
              <a:gd name="connsiteY14" fmla="*/ 2976361 h 3343276"/>
              <a:gd name="connsiteX15" fmla="*/ 122238 w 1860550"/>
              <a:gd name="connsiteY15" fmla="*/ 2994458 h 3343276"/>
              <a:gd name="connsiteX16" fmla="*/ 122238 w 1860550"/>
              <a:gd name="connsiteY16" fmla="*/ 3016807 h 3343276"/>
              <a:gd name="connsiteX17" fmla="*/ 122238 w 1860550"/>
              <a:gd name="connsiteY17" fmla="*/ 3032384 h 3343276"/>
              <a:gd name="connsiteX18" fmla="*/ 122238 w 1860550"/>
              <a:gd name="connsiteY18" fmla="*/ 3043919 h 3343276"/>
              <a:gd name="connsiteX19" fmla="*/ 122238 w 1860550"/>
              <a:gd name="connsiteY19" fmla="*/ 3055388 h 3343276"/>
              <a:gd name="connsiteX20" fmla="*/ 122238 w 1860550"/>
              <a:gd name="connsiteY20" fmla="*/ 3067200 h 3343276"/>
              <a:gd name="connsiteX21" fmla="*/ 122238 w 1860550"/>
              <a:gd name="connsiteY21" fmla="*/ 3068809 h 3343276"/>
              <a:gd name="connsiteX22" fmla="*/ 122238 w 1860550"/>
              <a:gd name="connsiteY22" fmla="*/ 3072174 h 3343276"/>
              <a:gd name="connsiteX23" fmla="*/ 268324 w 1860550"/>
              <a:gd name="connsiteY23" fmla="*/ 3221038 h 3343276"/>
              <a:gd name="connsiteX24" fmla="*/ 1589184 w 1860550"/>
              <a:gd name="connsiteY24" fmla="*/ 3221038 h 3343276"/>
              <a:gd name="connsiteX25" fmla="*/ 1738313 w 1860550"/>
              <a:gd name="connsiteY25" fmla="*/ 3072174 h 3343276"/>
              <a:gd name="connsiteX26" fmla="*/ 1738313 w 1860550"/>
              <a:gd name="connsiteY26" fmla="*/ 2997250 h 3343276"/>
              <a:gd name="connsiteX27" fmla="*/ 1738313 w 1860550"/>
              <a:gd name="connsiteY27" fmla="*/ 2940804 h 3343276"/>
              <a:gd name="connsiteX28" fmla="*/ 1738313 w 1860550"/>
              <a:gd name="connsiteY28" fmla="*/ 2900358 h 3343276"/>
              <a:gd name="connsiteX29" fmla="*/ 1738313 w 1860550"/>
              <a:gd name="connsiteY29" fmla="*/ 2873246 h 3343276"/>
              <a:gd name="connsiteX30" fmla="*/ 1738313 w 1860550"/>
              <a:gd name="connsiteY30" fmla="*/ 2848356 h 3343276"/>
              <a:gd name="connsiteX31" fmla="*/ 1738313 w 1860550"/>
              <a:gd name="connsiteY31" fmla="*/ 2844800 h 3343276"/>
              <a:gd name="connsiteX32" fmla="*/ 122238 w 1860550"/>
              <a:gd name="connsiteY32" fmla="*/ 461963 h 3343276"/>
              <a:gd name="connsiteX33" fmla="*/ 122238 w 1860550"/>
              <a:gd name="connsiteY33" fmla="*/ 525582 h 3343276"/>
              <a:gd name="connsiteX34" fmla="*/ 122238 w 1860550"/>
              <a:gd name="connsiteY34" fmla="*/ 2618936 h 3343276"/>
              <a:gd name="connsiteX35" fmla="*/ 122238 w 1860550"/>
              <a:gd name="connsiteY35" fmla="*/ 2722563 h 3343276"/>
              <a:gd name="connsiteX36" fmla="*/ 169032 w 1860550"/>
              <a:gd name="connsiteY36" fmla="*/ 2722563 h 3343276"/>
              <a:gd name="connsiteX37" fmla="*/ 1704747 w 1860550"/>
              <a:gd name="connsiteY37" fmla="*/ 2722563 h 3343276"/>
              <a:gd name="connsiteX38" fmla="*/ 1738313 w 1860550"/>
              <a:gd name="connsiteY38" fmla="*/ 2722563 h 3343276"/>
              <a:gd name="connsiteX39" fmla="*/ 1738313 w 1860550"/>
              <a:gd name="connsiteY39" fmla="*/ 2521894 h 3343276"/>
              <a:gd name="connsiteX40" fmla="*/ 1738313 w 1860550"/>
              <a:gd name="connsiteY40" fmla="*/ 505665 h 3343276"/>
              <a:gd name="connsiteX41" fmla="*/ 1738313 w 1860550"/>
              <a:gd name="connsiteY41" fmla="*/ 461963 h 3343276"/>
              <a:gd name="connsiteX42" fmla="*/ 1691518 w 1860550"/>
              <a:gd name="connsiteY42" fmla="*/ 461963 h 3343276"/>
              <a:gd name="connsiteX43" fmla="*/ 155803 w 1860550"/>
              <a:gd name="connsiteY43" fmla="*/ 461963 h 3343276"/>
              <a:gd name="connsiteX44" fmla="*/ 721442 w 1860550"/>
              <a:gd name="connsiteY44" fmla="*/ 169863 h 3343276"/>
              <a:gd name="connsiteX45" fmla="*/ 1072433 w 1860550"/>
              <a:gd name="connsiteY45" fmla="*/ 169863 h 3343276"/>
              <a:gd name="connsiteX46" fmla="*/ 1133475 w 1860550"/>
              <a:gd name="connsiteY46" fmla="*/ 230982 h 3343276"/>
              <a:gd name="connsiteX47" fmla="*/ 1072433 w 1860550"/>
              <a:gd name="connsiteY47" fmla="*/ 292101 h 3343276"/>
              <a:gd name="connsiteX48" fmla="*/ 721442 w 1860550"/>
              <a:gd name="connsiteY48" fmla="*/ 292101 h 3343276"/>
              <a:gd name="connsiteX49" fmla="*/ 660400 w 1860550"/>
              <a:gd name="connsiteY49" fmla="*/ 230982 h 3343276"/>
              <a:gd name="connsiteX50" fmla="*/ 721442 w 1860550"/>
              <a:gd name="connsiteY50" fmla="*/ 169863 h 3343276"/>
              <a:gd name="connsiteX51" fmla="*/ 1281907 w 1860550"/>
              <a:gd name="connsiteY51" fmla="*/ 149225 h 3343276"/>
              <a:gd name="connsiteX52" fmla="*/ 1363664 w 1860550"/>
              <a:gd name="connsiteY52" fmla="*/ 229394 h 3343276"/>
              <a:gd name="connsiteX53" fmla="*/ 1281907 w 1860550"/>
              <a:gd name="connsiteY53" fmla="*/ 309563 h 3343276"/>
              <a:gd name="connsiteX54" fmla="*/ 1200150 w 1860550"/>
              <a:gd name="connsiteY54" fmla="*/ 229394 h 3343276"/>
              <a:gd name="connsiteX55" fmla="*/ 1281907 w 1860550"/>
              <a:gd name="connsiteY55" fmla="*/ 149225 h 3343276"/>
              <a:gd name="connsiteX56" fmla="*/ 268324 w 1860550"/>
              <a:gd name="connsiteY56" fmla="*/ 122238 h 3343276"/>
              <a:gd name="connsiteX57" fmla="*/ 122238 w 1860550"/>
              <a:gd name="connsiteY57" fmla="*/ 271331 h 3343276"/>
              <a:gd name="connsiteX58" fmla="*/ 122238 w 1860550"/>
              <a:gd name="connsiteY58" fmla="*/ 341313 h 3343276"/>
              <a:gd name="connsiteX59" fmla="*/ 1738313 w 1860550"/>
              <a:gd name="connsiteY59" fmla="*/ 341313 h 3343276"/>
              <a:gd name="connsiteX60" fmla="*/ 1738313 w 1860550"/>
              <a:gd name="connsiteY60" fmla="*/ 314869 h 3343276"/>
              <a:gd name="connsiteX61" fmla="*/ 1738313 w 1860550"/>
              <a:gd name="connsiteY61" fmla="*/ 300855 h 3343276"/>
              <a:gd name="connsiteX62" fmla="*/ 1738313 w 1860550"/>
              <a:gd name="connsiteY62" fmla="*/ 289566 h 3343276"/>
              <a:gd name="connsiteX63" fmla="*/ 1738313 w 1860550"/>
              <a:gd name="connsiteY63" fmla="*/ 280079 h 3343276"/>
              <a:gd name="connsiteX64" fmla="*/ 1738313 w 1860550"/>
              <a:gd name="connsiteY64" fmla="*/ 276573 h 3343276"/>
              <a:gd name="connsiteX65" fmla="*/ 1738313 w 1860550"/>
              <a:gd name="connsiteY65" fmla="*/ 271331 h 3343276"/>
              <a:gd name="connsiteX66" fmla="*/ 1589184 w 1860550"/>
              <a:gd name="connsiteY66" fmla="*/ 122238 h 3343276"/>
              <a:gd name="connsiteX67" fmla="*/ 1469183 w 1860550"/>
              <a:gd name="connsiteY67" fmla="*/ 122238 h 3343276"/>
              <a:gd name="connsiteX68" fmla="*/ 1356679 w 1860550"/>
              <a:gd name="connsiteY68" fmla="*/ 122238 h 3343276"/>
              <a:gd name="connsiteX69" fmla="*/ 1153197 w 1860550"/>
              <a:gd name="connsiteY69" fmla="*/ 122238 h 3343276"/>
              <a:gd name="connsiteX70" fmla="*/ 976803 w 1860550"/>
              <a:gd name="connsiteY70" fmla="*/ 122238 h 3343276"/>
              <a:gd name="connsiteX71" fmla="*/ 825562 w 1860550"/>
              <a:gd name="connsiteY71" fmla="*/ 122238 h 3343276"/>
              <a:gd name="connsiteX72" fmla="*/ 697539 w 1860550"/>
              <a:gd name="connsiteY72" fmla="*/ 122238 h 3343276"/>
              <a:gd name="connsiteX73" fmla="*/ 590799 w 1860550"/>
              <a:gd name="connsiteY73" fmla="*/ 122238 h 3343276"/>
              <a:gd name="connsiteX74" fmla="*/ 503408 w 1860550"/>
              <a:gd name="connsiteY74" fmla="*/ 122238 h 3343276"/>
              <a:gd name="connsiteX75" fmla="*/ 433431 w 1860550"/>
              <a:gd name="connsiteY75" fmla="*/ 122238 h 3343276"/>
              <a:gd name="connsiteX76" fmla="*/ 378933 w 1860550"/>
              <a:gd name="connsiteY76" fmla="*/ 122238 h 3343276"/>
              <a:gd name="connsiteX77" fmla="*/ 337979 w 1860550"/>
              <a:gd name="connsiteY77" fmla="*/ 122238 h 3343276"/>
              <a:gd name="connsiteX78" fmla="*/ 308633 w 1860550"/>
              <a:gd name="connsiteY78" fmla="*/ 122238 h 3343276"/>
              <a:gd name="connsiteX79" fmla="*/ 288962 w 1860550"/>
              <a:gd name="connsiteY79" fmla="*/ 122238 h 3343276"/>
              <a:gd name="connsiteX80" fmla="*/ 277031 w 1860550"/>
              <a:gd name="connsiteY80" fmla="*/ 122238 h 3343276"/>
              <a:gd name="connsiteX81" fmla="*/ 270904 w 1860550"/>
              <a:gd name="connsiteY81" fmla="*/ 122238 h 3343276"/>
              <a:gd name="connsiteX82" fmla="*/ 267968 w 1860550"/>
              <a:gd name="connsiteY82" fmla="*/ 0 h 3343276"/>
              <a:gd name="connsiteX83" fmla="*/ 1589537 w 1860550"/>
              <a:gd name="connsiteY83" fmla="*/ 0 h 3343276"/>
              <a:gd name="connsiteX84" fmla="*/ 1860550 w 1860550"/>
              <a:gd name="connsiteY84" fmla="*/ 270492 h 3343276"/>
              <a:gd name="connsiteX85" fmla="*/ 1860550 w 1860550"/>
              <a:gd name="connsiteY85" fmla="*/ 270501 h 3343276"/>
              <a:gd name="connsiteX86" fmla="*/ 1860550 w 1860550"/>
              <a:gd name="connsiteY86" fmla="*/ 461963 h 3343276"/>
              <a:gd name="connsiteX87" fmla="*/ 1860550 w 1860550"/>
              <a:gd name="connsiteY87" fmla="*/ 525090 h 3343276"/>
              <a:gd name="connsiteX88" fmla="*/ 1860550 w 1860550"/>
              <a:gd name="connsiteY88" fmla="*/ 2619341 h 3343276"/>
              <a:gd name="connsiteX89" fmla="*/ 1860550 w 1860550"/>
              <a:gd name="connsiteY89" fmla="*/ 2722563 h 3343276"/>
              <a:gd name="connsiteX90" fmla="*/ 1860550 w 1860550"/>
              <a:gd name="connsiteY90" fmla="*/ 2754314 h 3343276"/>
              <a:gd name="connsiteX91" fmla="*/ 1860550 w 1860550"/>
              <a:gd name="connsiteY91" fmla="*/ 2838062 h 3343276"/>
              <a:gd name="connsiteX92" fmla="*/ 1860550 w 1860550"/>
              <a:gd name="connsiteY92" fmla="*/ 2859431 h 3343276"/>
              <a:gd name="connsiteX93" fmla="*/ 1860550 w 1860550"/>
              <a:gd name="connsiteY93" fmla="*/ 2924856 h 3343276"/>
              <a:gd name="connsiteX94" fmla="*/ 1860550 w 1860550"/>
              <a:gd name="connsiteY94" fmla="*/ 2938424 h 3343276"/>
              <a:gd name="connsiteX95" fmla="*/ 1860550 w 1860550"/>
              <a:gd name="connsiteY95" fmla="*/ 2987047 h 3343276"/>
              <a:gd name="connsiteX96" fmla="*/ 1860550 w 1860550"/>
              <a:gd name="connsiteY96" fmla="*/ 2995025 h 3343276"/>
              <a:gd name="connsiteX97" fmla="*/ 1860550 w 1860550"/>
              <a:gd name="connsiteY97" fmla="*/ 3028736 h 3343276"/>
              <a:gd name="connsiteX98" fmla="*/ 1860550 w 1860550"/>
              <a:gd name="connsiteY98" fmla="*/ 3032967 h 3343276"/>
              <a:gd name="connsiteX99" fmla="*/ 1860550 w 1860550"/>
              <a:gd name="connsiteY99" fmla="*/ 3054023 h 3343276"/>
              <a:gd name="connsiteX100" fmla="*/ 1860550 w 1860550"/>
              <a:gd name="connsiteY100" fmla="*/ 3055980 h 3343276"/>
              <a:gd name="connsiteX101" fmla="*/ 1860550 w 1860550"/>
              <a:gd name="connsiteY101" fmla="*/ 3067008 h 3343276"/>
              <a:gd name="connsiteX102" fmla="*/ 1860550 w 1860550"/>
              <a:gd name="connsiteY102" fmla="*/ 3067798 h 3343276"/>
              <a:gd name="connsiteX103" fmla="*/ 1860550 w 1860550"/>
              <a:gd name="connsiteY103" fmla="*/ 3072475 h 3343276"/>
              <a:gd name="connsiteX104" fmla="*/ 1860550 w 1860550"/>
              <a:gd name="connsiteY104" fmla="*/ 3072774 h 3343276"/>
              <a:gd name="connsiteX105" fmla="*/ 1694831 w 1860550"/>
              <a:gd name="connsiteY105" fmla="*/ 3321952 h 3343276"/>
              <a:gd name="connsiteX106" fmla="*/ 1593989 w 1860550"/>
              <a:gd name="connsiteY106" fmla="*/ 3342374 h 3343276"/>
              <a:gd name="connsiteX107" fmla="*/ 1589537 w 1860550"/>
              <a:gd name="connsiteY107" fmla="*/ 3343276 h 3343276"/>
              <a:gd name="connsiteX108" fmla="*/ 267968 w 1860550"/>
              <a:gd name="connsiteY108" fmla="*/ 3343276 h 3343276"/>
              <a:gd name="connsiteX109" fmla="*/ 263590 w 1860550"/>
              <a:gd name="connsiteY109" fmla="*/ 3342374 h 3343276"/>
              <a:gd name="connsiteX110" fmla="*/ 164435 w 1860550"/>
              <a:gd name="connsiteY110" fmla="*/ 3321952 h 3343276"/>
              <a:gd name="connsiteX111" fmla="*/ 0 w 1860550"/>
              <a:gd name="connsiteY111" fmla="*/ 3072774 h 3343276"/>
              <a:gd name="connsiteX112" fmla="*/ 0 w 1860550"/>
              <a:gd name="connsiteY112" fmla="*/ 3072475 h 3343276"/>
              <a:gd name="connsiteX113" fmla="*/ 0 w 1860550"/>
              <a:gd name="connsiteY113" fmla="*/ 2956977 h 3343276"/>
              <a:gd name="connsiteX114" fmla="*/ 0 w 1860550"/>
              <a:gd name="connsiteY114" fmla="*/ 2870182 h 3343276"/>
              <a:gd name="connsiteX115" fmla="*/ 0 w 1860550"/>
              <a:gd name="connsiteY115" fmla="*/ 2807991 h 3343276"/>
              <a:gd name="connsiteX116" fmla="*/ 0 w 1860550"/>
              <a:gd name="connsiteY116" fmla="*/ 2787491 h 3343276"/>
              <a:gd name="connsiteX117" fmla="*/ 0 w 1860550"/>
              <a:gd name="connsiteY117" fmla="*/ 2766302 h 3343276"/>
              <a:gd name="connsiteX118" fmla="*/ 0 w 1860550"/>
              <a:gd name="connsiteY118" fmla="*/ 2741016 h 3343276"/>
              <a:gd name="connsiteX119" fmla="*/ 0 w 1860550"/>
              <a:gd name="connsiteY119" fmla="*/ 2728031 h 3343276"/>
              <a:gd name="connsiteX120" fmla="*/ 0 w 1860550"/>
              <a:gd name="connsiteY120" fmla="*/ 2722563 h 3343276"/>
              <a:gd name="connsiteX121" fmla="*/ 0 w 1860550"/>
              <a:gd name="connsiteY121" fmla="*/ 2522258 h 3343276"/>
              <a:gd name="connsiteX122" fmla="*/ 0 w 1860550"/>
              <a:gd name="connsiteY122" fmla="*/ 505164 h 3343276"/>
              <a:gd name="connsiteX123" fmla="*/ 0 w 1860550"/>
              <a:gd name="connsiteY123" fmla="*/ 461963 h 3343276"/>
              <a:gd name="connsiteX124" fmla="*/ 0 w 1860550"/>
              <a:gd name="connsiteY124" fmla="*/ 418277 h 3343276"/>
              <a:gd name="connsiteX125" fmla="*/ 0 w 1860550"/>
              <a:gd name="connsiteY125" fmla="*/ 398763 h 3343276"/>
              <a:gd name="connsiteX126" fmla="*/ 0 w 1860550"/>
              <a:gd name="connsiteY126" fmla="*/ 356020 h 3343276"/>
              <a:gd name="connsiteX127" fmla="*/ 0 w 1860550"/>
              <a:gd name="connsiteY127" fmla="*/ 351269 h 3343276"/>
              <a:gd name="connsiteX128" fmla="*/ 0 w 1860550"/>
              <a:gd name="connsiteY128" fmla="*/ 314287 h 3343276"/>
              <a:gd name="connsiteX129" fmla="*/ 0 w 1860550"/>
              <a:gd name="connsiteY129" fmla="*/ 294426 h 3343276"/>
              <a:gd name="connsiteX130" fmla="*/ 0 w 1860550"/>
              <a:gd name="connsiteY130" fmla="*/ 288973 h 3343276"/>
              <a:gd name="connsiteX131" fmla="*/ 0 w 1860550"/>
              <a:gd name="connsiteY131" fmla="*/ 275975 h 3343276"/>
              <a:gd name="connsiteX132" fmla="*/ 0 w 1860550"/>
              <a:gd name="connsiteY132" fmla="*/ 273484 h 3343276"/>
              <a:gd name="connsiteX133" fmla="*/ 0 w 1860550"/>
              <a:gd name="connsiteY133" fmla="*/ 270501 h 3343276"/>
              <a:gd name="connsiteX134" fmla="*/ 0 w 1860550"/>
              <a:gd name="connsiteY134" fmla="*/ 270492 h 3343276"/>
              <a:gd name="connsiteX135" fmla="*/ 267968 w 1860550"/>
              <a:gd name="connsiteY135" fmla="*/ 0 h 3343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Lst>
            <a:rect l="l" t="t" r="r" b="b"/>
            <a:pathLst>
              <a:path w="1860550" h="3343276">
                <a:moveTo>
                  <a:pt x="930274" y="2997199"/>
                </a:moveTo>
                <a:cubicBezTo>
                  <a:pt x="912739" y="2997199"/>
                  <a:pt x="898524" y="3012125"/>
                  <a:pt x="898524" y="3030537"/>
                </a:cubicBezTo>
                <a:cubicBezTo>
                  <a:pt x="898524" y="3048949"/>
                  <a:pt x="912739" y="3063875"/>
                  <a:pt x="930274" y="3063875"/>
                </a:cubicBezTo>
                <a:cubicBezTo>
                  <a:pt x="947809" y="3063875"/>
                  <a:pt x="962024" y="3048949"/>
                  <a:pt x="962024" y="3030537"/>
                </a:cubicBezTo>
                <a:cubicBezTo>
                  <a:pt x="962024" y="3012125"/>
                  <a:pt x="947809" y="2997199"/>
                  <a:pt x="930274" y="2997199"/>
                </a:cubicBezTo>
                <a:close/>
                <a:moveTo>
                  <a:pt x="930275" y="2874962"/>
                </a:moveTo>
                <a:cubicBezTo>
                  <a:pt x="1015320" y="2874962"/>
                  <a:pt x="1084263" y="2944260"/>
                  <a:pt x="1084263" y="3029744"/>
                </a:cubicBezTo>
                <a:cubicBezTo>
                  <a:pt x="1084263" y="3115228"/>
                  <a:pt x="1015320" y="3184526"/>
                  <a:pt x="930275" y="3184526"/>
                </a:cubicBezTo>
                <a:cubicBezTo>
                  <a:pt x="845230" y="3184526"/>
                  <a:pt x="776287" y="3115228"/>
                  <a:pt x="776287" y="3029744"/>
                </a:cubicBezTo>
                <a:cubicBezTo>
                  <a:pt x="776287" y="2944260"/>
                  <a:pt x="845230" y="2874962"/>
                  <a:pt x="930275" y="2874962"/>
                </a:cubicBezTo>
                <a:close/>
                <a:moveTo>
                  <a:pt x="122238" y="2844800"/>
                </a:moveTo>
                <a:lnTo>
                  <a:pt x="122238" y="2858922"/>
                </a:lnTo>
                <a:lnTo>
                  <a:pt x="122238" y="2919914"/>
                </a:lnTo>
                <a:lnTo>
                  <a:pt x="122238" y="2937881"/>
                </a:lnTo>
                <a:lnTo>
                  <a:pt x="122238" y="2976361"/>
                </a:lnTo>
                <a:lnTo>
                  <a:pt x="122238" y="2994458"/>
                </a:lnTo>
                <a:lnTo>
                  <a:pt x="122238" y="3016807"/>
                </a:lnTo>
                <a:lnTo>
                  <a:pt x="122238" y="3032384"/>
                </a:lnTo>
                <a:lnTo>
                  <a:pt x="122238" y="3043919"/>
                </a:lnTo>
                <a:lnTo>
                  <a:pt x="122238" y="3055388"/>
                </a:lnTo>
                <a:cubicBezTo>
                  <a:pt x="122238" y="3060983"/>
                  <a:pt x="122238" y="3064714"/>
                  <a:pt x="122238" y="3067200"/>
                </a:cubicBezTo>
                <a:lnTo>
                  <a:pt x="122238" y="3068809"/>
                </a:lnTo>
                <a:lnTo>
                  <a:pt x="122238" y="3072174"/>
                </a:lnTo>
                <a:cubicBezTo>
                  <a:pt x="122238" y="3154201"/>
                  <a:pt x="189194" y="3221038"/>
                  <a:pt x="268324" y="3221038"/>
                </a:cubicBezTo>
                <a:cubicBezTo>
                  <a:pt x="1589184" y="3221038"/>
                  <a:pt x="1589184" y="3221038"/>
                  <a:pt x="1589184" y="3221038"/>
                </a:cubicBezTo>
                <a:cubicBezTo>
                  <a:pt x="1671357" y="3221038"/>
                  <a:pt x="1738313" y="3154201"/>
                  <a:pt x="1738313" y="3072174"/>
                </a:cubicBezTo>
                <a:lnTo>
                  <a:pt x="1738313" y="2997250"/>
                </a:lnTo>
                <a:lnTo>
                  <a:pt x="1738313" y="2940804"/>
                </a:lnTo>
                <a:lnTo>
                  <a:pt x="1738313" y="2900358"/>
                </a:lnTo>
                <a:lnTo>
                  <a:pt x="1738313" y="2873246"/>
                </a:lnTo>
                <a:lnTo>
                  <a:pt x="1738313" y="2848356"/>
                </a:lnTo>
                <a:lnTo>
                  <a:pt x="1738313" y="2844800"/>
                </a:lnTo>
                <a:close/>
                <a:moveTo>
                  <a:pt x="122238" y="461963"/>
                </a:moveTo>
                <a:lnTo>
                  <a:pt x="122238" y="525582"/>
                </a:lnTo>
                <a:cubicBezTo>
                  <a:pt x="122238" y="1639716"/>
                  <a:pt x="122238" y="2266416"/>
                  <a:pt x="122238" y="2618936"/>
                </a:cubicBezTo>
                <a:lnTo>
                  <a:pt x="122238" y="2722563"/>
                </a:lnTo>
                <a:lnTo>
                  <a:pt x="169032" y="2722563"/>
                </a:lnTo>
                <a:cubicBezTo>
                  <a:pt x="1096639" y="2722563"/>
                  <a:pt x="1515558" y="2722563"/>
                  <a:pt x="1704747" y="2722563"/>
                </a:cubicBezTo>
                <a:lnTo>
                  <a:pt x="1738313" y="2722563"/>
                </a:lnTo>
                <a:lnTo>
                  <a:pt x="1738313" y="2521894"/>
                </a:lnTo>
                <a:cubicBezTo>
                  <a:pt x="1738313" y="1330298"/>
                  <a:pt x="1738313" y="769547"/>
                  <a:pt x="1738313" y="505665"/>
                </a:cubicBezTo>
                <a:lnTo>
                  <a:pt x="1738313" y="461963"/>
                </a:lnTo>
                <a:lnTo>
                  <a:pt x="1691518" y="461963"/>
                </a:lnTo>
                <a:cubicBezTo>
                  <a:pt x="763911" y="461963"/>
                  <a:pt x="344992" y="461963"/>
                  <a:pt x="155803" y="461963"/>
                </a:cubicBezTo>
                <a:close/>
                <a:moveTo>
                  <a:pt x="721442" y="169863"/>
                </a:moveTo>
                <a:cubicBezTo>
                  <a:pt x="1072433" y="169863"/>
                  <a:pt x="1072433" y="169863"/>
                  <a:pt x="1072433" y="169863"/>
                </a:cubicBezTo>
                <a:cubicBezTo>
                  <a:pt x="1106006" y="169863"/>
                  <a:pt x="1133475" y="197367"/>
                  <a:pt x="1133475" y="230982"/>
                </a:cubicBezTo>
                <a:cubicBezTo>
                  <a:pt x="1133475" y="264598"/>
                  <a:pt x="1106006" y="292101"/>
                  <a:pt x="1072433" y="292101"/>
                </a:cubicBezTo>
                <a:cubicBezTo>
                  <a:pt x="721442" y="292101"/>
                  <a:pt x="721442" y="292101"/>
                  <a:pt x="721442" y="292101"/>
                </a:cubicBezTo>
                <a:cubicBezTo>
                  <a:pt x="687869" y="292101"/>
                  <a:pt x="660400" y="264598"/>
                  <a:pt x="660400" y="230982"/>
                </a:cubicBezTo>
                <a:cubicBezTo>
                  <a:pt x="660400" y="197367"/>
                  <a:pt x="687869" y="169863"/>
                  <a:pt x="721442" y="169863"/>
                </a:cubicBezTo>
                <a:close/>
                <a:moveTo>
                  <a:pt x="1281907" y="149225"/>
                </a:moveTo>
                <a:cubicBezTo>
                  <a:pt x="1327060" y="149225"/>
                  <a:pt x="1363664" y="185118"/>
                  <a:pt x="1363664" y="229394"/>
                </a:cubicBezTo>
                <a:cubicBezTo>
                  <a:pt x="1363664" y="273670"/>
                  <a:pt x="1327060" y="309563"/>
                  <a:pt x="1281907" y="309563"/>
                </a:cubicBezTo>
                <a:cubicBezTo>
                  <a:pt x="1236754" y="309563"/>
                  <a:pt x="1200150" y="273670"/>
                  <a:pt x="1200150" y="229394"/>
                </a:cubicBezTo>
                <a:cubicBezTo>
                  <a:pt x="1200150" y="185118"/>
                  <a:pt x="1236754" y="149225"/>
                  <a:pt x="1281907" y="149225"/>
                </a:cubicBezTo>
                <a:close/>
                <a:moveTo>
                  <a:pt x="268324" y="122238"/>
                </a:moveTo>
                <a:cubicBezTo>
                  <a:pt x="189194" y="122238"/>
                  <a:pt x="122238" y="189178"/>
                  <a:pt x="122238" y="271331"/>
                </a:cubicBezTo>
                <a:lnTo>
                  <a:pt x="122238" y="341313"/>
                </a:lnTo>
                <a:cubicBezTo>
                  <a:pt x="1738313" y="341313"/>
                  <a:pt x="1738313" y="341313"/>
                  <a:pt x="1738313" y="341313"/>
                </a:cubicBezTo>
                <a:lnTo>
                  <a:pt x="1738313" y="314869"/>
                </a:lnTo>
                <a:lnTo>
                  <a:pt x="1738313" y="300855"/>
                </a:lnTo>
                <a:lnTo>
                  <a:pt x="1738313" y="289566"/>
                </a:lnTo>
                <a:lnTo>
                  <a:pt x="1738313" y="280079"/>
                </a:lnTo>
                <a:lnTo>
                  <a:pt x="1738313" y="276573"/>
                </a:lnTo>
                <a:lnTo>
                  <a:pt x="1738313" y="271331"/>
                </a:lnTo>
                <a:cubicBezTo>
                  <a:pt x="1738313" y="189178"/>
                  <a:pt x="1671357" y="122238"/>
                  <a:pt x="1589184" y="122238"/>
                </a:cubicBezTo>
                <a:lnTo>
                  <a:pt x="1469183" y="122238"/>
                </a:lnTo>
                <a:lnTo>
                  <a:pt x="1356679" y="122238"/>
                </a:lnTo>
                <a:lnTo>
                  <a:pt x="1153197" y="122238"/>
                </a:lnTo>
                <a:lnTo>
                  <a:pt x="976803" y="122238"/>
                </a:lnTo>
                <a:lnTo>
                  <a:pt x="825562" y="122238"/>
                </a:lnTo>
                <a:lnTo>
                  <a:pt x="697539" y="122238"/>
                </a:lnTo>
                <a:lnTo>
                  <a:pt x="590799" y="122238"/>
                </a:lnTo>
                <a:lnTo>
                  <a:pt x="503408" y="122238"/>
                </a:lnTo>
                <a:lnTo>
                  <a:pt x="433431" y="122238"/>
                </a:lnTo>
                <a:lnTo>
                  <a:pt x="378933" y="122238"/>
                </a:lnTo>
                <a:lnTo>
                  <a:pt x="337979" y="122238"/>
                </a:lnTo>
                <a:lnTo>
                  <a:pt x="308633" y="122238"/>
                </a:lnTo>
                <a:lnTo>
                  <a:pt x="288962" y="122238"/>
                </a:lnTo>
                <a:lnTo>
                  <a:pt x="277031" y="122238"/>
                </a:lnTo>
                <a:lnTo>
                  <a:pt x="270904" y="122238"/>
                </a:lnTo>
                <a:close/>
                <a:moveTo>
                  <a:pt x="267968" y="0"/>
                </a:moveTo>
                <a:cubicBezTo>
                  <a:pt x="1589537" y="0"/>
                  <a:pt x="1589537" y="0"/>
                  <a:pt x="1589537" y="0"/>
                </a:cubicBezTo>
                <a:cubicBezTo>
                  <a:pt x="1738747" y="0"/>
                  <a:pt x="1860550" y="121569"/>
                  <a:pt x="1860550" y="270492"/>
                </a:cubicBezTo>
                <a:lnTo>
                  <a:pt x="1860550" y="270501"/>
                </a:lnTo>
                <a:lnTo>
                  <a:pt x="1860550" y="461963"/>
                </a:lnTo>
                <a:lnTo>
                  <a:pt x="1860550" y="525090"/>
                </a:lnTo>
                <a:cubicBezTo>
                  <a:pt x="1860550" y="1639702"/>
                  <a:pt x="1860550" y="2266671"/>
                  <a:pt x="1860550" y="2619341"/>
                </a:cubicBezTo>
                <a:lnTo>
                  <a:pt x="1860550" y="2722563"/>
                </a:lnTo>
                <a:lnTo>
                  <a:pt x="1860550" y="2754314"/>
                </a:lnTo>
                <a:lnTo>
                  <a:pt x="1860550" y="2838062"/>
                </a:lnTo>
                <a:lnTo>
                  <a:pt x="1860550" y="2859431"/>
                </a:lnTo>
                <a:lnTo>
                  <a:pt x="1860550" y="2924856"/>
                </a:lnTo>
                <a:lnTo>
                  <a:pt x="1860550" y="2938424"/>
                </a:lnTo>
                <a:lnTo>
                  <a:pt x="1860550" y="2987047"/>
                </a:lnTo>
                <a:lnTo>
                  <a:pt x="1860550" y="2995025"/>
                </a:lnTo>
                <a:lnTo>
                  <a:pt x="1860550" y="3028736"/>
                </a:lnTo>
                <a:lnTo>
                  <a:pt x="1860550" y="3032967"/>
                </a:lnTo>
                <a:lnTo>
                  <a:pt x="1860550" y="3054023"/>
                </a:lnTo>
                <a:lnTo>
                  <a:pt x="1860550" y="3055980"/>
                </a:lnTo>
                <a:lnTo>
                  <a:pt x="1860550" y="3067008"/>
                </a:lnTo>
                <a:lnTo>
                  <a:pt x="1860550" y="3067798"/>
                </a:lnTo>
                <a:lnTo>
                  <a:pt x="1860550" y="3072475"/>
                </a:lnTo>
                <a:lnTo>
                  <a:pt x="1860550" y="3072774"/>
                </a:lnTo>
                <a:cubicBezTo>
                  <a:pt x="1860550" y="3184470"/>
                  <a:pt x="1792036" y="3280779"/>
                  <a:pt x="1694831" y="3321952"/>
                </a:cubicBezTo>
                <a:lnTo>
                  <a:pt x="1593989" y="3342374"/>
                </a:lnTo>
                <a:lnTo>
                  <a:pt x="1589537" y="3343276"/>
                </a:lnTo>
                <a:cubicBezTo>
                  <a:pt x="267968" y="3343276"/>
                  <a:pt x="267968" y="3343276"/>
                  <a:pt x="267968" y="3343276"/>
                </a:cubicBezTo>
                <a:lnTo>
                  <a:pt x="263590" y="3342374"/>
                </a:lnTo>
                <a:lnTo>
                  <a:pt x="164435" y="3321952"/>
                </a:lnTo>
                <a:cubicBezTo>
                  <a:pt x="68515" y="3280779"/>
                  <a:pt x="0" y="3184470"/>
                  <a:pt x="0" y="3072774"/>
                </a:cubicBezTo>
                <a:lnTo>
                  <a:pt x="0" y="3072475"/>
                </a:lnTo>
                <a:lnTo>
                  <a:pt x="0" y="2956977"/>
                </a:lnTo>
                <a:lnTo>
                  <a:pt x="0" y="2870182"/>
                </a:lnTo>
                <a:lnTo>
                  <a:pt x="0" y="2807991"/>
                </a:lnTo>
                <a:lnTo>
                  <a:pt x="0" y="2787491"/>
                </a:lnTo>
                <a:lnTo>
                  <a:pt x="0" y="2766302"/>
                </a:lnTo>
                <a:lnTo>
                  <a:pt x="0" y="2741016"/>
                </a:lnTo>
                <a:lnTo>
                  <a:pt x="0" y="2728031"/>
                </a:lnTo>
                <a:lnTo>
                  <a:pt x="0" y="2722563"/>
                </a:lnTo>
                <a:lnTo>
                  <a:pt x="0" y="2522258"/>
                </a:lnTo>
                <a:cubicBezTo>
                  <a:pt x="0" y="1330151"/>
                  <a:pt x="0" y="769160"/>
                  <a:pt x="0" y="505164"/>
                </a:cubicBezTo>
                <a:lnTo>
                  <a:pt x="0" y="461963"/>
                </a:lnTo>
                <a:lnTo>
                  <a:pt x="0" y="418277"/>
                </a:lnTo>
                <a:lnTo>
                  <a:pt x="0" y="398763"/>
                </a:lnTo>
                <a:lnTo>
                  <a:pt x="0" y="356020"/>
                </a:lnTo>
                <a:lnTo>
                  <a:pt x="0" y="351269"/>
                </a:lnTo>
                <a:lnTo>
                  <a:pt x="0" y="314287"/>
                </a:lnTo>
                <a:lnTo>
                  <a:pt x="0" y="294426"/>
                </a:lnTo>
                <a:lnTo>
                  <a:pt x="0" y="288973"/>
                </a:lnTo>
                <a:cubicBezTo>
                  <a:pt x="0" y="282816"/>
                  <a:pt x="0" y="278711"/>
                  <a:pt x="0" y="275975"/>
                </a:cubicBezTo>
                <a:lnTo>
                  <a:pt x="0" y="273484"/>
                </a:lnTo>
                <a:lnTo>
                  <a:pt x="0" y="270501"/>
                </a:lnTo>
                <a:lnTo>
                  <a:pt x="0" y="270492"/>
                </a:lnTo>
                <a:cubicBezTo>
                  <a:pt x="0" y="121569"/>
                  <a:pt x="121804" y="0"/>
                  <a:pt x="267968" y="0"/>
                </a:cubicBezTo>
                <a:close/>
              </a:path>
            </a:pathLst>
          </a:custGeom>
          <a:solidFill>
            <a:schemeClr val="tx1"/>
          </a:solidFill>
          <a:ln>
            <a:noFill/>
          </a:ln>
        </p:spPr>
        <p:txBody>
          <a:bodyPr vert="horz" wrap="square" lIns="67211" tIns="33605" rIns="67211" bIns="33605" numCol="1" anchor="t" anchorCtr="0" compatLnSpc="1">
            <a:prstTxWarp prst="textNoShape">
              <a:avLst/>
            </a:prstTxWarp>
            <a:noAutofit/>
          </a:bodyPr>
          <a:lstStyle/>
          <a:p>
            <a:pPr defTabSz="685594" fontAlgn="auto">
              <a:spcBef>
                <a:spcPts val="0"/>
              </a:spcBef>
              <a:spcAft>
                <a:spcPts val="0"/>
              </a:spcAft>
              <a:defRPr/>
            </a:pPr>
            <a:endParaRPr lang="en-US" sz="1325" b="0" kern="0" dirty="0">
              <a:solidFill>
                <a:srgbClr val="FFFFFF"/>
              </a:solidFill>
              <a:latin typeface="Segoe UI Semilight"/>
              <a:ea typeface="MS PGothic" panose="020B0600070205080204" pitchFamily="34" charset="-128"/>
              <a:cs typeface="+mn-cs"/>
            </a:endParaRPr>
          </a:p>
        </p:txBody>
      </p:sp>
      <p:sp>
        <p:nvSpPr>
          <p:cNvPr id="406" name="Freeform 405"/>
          <p:cNvSpPr/>
          <p:nvPr/>
        </p:nvSpPr>
        <p:spPr bwMode="auto">
          <a:xfrm>
            <a:off x="7979066" y="4013993"/>
            <a:ext cx="208253" cy="117525"/>
          </a:xfrm>
          <a:custGeom>
            <a:avLst/>
            <a:gdLst>
              <a:gd name="connsiteX0" fmla="*/ 5333671 w 7645936"/>
              <a:gd name="connsiteY0" fmla="*/ 2643510 h 4314825"/>
              <a:gd name="connsiteX1" fmla="*/ 5193195 w 7645936"/>
              <a:gd name="connsiteY1" fmla="*/ 2783986 h 4314825"/>
              <a:gd name="connsiteX2" fmla="*/ 5193195 w 7645936"/>
              <a:gd name="connsiteY2" fmla="*/ 3723500 h 4314825"/>
              <a:gd name="connsiteX3" fmla="*/ 5333671 w 7645936"/>
              <a:gd name="connsiteY3" fmla="*/ 3863976 h 4314825"/>
              <a:gd name="connsiteX4" fmla="*/ 5421017 w 7645936"/>
              <a:gd name="connsiteY4" fmla="*/ 3863976 h 4314825"/>
              <a:gd name="connsiteX5" fmla="*/ 5561493 w 7645936"/>
              <a:gd name="connsiteY5" fmla="*/ 3723500 h 4314825"/>
              <a:gd name="connsiteX6" fmla="*/ 5561493 w 7645936"/>
              <a:gd name="connsiteY6" fmla="*/ 2783986 h 4314825"/>
              <a:gd name="connsiteX7" fmla="*/ 5421017 w 7645936"/>
              <a:gd name="connsiteY7" fmla="*/ 2643510 h 4314825"/>
              <a:gd name="connsiteX8" fmla="*/ 4527329 w 7645936"/>
              <a:gd name="connsiteY8" fmla="*/ 2643510 h 4314825"/>
              <a:gd name="connsiteX9" fmla="*/ 4386853 w 7645936"/>
              <a:gd name="connsiteY9" fmla="*/ 2783986 h 4314825"/>
              <a:gd name="connsiteX10" fmla="*/ 4386853 w 7645936"/>
              <a:gd name="connsiteY10" fmla="*/ 3723500 h 4314825"/>
              <a:gd name="connsiteX11" fmla="*/ 4527329 w 7645936"/>
              <a:gd name="connsiteY11" fmla="*/ 3863976 h 4314825"/>
              <a:gd name="connsiteX12" fmla="*/ 4614675 w 7645936"/>
              <a:gd name="connsiteY12" fmla="*/ 3863976 h 4314825"/>
              <a:gd name="connsiteX13" fmla="*/ 4755151 w 7645936"/>
              <a:gd name="connsiteY13" fmla="*/ 3723500 h 4314825"/>
              <a:gd name="connsiteX14" fmla="*/ 4755151 w 7645936"/>
              <a:gd name="connsiteY14" fmla="*/ 2783986 h 4314825"/>
              <a:gd name="connsiteX15" fmla="*/ 4614675 w 7645936"/>
              <a:gd name="connsiteY15" fmla="*/ 2643510 h 4314825"/>
              <a:gd name="connsiteX16" fmla="*/ 3720987 w 7645936"/>
              <a:gd name="connsiteY16" fmla="*/ 2643510 h 4314825"/>
              <a:gd name="connsiteX17" fmla="*/ 3580511 w 7645936"/>
              <a:gd name="connsiteY17" fmla="*/ 2783986 h 4314825"/>
              <a:gd name="connsiteX18" fmla="*/ 3580511 w 7645936"/>
              <a:gd name="connsiteY18" fmla="*/ 3723500 h 4314825"/>
              <a:gd name="connsiteX19" fmla="*/ 3720987 w 7645936"/>
              <a:gd name="connsiteY19" fmla="*/ 3863976 h 4314825"/>
              <a:gd name="connsiteX20" fmla="*/ 3808333 w 7645936"/>
              <a:gd name="connsiteY20" fmla="*/ 3863976 h 4314825"/>
              <a:gd name="connsiteX21" fmla="*/ 3948809 w 7645936"/>
              <a:gd name="connsiteY21" fmla="*/ 3723500 h 4314825"/>
              <a:gd name="connsiteX22" fmla="*/ 3948809 w 7645936"/>
              <a:gd name="connsiteY22" fmla="*/ 2783986 h 4314825"/>
              <a:gd name="connsiteX23" fmla="*/ 3808333 w 7645936"/>
              <a:gd name="connsiteY23" fmla="*/ 2643510 h 4314825"/>
              <a:gd name="connsiteX24" fmla="*/ 2914644 w 7645936"/>
              <a:gd name="connsiteY24" fmla="*/ 2643510 h 4314825"/>
              <a:gd name="connsiteX25" fmla="*/ 2774168 w 7645936"/>
              <a:gd name="connsiteY25" fmla="*/ 2783986 h 4314825"/>
              <a:gd name="connsiteX26" fmla="*/ 2774168 w 7645936"/>
              <a:gd name="connsiteY26" fmla="*/ 3723500 h 4314825"/>
              <a:gd name="connsiteX27" fmla="*/ 2914644 w 7645936"/>
              <a:gd name="connsiteY27" fmla="*/ 3863976 h 4314825"/>
              <a:gd name="connsiteX28" fmla="*/ 3001990 w 7645936"/>
              <a:gd name="connsiteY28" fmla="*/ 3863976 h 4314825"/>
              <a:gd name="connsiteX29" fmla="*/ 3142466 w 7645936"/>
              <a:gd name="connsiteY29" fmla="*/ 3723500 h 4314825"/>
              <a:gd name="connsiteX30" fmla="*/ 3142466 w 7645936"/>
              <a:gd name="connsiteY30" fmla="*/ 2783986 h 4314825"/>
              <a:gd name="connsiteX31" fmla="*/ 3001990 w 7645936"/>
              <a:gd name="connsiteY31" fmla="*/ 2643510 h 4314825"/>
              <a:gd name="connsiteX32" fmla="*/ 2108301 w 7645936"/>
              <a:gd name="connsiteY32" fmla="*/ 2643510 h 4314825"/>
              <a:gd name="connsiteX33" fmla="*/ 1967825 w 7645936"/>
              <a:gd name="connsiteY33" fmla="*/ 2783986 h 4314825"/>
              <a:gd name="connsiteX34" fmla="*/ 1967825 w 7645936"/>
              <a:gd name="connsiteY34" fmla="*/ 3723500 h 4314825"/>
              <a:gd name="connsiteX35" fmla="*/ 2108301 w 7645936"/>
              <a:gd name="connsiteY35" fmla="*/ 3863976 h 4314825"/>
              <a:gd name="connsiteX36" fmla="*/ 2195647 w 7645936"/>
              <a:gd name="connsiteY36" fmla="*/ 3863976 h 4314825"/>
              <a:gd name="connsiteX37" fmla="*/ 2336123 w 7645936"/>
              <a:gd name="connsiteY37" fmla="*/ 3723500 h 4314825"/>
              <a:gd name="connsiteX38" fmla="*/ 2336123 w 7645936"/>
              <a:gd name="connsiteY38" fmla="*/ 2783986 h 4314825"/>
              <a:gd name="connsiteX39" fmla="*/ 2195647 w 7645936"/>
              <a:gd name="connsiteY39" fmla="*/ 2643510 h 4314825"/>
              <a:gd name="connsiteX40" fmla="*/ 5312536 w 7645936"/>
              <a:gd name="connsiteY40" fmla="*/ 2564132 h 4314825"/>
              <a:gd name="connsiteX41" fmla="*/ 5442152 w 7645936"/>
              <a:gd name="connsiteY41" fmla="*/ 2564132 h 4314825"/>
              <a:gd name="connsiteX42" fmla="*/ 5650609 w 7645936"/>
              <a:gd name="connsiteY42" fmla="*/ 2772589 h 4314825"/>
              <a:gd name="connsiteX43" fmla="*/ 5650609 w 7645936"/>
              <a:gd name="connsiteY43" fmla="*/ 3734896 h 4314825"/>
              <a:gd name="connsiteX44" fmla="*/ 5442152 w 7645936"/>
              <a:gd name="connsiteY44" fmla="*/ 3943353 h 4314825"/>
              <a:gd name="connsiteX45" fmla="*/ 5312536 w 7645936"/>
              <a:gd name="connsiteY45" fmla="*/ 3943353 h 4314825"/>
              <a:gd name="connsiteX46" fmla="*/ 5104079 w 7645936"/>
              <a:gd name="connsiteY46" fmla="*/ 3734896 h 4314825"/>
              <a:gd name="connsiteX47" fmla="*/ 5104079 w 7645936"/>
              <a:gd name="connsiteY47" fmla="*/ 2772589 h 4314825"/>
              <a:gd name="connsiteX48" fmla="*/ 5312536 w 7645936"/>
              <a:gd name="connsiteY48" fmla="*/ 2564132 h 4314825"/>
              <a:gd name="connsiteX49" fmla="*/ 4506194 w 7645936"/>
              <a:gd name="connsiteY49" fmla="*/ 2564132 h 4314825"/>
              <a:gd name="connsiteX50" fmla="*/ 4635810 w 7645936"/>
              <a:gd name="connsiteY50" fmla="*/ 2564132 h 4314825"/>
              <a:gd name="connsiteX51" fmla="*/ 4844267 w 7645936"/>
              <a:gd name="connsiteY51" fmla="*/ 2772589 h 4314825"/>
              <a:gd name="connsiteX52" fmla="*/ 4844267 w 7645936"/>
              <a:gd name="connsiteY52" fmla="*/ 3734896 h 4314825"/>
              <a:gd name="connsiteX53" fmla="*/ 4635810 w 7645936"/>
              <a:gd name="connsiteY53" fmla="*/ 3943353 h 4314825"/>
              <a:gd name="connsiteX54" fmla="*/ 4506194 w 7645936"/>
              <a:gd name="connsiteY54" fmla="*/ 3943353 h 4314825"/>
              <a:gd name="connsiteX55" fmla="*/ 4297737 w 7645936"/>
              <a:gd name="connsiteY55" fmla="*/ 3734896 h 4314825"/>
              <a:gd name="connsiteX56" fmla="*/ 4297737 w 7645936"/>
              <a:gd name="connsiteY56" fmla="*/ 2772589 h 4314825"/>
              <a:gd name="connsiteX57" fmla="*/ 4506194 w 7645936"/>
              <a:gd name="connsiteY57" fmla="*/ 2564132 h 4314825"/>
              <a:gd name="connsiteX58" fmla="*/ 3699852 w 7645936"/>
              <a:gd name="connsiteY58" fmla="*/ 2564132 h 4314825"/>
              <a:gd name="connsiteX59" fmla="*/ 3829468 w 7645936"/>
              <a:gd name="connsiteY59" fmla="*/ 2564132 h 4314825"/>
              <a:gd name="connsiteX60" fmla="*/ 4037925 w 7645936"/>
              <a:gd name="connsiteY60" fmla="*/ 2772589 h 4314825"/>
              <a:gd name="connsiteX61" fmla="*/ 4037925 w 7645936"/>
              <a:gd name="connsiteY61" fmla="*/ 3734896 h 4314825"/>
              <a:gd name="connsiteX62" fmla="*/ 3829468 w 7645936"/>
              <a:gd name="connsiteY62" fmla="*/ 3943353 h 4314825"/>
              <a:gd name="connsiteX63" fmla="*/ 3699852 w 7645936"/>
              <a:gd name="connsiteY63" fmla="*/ 3943353 h 4314825"/>
              <a:gd name="connsiteX64" fmla="*/ 3491395 w 7645936"/>
              <a:gd name="connsiteY64" fmla="*/ 3734896 h 4314825"/>
              <a:gd name="connsiteX65" fmla="*/ 3491395 w 7645936"/>
              <a:gd name="connsiteY65" fmla="*/ 2772589 h 4314825"/>
              <a:gd name="connsiteX66" fmla="*/ 3699852 w 7645936"/>
              <a:gd name="connsiteY66" fmla="*/ 2564132 h 4314825"/>
              <a:gd name="connsiteX67" fmla="*/ 2893509 w 7645936"/>
              <a:gd name="connsiteY67" fmla="*/ 2564132 h 4314825"/>
              <a:gd name="connsiteX68" fmla="*/ 3023125 w 7645936"/>
              <a:gd name="connsiteY68" fmla="*/ 2564132 h 4314825"/>
              <a:gd name="connsiteX69" fmla="*/ 3231582 w 7645936"/>
              <a:gd name="connsiteY69" fmla="*/ 2772589 h 4314825"/>
              <a:gd name="connsiteX70" fmla="*/ 3231582 w 7645936"/>
              <a:gd name="connsiteY70" fmla="*/ 3734896 h 4314825"/>
              <a:gd name="connsiteX71" fmla="*/ 3023125 w 7645936"/>
              <a:gd name="connsiteY71" fmla="*/ 3943353 h 4314825"/>
              <a:gd name="connsiteX72" fmla="*/ 2893509 w 7645936"/>
              <a:gd name="connsiteY72" fmla="*/ 3943353 h 4314825"/>
              <a:gd name="connsiteX73" fmla="*/ 2685052 w 7645936"/>
              <a:gd name="connsiteY73" fmla="*/ 3734896 h 4314825"/>
              <a:gd name="connsiteX74" fmla="*/ 2685052 w 7645936"/>
              <a:gd name="connsiteY74" fmla="*/ 2772589 h 4314825"/>
              <a:gd name="connsiteX75" fmla="*/ 2893509 w 7645936"/>
              <a:gd name="connsiteY75" fmla="*/ 2564132 h 4314825"/>
              <a:gd name="connsiteX76" fmla="*/ 2087166 w 7645936"/>
              <a:gd name="connsiteY76" fmla="*/ 2564132 h 4314825"/>
              <a:gd name="connsiteX77" fmla="*/ 2216782 w 7645936"/>
              <a:gd name="connsiteY77" fmla="*/ 2564132 h 4314825"/>
              <a:gd name="connsiteX78" fmla="*/ 2425239 w 7645936"/>
              <a:gd name="connsiteY78" fmla="*/ 2772589 h 4314825"/>
              <a:gd name="connsiteX79" fmla="*/ 2425239 w 7645936"/>
              <a:gd name="connsiteY79" fmla="*/ 3734896 h 4314825"/>
              <a:gd name="connsiteX80" fmla="*/ 2216782 w 7645936"/>
              <a:gd name="connsiteY80" fmla="*/ 3943353 h 4314825"/>
              <a:gd name="connsiteX81" fmla="*/ 2087166 w 7645936"/>
              <a:gd name="connsiteY81" fmla="*/ 3943353 h 4314825"/>
              <a:gd name="connsiteX82" fmla="*/ 1878709 w 7645936"/>
              <a:gd name="connsiteY82" fmla="*/ 3734896 h 4314825"/>
              <a:gd name="connsiteX83" fmla="*/ 1878709 w 7645936"/>
              <a:gd name="connsiteY83" fmla="*/ 2772589 h 4314825"/>
              <a:gd name="connsiteX84" fmla="*/ 2087166 w 7645936"/>
              <a:gd name="connsiteY84" fmla="*/ 2564132 h 4314825"/>
              <a:gd name="connsiteX85" fmla="*/ 5082919 w 7645936"/>
              <a:gd name="connsiteY85" fmla="*/ 775812 h 4314825"/>
              <a:gd name="connsiteX86" fmla="*/ 4576665 w 7645936"/>
              <a:gd name="connsiteY86" fmla="*/ 1282066 h 4314825"/>
              <a:gd name="connsiteX87" fmla="*/ 5082919 w 7645936"/>
              <a:gd name="connsiteY87" fmla="*/ 1788320 h 4314825"/>
              <a:gd name="connsiteX88" fmla="*/ 5589173 w 7645936"/>
              <a:gd name="connsiteY88" fmla="*/ 1282066 h 4314825"/>
              <a:gd name="connsiteX89" fmla="*/ 5082919 w 7645936"/>
              <a:gd name="connsiteY89" fmla="*/ 775812 h 4314825"/>
              <a:gd name="connsiteX90" fmla="*/ 2408299 w 7645936"/>
              <a:gd name="connsiteY90" fmla="*/ 775812 h 4314825"/>
              <a:gd name="connsiteX91" fmla="*/ 1902046 w 7645936"/>
              <a:gd name="connsiteY91" fmla="*/ 1282066 h 4314825"/>
              <a:gd name="connsiteX92" fmla="*/ 2408299 w 7645936"/>
              <a:gd name="connsiteY92" fmla="*/ 1788320 h 4314825"/>
              <a:gd name="connsiteX93" fmla="*/ 2914553 w 7645936"/>
              <a:gd name="connsiteY93" fmla="*/ 1282066 h 4314825"/>
              <a:gd name="connsiteX94" fmla="*/ 2408299 w 7645936"/>
              <a:gd name="connsiteY94" fmla="*/ 775812 h 4314825"/>
              <a:gd name="connsiteX95" fmla="*/ 5082919 w 7645936"/>
              <a:gd name="connsiteY95" fmla="*/ 661036 h 4314825"/>
              <a:gd name="connsiteX96" fmla="*/ 5703949 w 7645936"/>
              <a:gd name="connsiteY96" fmla="*/ 1282066 h 4314825"/>
              <a:gd name="connsiteX97" fmla="*/ 5082919 w 7645936"/>
              <a:gd name="connsiteY97" fmla="*/ 1903096 h 4314825"/>
              <a:gd name="connsiteX98" fmla="*/ 4461889 w 7645936"/>
              <a:gd name="connsiteY98" fmla="*/ 1282066 h 4314825"/>
              <a:gd name="connsiteX99" fmla="*/ 5082919 w 7645936"/>
              <a:gd name="connsiteY99" fmla="*/ 661036 h 4314825"/>
              <a:gd name="connsiteX100" fmla="*/ 2408299 w 7645936"/>
              <a:gd name="connsiteY100" fmla="*/ 661036 h 4314825"/>
              <a:gd name="connsiteX101" fmla="*/ 3029329 w 7645936"/>
              <a:gd name="connsiteY101" fmla="*/ 1282066 h 4314825"/>
              <a:gd name="connsiteX102" fmla="*/ 2408299 w 7645936"/>
              <a:gd name="connsiteY102" fmla="*/ 1903096 h 4314825"/>
              <a:gd name="connsiteX103" fmla="*/ 1787269 w 7645936"/>
              <a:gd name="connsiteY103" fmla="*/ 1282066 h 4314825"/>
              <a:gd name="connsiteX104" fmla="*/ 2408299 w 7645936"/>
              <a:gd name="connsiteY104" fmla="*/ 661036 h 4314825"/>
              <a:gd name="connsiteX105" fmla="*/ 1164182 w 7645936"/>
              <a:gd name="connsiteY105" fmla="*/ 126434 h 4314825"/>
              <a:gd name="connsiteX106" fmla="*/ 1034158 w 7645936"/>
              <a:gd name="connsiteY106" fmla="*/ 256457 h 4314825"/>
              <a:gd name="connsiteX107" fmla="*/ 1034158 w 7645936"/>
              <a:gd name="connsiteY107" fmla="*/ 1603376 h 4314825"/>
              <a:gd name="connsiteX108" fmla="*/ 879743 w 7645936"/>
              <a:gd name="connsiteY108" fmla="*/ 1603376 h 4314825"/>
              <a:gd name="connsiteX109" fmla="*/ 478976 w 7645936"/>
              <a:gd name="connsiteY109" fmla="*/ 1603376 h 4314825"/>
              <a:gd name="connsiteX110" fmla="*/ 478976 w 7645936"/>
              <a:gd name="connsiteY110" fmla="*/ 1286475 h 4314825"/>
              <a:gd name="connsiteX111" fmla="*/ 89830 w 7645936"/>
              <a:gd name="connsiteY111" fmla="*/ 1286475 h 4314825"/>
              <a:gd name="connsiteX112" fmla="*/ 89830 w 7645936"/>
              <a:gd name="connsiteY112" fmla="*/ 2046729 h 4314825"/>
              <a:gd name="connsiteX113" fmla="*/ 478976 w 7645936"/>
              <a:gd name="connsiteY113" fmla="*/ 2046729 h 4314825"/>
              <a:gd name="connsiteX114" fmla="*/ 478976 w 7645936"/>
              <a:gd name="connsiteY114" fmla="*/ 1724026 h 4314825"/>
              <a:gd name="connsiteX115" fmla="*/ 879743 w 7645936"/>
              <a:gd name="connsiteY115" fmla="*/ 1724026 h 4314825"/>
              <a:gd name="connsiteX116" fmla="*/ 1034158 w 7645936"/>
              <a:gd name="connsiteY116" fmla="*/ 1724026 h 4314825"/>
              <a:gd name="connsiteX117" fmla="*/ 1034158 w 7645936"/>
              <a:gd name="connsiteY117" fmla="*/ 4058369 h 4314825"/>
              <a:gd name="connsiteX118" fmla="*/ 1164182 w 7645936"/>
              <a:gd name="connsiteY118" fmla="*/ 4188392 h 4314825"/>
              <a:gd name="connsiteX119" fmla="*/ 6481755 w 7645936"/>
              <a:gd name="connsiteY119" fmla="*/ 4188392 h 4314825"/>
              <a:gd name="connsiteX120" fmla="*/ 6611778 w 7645936"/>
              <a:gd name="connsiteY120" fmla="*/ 4058369 h 4314825"/>
              <a:gd name="connsiteX121" fmla="*/ 6611778 w 7645936"/>
              <a:gd name="connsiteY121" fmla="*/ 1724026 h 4314825"/>
              <a:gd name="connsiteX122" fmla="*/ 6766193 w 7645936"/>
              <a:gd name="connsiteY122" fmla="*/ 1724026 h 4314825"/>
              <a:gd name="connsiteX123" fmla="*/ 7166960 w 7645936"/>
              <a:gd name="connsiteY123" fmla="*/ 1724026 h 4314825"/>
              <a:gd name="connsiteX124" fmla="*/ 7166960 w 7645936"/>
              <a:gd name="connsiteY124" fmla="*/ 2046729 h 4314825"/>
              <a:gd name="connsiteX125" fmla="*/ 7556106 w 7645936"/>
              <a:gd name="connsiteY125" fmla="*/ 2046729 h 4314825"/>
              <a:gd name="connsiteX126" fmla="*/ 7556106 w 7645936"/>
              <a:gd name="connsiteY126" fmla="*/ 1286475 h 4314825"/>
              <a:gd name="connsiteX127" fmla="*/ 7166960 w 7645936"/>
              <a:gd name="connsiteY127" fmla="*/ 1286475 h 4314825"/>
              <a:gd name="connsiteX128" fmla="*/ 7166960 w 7645936"/>
              <a:gd name="connsiteY128" fmla="*/ 1603376 h 4314825"/>
              <a:gd name="connsiteX129" fmla="*/ 6766193 w 7645936"/>
              <a:gd name="connsiteY129" fmla="*/ 1603376 h 4314825"/>
              <a:gd name="connsiteX130" fmla="*/ 6611778 w 7645936"/>
              <a:gd name="connsiteY130" fmla="*/ 1603376 h 4314825"/>
              <a:gd name="connsiteX131" fmla="*/ 6611778 w 7645936"/>
              <a:gd name="connsiteY131" fmla="*/ 256457 h 4314825"/>
              <a:gd name="connsiteX132" fmla="*/ 6481755 w 7645936"/>
              <a:gd name="connsiteY132" fmla="*/ 126434 h 4314825"/>
              <a:gd name="connsiteX133" fmla="*/ 1011518 w 7645936"/>
              <a:gd name="connsiteY133" fmla="*/ 0 h 4314825"/>
              <a:gd name="connsiteX134" fmla="*/ 6634418 w 7645936"/>
              <a:gd name="connsiteY134" fmla="*/ 0 h 4314825"/>
              <a:gd name="connsiteX135" fmla="*/ 6766193 w 7645936"/>
              <a:gd name="connsiteY135" fmla="*/ 131775 h 4314825"/>
              <a:gd name="connsiteX136" fmla="*/ 6766193 w 7645936"/>
              <a:gd name="connsiteY136" fmla="*/ 1485987 h 4314825"/>
              <a:gd name="connsiteX137" fmla="*/ 7077129 w 7645936"/>
              <a:gd name="connsiteY137" fmla="*/ 1485987 h 4314825"/>
              <a:gd name="connsiteX138" fmla="*/ 7077129 w 7645936"/>
              <a:gd name="connsiteY138" fmla="*/ 1193887 h 4314825"/>
              <a:gd name="connsiteX139" fmla="*/ 7645936 w 7645936"/>
              <a:gd name="connsiteY139" fmla="*/ 1193887 h 4314825"/>
              <a:gd name="connsiteX140" fmla="*/ 7645936 w 7645936"/>
              <a:gd name="connsiteY140" fmla="*/ 2139317 h 4314825"/>
              <a:gd name="connsiteX141" fmla="*/ 7077129 w 7645936"/>
              <a:gd name="connsiteY141" fmla="*/ 2139317 h 4314825"/>
              <a:gd name="connsiteX142" fmla="*/ 7077129 w 7645936"/>
              <a:gd name="connsiteY142" fmla="*/ 1840719 h 4314825"/>
              <a:gd name="connsiteX143" fmla="*/ 6766193 w 7645936"/>
              <a:gd name="connsiteY143" fmla="*/ 1840719 h 4314825"/>
              <a:gd name="connsiteX144" fmla="*/ 6766193 w 7645936"/>
              <a:gd name="connsiteY144" fmla="*/ 4183050 h 4314825"/>
              <a:gd name="connsiteX145" fmla="*/ 6634418 w 7645936"/>
              <a:gd name="connsiteY145" fmla="*/ 4314825 h 4314825"/>
              <a:gd name="connsiteX146" fmla="*/ 1011518 w 7645936"/>
              <a:gd name="connsiteY146" fmla="*/ 4314825 h 4314825"/>
              <a:gd name="connsiteX147" fmla="*/ 879743 w 7645936"/>
              <a:gd name="connsiteY147" fmla="*/ 4183050 h 4314825"/>
              <a:gd name="connsiteX148" fmla="*/ 879743 w 7645936"/>
              <a:gd name="connsiteY148" fmla="*/ 1840719 h 4314825"/>
              <a:gd name="connsiteX149" fmla="*/ 568807 w 7645936"/>
              <a:gd name="connsiteY149" fmla="*/ 1840719 h 4314825"/>
              <a:gd name="connsiteX150" fmla="*/ 568807 w 7645936"/>
              <a:gd name="connsiteY150" fmla="*/ 2139317 h 4314825"/>
              <a:gd name="connsiteX151" fmla="*/ 0 w 7645936"/>
              <a:gd name="connsiteY151" fmla="*/ 2139317 h 4314825"/>
              <a:gd name="connsiteX152" fmla="*/ 0 w 7645936"/>
              <a:gd name="connsiteY152" fmla="*/ 1193887 h 4314825"/>
              <a:gd name="connsiteX153" fmla="*/ 568807 w 7645936"/>
              <a:gd name="connsiteY153" fmla="*/ 1193887 h 4314825"/>
              <a:gd name="connsiteX154" fmla="*/ 568807 w 7645936"/>
              <a:gd name="connsiteY154" fmla="*/ 1485987 h 4314825"/>
              <a:gd name="connsiteX155" fmla="*/ 879743 w 7645936"/>
              <a:gd name="connsiteY155" fmla="*/ 1485987 h 4314825"/>
              <a:gd name="connsiteX156" fmla="*/ 879743 w 7645936"/>
              <a:gd name="connsiteY156" fmla="*/ 131775 h 4314825"/>
              <a:gd name="connsiteX157" fmla="*/ 1011518 w 7645936"/>
              <a:gd name="connsiteY157" fmla="*/ 0 h 4314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Lst>
            <a:rect l="l" t="t" r="r" b="b"/>
            <a:pathLst>
              <a:path w="7645936" h="4314825">
                <a:moveTo>
                  <a:pt x="5333671" y="2643510"/>
                </a:moveTo>
                <a:cubicBezTo>
                  <a:pt x="5256088" y="2643510"/>
                  <a:pt x="5193195" y="2706403"/>
                  <a:pt x="5193195" y="2783986"/>
                </a:cubicBezTo>
                <a:lnTo>
                  <a:pt x="5193195" y="3723500"/>
                </a:lnTo>
                <a:cubicBezTo>
                  <a:pt x="5193195" y="3801083"/>
                  <a:pt x="5256088" y="3863976"/>
                  <a:pt x="5333671" y="3863976"/>
                </a:cubicBezTo>
                <a:lnTo>
                  <a:pt x="5421017" y="3863976"/>
                </a:lnTo>
                <a:cubicBezTo>
                  <a:pt x="5498600" y="3863976"/>
                  <a:pt x="5561493" y="3801083"/>
                  <a:pt x="5561493" y="3723500"/>
                </a:cubicBezTo>
                <a:lnTo>
                  <a:pt x="5561493" y="2783986"/>
                </a:lnTo>
                <a:cubicBezTo>
                  <a:pt x="5561493" y="2706403"/>
                  <a:pt x="5498600" y="2643510"/>
                  <a:pt x="5421017" y="2643510"/>
                </a:cubicBezTo>
                <a:close/>
                <a:moveTo>
                  <a:pt x="4527329" y="2643510"/>
                </a:moveTo>
                <a:cubicBezTo>
                  <a:pt x="4449746" y="2643510"/>
                  <a:pt x="4386853" y="2706403"/>
                  <a:pt x="4386853" y="2783986"/>
                </a:cubicBezTo>
                <a:lnTo>
                  <a:pt x="4386853" y="3723500"/>
                </a:lnTo>
                <a:cubicBezTo>
                  <a:pt x="4386853" y="3801083"/>
                  <a:pt x="4449746" y="3863976"/>
                  <a:pt x="4527329" y="3863976"/>
                </a:cubicBezTo>
                <a:lnTo>
                  <a:pt x="4614675" y="3863976"/>
                </a:lnTo>
                <a:cubicBezTo>
                  <a:pt x="4692258" y="3863976"/>
                  <a:pt x="4755151" y="3801083"/>
                  <a:pt x="4755151" y="3723500"/>
                </a:cubicBezTo>
                <a:lnTo>
                  <a:pt x="4755151" y="2783986"/>
                </a:lnTo>
                <a:cubicBezTo>
                  <a:pt x="4755151" y="2706403"/>
                  <a:pt x="4692258" y="2643510"/>
                  <a:pt x="4614675" y="2643510"/>
                </a:cubicBezTo>
                <a:close/>
                <a:moveTo>
                  <a:pt x="3720987" y="2643510"/>
                </a:moveTo>
                <a:cubicBezTo>
                  <a:pt x="3643404" y="2643510"/>
                  <a:pt x="3580511" y="2706403"/>
                  <a:pt x="3580511" y="2783986"/>
                </a:cubicBezTo>
                <a:lnTo>
                  <a:pt x="3580511" y="3723500"/>
                </a:lnTo>
                <a:cubicBezTo>
                  <a:pt x="3580511" y="3801083"/>
                  <a:pt x="3643404" y="3863976"/>
                  <a:pt x="3720987" y="3863976"/>
                </a:cubicBezTo>
                <a:lnTo>
                  <a:pt x="3808333" y="3863976"/>
                </a:lnTo>
                <a:cubicBezTo>
                  <a:pt x="3885916" y="3863976"/>
                  <a:pt x="3948809" y="3801083"/>
                  <a:pt x="3948809" y="3723500"/>
                </a:cubicBezTo>
                <a:lnTo>
                  <a:pt x="3948809" y="2783986"/>
                </a:lnTo>
                <a:cubicBezTo>
                  <a:pt x="3948809" y="2706403"/>
                  <a:pt x="3885916" y="2643510"/>
                  <a:pt x="3808333" y="2643510"/>
                </a:cubicBezTo>
                <a:close/>
                <a:moveTo>
                  <a:pt x="2914644" y="2643510"/>
                </a:moveTo>
                <a:cubicBezTo>
                  <a:pt x="2837061" y="2643510"/>
                  <a:pt x="2774168" y="2706403"/>
                  <a:pt x="2774168" y="2783986"/>
                </a:cubicBezTo>
                <a:lnTo>
                  <a:pt x="2774168" y="3723500"/>
                </a:lnTo>
                <a:cubicBezTo>
                  <a:pt x="2774168" y="3801083"/>
                  <a:pt x="2837061" y="3863976"/>
                  <a:pt x="2914644" y="3863976"/>
                </a:cubicBezTo>
                <a:lnTo>
                  <a:pt x="3001990" y="3863976"/>
                </a:lnTo>
                <a:cubicBezTo>
                  <a:pt x="3079573" y="3863976"/>
                  <a:pt x="3142466" y="3801083"/>
                  <a:pt x="3142466" y="3723500"/>
                </a:cubicBezTo>
                <a:lnTo>
                  <a:pt x="3142466" y="2783986"/>
                </a:lnTo>
                <a:cubicBezTo>
                  <a:pt x="3142466" y="2706403"/>
                  <a:pt x="3079573" y="2643510"/>
                  <a:pt x="3001990" y="2643510"/>
                </a:cubicBezTo>
                <a:close/>
                <a:moveTo>
                  <a:pt x="2108301" y="2643510"/>
                </a:moveTo>
                <a:cubicBezTo>
                  <a:pt x="2030718" y="2643510"/>
                  <a:pt x="1967825" y="2706403"/>
                  <a:pt x="1967825" y="2783986"/>
                </a:cubicBezTo>
                <a:lnTo>
                  <a:pt x="1967825" y="3723500"/>
                </a:lnTo>
                <a:cubicBezTo>
                  <a:pt x="1967825" y="3801083"/>
                  <a:pt x="2030718" y="3863976"/>
                  <a:pt x="2108301" y="3863976"/>
                </a:cubicBezTo>
                <a:lnTo>
                  <a:pt x="2195647" y="3863976"/>
                </a:lnTo>
                <a:cubicBezTo>
                  <a:pt x="2273230" y="3863976"/>
                  <a:pt x="2336123" y="3801083"/>
                  <a:pt x="2336123" y="3723500"/>
                </a:cubicBezTo>
                <a:lnTo>
                  <a:pt x="2336123" y="2783986"/>
                </a:lnTo>
                <a:cubicBezTo>
                  <a:pt x="2336123" y="2706403"/>
                  <a:pt x="2273230" y="2643510"/>
                  <a:pt x="2195647" y="2643510"/>
                </a:cubicBezTo>
                <a:close/>
                <a:moveTo>
                  <a:pt x="5312536" y="2564132"/>
                </a:moveTo>
                <a:lnTo>
                  <a:pt x="5442152" y="2564132"/>
                </a:lnTo>
                <a:cubicBezTo>
                  <a:pt x="5557280" y="2564132"/>
                  <a:pt x="5650609" y="2657461"/>
                  <a:pt x="5650609" y="2772589"/>
                </a:cubicBezTo>
                <a:lnTo>
                  <a:pt x="5650609" y="3734896"/>
                </a:lnTo>
                <a:cubicBezTo>
                  <a:pt x="5650609" y="3850024"/>
                  <a:pt x="5557280" y="3943353"/>
                  <a:pt x="5442152" y="3943353"/>
                </a:cubicBezTo>
                <a:lnTo>
                  <a:pt x="5312536" y="3943353"/>
                </a:lnTo>
                <a:cubicBezTo>
                  <a:pt x="5197408" y="3943353"/>
                  <a:pt x="5104079" y="3850024"/>
                  <a:pt x="5104079" y="3734896"/>
                </a:cubicBezTo>
                <a:lnTo>
                  <a:pt x="5104079" y="2772589"/>
                </a:lnTo>
                <a:cubicBezTo>
                  <a:pt x="5104079" y="2657461"/>
                  <a:pt x="5197408" y="2564132"/>
                  <a:pt x="5312536" y="2564132"/>
                </a:cubicBezTo>
                <a:close/>
                <a:moveTo>
                  <a:pt x="4506194" y="2564132"/>
                </a:moveTo>
                <a:lnTo>
                  <a:pt x="4635810" y="2564132"/>
                </a:lnTo>
                <a:cubicBezTo>
                  <a:pt x="4750938" y="2564132"/>
                  <a:pt x="4844267" y="2657461"/>
                  <a:pt x="4844267" y="2772589"/>
                </a:cubicBezTo>
                <a:lnTo>
                  <a:pt x="4844267" y="3734896"/>
                </a:lnTo>
                <a:cubicBezTo>
                  <a:pt x="4844267" y="3850024"/>
                  <a:pt x="4750938" y="3943353"/>
                  <a:pt x="4635810" y="3943353"/>
                </a:cubicBezTo>
                <a:lnTo>
                  <a:pt x="4506194" y="3943353"/>
                </a:lnTo>
                <a:cubicBezTo>
                  <a:pt x="4391066" y="3943353"/>
                  <a:pt x="4297737" y="3850024"/>
                  <a:pt x="4297737" y="3734896"/>
                </a:cubicBezTo>
                <a:lnTo>
                  <a:pt x="4297737" y="2772589"/>
                </a:lnTo>
                <a:cubicBezTo>
                  <a:pt x="4297737" y="2657461"/>
                  <a:pt x="4391066" y="2564132"/>
                  <a:pt x="4506194" y="2564132"/>
                </a:cubicBezTo>
                <a:close/>
                <a:moveTo>
                  <a:pt x="3699852" y="2564132"/>
                </a:moveTo>
                <a:lnTo>
                  <a:pt x="3829468" y="2564132"/>
                </a:lnTo>
                <a:cubicBezTo>
                  <a:pt x="3944596" y="2564132"/>
                  <a:pt x="4037925" y="2657461"/>
                  <a:pt x="4037925" y="2772589"/>
                </a:cubicBezTo>
                <a:lnTo>
                  <a:pt x="4037925" y="3734896"/>
                </a:lnTo>
                <a:cubicBezTo>
                  <a:pt x="4037925" y="3850024"/>
                  <a:pt x="3944596" y="3943353"/>
                  <a:pt x="3829468" y="3943353"/>
                </a:cubicBezTo>
                <a:lnTo>
                  <a:pt x="3699852" y="3943353"/>
                </a:lnTo>
                <a:cubicBezTo>
                  <a:pt x="3584724" y="3943353"/>
                  <a:pt x="3491395" y="3850024"/>
                  <a:pt x="3491395" y="3734896"/>
                </a:cubicBezTo>
                <a:lnTo>
                  <a:pt x="3491395" y="2772589"/>
                </a:lnTo>
                <a:cubicBezTo>
                  <a:pt x="3491395" y="2657461"/>
                  <a:pt x="3584724" y="2564132"/>
                  <a:pt x="3699852" y="2564132"/>
                </a:cubicBezTo>
                <a:close/>
                <a:moveTo>
                  <a:pt x="2893509" y="2564132"/>
                </a:moveTo>
                <a:lnTo>
                  <a:pt x="3023125" y="2564132"/>
                </a:lnTo>
                <a:cubicBezTo>
                  <a:pt x="3138253" y="2564132"/>
                  <a:pt x="3231582" y="2657461"/>
                  <a:pt x="3231582" y="2772589"/>
                </a:cubicBezTo>
                <a:lnTo>
                  <a:pt x="3231582" y="3734896"/>
                </a:lnTo>
                <a:cubicBezTo>
                  <a:pt x="3231582" y="3850024"/>
                  <a:pt x="3138253" y="3943353"/>
                  <a:pt x="3023125" y="3943353"/>
                </a:cubicBezTo>
                <a:lnTo>
                  <a:pt x="2893509" y="3943353"/>
                </a:lnTo>
                <a:cubicBezTo>
                  <a:pt x="2778381" y="3943353"/>
                  <a:pt x="2685052" y="3850024"/>
                  <a:pt x="2685052" y="3734896"/>
                </a:cubicBezTo>
                <a:lnTo>
                  <a:pt x="2685052" y="2772589"/>
                </a:lnTo>
                <a:cubicBezTo>
                  <a:pt x="2685052" y="2657461"/>
                  <a:pt x="2778381" y="2564132"/>
                  <a:pt x="2893509" y="2564132"/>
                </a:cubicBezTo>
                <a:close/>
                <a:moveTo>
                  <a:pt x="2087166" y="2564132"/>
                </a:moveTo>
                <a:lnTo>
                  <a:pt x="2216782" y="2564132"/>
                </a:lnTo>
                <a:cubicBezTo>
                  <a:pt x="2331910" y="2564132"/>
                  <a:pt x="2425239" y="2657461"/>
                  <a:pt x="2425239" y="2772589"/>
                </a:cubicBezTo>
                <a:lnTo>
                  <a:pt x="2425239" y="3734896"/>
                </a:lnTo>
                <a:cubicBezTo>
                  <a:pt x="2425239" y="3850024"/>
                  <a:pt x="2331910" y="3943353"/>
                  <a:pt x="2216782" y="3943353"/>
                </a:cubicBezTo>
                <a:lnTo>
                  <a:pt x="2087166" y="3943353"/>
                </a:lnTo>
                <a:cubicBezTo>
                  <a:pt x="1972038" y="3943353"/>
                  <a:pt x="1878709" y="3850024"/>
                  <a:pt x="1878709" y="3734896"/>
                </a:cubicBezTo>
                <a:lnTo>
                  <a:pt x="1878709" y="2772589"/>
                </a:lnTo>
                <a:cubicBezTo>
                  <a:pt x="1878709" y="2657461"/>
                  <a:pt x="1972038" y="2564132"/>
                  <a:pt x="2087166" y="2564132"/>
                </a:cubicBezTo>
                <a:close/>
                <a:moveTo>
                  <a:pt x="5082919" y="775812"/>
                </a:moveTo>
                <a:cubicBezTo>
                  <a:pt x="4803323" y="775812"/>
                  <a:pt x="4576665" y="1002470"/>
                  <a:pt x="4576665" y="1282066"/>
                </a:cubicBezTo>
                <a:cubicBezTo>
                  <a:pt x="4576665" y="1561662"/>
                  <a:pt x="4803323" y="1788320"/>
                  <a:pt x="5082919" y="1788320"/>
                </a:cubicBezTo>
                <a:cubicBezTo>
                  <a:pt x="5362515" y="1788320"/>
                  <a:pt x="5589173" y="1561662"/>
                  <a:pt x="5589173" y="1282066"/>
                </a:cubicBezTo>
                <a:cubicBezTo>
                  <a:pt x="5589173" y="1002470"/>
                  <a:pt x="5362515" y="775812"/>
                  <a:pt x="5082919" y="775812"/>
                </a:cubicBezTo>
                <a:close/>
                <a:moveTo>
                  <a:pt x="2408299" y="775812"/>
                </a:moveTo>
                <a:cubicBezTo>
                  <a:pt x="2128703" y="775812"/>
                  <a:pt x="1902046" y="1002470"/>
                  <a:pt x="1902046" y="1282066"/>
                </a:cubicBezTo>
                <a:cubicBezTo>
                  <a:pt x="1902046" y="1561662"/>
                  <a:pt x="2128703" y="1788320"/>
                  <a:pt x="2408299" y="1788320"/>
                </a:cubicBezTo>
                <a:cubicBezTo>
                  <a:pt x="2687895" y="1788320"/>
                  <a:pt x="2914553" y="1561662"/>
                  <a:pt x="2914553" y="1282066"/>
                </a:cubicBezTo>
                <a:cubicBezTo>
                  <a:pt x="2914553" y="1002470"/>
                  <a:pt x="2687895" y="775812"/>
                  <a:pt x="2408299" y="775812"/>
                </a:cubicBezTo>
                <a:close/>
                <a:moveTo>
                  <a:pt x="5082919" y="661036"/>
                </a:moveTo>
                <a:cubicBezTo>
                  <a:pt x="5425904" y="661036"/>
                  <a:pt x="5703949" y="939081"/>
                  <a:pt x="5703949" y="1282066"/>
                </a:cubicBezTo>
                <a:cubicBezTo>
                  <a:pt x="5703949" y="1625051"/>
                  <a:pt x="5425904" y="1903096"/>
                  <a:pt x="5082919" y="1903096"/>
                </a:cubicBezTo>
                <a:cubicBezTo>
                  <a:pt x="4739934" y="1903096"/>
                  <a:pt x="4461889" y="1625051"/>
                  <a:pt x="4461889" y="1282066"/>
                </a:cubicBezTo>
                <a:cubicBezTo>
                  <a:pt x="4461889" y="939081"/>
                  <a:pt x="4739934" y="661036"/>
                  <a:pt x="5082919" y="661036"/>
                </a:cubicBezTo>
                <a:close/>
                <a:moveTo>
                  <a:pt x="2408299" y="661036"/>
                </a:moveTo>
                <a:cubicBezTo>
                  <a:pt x="2751284" y="661036"/>
                  <a:pt x="3029329" y="939081"/>
                  <a:pt x="3029329" y="1282066"/>
                </a:cubicBezTo>
                <a:cubicBezTo>
                  <a:pt x="3029329" y="1625051"/>
                  <a:pt x="2751284" y="1903096"/>
                  <a:pt x="2408299" y="1903096"/>
                </a:cubicBezTo>
                <a:cubicBezTo>
                  <a:pt x="2065314" y="1903096"/>
                  <a:pt x="1787269" y="1625051"/>
                  <a:pt x="1787269" y="1282066"/>
                </a:cubicBezTo>
                <a:cubicBezTo>
                  <a:pt x="1787269" y="939081"/>
                  <a:pt x="2065314" y="661036"/>
                  <a:pt x="2408299" y="661036"/>
                </a:cubicBezTo>
                <a:close/>
                <a:moveTo>
                  <a:pt x="1164182" y="126434"/>
                </a:moveTo>
                <a:cubicBezTo>
                  <a:pt x="1092372" y="126434"/>
                  <a:pt x="1034158" y="184647"/>
                  <a:pt x="1034158" y="256457"/>
                </a:cubicBezTo>
                <a:lnTo>
                  <a:pt x="1034158" y="1603376"/>
                </a:lnTo>
                <a:lnTo>
                  <a:pt x="879743" y="1603376"/>
                </a:lnTo>
                <a:lnTo>
                  <a:pt x="478976" y="1603376"/>
                </a:lnTo>
                <a:lnTo>
                  <a:pt x="478976" y="1286475"/>
                </a:lnTo>
                <a:lnTo>
                  <a:pt x="89830" y="1286475"/>
                </a:lnTo>
                <a:lnTo>
                  <a:pt x="89830" y="2046729"/>
                </a:lnTo>
                <a:lnTo>
                  <a:pt x="478976" y="2046729"/>
                </a:lnTo>
                <a:lnTo>
                  <a:pt x="478976" y="1724026"/>
                </a:lnTo>
                <a:lnTo>
                  <a:pt x="879743" y="1724026"/>
                </a:lnTo>
                <a:lnTo>
                  <a:pt x="1034158" y="1724026"/>
                </a:lnTo>
                <a:lnTo>
                  <a:pt x="1034158" y="4058369"/>
                </a:lnTo>
                <a:cubicBezTo>
                  <a:pt x="1034158" y="4130179"/>
                  <a:pt x="1092372" y="4188392"/>
                  <a:pt x="1164182" y="4188392"/>
                </a:cubicBezTo>
                <a:lnTo>
                  <a:pt x="6481755" y="4188392"/>
                </a:lnTo>
                <a:cubicBezTo>
                  <a:pt x="6553565" y="4188392"/>
                  <a:pt x="6611778" y="4130179"/>
                  <a:pt x="6611778" y="4058369"/>
                </a:cubicBezTo>
                <a:lnTo>
                  <a:pt x="6611778" y="1724026"/>
                </a:lnTo>
                <a:lnTo>
                  <a:pt x="6766193" y="1724026"/>
                </a:lnTo>
                <a:lnTo>
                  <a:pt x="7166960" y="1724026"/>
                </a:lnTo>
                <a:lnTo>
                  <a:pt x="7166960" y="2046729"/>
                </a:lnTo>
                <a:lnTo>
                  <a:pt x="7556106" y="2046729"/>
                </a:lnTo>
                <a:lnTo>
                  <a:pt x="7556106" y="1286475"/>
                </a:lnTo>
                <a:lnTo>
                  <a:pt x="7166960" y="1286475"/>
                </a:lnTo>
                <a:lnTo>
                  <a:pt x="7166960" y="1603376"/>
                </a:lnTo>
                <a:lnTo>
                  <a:pt x="6766193" y="1603376"/>
                </a:lnTo>
                <a:lnTo>
                  <a:pt x="6611778" y="1603376"/>
                </a:lnTo>
                <a:lnTo>
                  <a:pt x="6611778" y="256457"/>
                </a:lnTo>
                <a:cubicBezTo>
                  <a:pt x="6611778" y="184647"/>
                  <a:pt x="6553565" y="126434"/>
                  <a:pt x="6481755" y="126434"/>
                </a:cubicBezTo>
                <a:close/>
                <a:moveTo>
                  <a:pt x="1011518" y="0"/>
                </a:moveTo>
                <a:lnTo>
                  <a:pt x="6634418" y="0"/>
                </a:lnTo>
                <a:cubicBezTo>
                  <a:pt x="6707195" y="0"/>
                  <a:pt x="6766193" y="58999"/>
                  <a:pt x="6766193" y="131775"/>
                </a:cubicBezTo>
                <a:lnTo>
                  <a:pt x="6766193" y="1485987"/>
                </a:lnTo>
                <a:lnTo>
                  <a:pt x="7077129" y="1485987"/>
                </a:lnTo>
                <a:lnTo>
                  <a:pt x="7077129" y="1193887"/>
                </a:lnTo>
                <a:lnTo>
                  <a:pt x="7645936" y="1193887"/>
                </a:lnTo>
                <a:lnTo>
                  <a:pt x="7645936" y="2139317"/>
                </a:lnTo>
                <a:lnTo>
                  <a:pt x="7077129" y="2139317"/>
                </a:lnTo>
                <a:lnTo>
                  <a:pt x="7077129" y="1840719"/>
                </a:lnTo>
                <a:lnTo>
                  <a:pt x="6766193" y="1840719"/>
                </a:lnTo>
                <a:lnTo>
                  <a:pt x="6766193" y="4183050"/>
                </a:lnTo>
                <a:cubicBezTo>
                  <a:pt x="6766193" y="4255827"/>
                  <a:pt x="6707195" y="4314825"/>
                  <a:pt x="6634418" y="4314825"/>
                </a:cubicBezTo>
                <a:lnTo>
                  <a:pt x="1011518" y="4314825"/>
                </a:lnTo>
                <a:cubicBezTo>
                  <a:pt x="938741" y="4314825"/>
                  <a:pt x="879743" y="4255827"/>
                  <a:pt x="879743" y="4183050"/>
                </a:cubicBezTo>
                <a:lnTo>
                  <a:pt x="879743" y="1840719"/>
                </a:lnTo>
                <a:lnTo>
                  <a:pt x="568807" y="1840719"/>
                </a:lnTo>
                <a:lnTo>
                  <a:pt x="568807" y="2139317"/>
                </a:lnTo>
                <a:lnTo>
                  <a:pt x="0" y="2139317"/>
                </a:lnTo>
                <a:lnTo>
                  <a:pt x="0" y="1193887"/>
                </a:lnTo>
                <a:lnTo>
                  <a:pt x="568807" y="1193887"/>
                </a:lnTo>
                <a:lnTo>
                  <a:pt x="568807" y="1485987"/>
                </a:lnTo>
                <a:lnTo>
                  <a:pt x="879743" y="1485987"/>
                </a:lnTo>
                <a:lnTo>
                  <a:pt x="879743" y="131775"/>
                </a:lnTo>
                <a:cubicBezTo>
                  <a:pt x="879743" y="58999"/>
                  <a:pt x="938741" y="0"/>
                  <a:pt x="1011518" y="0"/>
                </a:cubicBezTo>
                <a:close/>
              </a:path>
            </a:pathLst>
          </a:custGeom>
          <a:solidFill>
            <a:schemeClr val="tx1"/>
          </a:solidFill>
          <a:ln w="3175" cap="flat" cmpd="sng" algn="ctr">
            <a:solidFill>
              <a:schemeClr val="tx1"/>
            </a:solidFill>
            <a:prstDash val="solid"/>
            <a:headEnd type="none" w="med" len="med"/>
            <a:tailEnd type="none" w="med" len="med"/>
          </a:ln>
          <a:effectLst/>
        </p:spPr>
        <p:txBody>
          <a:bodyPr rot="0" spcFirstLastPara="0" vertOverflow="overflow" horzOverflow="overflow" vert="horz" wrap="square" lIns="134423" tIns="107537" rIns="134423" bIns="107537" numCol="1" spcCol="0" rtlCol="0" fromWordArt="0" anchor="t" anchorCtr="0" forceAA="0" compatLnSpc="1">
            <a:prstTxWarp prst="textNoShape">
              <a:avLst/>
            </a:prstTxWarp>
            <a:noAutofit/>
          </a:bodyPr>
          <a:lstStyle/>
          <a:p>
            <a:pPr algn="ctr" defTabSz="685370">
              <a:lnSpc>
                <a:spcPct val="90000"/>
              </a:lnSpc>
              <a:defRPr/>
            </a:pPr>
            <a:endParaRPr lang="en-US" sz="1765" b="0" kern="0" dirty="0">
              <a:solidFill>
                <a:srgbClr val="FFFFFF"/>
              </a:solidFill>
              <a:latin typeface="Segoe UI Semilight"/>
              <a:ea typeface="Segoe UI" pitchFamily="34" charset="0"/>
              <a:cs typeface="Segoe UI" pitchFamily="34" charset="0"/>
            </a:endParaRPr>
          </a:p>
        </p:txBody>
      </p:sp>
      <p:cxnSp>
        <p:nvCxnSpPr>
          <p:cNvPr id="407" name="Straight Connector 406"/>
          <p:cNvCxnSpPr/>
          <p:nvPr/>
        </p:nvCxnSpPr>
        <p:spPr>
          <a:xfrm flipH="1">
            <a:off x="7681510" y="3609747"/>
            <a:ext cx="226736" cy="0"/>
          </a:xfrm>
          <a:prstGeom prst="line">
            <a:avLst/>
          </a:prstGeom>
          <a:noFill/>
          <a:ln w="9525" cap="flat" cmpd="sng" algn="ctr">
            <a:solidFill>
              <a:srgbClr val="FFFFFF">
                <a:lumMod val="65000"/>
              </a:srgbClr>
            </a:solidFill>
            <a:prstDash val="solid"/>
            <a:headEnd type="none" w="med" len="med"/>
            <a:tailEnd type="none" w="med" len="med"/>
          </a:ln>
          <a:effectLst/>
        </p:spPr>
      </p:cxnSp>
      <p:sp>
        <p:nvSpPr>
          <p:cNvPr id="411" name="Rectangle 410"/>
          <p:cNvSpPr/>
          <p:nvPr/>
        </p:nvSpPr>
        <p:spPr>
          <a:xfrm>
            <a:off x="3153024" y="3182641"/>
            <a:ext cx="934231" cy="248401"/>
          </a:xfrm>
          <a:prstGeom prst="rect">
            <a:avLst/>
          </a:prstGeom>
        </p:spPr>
        <p:txBody>
          <a:bodyPr wrap="square" lIns="0" tIns="0" rIns="0" bIns="0" anchor="ctr">
            <a:spAutoFit/>
          </a:bodyPr>
          <a:lstStyle/>
          <a:p>
            <a:pPr defTabSz="685594" fontAlgn="auto">
              <a:spcBef>
                <a:spcPts val="0"/>
              </a:spcBef>
              <a:spcAft>
                <a:spcPts val="0"/>
              </a:spcAft>
              <a:defRPr/>
            </a:pPr>
            <a:r>
              <a:rPr lang="en-US" sz="807" b="0" kern="0" dirty="0">
                <a:solidFill>
                  <a:srgbClr val="FFFFFF"/>
                </a:solidFill>
                <a:latin typeface="Segoe UI Semilight"/>
                <a:ea typeface="MS PGothic" panose="020B0600070205080204" pitchFamily="34" charset="-128"/>
                <a:cs typeface="Segoe UI Semilight" panose="020B0402040204020203" pitchFamily="34" charset="0"/>
              </a:rPr>
              <a:t>SQL Data </a:t>
            </a:r>
          </a:p>
          <a:p>
            <a:pPr defTabSz="685594" fontAlgn="auto">
              <a:spcBef>
                <a:spcPts val="0"/>
              </a:spcBef>
              <a:spcAft>
                <a:spcPts val="0"/>
              </a:spcAft>
              <a:defRPr/>
            </a:pPr>
            <a:r>
              <a:rPr lang="en-US" sz="807" b="0" kern="0" dirty="0">
                <a:solidFill>
                  <a:srgbClr val="FFFFFF"/>
                </a:solidFill>
                <a:latin typeface="Segoe UI Semilight"/>
                <a:ea typeface="MS PGothic" panose="020B0600070205080204" pitchFamily="34" charset="-128"/>
                <a:cs typeface="Segoe UI Semilight" panose="020B0402040204020203" pitchFamily="34" charset="0"/>
              </a:rPr>
              <a:t>Warehouse</a:t>
            </a:r>
          </a:p>
        </p:txBody>
      </p:sp>
      <p:sp>
        <p:nvSpPr>
          <p:cNvPr id="412" name="Rectangle 411"/>
          <p:cNvSpPr/>
          <p:nvPr/>
        </p:nvSpPr>
        <p:spPr>
          <a:xfrm>
            <a:off x="1779808" y="3196637"/>
            <a:ext cx="780170" cy="124201"/>
          </a:xfrm>
          <a:prstGeom prst="rect">
            <a:avLst/>
          </a:prstGeom>
        </p:spPr>
        <p:txBody>
          <a:bodyPr wrap="square" lIns="0" tIns="0" rIns="0" bIns="0" anchor="ctr">
            <a:spAutoFit/>
          </a:bodyPr>
          <a:lstStyle/>
          <a:p>
            <a:pPr defTabSz="685594" fontAlgn="auto">
              <a:spcBef>
                <a:spcPts val="0"/>
              </a:spcBef>
              <a:spcAft>
                <a:spcPts val="0"/>
              </a:spcAft>
              <a:defRPr/>
            </a:pPr>
            <a:r>
              <a:rPr lang="en-US" sz="807" b="0" kern="0" dirty="0">
                <a:solidFill>
                  <a:srgbClr val="FFFFFF"/>
                </a:solidFill>
                <a:latin typeface="Segoe UI Semilight"/>
                <a:ea typeface="MS PGothic" panose="020B0600070205080204" pitchFamily="34" charset="-128"/>
                <a:cs typeface="Segoe UI Semilight" panose="020B0402040204020203" pitchFamily="34" charset="0"/>
              </a:rPr>
              <a:t>Data Catalog</a:t>
            </a:r>
          </a:p>
        </p:txBody>
      </p:sp>
      <p:sp>
        <p:nvSpPr>
          <p:cNvPr id="417" name="Rectangle 416"/>
          <p:cNvSpPr/>
          <p:nvPr/>
        </p:nvSpPr>
        <p:spPr>
          <a:xfrm>
            <a:off x="4536787" y="3076476"/>
            <a:ext cx="768959" cy="248401"/>
          </a:xfrm>
          <a:prstGeom prst="rect">
            <a:avLst/>
          </a:prstGeom>
        </p:spPr>
        <p:txBody>
          <a:bodyPr wrap="square" lIns="0" tIns="0" rIns="0" bIns="0" anchor="ctr">
            <a:spAutoFit/>
          </a:bodyPr>
          <a:lstStyle/>
          <a:p>
            <a:pPr defTabSz="685594" fontAlgn="auto">
              <a:spcBef>
                <a:spcPts val="0"/>
              </a:spcBef>
              <a:spcAft>
                <a:spcPts val="0"/>
              </a:spcAft>
              <a:defRPr/>
            </a:pPr>
            <a:r>
              <a:rPr lang="en-US" sz="807" b="0" kern="0" dirty="0">
                <a:solidFill>
                  <a:srgbClr val="FFFFFF"/>
                </a:solidFill>
                <a:latin typeface="Segoe UI Semilight"/>
                <a:ea typeface="MS PGothic" panose="020B0600070205080204" pitchFamily="34" charset="-128"/>
                <a:cs typeface="Segoe UI Semilight" panose="020B0402040204020203" pitchFamily="34" charset="0"/>
              </a:rPr>
              <a:t>Data Lake Analytics</a:t>
            </a:r>
          </a:p>
        </p:txBody>
      </p:sp>
      <p:grpSp>
        <p:nvGrpSpPr>
          <p:cNvPr id="418" name="Group 417"/>
          <p:cNvGrpSpPr/>
          <p:nvPr/>
        </p:nvGrpSpPr>
        <p:grpSpPr>
          <a:xfrm>
            <a:off x="4219776" y="3094602"/>
            <a:ext cx="162178" cy="212147"/>
            <a:chOff x="3473450" y="4579938"/>
            <a:chExt cx="1741488" cy="2278062"/>
          </a:xfrm>
          <a:solidFill>
            <a:srgbClr val="FFFFFF"/>
          </a:solidFill>
        </p:grpSpPr>
        <p:sp>
          <p:nvSpPr>
            <p:cNvPr id="419" name="Freeform 16"/>
            <p:cNvSpPr>
              <a:spLocks/>
            </p:cNvSpPr>
            <p:nvPr/>
          </p:nvSpPr>
          <p:spPr bwMode="auto">
            <a:xfrm>
              <a:off x="3575050" y="4579938"/>
              <a:ext cx="1493838" cy="403225"/>
            </a:xfrm>
            <a:custGeom>
              <a:avLst/>
              <a:gdLst>
                <a:gd name="T0" fmla="*/ 2 w 1883"/>
                <a:gd name="T1" fmla="*/ 263 h 508"/>
                <a:gd name="T2" fmla="*/ 17 w 1883"/>
                <a:gd name="T3" fmla="*/ 290 h 508"/>
                <a:gd name="T4" fmla="*/ 51 w 1883"/>
                <a:gd name="T5" fmla="*/ 321 h 508"/>
                <a:gd name="T6" fmla="*/ 101 w 1883"/>
                <a:gd name="T7" fmla="*/ 352 h 508"/>
                <a:gd name="T8" fmla="*/ 169 w 1883"/>
                <a:gd name="T9" fmla="*/ 384 h 508"/>
                <a:gd name="T10" fmla="*/ 253 w 1883"/>
                <a:gd name="T11" fmla="*/ 414 h 508"/>
                <a:gd name="T12" fmla="*/ 351 w 1883"/>
                <a:gd name="T13" fmla="*/ 442 h 508"/>
                <a:gd name="T14" fmla="*/ 465 w 1883"/>
                <a:gd name="T15" fmla="*/ 467 h 508"/>
                <a:gd name="T16" fmla="*/ 592 w 1883"/>
                <a:gd name="T17" fmla="*/ 486 h 508"/>
                <a:gd name="T18" fmla="*/ 733 w 1883"/>
                <a:gd name="T19" fmla="*/ 500 h 508"/>
                <a:gd name="T20" fmla="*/ 887 w 1883"/>
                <a:gd name="T21" fmla="*/ 508 h 508"/>
                <a:gd name="T22" fmla="*/ 996 w 1883"/>
                <a:gd name="T23" fmla="*/ 508 h 508"/>
                <a:gd name="T24" fmla="*/ 1150 w 1883"/>
                <a:gd name="T25" fmla="*/ 500 h 508"/>
                <a:gd name="T26" fmla="*/ 1291 w 1883"/>
                <a:gd name="T27" fmla="*/ 486 h 508"/>
                <a:gd name="T28" fmla="*/ 1419 w 1883"/>
                <a:gd name="T29" fmla="*/ 467 h 508"/>
                <a:gd name="T30" fmla="*/ 1532 w 1883"/>
                <a:gd name="T31" fmla="*/ 442 h 508"/>
                <a:gd name="T32" fmla="*/ 1632 w 1883"/>
                <a:gd name="T33" fmla="*/ 414 h 508"/>
                <a:gd name="T34" fmla="*/ 1715 w 1883"/>
                <a:gd name="T35" fmla="*/ 384 h 508"/>
                <a:gd name="T36" fmla="*/ 1782 w 1883"/>
                <a:gd name="T37" fmla="*/ 352 h 508"/>
                <a:gd name="T38" fmla="*/ 1834 w 1883"/>
                <a:gd name="T39" fmla="*/ 321 h 508"/>
                <a:gd name="T40" fmla="*/ 1866 w 1883"/>
                <a:gd name="T41" fmla="*/ 290 h 508"/>
                <a:gd name="T42" fmla="*/ 1882 w 1883"/>
                <a:gd name="T43" fmla="*/ 263 h 508"/>
                <a:gd name="T44" fmla="*/ 1882 w 1883"/>
                <a:gd name="T45" fmla="*/ 245 h 508"/>
                <a:gd name="T46" fmla="*/ 1866 w 1883"/>
                <a:gd name="T47" fmla="*/ 217 h 508"/>
                <a:gd name="T48" fmla="*/ 1834 w 1883"/>
                <a:gd name="T49" fmla="*/ 187 h 508"/>
                <a:gd name="T50" fmla="*/ 1782 w 1883"/>
                <a:gd name="T51" fmla="*/ 155 h 508"/>
                <a:gd name="T52" fmla="*/ 1715 w 1883"/>
                <a:gd name="T53" fmla="*/ 124 h 508"/>
                <a:gd name="T54" fmla="*/ 1632 w 1883"/>
                <a:gd name="T55" fmla="*/ 93 h 508"/>
                <a:gd name="T56" fmla="*/ 1532 w 1883"/>
                <a:gd name="T57" fmla="*/ 64 h 508"/>
                <a:gd name="T58" fmla="*/ 1419 w 1883"/>
                <a:gd name="T59" fmla="*/ 40 h 508"/>
                <a:gd name="T60" fmla="*/ 1291 w 1883"/>
                <a:gd name="T61" fmla="*/ 20 h 508"/>
                <a:gd name="T62" fmla="*/ 1150 w 1883"/>
                <a:gd name="T63" fmla="*/ 6 h 508"/>
                <a:gd name="T64" fmla="*/ 996 w 1883"/>
                <a:gd name="T65" fmla="*/ 0 h 508"/>
                <a:gd name="T66" fmla="*/ 887 w 1883"/>
                <a:gd name="T67" fmla="*/ 0 h 508"/>
                <a:gd name="T68" fmla="*/ 733 w 1883"/>
                <a:gd name="T69" fmla="*/ 6 h 508"/>
                <a:gd name="T70" fmla="*/ 592 w 1883"/>
                <a:gd name="T71" fmla="*/ 20 h 508"/>
                <a:gd name="T72" fmla="*/ 465 w 1883"/>
                <a:gd name="T73" fmla="*/ 40 h 508"/>
                <a:gd name="T74" fmla="*/ 351 w 1883"/>
                <a:gd name="T75" fmla="*/ 64 h 508"/>
                <a:gd name="T76" fmla="*/ 253 w 1883"/>
                <a:gd name="T77" fmla="*/ 93 h 508"/>
                <a:gd name="T78" fmla="*/ 169 w 1883"/>
                <a:gd name="T79" fmla="*/ 124 h 508"/>
                <a:gd name="T80" fmla="*/ 101 w 1883"/>
                <a:gd name="T81" fmla="*/ 155 h 508"/>
                <a:gd name="T82" fmla="*/ 51 w 1883"/>
                <a:gd name="T83" fmla="*/ 187 h 508"/>
                <a:gd name="T84" fmla="*/ 17 w 1883"/>
                <a:gd name="T85" fmla="*/ 217 h 508"/>
                <a:gd name="T86" fmla="*/ 2 w 1883"/>
                <a:gd name="T87" fmla="*/ 245 h 5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883" h="508">
                  <a:moveTo>
                    <a:pt x="0" y="254"/>
                  </a:moveTo>
                  <a:lnTo>
                    <a:pt x="0" y="254"/>
                  </a:lnTo>
                  <a:lnTo>
                    <a:pt x="2" y="263"/>
                  </a:lnTo>
                  <a:lnTo>
                    <a:pt x="5" y="271"/>
                  </a:lnTo>
                  <a:lnTo>
                    <a:pt x="11" y="280"/>
                  </a:lnTo>
                  <a:lnTo>
                    <a:pt x="17" y="290"/>
                  </a:lnTo>
                  <a:lnTo>
                    <a:pt x="27" y="301"/>
                  </a:lnTo>
                  <a:lnTo>
                    <a:pt x="37" y="311"/>
                  </a:lnTo>
                  <a:lnTo>
                    <a:pt x="51" y="321"/>
                  </a:lnTo>
                  <a:lnTo>
                    <a:pt x="66" y="331"/>
                  </a:lnTo>
                  <a:lnTo>
                    <a:pt x="82" y="342"/>
                  </a:lnTo>
                  <a:lnTo>
                    <a:pt x="101" y="352"/>
                  </a:lnTo>
                  <a:lnTo>
                    <a:pt x="122" y="362"/>
                  </a:lnTo>
                  <a:lnTo>
                    <a:pt x="144" y="374"/>
                  </a:lnTo>
                  <a:lnTo>
                    <a:pt x="169" y="384"/>
                  </a:lnTo>
                  <a:lnTo>
                    <a:pt x="195" y="394"/>
                  </a:lnTo>
                  <a:lnTo>
                    <a:pt x="222" y="404"/>
                  </a:lnTo>
                  <a:lnTo>
                    <a:pt x="253" y="414"/>
                  </a:lnTo>
                  <a:lnTo>
                    <a:pt x="284" y="424"/>
                  </a:lnTo>
                  <a:lnTo>
                    <a:pt x="317" y="433"/>
                  </a:lnTo>
                  <a:lnTo>
                    <a:pt x="351" y="442"/>
                  </a:lnTo>
                  <a:lnTo>
                    <a:pt x="388" y="451"/>
                  </a:lnTo>
                  <a:lnTo>
                    <a:pt x="426" y="460"/>
                  </a:lnTo>
                  <a:lnTo>
                    <a:pt x="465" y="467"/>
                  </a:lnTo>
                  <a:lnTo>
                    <a:pt x="506" y="473"/>
                  </a:lnTo>
                  <a:lnTo>
                    <a:pt x="549" y="481"/>
                  </a:lnTo>
                  <a:lnTo>
                    <a:pt x="592" y="486"/>
                  </a:lnTo>
                  <a:lnTo>
                    <a:pt x="639" y="492"/>
                  </a:lnTo>
                  <a:lnTo>
                    <a:pt x="685" y="496"/>
                  </a:lnTo>
                  <a:lnTo>
                    <a:pt x="733" y="500"/>
                  </a:lnTo>
                  <a:lnTo>
                    <a:pt x="784" y="504"/>
                  </a:lnTo>
                  <a:lnTo>
                    <a:pt x="836" y="506"/>
                  </a:lnTo>
                  <a:lnTo>
                    <a:pt x="887" y="508"/>
                  </a:lnTo>
                  <a:lnTo>
                    <a:pt x="942" y="508"/>
                  </a:lnTo>
                  <a:lnTo>
                    <a:pt x="942" y="508"/>
                  </a:lnTo>
                  <a:lnTo>
                    <a:pt x="996" y="508"/>
                  </a:lnTo>
                  <a:lnTo>
                    <a:pt x="1049" y="506"/>
                  </a:lnTo>
                  <a:lnTo>
                    <a:pt x="1101" y="504"/>
                  </a:lnTo>
                  <a:lnTo>
                    <a:pt x="1150" y="500"/>
                  </a:lnTo>
                  <a:lnTo>
                    <a:pt x="1199" y="496"/>
                  </a:lnTo>
                  <a:lnTo>
                    <a:pt x="1246" y="492"/>
                  </a:lnTo>
                  <a:lnTo>
                    <a:pt x="1291" y="486"/>
                  </a:lnTo>
                  <a:lnTo>
                    <a:pt x="1335" y="481"/>
                  </a:lnTo>
                  <a:lnTo>
                    <a:pt x="1378" y="473"/>
                  </a:lnTo>
                  <a:lnTo>
                    <a:pt x="1419" y="467"/>
                  </a:lnTo>
                  <a:lnTo>
                    <a:pt x="1459" y="460"/>
                  </a:lnTo>
                  <a:lnTo>
                    <a:pt x="1497" y="451"/>
                  </a:lnTo>
                  <a:lnTo>
                    <a:pt x="1532" y="442"/>
                  </a:lnTo>
                  <a:lnTo>
                    <a:pt x="1567" y="433"/>
                  </a:lnTo>
                  <a:lnTo>
                    <a:pt x="1600" y="424"/>
                  </a:lnTo>
                  <a:lnTo>
                    <a:pt x="1632" y="414"/>
                  </a:lnTo>
                  <a:lnTo>
                    <a:pt x="1661" y="404"/>
                  </a:lnTo>
                  <a:lnTo>
                    <a:pt x="1689" y="394"/>
                  </a:lnTo>
                  <a:lnTo>
                    <a:pt x="1715" y="384"/>
                  </a:lnTo>
                  <a:lnTo>
                    <a:pt x="1739" y="374"/>
                  </a:lnTo>
                  <a:lnTo>
                    <a:pt x="1762" y="362"/>
                  </a:lnTo>
                  <a:lnTo>
                    <a:pt x="1782" y="352"/>
                  </a:lnTo>
                  <a:lnTo>
                    <a:pt x="1801" y="342"/>
                  </a:lnTo>
                  <a:lnTo>
                    <a:pt x="1818" y="331"/>
                  </a:lnTo>
                  <a:lnTo>
                    <a:pt x="1834" y="321"/>
                  </a:lnTo>
                  <a:lnTo>
                    <a:pt x="1846" y="311"/>
                  </a:lnTo>
                  <a:lnTo>
                    <a:pt x="1858" y="301"/>
                  </a:lnTo>
                  <a:lnTo>
                    <a:pt x="1866" y="290"/>
                  </a:lnTo>
                  <a:lnTo>
                    <a:pt x="1874" y="280"/>
                  </a:lnTo>
                  <a:lnTo>
                    <a:pt x="1879" y="271"/>
                  </a:lnTo>
                  <a:lnTo>
                    <a:pt x="1882" y="263"/>
                  </a:lnTo>
                  <a:lnTo>
                    <a:pt x="1883" y="254"/>
                  </a:lnTo>
                  <a:lnTo>
                    <a:pt x="1883" y="254"/>
                  </a:lnTo>
                  <a:lnTo>
                    <a:pt x="1882" y="245"/>
                  </a:lnTo>
                  <a:lnTo>
                    <a:pt x="1879" y="236"/>
                  </a:lnTo>
                  <a:lnTo>
                    <a:pt x="1874" y="226"/>
                  </a:lnTo>
                  <a:lnTo>
                    <a:pt x="1866" y="217"/>
                  </a:lnTo>
                  <a:lnTo>
                    <a:pt x="1858" y="207"/>
                  </a:lnTo>
                  <a:lnTo>
                    <a:pt x="1846" y="197"/>
                  </a:lnTo>
                  <a:lnTo>
                    <a:pt x="1834" y="187"/>
                  </a:lnTo>
                  <a:lnTo>
                    <a:pt x="1818" y="176"/>
                  </a:lnTo>
                  <a:lnTo>
                    <a:pt x="1801" y="165"/>
                  </a:lnTo>
                  <a:lnTo>
                    <a:pt x="1782" y="155"/>
                  </a:lnTo>
                  <a:lnTo>
                    <a:pt x="1762" y="144"/>
                  </a:lnTo>
                  <a:lnTo>
                    <a:pt x="1739" y="134"/>
                  </a:lnTo>
                  <a:lnTo>
                    <a:pt x="1715" y="124"/>
                  </a:lnTo>
                  <a:lnTo>
                    <a:pt x="1689" y="114"/>
                  </a:lnTo>
                  <a:lnTo>
                    <a:pt x="1661" y="102"/>
                  </a:lnTo>
                  <a:lnTo>
                    <a:pt x="1632" y="93"/>
                  </a:lnTo>
                  <a:lnTo>
                    <a:pt x="1600" y="83"/>
                  </a:lnTo>
                  <a:lnTo>
                    <a:pt x="1567" y="74"/>
                  </a:lnTo>
                  <a:lnTo>
                    <a:pt x="1532" y="64"/>
                  </a:lnTo>
                  <a:lnTo>
                    <a:pt x="1497" y="57"/>
                  </a:lnTo>
                  <a:lnTo>
                    <a:pt x="1459" y="48"/>
                  </a:lnTo>
                  <a:lnTo>
                    <a:pt x="1419" y="40"/>
                  </a:lnTo>
                  <a:lnTo>
                    <a:pt x="1378" y="33"/>
                  </a:lnTo>
                  <a:lnTo>
                    <a:pt x="1335" y="27"/>
                  </a:lnTo>
                  <a:lnTo>
                    <a:pt x="1291" y="20"/>
                  </a:lnTo>
                  <a:lnTo>
                    <a:pt x="1246" y="15"/>
                  </a:lnTo>
                  <a:lnTo>
                    <a:pt x="1199" y="10"/>
                  </a:lnTo>
                  <a:lnTo>
                    <a:pt x="1150" y="6"/>
                  </a:lnTo>
                  <a:lnTo>
                    <a:pt x="1101" y="4"/>
                  </a:lnTo>
                  <a:lnTo>
                    <a:pt x="1049" y="1"/>
                  </a:lnTo>
                  <a:lnTo>
                    <a:pt x="996" y="0"/>
                  </a:lnTo>
                  <a:lnTo>
                    <a:pt x="942" y="0"/>
                  </a:lnTo>
                  <a:lnTo>
                    <a:pt x="942" y="0"/>
                  </a:lnTo>
                  <a:lnTo>
                    <a:pt x="887" y="0"/>
                  </a:lnTo>
                  <a:lnTo>
                    <a:pt x="836" y="1"/>
                  </a:lnTo>
                  <a:lnTo>
                    <a:pt x="784" y="4"/>
                  </a:lnTo>
                  <a:lnTo>
                    <a:pt x="733" y="6"/>
                  </a:lnTo>
                  <a:lnTo>
                    <a:pt x="685" y="10"/>
                  </a:lnTo>
                  <a:lnTo>
                    <a:pt x="639" y="15"/>
                  </a:lnTo>
                  <a:lnTo>
                    <a:pt x="592" y="20"/>
                  </a:lnTo>
                  <a:lnTo>
                    <a:pt x="549" y="27"/>
                  </a:lnTo>
                  <a:lnTo>
                    <a:pt x="506" y="33"/>
                  </a:lnTo>
                  <a:lnTo>
                    <a:pt x="465" y="40"/>
                  </a:lnTo>
                  <a:lnTo>
                    <a:pt x="426" y="48"/>
                  </a:lnTo>
                  <a:lnTo>
                    <a:pt x="388" y="57"/>
                  </a:lnTo>
                  <a:lnTo>
                    <a:pt x="351" y="64"/>
                  </a:lnTo>
                  <a:lnTo>
                    <a:pt x="317" y="74"/>
                  </a:lnTo>
                  <a:lnTo>
                    <a:pt x="284" y="83"/>
                  </a:lnTo>
                  <a:lnTo>
                    <a:pt x="253" y="93"/>
                  </a:lnTo>
                  <a:lnTo>
                    <a:pt x="222" y="102"/>
                  </a:lnTo>
                  <a:lnTo>
                    <a:pt x="195" y="114"/>
                  </a:lnTo>
                  <a:lnTo>
                    <a:pt x="169" y="124"/>
                  </a:lnTo>
                  <a:lnTo>
                    <a:pt x="144" y="134"/>
                  </a:lnTo>
                  <a:lnTo>
                    <a:pt x="122" y="144"/>
                  </a:lnTo>
                  <a:lnTo>
                    <a:pt x="101" y="155"/>
                  </a:lnTo>
                  <a:lnTo>
                    <a:pt x="82" y="165"/>
                  </a:lnTo>
                  <a:lnTo>
                    <a:pt x="66" y="176"/>
                  </a:lnTo>
                  <a:lnTo>
                    <a:pt x="51" y="187"/>
                  </a:lnTo>
                  <a:lnTo>
                    <a:pt x="37" y="197"/>
                  </a:lnTo>
                  <a:lnTo>
                    <a:pt x="27" y="207"/>
                  </a:lnTo>
                  <a:lnTo>
                    <a:pt x="17" y="217"/>
                  </a:lnTo>
                  <a:lnTo>
                    <a:pt x="11" y="226"/>
                  </a:lnTo>
                  <a:lnTo>
                    <a:pt x="5" y="236"/>
                  </a:lnTo>
                  <a:lnTo>
                    <a:pt x="2" y="245"/>
                  </a:lnTo>
                  <a:lnTo>
                    <a:pt x="0" y="254"/>
                  </a:lnTo>
                  <a:lnTo>
                    <a:pt x="0" y="2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11" tIns="33605" rIns="67211" bIns="33605" numCol="1" anchor="t" anchorCtr="0" compatLnSpc="1">
              <a:prstTxWarp prst="textNoShape">
                <a:avLst/>
              </a:prstTxWarp>
            </a:bodyPr>
            <a:lstStyle/>
            <a:p>
              <a:pPr defTabSz="685594" fontAlgn="auto">
                <a:spcBef>
                  <a:spcPts val="0"/>
                </a:spcBef>
                <a:spcAft>
                  <a:spcPts val="0"/>
                </a:spcAft>
                <a:defRPr/>
              </a:pPr>
              <a:endParaRPr lang="en-US" sz="1325" b="0" kern="0" dirty="0">
                <a:solidFill>
                  <a:srgbClr val="FFFFFF"/>
                </a:solidFill>
                <a:latin typeface="Segoe UI"/>
                <a:ea typeface="MS PGothic" panose="020B0600070205080204" pitchFamily="34" charset="-128"/>
                <a:cs typeface="+mn-cs"/>
              </a:endParaRPr>
            </a:p>
          </p:txBody>
        </p:sp>
        <p:sp>
          <p:nvSpPr>
            <p:cNvPr id="420" name="Freeform 17"/>
            <p:cNvSpPr>
              <a:spLocks/>
            </p:cNvSpPr>
            <p:nvPr/>
          </p:nvSpPr>
          <p:spPr bwMode="auto">
            <a:xfrm>
              <a:off x="3473450" y="4781550"/>
              <a:ext cx="1741488" cy="1411287"/>
            </a:xfrm>
            <a:custGeom>
              <a:avLst/>
              <a:gdLst>
                <a:gd name="T0" fmla="*/ 280 w 2194"/>
                <a:gd name="T1" fmla="*/ 1778 h 1779"/>
                <a:gd name="T2" fmla="*/ 363 w 2194"/>
                <a:gd name="T3" fmla="*/ 1764 h 1779"/>
                <a:gd name="T4" fmla="*/ 440 w 2194"/>
                <a:gd name="T5" fmla="*/ 1736 h 1779"/>
                <a:gd name="T6" fmla="*/ 511 w 2194"/>
                <a:gd name="T7" fmla="*/ 1693 h 1779"/>
                <a:gd name="T8" fmla="*/ 573 w 2194"/>
                <a:gd name="T9" fmla="*/ 1637 h 1779"/>
                <a:gd name="T10" fmla="*/ 625 w 2194"/>
                <a:gd name="T11" fmla="*/ 1569 h 1779"/>
                <a:gd name="T12" fmla="*/ 633 w 2194"/>
                <a:gd name="T13" fmla="*/ 1558 h 1779"/>
                <a:gd name="T14" fmla="*/ 652 w 2194"/>
                <a:gd name="T15" fmla="*/ 1547 h 1779"/>
                <a:gd name="T16" fmla="*/ 675 w 2194"/>
                <a:gd name="T17" fmla="*/ 1543 h 1779"/>
                <a:gd name="T18" fmla="*/ 696 w 2194"/>
                <a:gd name="T19" fmla="*/ 1547 h 1779"/>
                <a:gd name="T20" fmla="*/ 715 w 2194"/>
                <a:gd name="T21" fmla="*/ 1558 h 1779"/>
                <a:gd name="T22" fmla="*/ 725 w 2194"/>
                <a:gd name="T23" fmla="*/ 1569 h 1779"/>
                <a:gd name="T24" fmla="*/ 776 w 2194"/>
                <a:gd name="T25" fmla="*/ 1637 h 1779"/>
                <a:gd name="T26" fmla="*/ 838 w 2194"/>
                <a:gd name="T27" fmla="*/ 1693 h 1779"/>
                <a:gd name="T28" fmla="*/ 908 w 2194"/>
                <a:gd name="T29" fmla="*/ 1736 h 1779"/>
                <a:gd name="T30" fmla="*/ 985 w 2194"/>
                <a:gd name="T31" fmla="*/ 1764 h 1779"/>
                <a:gd name="T32" fmla="*/ 1069 w 2194"/>
                <a:gd name="T33" fmla="*/ 1778 h 1779"/>
                <a:gd name="T34" fmla="*/ 1125 w 2194"/>
                <a:gd name="T35" fmla="*/ 1778 h 1779"/>
                <a:gd name="T36" fmla="*/ 1209 w 2194"/>
                <a:gd name="T37" fmla="*/ 1764 h 1779"/>
                <a:gd name="T38" fmla="*/ 1286 w 2194"/>
                <a:gd name="T39" fmla="*/ 1736 h 1779"/>
                <a:gd name="T40" fmla="*/ 1356 w 2194"/>
                <a:gd name="T41" fmla="*/ 1693 h 1779"/>
                <a:gd name="T42" fmla="*/ 1418 w 2194"/>
                <a:gd name="T43" fmla="*/ 1637 h 1779"/>
                <a:gd name="T44" fmla="*/ 1470 w 2194"/>
                <a:gd name="T45" fmla="*/ 1569 h 1779"/>
                <a:gd name="T46" fmla="*/ 1479 w 2194"/>
                <a:gd name="T47" fmla="*/ 1558 h 1779"/>
                <a:gd name="T48" fmla="*/ 1498 w 2194"/>
                <a:gd name="T49" fmla="*/ 1547 h 1779"/>
                <a:gd name="T50" fmla="*/ 1519 w 2194"/>
                <a:gd name="T51" fmla="*/ 1543 h 1779"/>
                <a:gd name="T52" fmla="*/ 1542 w 2194"/>
                <a:gd name="T53" fmla="*/ 1547 h 1779"/>
                <a:gd name="T54" fmla="*/ 1561 w 2194"/>
                <a:gd name="T55" fmla="*/ 1558 h 1779"/>
                <a:gd name="T56" fmla="*/ 1569 w 2194"/>
                <a:gd name="T57" fmla="*/ 1569 h 1779"/>
                <a:gd name="T58" fmla="*/ 1621 w 2194"/>
                <a:gd name="T59" fmla="*/ 1637 h 1779"/>
                <a:gd name="T60" fmla="*/ 1683 w 2194"/>
                <a:gd name="T61" fmla="*/ 1693 h 1779"/>
                <a:gd name="T62" fmla="*/ 1754 w 2194"/>
                <a:gd name="T63" fmla="*/ 1736 h 1779"/>
                <a:gd name="T64" fmla="*/ 1831 w 2194"/>
                <a:gd name="T65" fmla="*/ 1764 h 1779"/>
                <a:gd name="T66" fmla="*/ 1914 w 2194"/>
                <a:gd name="T67" fmla="*/ 1778 h 1779"/>
                <a:gd name="T68" fmla="*/ 1977 w 2194"/>
                <a:gd name="T69" fmla="*/ 1778 h 1779"/>
                <a:gd name="T70" fmla="*/ 2077 w 2194"/>
                <a:gd name="T71" fmla="*/ 1757 h 1779"/>
                <a:gd name="T72" fmla="*/ 2166 w 2194"/>
                <a:gd name="T73" fmla="*/ 1716 h 1779"/>
                <a:gd name="T74" fmla="*/ 2194 w 2194"/>
                <a:gd name="T75" fmla="*/ 0 h 1779"/>
                <a:gd name="T76" fmla="*/ 2190 w 2194"/>
                <a:gd name="T77" fmla="*/ 39 h 1779"/>
                <a:gd name="T78" fmla="*/ 2179 w 2194"/>
                <a:gd name="T79" fmla="*/ 77 h 1779"/>
                <a:gd name="T80" fmla="*/ 2154 w 2194"/>
                <a:gd name="T81" fmla="*/ 125 h 1779"/>
                <a:gd name="T82" fmla="*/ 2097 w 2194"/>
                <a:gd name="T83" fmla="*/ 189 h 1779"/>
                <a:gd name="T84" fmla="*/ 2016 w 2194"/>
                <a:gd name="T85" fmla="*/ 247 h 1779"/>
                <a:gd name="T86" fmla="*/ 1916 w 2194"/>
                <a:gd name="T87" fmla="*/ 297 h 1779"/>
                <a:gd name="T88" fmla="*/ 1800 w 2194"/>
                <a:gd name="T89" fmla="*/ 339 h 1779"/>
                <a:gd name="T90" fmla="*/ 1670 w 2194"/>
                <a:gd name="T91" fmla="*/ 375 h 1779"/>
                <a:gd name="T92" fmla="*/ 1529 w 2194"/>
                <a:gd name="T93" fmla="*/ 401 h 1779"/>
                <a:gd name="T94" fmla="*/ 1380 w 2194"/>
                <a:gd name="T95" fmla="*/ 422 h 1779"/>
                <a:gd name="T96" fmla="*/ 1226 w 2194"/>
                <a:gd name="T97" fmla="*/ 433 h 1779"/>
                <a:gd name="T98" fmla="*/ 1069 w 2194"/>
                <a:gd name="T99" fmla="*/ 437 h 1779"/>
                <a:gd name="T100" fmla="*/ 900 w 2194"/>
                <a:gd name="T101" fmla="*/ 433 h 1779"/>
                <a:gd name="T102" fmla="*/ 651 w 2194"/>
                <a:gd name="T103" fmla="*/ 409 h 1779"/>
                <a:gd name="T104" fmla="*/ 423 w 2194"/>
                <a:gd name="T105" fmla="*/ 363 h 1779"/>
                <a:gd name="T106" fmla="*/ 320 w 2194"/>
                <a:gd name="T107" fmla="*/ 334 h 1779"/>
                <a:gd name="T108" fmla="*/ 226 w 2194"/>
                <a:gd name="T109" fmla="*/ 299 h 1779"/>
                <a:gd name="T110" fmla="*/ 144 w 2194"/>
                <a:gd name="T111" fmla="*/ 259 h 1779"/>
                <a:gd name="T112" fmla="*/ 73 w 2194"/>
                <a:gd name="T113" fmla="*/ 214 h 1779"/>
                <a:gd name="T114" fmla="*/ 16 w 2194"/>
                <a:gd name="T115" fmla="*/ 165 h 1779"/>
                <a:gd name="T116" fmla="*/ 0 w 2194"/>
                <a:gd name="T117" fmla="*/ 1698 h 1779"/>
                <a:gd name="T118" fmla="*/ 87 w 2194"/>
                <a:gd name="T119" fmla="*/ 1746 h 1779"/>
                <a:gd name="T120" fmla="*/ 183 w 2194"/>
                <a:gd name="T121" fmla="*/ 1773 h 1779"/>
                <a:gd name="T122" fmla="*/ 252 w 2194"/>
                <a:gd name="T123" fmla="*/ 1779 h 17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194" h="1779">
                  <a:moveTo>
                    <a:pt x="252" y="1779"/>
                  </a:moveTo>
                  <a:lnTo>
                    <a:pt x="252" y="1779"/>
                  </a:lnTo>
                  <a:lnTo>
                    <a:pt x="280" y="1778"/>
                  </a:lnTo>
                  <a:lnTo>
                    <a:pt x="308" y="1775"/>
                  </a:lnTo>
                  <a:lnTo>
                    <a:pt x="336" y="1770"/>
                  </a:lnTo>
                  <a:lnTo>
                    <a:pt x="363" y="1764"/>
                  </a:lnTo>
                  <a:lnTo>
                    <a:pt x="390" y="1756"/>
                  </a:lnTo>
                  <a:lnTo>
                    <a:pt x="415" y="1747"/>
                  </a:lnTo>
                  <a:lnTo>
                    <a:pt x="440" y="1736"/>
                  </a:lnTo>
                  <a:lnTo>
                    <a:pt x="466" y="1723"/>
                  </a:lnTo>
                  <a:lnTo>
                    <a:pt x="488" y="1709"/>
                  </a:lnTo>
                  <a:lnTo>
                    <a:pt x="511" y="1693"/>
                  </a:lnTo>
                  <a:lnTo>
                    <a:pt x="532" y="1675"/>
                  </a:lnTo>
                  <a:lnTo>
                    <a:pt x="554" y="1658"/>
                  </a:lnTo>
                  <a:lnTo>
                    <a:pt x="573" y="1637"/>
                  </a:lnTo>
                  <a:lnTo>
                    <a:pt x="592" y="1616"/>
                  </a:lnTo>
                  <a:lnTo>
                    <a:pt x="608" y="1593"/>
                  </a:lnTo>
                  <a:lnTo>
                    <a:pt x="625" y="1569"/>
                  </a:lnTo>
                  <a:lnTo>
                    <a:pt x="625" y="1569"/>
                  </a:lnTo>
                  <a:lnTo>
                    <a:pt x="628" y="1563"/>
                  </a:lnTo>
                  <a:lnTo>
                    <a:pt x="633" y="1558"/>
                  </a:lnTo>
                  <a:lnTo>
                    <a:pt x="640" y="1554"/>
                  </a:lnTo>
                  <a:lnTo>
                    <a:pt x="646" y="1550"/>
                  </a:lnTo>
                  <a:lnTo>
                    <a:pt x="652" y="1547"/>
                  </a:lnTo>
                  <a:lnTo>
                    <a:pt x="660" y="1545"/>
                  </a:lnTo>
                  <a:lnTo>
                    <a:pt x="667" y="1544"/>
                  </a:lnTo>
                  <a:lnTo>
                    <a:pt x="675" y="1543"/>
                  </a:lnTo>
                  <a:lnTo>
                    <a:pt x="681" y="1544"/>
                  </a:lnTo>
                  <a:lnTo>
                    <a:pt x="689" y="1545"/>
                  </a:lnTo>
                  <a:lnTo>
                    <a:pt x="696" y="1547"/>
                  </a:lnTo>
                  <a:lnTo>
                    <a:pt x="703" y="1550"/>
                  </a:lnTo>
                  <a:lnTo>
                    <a:pt x="709" y="1554"/>
                  </a:lnTo>
                  <a:lnTo>
                    <a:pt x="715" y="1558"/>
                  </a:lnTo>
                  <a:lnTo>
                    <a:pt x="720" y="1563"/>
                  </a:lnTo>
                  <a:lnTo>
                    <a:pt x="725" y="1569"/>
                  </a:lnTo>
                  <a:lnTo>
                    <a:pt x="725" y="1569"/>
                  </a:lnTo>
                  <a:lnTo>
                    <a:pt x="741" y="1593"/>
                  </a:lnTo>
                  <a:lnTo>
                    <a:pt x="758" y="1616"/>
                  </a:lnTo>
                  <a:lnTo>
                    <a:pt x="776" y="1637"/>
                  </a:lnTo>
                  <a:lnTo>
                    <a:pt x="796" y="1658"/>
                  </a:lnTo>
                  <a:lnTo>
                    <a:pt x="816" y="1675"/>
                  </a:lnTo>
                  <a:lnTo>
                    <a:pt x="838" y="1693"/>
                  </a:lnTo>
                  <a:lnTo>
                    <a:pt x="860" y="1709"/>
                  </a:lnTo>
                  <a:lnTo>
                    <a:pt x="884" y="1723"/>
                  </a:lnTo>
                  <a:lnTo>
                    <a:pt x="908" y="1736"/>
                  </a:lnTo>
                  <a:lnTo>
                    <a:pt x="934" y="1747"/>
                  </a:lnTo>
                  <a:lnTo>
                    <a:pt x="959" y="1756"/>
                  </a:lnTo>
                  <a:lnTo>
                    <a:pt x="985" y="1764"/>
                  </a:lnTo>
                  <a:lnTo>
                    <a:pt x="1013" y="1770"/>
                  </a:lnTo>
                  <a:lnTo>
                    <a:pt x="1041" y="1775"/>
                  </a:lnTo>
                  <a:lnTo>
                    <a:pt x="1069" y="1778"/>
                  </a:lnTo>
                  <a:lnTo>
                    <a:pt x="1098" y="1779"/>
                  </a:lnTo>
                  <a:lnTo>
                    <a:pt x="1098" y="1779"/>
                  </a:lnTo>
                  <a:lnTo>
                    <a:pt x="1125" y="1778"/>
                  </a:lnTo>
                  <a:lnTo>
                    <a:pt x="1153" y="1775"/>
                  </a:lnTo>
                  <a:lnTo>
                    <a:pt x="1181" y="1770"/>
                  </a:lnTo>
                  <a:lnTo>
                    <a:pt x="1209" y="1764"/>
                  </a:lnTo>
                  <a:lnTo>
                    <a:pt x="1235" y="1756"/>
                  </a:lnTo>
                  <a:lnTo>
                    <a:pt x="1260" y="1747"/>
                  </a:lnTo>
                  <a:lnTo>
                    <a:pt x="1286" y="1736"/>
                  </a:lnTo>
                  <a:lnTo>
                    <a:pt x="1310" y="1723"/>
                  </a:lnTo>
                  <a:lnTo>
                    <a:pt x="1334" y="1709"/>
                  </a:lnTo>
                  <a:lnTo>
                    <a:pt x="1356" y="1693"/>
                  </a:lnTo>
                  <a:lnTo>
                    <a:pt x="1378" y="1675"/>
                  </a:lnTo>
                  <a:lnTo>
                    <a:pt x="1399" y="1658"/>
                  </a:lnTo>
                  <a:lnTo>
                    <a:pt x="1418" y="1637"/>
                  </a:lnTo>
                  <a:lnTo>
                    <a:pt x="1436" y="1616"/>
                  </a:lnTo>
                  <a:lnTo>
                    <a:pt x="1453" y="1593"/>
                  </a:lnTo>
                  <a:lnTo>
                    <a:pt x="1470" y="1569"/>
                  </a:lnTo>
                  <a:lnTo>
                    <a:pt x="1470" y="1569"/>
                  </a:lnTo>
                  <a:lnTo>
                    <a:pt x="1474" y="1563"/>
                  </a:lnTo>
                  <a:lnTo>
                    <a:pt x="1479" y="1558"/>
                  </a:lnTo>
                  <a:lnTo>
                    <a:pt x="1485" y="1554"/>
                  </a:lnTo>
                  <a:lnTo>
                    <a:pt x="1491" y="1550"/>
                  </a:lnTo>
                  <a:lnTo>
                    <a:pt x="1498" y="1547"/>
                  </a:lnTo>
                  <a:lnTo>
                    <a:pt x="1505" y="1545"/>
                  </a:lnTo>
                  <a:lnTo>
                    <a:pt x="1513" y="1544"/>
                  </a:lnTo>
                  <a:lnTo>
                    <a:pt x="1519" y="1543"/>
                  </a:lnTo>
                  <a:lnTo>
                    <a:pt x="1527" y="1544"/>
                  </a:lnTo>
                  <a:lnTo>
                    <a:pt x="1534" y="1545"/>
                  </a:lnTo>
                  <a:lnTo>
                    <a:pt x="1542" y="1547"/>
                  </a:lnTo>
                  <a:lnTo>
                    <a:pt x="1548" y="1550"/>
                  </a:lnTo>
                  <a:lnTo>
                    <a:pt x="1554" y="1554"/>
                  </a:lnTo>
                  <a:lnTo>
                    <a:pt x="1561" y="1558"/>
                  </a:lnTo>
                  <a:lnTo>
                    <a:pt x="1566" y="1563"/>
                  </a:lnTo>
                  <a:lnTo>
                    <a:pt x="1569" y="1569"/>
                  </a:lnTo>
                  <a:lnTo>
                    <a:pt x="1569" y="1569"/>
                  </a:lnTo>
                  <a:lnTo>
                    <a:pt x="1586" y="1593"/>
                  </a:lnTo>
                  <a:lnTo>
                    <a:pt x="1602" y="1616"/>
                  </a:lnTo>
                  <a:lnTo>
                    <a:pt x="1621" y="1637"/>
                  </a:lnTo>
                  <a:lnTo>
                    <a:pt x="1640" y="1658"/>
                  </a:lnTo>
                  <a:lnTo>
                    <a:pt x="1662" y="1675"/>
                  </a:lnTo>
                  <a:lnTo>
                    <a:pt x="1683" y="1693"/>
                  </a:lnTo>
                  <a:lnTo>
                    <a:pt x="1706" y="1709"/>
                  </a:lnTo>
                  <a:lnTo>
                    <a:pt x="1728" y="1723"/>
                  </a:lnTo>
                  <a:lnTo>
                    <a:pt x="1754" y="1736"/>
                  </a:lnTo>
                  <a:lnTo>
                    <a:pt x="1779" y="1747"/>
                  </a:lnTo>
                  <a:lnTo>
                    <a:pt x="1804" y="1756"/>
                  </a:lnTo>
                  <a:lnTo>
                    <a:pt x="1831" y="1764"/>
                  </a:lnTo>
                  <a:lnTo>
                    <a:pt x="1858" y="1770"/>
                  </a:lnTo>
                  <a:lnTo>
                    <a:pt x="1886" y="1775"/>
                  </a:lnTo>
                  <a:lnTo>
                    <a:pt x="1914" y="1778"/>
                  </a:lnTo>
                  <a:lnTo>
                    <a:pt x="1942" y="1779"/>
                  </a:lnTo>
                  <a:lnTo>
                    <a:pt x="1942" y="1779"/>
                  </a:lnTo>
                  <a:lnTo>
                    <a:pt x="1977" y="1778"/>
                  </a:lnTo>
                  <a:lnTo>
                    <a:pt x="2011" y="1773"/>
                  </a:lnTo>
                  <a:lnTo>
                    <a:pt x="2044" y="1766"/>
                  </a:lnTo>
                  <a:lnTo>
                    <a:pt x="2077" y="1757"/>
                  </a:lnTo>
                  <a:lnTo>
                    <a:pt x="2107" y="1746"/>
                  </a:lnTo>
                  <a:lnTo>
                    <a:pt x="2137" y="1732"/>
                  </a:lnTo>
                  <a:lnTo>
                    <a:pt x="2166" y="1716"/>
                  </a:lnTo>
                  <a:lnTo>
                    <a:pt x="2194" y="1698"/>
                  </a:lnTo>
                  <a:lnTo>
                    <a:pt x="2194" y="0"/>
                  </a:lnTo>
                  <a:lnTo>
                    <a:pt x="2194" y="0"/>
                  </a:lnTo>
                  <a:lnTo>
                    <a:pt x="2193" y="12"/>
                  </a:lnTo>
                  <a:lnTo>
                    <a:pt x="2191" y="26"/>
                  </a:lnTo>
                  <a:lnTo>
                    <a:pt x="2190" y="39"/>
                  </a:lnTo>
                  <a:lnTo>
                    <a:pt x="2186" y="52"/>
                  </a:lnTo>
                  <a:lnTo>
                    <a:pt x="2184" y="64"/>
                  </a:lnTo>
                  <a:lnTo>
                    <a:pt x="2179" y="77"/>
                  </a:lnTo>
                  <a:lnTo>
                    <a:pt x="2174" y="89"/>
                  </a:lnTo>
                  <a:lnTo>
                    <a:pt x="2168" y="101"/>
                  </a:lnTo>
                  <a:lnTo>
                    <a:pt x="2154" y="125"/>
                  </a:lnTo>
                  <a:lnTo>
                    <a:pt x="2137" y="146"/>
                  </a:lnTo>
                  <a:lnTo>
                    <a:pt x="2118" y="169"/>
                  </a:lnTo>
                  <a:lnTo>
                    <a:pt x="2097" y="189"/>
                  </a:lnTo>
                  <a:lnTo>
                    <a:pt x="2072" y="209"/>
                  </a:lnTo>
                  <a:lnTo>
                    <a:pt x="2045" y="228"/>
                  </a:lnTo>
                  <a:lnTo>
                    <a:pt x="2016" y="247"/>
                  </a:lnTo>
                  <a:lnTo>
                    <a:pt x="1985" y="265"/>
                  </a:lnTo>
                  <a:lnTo>
                    <a:pt x="1952" y="281"/>
                  </a:lnTo>
                  <a:lnTo>
                    <a:pt x="1916" y="297"/>
                  </a:lnTo>
                  <a:lnTo>
                    <a:pt x="1880" y="312"/>
                  </a:lnTo>
                  <a:lnTo>
                    <a:pt x="1841" y="327"/>
                  </a:lnTo>
                  <a:lnTo>
                    <a:pt x="1800" y="339"/>
                  </a:lnTo>
                  <a:lnTo>
                    <a:pt x="1759" y="352"/>
                  </a:lnTo>
                  <a:lnTo>
                    <a:pt x="1715" y="363"/>
                  </a:lnTo>
                  <a:lnTo>
                    <a:pt x="1670" y="375"/>
                  </a:lnTo>
                  <a:lnTo>
                    <a:pt x="1625" y="385"/>
                  </a:lnTo>
                  <a:lnTo>
                    <a:pt x="1577" y="394"/>
                  </a:lnTo>
                  <a:lnTo>
                    <a:pt x="1529" y="401"/>
                  </a:lnTo>
                  <a:lnTo>
                    <a:pt x="1480" y="409"/>
                  </a:lnTo>
                  <a:lnTo>
                    <a:pt x="1431" y="415"/>
                  </a:lnTo>
                  <a:lnTo>
                    <a:pt x="1380" y="422"/>
                  </a:lnTo>
                  <a:lnTo>
                    <a:pt x="1330" y="427"/>
                  </a:lnTo>
                  <a:lnTo>
                    <a:pt x="1278" y="430"/>
                  </a:lnTo>
                  <a:lnTo>
                    <a:pt x="1226" y="433"/>
                  </a:lnTo>
                  <a:lnTo>
                    <a:pt x="1173" y="435"/>
                  </a:lnTo>
                  <a:lnTo>
                    <a:pt x="1122" y="437"/>
                  </a:lnTo>
                  <a:lnTo>
                    <a:pt x="1069" y="437"/>
                  </a:lnTo>
                  <a:lnTo>
                    <a:pt x="1069" y="437"/>
                  </a:lnTo>
                  <a:lnTo>
                    <a:pt x="984" y="437"/>
                  </a:lnTo>
                  <a:lnTo>
                    <a:pt x="900" y="433"/>
                  </a:lnTo>
                  <a:lnTo>
                    <a:pt x="815" y="427"/>
                  </a:lnTo>
                  <a:lnTo>
                    <a:pt x="733" y="419"/>
                  </a:lnTo>
                  <a:lnTo>
                    <a:pt x="651" y="409"/>
                  </a:lnTo>
                  <a:lnTo>
                    <a:pt x="573" y="396"/>
                  </a:lnTo>
                  <a:lnTo>
                    <a:pt x="496" y="381"/>
                  </a:lnTo>
                  <a:lnTo>
                    <a:pt x="423" y="363"/>
                  </a:lnTo>
                  <a:lnTo>
                    <a:pt x="387" y="355"/>
                  </a:lnTo>
                  <a:lnTo>
                    <a:pt x="353" y="344"/>
                  </a:lnTo>
                  <a:lnTo>
                    <a:pt x="320" y="334"/>
                  </a:lnTo>
                  <a:lnTo>
                    <a:pt x="288" y="323"/>
                  </a:lnTo>
                  <a:lnTo>
                    <a:pt x="256" y="312"/>
                  </a:lnTo>
                  <a:lnTo>
                    <a:pt x="226" y="299"/>
                  </a:lnTo>
                  <a:lnTo>
                    <a:pt x="197" y="286"/>
                  </a:lnTo>
                  <a:lnTo>
                    <a:pt x="169" y="273"/>
                  </a:lnTo>
                  <a:lnTo>
                    <a:pt x="144" y="259"/>
                  </a:lnTo>
                  <a:lnTo>
                    <a:pt x="119" y="245"/>
                  </a:lnTo>
                  <a:lnTo>
                    <a:pt x="95" y="230"/>
                  </a:lnTo>
                  <a:lnTo>
                    <a:pt x="73" y="214"/>
                  </a:lnTo>
                  <a:lnTo>
                    <a:pt x="52" y="198"/>
                  </a:lnTo>
                  <a:lnTo>
                    <a:pt x="33" y="182"/>
                  </a:lnTo>
                  <a:lnTo>
                    <a:pt x="16" y="165"/>
                  </a:lnTo>
                  <a:lnTo>
                    <a:pt x="0" y="148"/>
                  </a:lnTo>
                  <a:lnTo>
                    <a:pt x="0" y="1698"/>
                  </a:lnTo>
                  <a:lnTo>
                    <a:pt x="0" y="1698"/>
                  </a:lnTo>
                  <a:lnTo>
                    <a:pt x="28" y="1716"/>
                  </a:lnTo>
                  <a:lnTo>
                    <a:pt x="57" y="1732"/>
                  </a:lnTo>
                  <a:lnTo>
                    <a:pt x="87" y="1746"/>
                  </a:lnTo>
                  <a:lnTo>
                    <a:pt x="117" y="1757"/>
                  </a:lnTo>
                  <a:lnTo>
                    <a:pt x="150" y="1766"/>
                  </a:lnTo>
                  <a:lnTo>
                    <a:pt x="183" y="1773"/>
                  </a:lnTo>
                  <a:lnTo>
                    <a:pt x="217" y="1778"/>
                  </a:lnTo>
                  <a:lnTo>
                    <a:pt x="252" y="1779"/>
                  </a:lnTo>
                  <a:lnTo>
                    <a:pt x="252" y="17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11" tIns="33605" rIns="67211" bIns="33605" numCol="1" anchor="t" anchorCtr="0" compatLnSpc="1">
              <a:prstTxWarp prst="textNoShape">
                <a:avLst/>
              </a:prstTxWarp>
            </a:bodyPr>
            <a:lstStyle/>
            <a:p>
              <a:pPr defTabSz="685594" fontAlgn="auto">
                <a:spcBef>
                  <a:spcPts val="0"/>
                </a:spcBef>
                <a:spcAft>
                  <a:spcPts val="0"/>
                </a:spcAft>
                <a:defRPr/>
              </a:pPr>
              <a:endParaRPr lang="en-US" sz="1325" b="0" kern="0" dirty="0">
                <a:solidFill>
                  <a:srgbClr val="FFFFFF"/>
                </a:solidFill>
                <a:latin typeface="Segoe UI"/>
                <a:ea typeface="MS PGothic" panose="020B0600070205080204" pitchFamily="34" charset="-128"/>
                <a:cs typeface="+mn-cs"/>
              </a:endParaRPr>
            </a:p>
          </p:txBody>
        </p:sp>
        <p:sp>
          <p:nvSpPr>
            <p:cNvPr id="421" name="Freeform 18"/>
            <p:cNvSpPr>
              <a:spLocks/>
            </p:cNvSpPr>
            <p:nvPr/>
          </p:nvSpPr>
          <p:spPr bwMode="auto">
            <a:xfrm>
              <a:off x="3473450" y="6130925"/>
              <a:ext cx="1741488" cy="727075"/>
            </a:xfrm>
            <a:custGeom>
              <a:avLst/>
              <a:gdLst>
                <a:gd name="T0" fmla="*/ 1911 w 2194"/>
                <a:gd name="T1" fmla="*/ 195 h 915"/>
                <a:gd name="T2" fmla="*/ 1821 w 2194"/>
                <a:gd name="T3" fmla="*/ 183 h 915"/>
                <a:gd name="T4" fmla="*/ 1736 w 2194"/>
                <a:gd name="T5" fmla="*/ 156 h 915"/>
                <a:gd name="T6" fmla="*/ 1655 w 2194"/>
                <a:gd name="T7" fmla="*/ 117 h 915"/>
                <a:gd name="T8" fmla="*/ 1583 w 2194"/>
                <a:gd name="T9" fmla="*/ 64 h 915"/>
                <a:gd name="T10" fmla="*/ 1519 w 2194"/>
                <a:gd name="T11" fmla="*/ 0 h 915"/>
                <a:gd name="T12" fmla="*/ 1479 w 2194"/>
                <a:gd name="T13" fmla="*/ 44 h 915"/>
                <a:gd name="T14" fmla="*/ 1408 w 2194"/>
                <a:gd name="T15" fmla="*/ 101 h 915"/>
                <a:gd name="T16" fmla="*/ 1331 w 2194"/>
                <a:gd name="T17" fmla="*/ 145 h 915"/>
                <a:gd name="T18" fmla="*/ 1247 w 2194"/>
                <a:gd name="T19" fmla="*/ 175 h 915"/>
                <a:gd name="T20" fmla="*/ 1158 w 2194"/>
                <a:gd name="T21" fmla="*/ 193 h 915"/>
                <a:gd name="T22" fmla="*/ 1098 w 2194"/>
                <a:gd name="T23" fmla="*/ 195 h 915"/>
                <a:gd name="T24" fmla="*/ 1006 w 2194"/>
                <a:gd name="T25" fmla="*/ 188 h 915"/>
                <a:gd name="T26" fmla="*/ 918 w 2194"/>
                <a:gd name="T27" fmla="*/ 166 h 915"/>
                <a:gd name="T28" fmla="*/ 836 w 2194"/>
                <a:gd name="T29" fmla="*/ 131 h 915"/>
                <a:gd name="T30" fmla="*/ 762 w 2194"/>
                <a:gd name="T31" fmla="*/ 83 h 915"/>
                <a:gd name="T32" fmla="*/ 695 w 2194"/>
                <a:gd name="T33" fmla="*/ 22 h 915"/>
                <a:gd name="T34" fmla="*/ 655 w 2194"/>
                <a:gd name="T35" fmla="*/ 22 h 915"/>
                <a:gd name="T36" fmla="*/ 588 w 2194"/>
                <a:gd name="T37" fmla="*/ 83 h 915"/>
                <a:gd name="T38" fmla="*/ 512 w 2194"/>
                <a:gd name="T39" fmla="*/ 131 h 915"/>
                <a:gd name="T40" fmla="*/ 430 w 2194"/>
                <a:gd name="T41" fmla="*/ 166 h 915"/>
                <a:gd name="T42" fmla="*/ 343 w 2194"/>
                <a:gd name="T43" fmla="*/ 188 h 915"/>
                <a:gd name="T44" fmla="*/ 252 w 2194"/>
                <a:gd name="T45" fmla="*/ 195 h 915"/>
                <a:gd name="T46" fmla="*/ 185 w 2194"/>
                <a:gd name="T47" fmla="*/ 192 h 915"/>
                <a:gd name="T48" fmla="*/ 90 w 2194"/>
                <a:gd name="T49" fmla="*/ 171 h 915"/>
                <a:gd name="T50" fmla="*/ 0 w 2194"/>
                <a:gd name="T51" fmla="*/ 135 h 915"/>
                <a:gd name="T52" fmla="*/ 15 w 2194"/>
                <a:gd name="T53" fmla="*/ 703 h 915"/>
                <a:gd name="T54" fmla="*/ 69 w 2194"/>
                <a:gd name="T55" fmla="*/ 737 h 915"/>
                <a:gd name="T56" fmla="*/ 136 w 2194"/>
                <a:gd name="T57" fmla="*/ 770 h 915"/>
                <a:gd name="T58" fmla="*/ 274 w 2194"/>
                <a:gd name="T59" fmla="*/ 819 h 915"/>
                <a:gd name="T60" fmla="*/ 477 w 2194"/>
                <a:gd name="T61" fmla="*/ 866 h 915"/>
                <a:gd name="T62" fmla="*/ 713 w 2194"/>
                <a:gd name="T63" fmla="*/ 899 h 915"/>
                <a:gd name="T64" fmla="*/ 975 w 2194"/>
                <a:gd name="T65" fmla="*/ 914 h 915"/>
                <a:gd name="T66" fmla="*/ 1125 w 2194"/>
                <a:gd name="T67" fmla="*/ 915 h 915"/>
                <a:gd name="T68" fmla="*/ 1294 w 2194"/>
                <a:gd name="T69" fmla="*/ 909 h 915"/>
                <a:gd name="T70" fmla="*/ 1455 w 2194"/>
                <a:gd name="T71" fmla="*/ 895 h 915"/>
                <a:gd name="T72" fmla="*/ 1604 w 2194"/>
                <a:gd name="T73" fmla="*/ 875 h 915"/>
                <a:gd name="T74" fmla="*/ 1741 w 2194"/>
                <a:gd name="T75" fmla="*/ 849 h 915"/>
                <a:gd name="T76" fmla="*/ 1863 w 2194"/>
                <a:gd name="T77" fmla="*/ 818 h 915"/>
                <a:gd name="T78" fmla="*/ 1969 w 2194"/>
                <a:gd name="T79" fmla="*/ 782 h 915"/>
                <a:gd name="T80" fmla="*/ 2058 w 2194"/>
                <a:gd name="T81" fmla="*/ 742 h 915"/>
                <a:gd name="T82" fmla="*/ 2125 w 2194"/>
                <a:gd name="T83" fmla="*/ 698 h 915"/>
                <a:gd name="T84" fmla="*/ 2170 w 2194"/>
                <a:gd name="T85" fmla="*/ 651 h 915"/>
                <a:gd name="T86" fmla="*/ 2191 w 2194"/>
                <a:gd name="T87" fmla="*/ 601 h 915"/>
                <a:gd name="T88" fmla="*/ 2194 w 2194"/>
                <a:gd name="T89" fmla="*/ 135 h 915"/>
                <a:gd name="T90" fmla="*/ 2104 w 2194"/>
                <a:gd name="T91" fmla="*/ 171 h 915"/>
                <a:gd name="T92" fmla="*/ 2009 w 2194"/>
                <a:gd name="T93" fmla="*/ 192 h 915"/>
                <a:gd name="T94" fmla="*/ 1942 w 2194"/>
                <a:gd name="T95" fmla="*/ 195 h 9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194" h="915">
                  <a:moveTo>
                    <a:pt x="1942" y="195"/>
                  </a:moveTo>
                  <a:lnTo>
                    <a:pt x="1942" y="195"/>
                  </a:lnTo>
                  <a:lnTo>
                    <a:pt x="1911" y="195"/>
                  </a:lnTo>
                  <a:lnTo>
                    <a:pt x="1881" y="193"/>
                  </a:lnTo>
                  <a:lnTo>
                    <a:pt x="1851" y="188"/>
                  </a:lnTo>
                  <a:lnTo>
                    <a:pt x="1821" y="183"/>
                  </a:lnTo>
                  <a:lnTo>
                    <a:pt x="1792" y="175"/>
                  </a:lnTo>
                  <a:lnTo>
                    <a:pt x="1764" y="166"/>
                  </a:lnTo>
                  <a:lnTo>
                    <a:pt x="1736" y="156"/>
                  </a:lnTo>
                  <a:lnTo>
                    <a:pt x="1708" y="145"/>
                  </a:lnTo>
                  <a:lnTo>
                    <a:pt x="1682" y="131"/>
                  </a:lnTo>
                  <a:lnTo>
                    <a:pt x="1655" y="117"/>
                  </a:lnTo>
                  <a:lnTo>
                    <a:pt x="1631" y="101"/>
                  </a:lnTo>
                  <a:lnTo>
                    <a:pt x="1606" y="83"/>
                  </a:lnTo>
                  <a:lnTo>
                    <a:pt x="1583" y="64"/>
                  </a:lnTo>
                  <a:lnTo>
                    <a:pt x="1561" y="44"/>
                  </a:lnTo>
                  <a:lnTo>
                    <a:pt x="1539" y="22"/>
                  </a:lnTo>
                  <a:lnTo>
                    <a:pt x="1519" y="0"/>
                  </a:lnTo>
                  <a:lnTo>
                    <a:pt x="1519" y="0"/>
                  </a:lnTo>
                  <a:lnTo>
                    <a:pt x="1499" y="22"/>
                  </a:lnTo>
                  <a:lnTo>
                    <a:pt x="1479" y="44"/>
                  </a:lnTo>
                  <a:lnTo>
                    <a:pt x="1456" y="64"/>
                  </a:lnTo>
                  <a:lnTo>
                    <a:pt x="1432" y="83"/>
                  </a:lnTo>
                  <a:lnTo>
                    <a:pt x="1408" y="101"/>
                  </a:lnTo>
                  <a:lnTo>
                    <a:pt x="1383" y="117"/>
                  </a:lnTo>
                  <a:lnTo>
                    <a:pt x="1358" y="131"/>
                  </a:lnTo>
                  <a:lnTo>
                    <a:pt x="1331" y="145"/>
                  </a:lnTo>
                  <a:lnTo>
                    <a:pt x="1303" y="156"/>
                  </a:lnTo>
                  <a:lnTo>
                    <a:pt x="1276" y="166"/>
                  </a:lnTo>
                  <a:lnTo>
                    <a:pt x="1247" y="175"/>
                  </a:lnTo>
                  <a:lnTo>
                    <a:pt x="1217" y="183"/>
                  </a:lnTo>
                  <a:lnTo>
                    <a:pt x="1188" y="188"/>
                  </a:lnTo>
                  <a:lnTo>
                    <a:pt x="1158" y="193"/>
                  </a:lnTo>
                  <a:lnTo>
                    <a:pt x="1128" y="195"/>
                  </a:lnTo>
                  <a:lnTo>
                    <a:pt x="1098" y="195"/>
                  </a:lnTo>
                  <a:lnTo>
                    <a:pt x="1098" y="195"/>
                  </a:lnTo>
                  <a:lnTo>
                    <a:pt x="1066" y="195"/>
                  </a:lnTo>
                  <a:lnTo>
                    <a:pt x="1036" y="193"/>
                  </a:lnTo>
                  <a:lnTo>
                    <a:pt x="1006" y="188"/>
                  </a:lnTo>
                  <a:lnTo>
                    <a:pt x="977" y="183"/>
                  </a:lnTo>
                  <a:lnTo>
                    <a:pt x="947" y="175"/>
                  </a:lnTo>
                  <a:lnTo>
                    <a:pt x="918" y="166"/>
                  </a:lnTo>
                  <a:lnTo>
                    <a:pt x="891" y="156"/>
                  </a:lnTo>
                  <a:lnTo>
                    <a:pt x="863" y="145"/>
                  </a:lnTo>
                  <a:lnTo>
                    <a:pt x="836" y="131"/>
                  </a:lnTo>
                  <a:lnTo>
                    <a:pt x="811" y="117"/>
                  </a:lnTo>
                  <a:lnTo>
                    <a:pt x="786" y="101"/>
                  </a:lnTo>
                  <a:lnTo>
                    <a:pt x="762" y="83"/>
                  </a:lnTo>
                  <a:lnTo>
                    <a:pt x="738" y="64"/>
                  </a:lnTo>
                  <a:lnTo>
                    <a:pt x="715" y="44"/>
                  </a:lnTo>
                  <a:lnTo>
                    <a:pt x="695" y="22"/>
                  </a:lnTo>
                  <a:lnTo>
                    <a:pt x="675" y="0"/>
                  </a:lnTo>
                  <a:lnTo>
                    <a:pt x="675" y="0"/>
                  </a:lnTo>
                  <a:lnTo>
                    <a:pt x="655" y="22"/>
                  </a:lnTo>
                  <a:lnTo>
                    <a:pt x="633" y="44"/>
                  </a:lnTo>
                  <a:lnTo>
                    <a:pt x="611" y="64"/>
                  </a:lnTo>
                  <a:lnTo>
                    <a:pt x="588" y="83"/>
                  </a:lnTo>
                  <a:lnTo>
                    <a:pt x="563" y="101"/>
                  </a:lnTo>
                  <a:lnTo>
                    <a:pt x="539" y="117"/>
                  </a:lnTo>
                  <a:lnTo>
                    <a:pt x="512" y="131"/>
                  </a:lnTo>
                  <a:lnTo>
                    <a:pt x="486" y="145"/>
                  </a:lnTo>
                  <a:lnTo>
                    <a:pt x="458" y="156"/>
                  </a:lnTo>
                  <a:lnTo>
                    <a:pt x="430" y="166"/>
                  </a:lnTo>
                  <a:lnTo>
                    <a:pt x="402" y="175"/>
                  </a:lnTo>
                  <a:lnTo>
                    <a:pt x="373" y="183"/>
                  </a:lnTo>
                  <a:lnTo>
                    <a:pt x="343" y="188"/>
                  </a:lnTo>
                  <a:lnTo>
                    <a:pt x="313" y="193"/>
                  </a:lnTo>
                  <a:lnTo>
                    <a:pt x="283" y="195"/>
                  </a:lnTo>
                  <a:lnTo>
                    <a:pt x="252" y="195"/>
                  </a:lnTo>
                  <a:lnTo>
                    <a:pt x="252" y="195"/>
                  </a:lnTo>
                  <a:lnTo>
                    <a:pt x="218" y="195"/>
                  </a:lnTo>
                  <a:lnTo>
                    <a:pt x="185" y="192"/>
                  </a:lnTo>
                  <a:lnTo>
                    <a:pt x="153" y="186"/>
                  </a:lnTo>
                  <a:lnTo>
                    <a:pt x="121" y="180"/>
                  </a:lnTo>
                  <a:lnTo>
                    <a:pt x="90" y="171"/>
                  </a:lnTo>
                  <a:lnTo>
                    <a:pt x="59" y="161"/>
                  </a:lnTo>
                  <a:lnTo>
                    <a:pt x="29" y="149"/>
                  </a:lnTo>
                  <a:lnTo>
                    <a:pt x="0" y="135"/>
                  </a:lnTo>
                  <a:lnTo>
                    <a:pt x="0" y="690"/>
                  </a:lnTo>
                  <a:lnTo>
                    <a:pt x="0" y="690"/>
                  </a:lnTo>
                  <a:lnTo>
                    <a:pt x="15" y="703"/>
                  </a:lnTo>
                  <a:lnTo>
                    <a:pt x="32" y="714"/>
                  </a:lnTo>
                  <a:lnTo>
                    <a:pt x="50" y="726"/>
                  </a:lnTo>
                  <a:lnTo>
                    <a:pt x="69" y="737"/>
                  </a:lnTo>
                  <a:lnTo>
                    <a:pt x="91" y="748"/>
                  </a:lnTo>
                  <a:lnTo>
                    <a:pt x="112" y="760"/>
                  </a:lnTo>
                  <a:lnTo>
                    <a:pt x="136" y="770"/>
                  </a:lnTo>
                  <a:lnTo>
                    <a:pt x="161" y="780"/>
                  </a:lnTo>
                  <a:lnTo>
                    <a:pt x="214" y="800"/>
                  </a:lnTo>
                  <a:lnTo>
                    <a:pt x="274" y="819"/>
                  </a:lnTo>
                  <a:lnTo>
                    <a:pt x="337" y="835"/>
                  </a:lnTo>
                  <a:lnTo>
                    <a:pt x="405" y="852"/>
                  </a:lnTo>
                  <a:lnTo>
                    <a:pt x="477" y="866"/>
                  </a:lnTo>
                  <a:lnTo>
                    <a:pt x="551" y="878"/>
                  </a:lnTo>
                  <a:lnTo>
                    <a:pt x="631" y="890"/>
                  </a:lnTo>
                  <a:lnTo>
                    <a:pt x="713" y="899"/>
                  </a:lnTo>
                  <a:lnTo>
                    <a:pt x="797" y="905"/>
                  </a:lnTo>
                  <a:lnTo>
                    <a:pt x="886" y="911"/>
                  </a:lnTo>
                  <a:lnTo>
                    <a:pt x="975" y="914"/>
                  </a:lnTo>
                  <a:lnTo>
                    <a:pt x="1067" y="915"/>
                  </a:lnTo>
                  <a:lnTo>
                    <a:pt x="1067" y="915"/>
                  </a:lnTo>
                  <a:lnTo>
                    <a:pt x="1125" y="915"/>
                  </a:lnTo>
                  <a:lnTo>
                    <a:pt x="1182" y="914"/>
                  </a:lnTo>
                  <a:lnTo>
                    <a:pt x="1239" y="911"/>
                  </a:lnTo>
                  <a:lnTo>
                    <a:pt x="1294" y="909"/>
                  </a:lnTo>
                  <a:lnTo>
                    <a:pt x="1349" y="905"/>
                  </a:lnTo>
                  <a:lnTo>
                    <a:pt x="1402" y="900"/>
                  </a:lnTo>
                  <a:lnTo>
                    <a:pt x="1455" y="895"/>
                  </a:lnTo>
                  <a:lnTo>
                    <a:pt x="1505" y="888"/>
                  </a:lnTo>
                  <a:lnTo>
                    <a:pt x="1556" y="882"/>
                  </a:lnTo>
                  <a:lnTo>
                    <a:pt x="1604" y="875"/>
                  </a:lnTo>
                  <a:lnTo>
                    <a:pt x="1651" y="867"/>
                  </a:lnTo>
                  <a:lnTo>
                    <a:pt x="1697" y="858"/>
                  </a:lnTo>
                  <a:lnTo>
                    <a:pt x="1741" y="849"/>
                  </a:lnTo>
                  <a:lnTo>
                    <a:pt x="1784" y="839"/>
                  </a:lnTo>
                  <a:lnTo>
                    <a:pt x="1824" y="829"/>
                  </a:lnTo>
                  <a:lnTo>
                    <a:pt x="1863" y="818"/>
                  </a:lnTo>
                  <a:lnTo>
                    <a:pt x="1901" y="806"/>
                  </a:lnTo>
                  <a:lnTo>
                    <a:pt x="1937" y="795"/>
                  </a:lnTo>
                  <a:lnTo>
                    <a:pt x="1969" y="782"/>
                  </a:lnTo>
                  <a:lnTo>
                    <a:pt x="2001" y="769"/>
                  </a:lnTo>
                  <a:lnTo>
                    <a:pt x="2030" y="756"/>
                  </a:lnTo>
                  <a:lnTo>
                    <a:pt x="2058" y="742"/>
                  </a:lnTo>
                  <a:lnTo>
                    <a:pt x="2083" y="727"/>
                  </a:lnTo>
                  <a:lnTo>
                    <a:pt x="2104" y="713"/>
                  </a:lnTo>
                  <a:lnTo>
                    <a:pt x="2125" y="698"/>
                  </a:lnTo>
                  <a:lnTo>
                    <a:pt x="2142" y="683"/>
                  </a:lnTo>
                  <a:lnTo>
                    <a:pt x="2157" y="666"/>
                  </a:lnTo>
                  <a:lnTo>
                    <a:pt x="2170" y="651"/>
                  </a:lnTo>
                  <a:lnTo>
                    <a:pt x="2180" y="635"/>
                  </a:lnTo>
                  <a:lnTo>
                    <a:pt x="2188" y="618"/>
                  </a:lnTo>
                  <a:lnTo>
                    <a:pt x="2191" y="601"/>
                  </a:lnTo>
                  <a:lnTo>
                    <a:pt x="2194" y="584"/>
                  </a:lnTo>
                  <a:lnTo>
                    <a:pt x="2194" y="135"/>
                  </a:lnTo>
                  <a:lnTo>
                    <a:pt x="2194" y="135"/>
                  </a:lnTo>
                  <a:lnTo>
                    <a:pt x="2165" y="149"/>
                  </a:lnTo>
                  <a:lnTo>
                    <a:pt x="2135" y="161"/>
                  </a:lnTo>
                  <a:lnTo>
                    <a:pt x="2104" y="171"/>
                  </a:lnTo>
                  <a:lnTo>
                    <a:pt x="2073" y="180"/>
                  </a:lnTo>
                  <a:lnTo>
                    <a:pt x="2041" y="186"/>
                  </a:lnTo>
                  <a:lnTo>
                    <a:pt x="2009" y="192"/>
                  </a:lnTo>
                  <a:lnTo>
                    <a:pt x="1976" y="195"/>
                  </a:lnTo>
                  <a:lnTo>
                    <a:pt x="1942" y="195"/>
                  </a:lnTo>
                  <a:lnTo>
                    <a:pt x="1942" y="1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11" tIns="33605" rIns="67211" bIns="33605" numCol="1" anchor="t" anchorCtr="0" compatLnSpc="1">
              <a:prstTxWarp prst="textNoShape">
                <a:avLst/>
              </a:prstTxWarp>
            </a:bodyPr>
            <a:lstStyle/>
            <a:p>
              <a:pPr defTabSz="685594" fontAlgn="auto">
                <a:spcBef>
                  <a:spcPts val="0"/>
                </a:spcBef>
                <a:spcAft>
                  <a:spcPts val="0"/>
                </a:spcAft>
                <a:defRPr/>
              </a:pPr>
              <a:endParaRPr lang="en-US" sz="1325" b="0" kern="0" dirty="0">
                <a:solidFill>
                  <a:srgbClr val="FFFFFF"/>
                </a:solidFill>
                <a:latin typeface="Segoe UI"/>
                <a:ea typeface="MS PGothic" panose="020B0600070205080204" pitchFamily="34" charset="-128"/>
                <a:cs typeface="+mn-cs"/>
              </a:endParaRPr>
            </a:p>
          </p:txBody>
        </p:sp>
      </p:grpSp>
      <p:sp>
        <p:nvSpPr>
          <p:cNvPr id="422" name="Rectangle 421"/>
          <p:cNvSpPr/>
          <p:nvPr/>
        </p:nvSpPr>
        <p:spPr>
          <a:xfrm>
            <a:off x="1779808" y="2720237"/>
            <a:ext cx="780170" cy="124201"/>
          </a:xfrm>
          <a:prstGeom prst="rect">
            <a:avLst/>
          </a:prstGeom>
        </p:spPr>
        <p:txBody>
          <a:bodyPr wrap="square" lIns="0" tIns="0" rIns="0" bIns="0" anchor="ctr">
            <a:spAutoFit/>
          </a:bodyPr>
          <a:lstStyle/>
          <a:p>
            <a:pPr defTabSz="685594" fontAlgn="auto">
              <a:spcBef>
                <a:spcPts val="0"/>
              </a:spcBef>
              <a:spcAft>
                <a:spcPts val="0"/>
              </a:spcAft>
              <a:defRPr/>
            </a:pPr>
            <a:r>
              <a:rPr lang="en-US" sz="807" b="0" kern="0" dirty="0">
                <a:solidFill>
                  <a:srgbClr val="FFFFFF"/>
                </a:solidFill>
                <a:latin typeface="Segoe UI Semilight"/>
                <a:ea typeface="MS PGothic" panose="020B0600070205080204" pitchFamily="34" charset="-128"/>
                <a:cs typeface="Segoe UI Semilight" panose="020B0402040204020203" pitchFamily="34" charset="0"/>
              </a:rPr>
              <a:t>Data Factory </a:t>
            </a:r>
          </a:p>
        </p:txBody>
      </p:sp>
      <p:sp>
        <p:nvSpPr>
          <p:cNvPr id="423" name="Rectangle 422"/>
          <p:cNvSpPr/>
          <p:nvPr/>
        </p:nvSpPr>
        <p:spPr>
          <a:xfrm>
            <a:off x="4536787" y="2626380"/>
            <a:ext cx="768959" cy="248401"/>
          </a:xfrm>
          <a:prstGeom prst="rect">
            <a:avLst/>
          </a:prstGeom>
        </p:spPr>
        <p:txBody>
          <a:bodyPr wrap="square" lIns="0" tIns="0" rIns="0" bIns="0" anchor="ctr">
            <a:spAutoFit/>
          </a:bodyPr>
          <a:lstStyle/>
          <a:p>
            <a:pPr defTabSz="685594" fontAlgn="auto">
              <a:spcBef>
                <a:spcPts val="0"/>
              </a:spcBef>
              <a:spcAft>
                <a:spcPts val="0"/>
              </a:spcAft>
              <a:defRPr/>
            </a:pPr>
            <a:r>
              <a:rPr lang="en-US" sz="807" b="0" kern="0" dirty="0">
                <a:solidFill>
                  <a:srgbClr val="FFFFFF"/>
                </a:solidFill>
                <a:latin typeface="Segoe UI Semilight"/>
                <a:ea typeface="MS PGothic" panose="020B0600070205080204" pitchFamily="34" charset="-128"/>
                <a:cs typeface="Segoe UI Semilight" panose="020B0402040204020203" pitchFamily="34" charset="0"/>
              </a:rPr>
              <a:t>Machine Learning</a:t>
            </a:r>
          </a:p>
        </p:txBody>
      </p:sp>
      <p:sp>
        <p:nvSpPr>
          <p:cNvPr id="424" name="Rectangle 423"/>
          <p:cNvSpPr/>
          <p:nvPr/>
        </p:nvSpPr>
        <p:spPr>
          <a:xfrm>
            <a:off x="3153023" y="2805789"/>
            <a:ext cx="816192" cy="124201"/>
          </a:xfrm>
          <a:prstGeom prst="rect">
            <a:avLst/>
          </a:prstGeom>
        </p:spPr>
        <p:txBody>
          <a:bodyPr wrap="square" lIns="0" tIns="0" rIns="0" bIns="0" anchor="ctr">
            <a:spAutoFit/>
          </a:bodyPr>
          <a:lstStyle/>
          <a:p>
            <a:pPr defTabSz="685594" fontAlgn="auto">
              <a:spcBef>
                <a:spcPts val="0"/>
              </a:spcBef>
              <a:spcAft>
                <a:spcPts val="0"/>
              </a:spcAft>
              <a:defRPr/>
            </a:pPr>
            <a:r>
              <a:rPr lang="en-US" sz="807" b="0" kern="0" dirty="0">
                <a:solidFill>
                  <a:srgbClr val="FFFFFF"/>
                </a:solidFill>
                <a:latin typeface="Segoe UI Semilight"/>
                <a:ea typeface="MS PGothic" panose="020B0600070205080204" pitchFamily="34" charset="-128"/>
                <a:cs typeface="Segoe UI Semilight" panose="020B0402040204020203" pitchFamily="34" charset="0"/>
              </a:rPr>
              <a:t>Data Lake</a:t>
            </a:r>
          </a:p>
        </p:txBody>
      </p:sp>
      <p:grpSp>
        <p:nvGrpSpPr>
          <p:cNvPr id="425" name="Group 424"/>
          <p:cNvGrpSpPr/>
          <p:nvPr/>
        </p:nvGrpSpPr>
        <p:grpSpPr>
          <a:xfrm>
            <a:off x="2874353" y="2741780"/>
            <a:ext cx="144675" cy="152100"/>
            <a:chOff x="4106551" y="3401141"/>
            <a:chExt cx="254631" cy="267699"/>
          </a:xfrm>
        </p:grpSpPr>
        <p:sp>
          <p:nvSpPr>
            <p:cNvPr id="427" name="Rectangle 426"/>
            <p:cNvSpPr/>
            <p:nvPr/>
          </p:nvSpPr>
          <p:spPr bwMode="auto">
            <a:xfrm>
              <a:off x="4106551" y="3401141"/>
              <a:ext cx="43611" cy="43611"/>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31780" tIns="105424" rIns="131780" bIns="105424" numCol="1" spcCol="0" rtlCol="0" fromWordArt="0" anchor="t" anchorCtr="0" forceAA="0" compatLnSpc="1">
              <a:prstTxWarp prst="textNoShape">
                <a:avLst/>
              </a:prstTxWarp>
              <a:noAutofit/>
            </a:bodyPr>
            <a:lstStyle/>
            <a:p>
              <a:pPr algn="ctr" defTabSz="671867">
                <a:lnSpc>
                  <a:spcPct val="90000"/>
                </a:lnSpc>
                <a:defRPr/>
              </a:pPr>
              <a:endParaRPr lang="en-US" sz="1730" b="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28" name="Rectangle 427"/>
            <p:cNvSpPr/>
            <p:nvPr/>
          </p:nvSpPr>
          <p:spPr bwMode="auto">
            <a:xfrm>
              <a:off x="4245904" y="3401141"/>
              <a:ext cx="43611" cy="43611"/>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31780" tIns="105424" rIns="131780" bIns="105424" numCol="1" spcCol="0" rtlCol="0" fromWordArt="0" anchor="t" anchorCtr="0" forceAA="0" compatLnSpc="1">
              <a:prstTxWarp prst="textNoShape">
                <a:avLst/>
              </a:prstTxWarp>
              <a:noAutofit/>
            </a:bodyPr>
            <a:lstStyle/>
            <a:p>
              <a:pPr algn="ctr" defTabSz="671867">
                <a:lnSpc>
                  <a:spcPct val="90000"/>
                </a:lnSpc>
                <a:defRPr/>
              </a:pPr>
              <a:endParaRPr lang="en-US" sz="1730" b="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29" name="Oval 428"/>
            <p:cNvSpPr/>
            <p:nvPr/>
          </p:nvSpPr>
          <p:spPr bwMode="auto">
            <a:xfrm>
              <a:off x="4174625" y="3401529"/>
              <a:ext cx="46815" cy="468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31780" tIns="105424" rIns="131780" bIns="105424" numCol="1" spcCol="0" rtlCol="0" fromWordArt="0" anchor="t" anchorCtr="0" forceAA="0" compatLnSpc="1">
              <a:prstTxWarp prst="textNoShape">
                <a:avLst/>
              </a:prstTxWarp>
              <a:noAutofit/>
            </a:bodyPr>
            <a:lstStyle/>
            <a:p>
              <a:pPr algn="ctr" defTabSz="671867">
                <a:lnSpc>
                  <a:spcPct val="90000"/>
                </a:lnSpc>
                <a:defRPr/>
              </a:pPr>
              <a:endParaRPr lang="en-US" sz="1730" b="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30" name="Oval 429"/>
            <p:cNvSpPr/>
            <p:nvPr/>
          </p:nvSpPr>
          <p:spPr bwMode="auto">
            <a:xfrm>
              <a:off x="4313978" y="3401529"/>
              <a:ext cx="46815" cy="468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31780" tIns="105424" rIns="131780" bIns="105424" numCol="1" spcCol="0" rtlCol="0" fromWordArt="0" anchor="t" anchorCtr="0" forceAA="0" compatLnSpc="1">
              <a:prstTxWarp prst="textNoShape">
                <a:avLst/>
              </a:prstTxWarp>
              <a:noAutofit/>
            </a:bodyPr>
            <a:lstStyle/>
            <a:p>
              <a:pPr algn="ctr" defTabSz="671867">
                <a:lnSpc>
                  <a:spcPct val="90000"/>
                </a:lnSpc>
                <a:defRPr/>
              </a:pPr>
              <a:endParaRPr lang="en-US" sz="1730" b="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31" name="Rectangle 430"/>
            <p:cNvSpPr/>
            <p:nvPr/>
          </p:nvSpPr>
          <p:spPr bwMode="auto">
            <a:xfrm>
              <a:off x="4106551" y="3550317"/>
              <a:ext cx="43611" cy="43611"/>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31780" tIns="105424" rIns="131780" bIns="105424" numCol="1" spcCol="0" rtlCol="0" fromWordArt="0" anchor="t" anchorCtr="0" forceAA="0" compatLnSpc="1">
              <a:prstTxWarp prst="textNoShape">
                <a:avLst/>
              </a:prstTxWarp>
              <a:noAutofit/>
            </a:bodyPr>
            <a:lstStyle/>
            <a:p>
              <a:pPr algn="ctr" defTabSz="671867">
                <a:lnSpc>
                  <a:spcPct val="90000"/>
                </a:lnSpc>
                <a:defRPr/>
              </a:pPr>
              <a:endParaRPr lang="en-US" sz="1730" b="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32" name="Rectangle 431"/>
            <p:cNvSpPr/>
            <p:nvPr/>
          </p:nvSpPr>
          <p:spPr bwMode="auto">
            <a:xfrm>
              <a:off x="4245904" y="3550317"/>
              <a:ext cx="43611" cy="43611"/>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31780" tIns="105424" rIns="131780" bIns="105424" numCol="1" spcCol="0" rtlCol="0" fromWordArt="0" anchor="t" anchorCtr="0" forceAA="0" compatLnSpc="1">
              <a:prstTxWarp prst="textNoShape">
                <a:avLst/>
              </a:prstTxWarp>
              <a:noAutofit/>
            </a:bodyPr>
            <a:lstStyle/>
            <a:p>
              <a:pPr algn="ctr" defTabSz="671867">
                <a:lnSpc>
                  <a:spcPct val="90000"/>
                </a:lnSpc>
                <a:defRPr/>
              </a:pPr>
              <a:endParaRPr lang="en-US" sz="1730" b="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33" name="Oval 432"/>
            <p:cNvSpPr/>
            <p:nvPr/>
          </p:nvSpPr>
          <p:spPr bwMode="auto">
            <a:xfrm>
              <a:off x="4174625" y="3550705"/>
              <a:ext cx="46815" cy="468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31780" tIns="105424" rIns="131780" bIns="105424" numCol="1" spcCol="0" rtlCol="0" fromWordArt="0" anchor="t" anchorCtr="0" forceAA="0" compatLnSpc="1">
              <a:prstTxWarp prst="textNoShape">
                <a:avLst/>
              </a:prstTxWarp>
              <a:noAutofit/>
            </a:bodyPr>
            <a:lstStyle/>
            <a:p>
              <a:pPr algn="ctr" defTabSz="671867">
                <a:lnSpc>
                  <a:spcPct val="90000"/>
                </a:lnSpc>
                <a:defRPr/>
              </a:pPr>
              <a:endParaRPr lang="en-US" sz="1730" b="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34" name="Oval 433"/>
            <p:cNvSpPr/>
            <p:nvPr/>
          </p:nvSpPr>
          <p:spPr bwMode="auto">
            <a:xfrm>
              <a:off x="4313978" y="3550705"/>
              <a:ext cx="46815" cy="468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31780" tIns="105424" rIns="131780" bIns="105424" numCol="1" spcCol="0" rtlCol="0" fromWordArt="0" anchor="t" anchorCtr="0" forceAA="0" compatLnSpc="1">
              <a:prstTxWarp prst="textNoShape">
                <a:avLst/>
              </a:prstTxWarp>
              <a:noAutofit/>
            </a:bodyPr>
            <a:lstStyle/>
            <a:p>
              <a:pPr algn="ctr" defTabSz="671867">
                <a:lnSpc>
                  <a:spcPct val="90000"/>
                </a:lnSpc>
                <a:defRPr/>
              </a:pPr>
              <a:endParaRPr lang="en-US" sz="1730" b="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35" name="Rectangle 434"/>
            <p:cNvSpPr/>
            <p:nvPr/>
          </p:nvSpPr>
          <p:spPr bwMode="auto">
            <a:xfrm>
              <a:off x="4178218" y="3621636"/>
              <a:ext cx="43611" cy="43611"/>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31780" tIns="105424" rIns="131780" bIns="105424" numCol="1" spcCol="0" rtlCol="0" fromWordArt="0" anchor="t" anchorCtr="0" forceAA="0" compatLnSpc="1">
              <a:prstTxWarp prst="textNoShape">
                <a:avLst/>
              </a:prstTxWarp>
              <a:noAutofit/>
            </a:bodyPr>
            <a:lstStyle/>
            <a:p>
              <a:pPr algn="ctr" defTabSz="671867">
                <a:lnSpc>
                  <a:spcPct val="90000"/>
                </a:lnSpc>
                <a:defRPr/>
              </a:pPr>
              <a:endParaRPr lang="en-US" sz="1730" b="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36" name="Rectangle 435"/>
            <p:cNvSpPr/>
            <p:nvPr/>
          </p:nvSpPr>
          <p:spPr bwMode="auto">
            <a:xfrm>
              <a:off x="4317571" y="3621636"/>
              <a:ext cx="43611" cy="43611"/>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31780" tIns="105424" rIns="131780" bIns="105424" numCol="1" spcCol="0" rtlCol="0" fromWordArt="0" anchor="t" anchorCtr="0" forceAA="0" compatLnSpc="1">
              <a:prstTxWarp prst="textNoShape">
                <a:avLst/>
              </a:prstTxWarp>
              <a:noAutofit/>
            </a:bodyPr>
            <a:lstStyle/>
            <a:p>
              <a:pPr algn="ctr" defTabSz="671867">
                <a:lnSpc>
                  <a:spcPct val="90000"/>
                </a:lnSpc>
                <a:defRPr/>
              </a:pPr>
              <a:endParaRPr lang="en-US" sz="1730" b="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37" name="Oval 436"/>
            <p:cNvSpPr/>
            <p:nvPr/>
          </p:nvSpPr>
          <p:spPr bwMode="auto">
            <a:xfrm>
              <a:off x="4106939" y="3622024"/>
              <a:ext cx="46815" cy="468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31780" tIns="105424" rIns="131780" bIns="105424" numCol="1" spcCol="0" rtlCol="0" fromWordArt="0" anchor="t" anchorCtr="0" forceAA="0" compatLnSpc="1">
              <a:prstTxWarp prst="textNoShape">
                <a:avLst/>
              </a:prstTxWarp>
              <a:noAutofit/>
            </a:bodyPr>
            <a:lstStyle/>
            <a:p>
              <a:pPr algn="ctr" defTabSz="671867">
                <a:lnSpc>
                  <a:spcPct val="90000"/>
                </a:lnSpc>
                <a:defRPr/>
              </a:pPr>
              <a:endParaRPr lang="en-US" sz="1730" b="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38" name="Oval 437"/>
            <p:cNvSpPr/>
            <p:nvPr/>
          </p:nvSpPr>
          <p:spPr bwMode="auto">
            <a:xfrm>
              <a:off x="4246293" y="3622024"/>
              <a:ext cx="46815" cy="468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31780" tIns="105424" rIns="131780" bIns="105424" numCol="1" spcCol="0" rtlCol="0" fromWordArt="0" anchor="t" anchorCtr="0" forceAA="0" compatLnSpc="1">
              <a:prstTxWarp prst="textNoShape">
                <a:avLst/>
              </a:prstTxWarp>
              <a:noAutofit/>
            </a:bodyPr>
            <a:lstStyle/>
            <a:p>
              <a:pPr algn="ctr" defTabSz="671867">
                <a:lnSpc>
                  <a:spcPct val="90000"/>
                </a:lnSpc>
                <a:defRPr/>
              </a:pPr>
              <a:endParaRPr lang="en-US" sz="1730" b="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39" name="Rectangle 438"/>
            <p:cNvSpPr/>
            <p:nvPr/>
          </p:nvSpPr>
          <p:spPr bwMode="auto">
            <a:xfrm>
              <a:off x="4178218" y="3465945"/>
              <a:ext cx="43611" cy="43611"/>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31780" tIns="105424" rIns="131780" bIns="105424" numCol="1" spcCol="0" rtlCol="0" fromWordArt="0" anchor="t" anchorCtr="0" forceAA="0" compatLnSpc="1">
              <a:prstTxWarp prst="textNoShape">
                <a:avLst/>
              </a:prstTxWarp>
              <a:noAutofit/>
            </a:bodyPr>
            <a:lstStyle/>
            <a:p>
              <a:pPr algn="ctr" defTabSz="671867">
                <a:lnSpc>
                  <a:spcPct val="90000"/>
                </a:lnSpc>
                <a:defRPr/>
              </a:pPr>
              <a:endParaRPr lang="en-US" sz="1730" b="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40" name="Rectangle 439"/>
            <p:cNvSpPr/>
            <p:nvPr/>
          </p:nvSpPr>
          <p:spPr bwMode="auto">
            <a:xfrm>
              <a:off x="4317571" y="3465945"/>
              <a:ext cx="43611" cy="43611"/>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31780" tIns="105424" rIns="131780" bIns="105424" numCol="1" spcCol="0" rtlCol="0" fromWordArt="0" anchor="t" anchorCtr="0" forceAA="0" compatLnSpc="1">
              <a:prstTxWarp prst="textNoShape">
                <a:avLst/>
              </a:prstTxWarp>
              <a:noAutofit/>
            </a:bodyPr>
            <a:lstStyle/>
            <a:p>
              <a:pPr algn="ctr" defTabSz="671867">
                <a:lnSpc>
                  <a:spcPct val="90000"/>
                </a:lnSpc>
                <a:defRPr/>
              </a:pPr>
              <a:endParaRPr lang="en-US" sz="1730" b="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41" name="Oval 440"/>
            <p:cNvSpPr/>
            <p:nvPr/>
          </p:nvSpPr>
          <p:spPr bwMode="auto">
            <a:xfrm>
              <a:off x="4106939" y="3466334"/>
              <a:ext cx="46815" cy="468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31780" tIns="105424" rIns="131780" bIns="105424" numCol="1" spcCol="0" rtlCol="0" fromWordArt="0" anchor="t" anchorCtr="0" forceAA="0" compatLnSpc="1">
              <a:prstTxWarp prst="textNoShape">
                <a:avLst/>
              </a:prstTxWarp>
              <a:noAutofit/>
            </a:bodyPr>
            <a:lstStyle/>
            <a:p>
              <a:pPr algn="ctr" defTabSz="671867">
                <a:lnSpc>
                  <a:spcPct val="90000"/>
                </a:lnSpc>
                <a:defRPr/>
              </a:pPr>
              <a:endParaRPr lang="en-US" sz="1730" b="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42" name="Oval 441"/>
            <p:cNvSpPr/>
            <p:nvPr/>
          </p:nvSpPr>
          <p:spPr bwMode="auto">
            <a:xfrm>
              <a:off x="4246293" y="3466334"/>
              <a:ext cx="46815" cy="468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31780" tIns="105424" rIns="131780" bIns="105424" numCol="1" spcCol="0" rtlCol="0" fromWordArt="0" anchor="t" anchorCtr="0" forceAA="0" compatLnSpc="1">
              <a:prstTxWarp prst="textNoShape">
                <a:avLst/>
              </a:prstTxWarp>
              <a:noAutofit/>
            </a:bodyPr>
            <a:lstStyle/>
            <a:p>
              <a:pPr algn="ctr" defTabSz="671867">
                <a:lnSpc>
                  <a:spcPct val="90000"/>
                </a:lnSpc>
                <a:defRPr/>
              </a:pPr>
              <a:endParaRPr lang="en-US" sz="1730" b="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447" name="Rectangle 446"/>
          <p:cNvSpPr/>
          <p:nvPr/>
        </p:nvSpPr>
        <p:spPr>
          <a:xfrm>
            <a:off x="5904366" y="4785735"/>
            <a:ext cx="743282" cy="124521"/>
          </a:xfrm>
          <a:prstGeom prst="rect">
            <a:avLst/>
          </a:prstGeom>
        </p:spPr>
        <p:txBody>
          <a:bodyPr wrap="square" lIns="0" tIns="0" rIns="0" bIns="0">
            <a:spAutoFit/>
          </a:bodyPr>
          <a:lstStyle/>
          <a:p>
            <a:pPr defTabSz="685594" fontAlgn="auto">
              <a:spcBef>
                <a:spcPts val="0"/>
              </a:spcBef>
              <a:spcAft>
                <a:spcPts val="0"/>
              </a:spcAft>
              <a:defRPr/>
            </a:pPr>
            <a:r>
              <a:rPr lang="en-US" sz="809" b="0" kern="0" dirty="0">
                <a:solidFill>
                  <a:srgbClr val="FFFFFF"/>
                </a:solidFill>
                <a:latin typeface="Segoe UI Semilight"/>
                <a:ea typeface="MS PGothic" panose="020B0600070205080204" pitchFamily="34" charset="-128"/>
                <a:cs typeface="Segoe UI Semilight" panose="020B0402040204020203" pitchFamily="34" charset="0"/>
              </a:rPr>
              <a:t>Power BI</a:t>
            </a:r>
          </a:p>
        </p:txBody>
      </p:sp>
      <p:grpSp>
        <p:nvGrpSpPr>
          <p:cNvPr id="455" name="Group 454"/>
          <p:cNvGrpSpPr/>
          <p:nvPr/>
        </p:nvGrpSpPr>
        <p:grpSpPr>
          <a:xfrm>
            <a:off x="4172937" y="4008692"/>
            <a:ext cx="259212" cy="199122"/>
            <a:chOff x="1260022" y="5196402"/>
            <a:chExt cx="3273425" cy="2514600"/>
          </a:xfrm>
          <a:solidFill>
            <a:srgbClr val="FFFFFF"/>
          </a:solidFill>
        </p:grpSpPr>
        <p:sp>
          <p:nvSpPr>
            <p:cNvPr id="456" name="Freeform 455"/>
            <p:cNvSpPr>
              <a:spLocks/>
            </p:cNvSpPr>
            <p:nvPr/>
          </p:nvSpPr>
          <p:spPr bwMode="auto">
            <a:xfrm>
              <a:off x="2247447" y="5196402"/>
              <a:ext cx="2286000" cy="2514600"/>
            </a:xfrm>
            <a:custGeom>
              <a:avLst/>
              <a:gdLst>
                <a:gd name="T0" fmla="*/ 307 w 609"/>
                <a:gd name="T1" fmla="*/ 0 h 669"/>
                <a:gd name="T2" fmla="*/ 341 w 609"/>
                <a:gd name="T3" fmla="*/ 90 h 669"/>
                <a:gd name="T4" fmla="*/ 395 w 609"/>
                <a:gd name="T5" fmla="*/ 114 h 669"/>
                <a:gd name="T6" fmla="*/ 482 w 609"/>
                <a:gd name="T7" fmla="*/ 68 h 669"/>
                <a:gd name="T8" fmla="*/ 537 w 609"/>
                <a:gd name="T9" fmla="*/ 123 h 669"/>
                <a:gd name="T10" fmla="*/ 494 w 609"/>
                <a:gd name="T11" fmla="*/ 208 h 669"/>
                <a:gd name="T12" fmla="*/ 516 w 609"/>
                <a:gd name="T13" fmla="*/ 261 h 669"/>
                <a:gd name="T14" fmla="*/ 609 w 609"/>
                <a:gd name="T15" fmla="*/ 293 h 669"/>
                <a:gd name="T16" fmla="*/ 609 w 609"/>
                <a:gd name="T17" fmla="*/ 369 h 669"/>
                <a:gd name="T18" fmla="*/ 517 w 609"/>
                <a:gd name="T19" fmla="*/ 401 h 669"/>
                <a:gd name="T20" fmla="*/ 493 w 609"/>
                <a:gd name="T21" fmla="*/ 454 h 669"/>
                <a:gd name="T22" fmla="*/ 535 w 609"/>
                <a:gd name="T23" fmla="*/ 540 h 669"/>
                <a:gd name="T24" fmla="*/ 480 w 609"/>
                <a:gd name="T25" fmla="*/ 595 h 669"/>
                <a:gd name="T26" fmla="*/ 394 w 609"/>
                <a:gd name="T27" fmla="*/ 556 h 669"/>
                <a:gd name="T28" fmla="*/ 339 w 609"/>
                <a:gd name="T29" fmla="*/ 579 h 669"/>
                <a:gd name="T30" fmla="*/ 309 w 609"/>
                <a:gd name="T31" fmla="*/ 669 h 669"/>
                <a:gd name="T32" fmla="*/ 231 w 609"/>
                <a:gd name="T33" fmla="*/ 669 h 669"/>
                <a:gd name="T34" fmla="*/ 201 w 609"/>
                <a:gd name="T35" fmla="*/ 579 h 669"/>
                <a:gd name="T36" fmla="*/ 148 w 609"/>
                <a:gd name="T37" fmla="*/ 558 h 669"/>
                <a:gd name="T38" fmla="*/ 63 w 609"/>
                <a:gd name="T39" fmla="*/ 600 h 669"/>
                <a:gd name="T40" fmla="*/ 7 w 609"/>
                <a:gd name="T41" fmla="*/ 546 h 669"/>
                <a:gd name="T42" fmla="*/ 24 w 609"/>
                <a:gd name="T43" fmla="*/ 519 h 669"/>
                <a:gd name="T44" fmla="*/ 102 w 609"/>
                <a:gd name="T45" fmla="*/ 479 h 669"/>
                <a:gd name="T46" fmla="*/ 171 w 609"/>
                <a:gd name="T47" fmla="*/ 431 h 669"/>
                <a:gd name="T48" fmla="*/ 208 w 609"/>
                <a:gd name="T49" fmla="*/ 457 h 669"/>
                <a:gd name="T50" fmla="*/ 411 w 609"/>
                <a:gd name="T51" fmla="*/ 332 h 669"/>
                <a:gd name="T52" fmla="*/ 339 w 609"/>
                <a:gd name="T53" fmla="*/ 213 h 669"/>
                <a:gd name="T54" fmla="*/ 180 w 609"/>
                <a:gd name="T55" fmla="*/ 146 h 669"/>
                <a:gd name="T56" fmla="*/ 28 w 609"/>
                <a:gd name="T57" fmla="*/ 180 h 669"/>
                <a:gd name="T58" fmla="*/ 0 w 609"/>
                <a:gd name="T59" fmla="*/ 127 h 669"/>
                <a:gd name="T60" fmla="*/ 51 w 609"/>
                <a:gd name="T61" fmla="*/ 72 h 669"/>
                <a:gd name="T62" fmla="*/ 143 w 609"/>
                <a:gd name="T63" fmla="*/ 113 h 669"/>
                <a:gd name="T64" fmla="*/ 196 w 609"/>
                <a:gd name="T65" fmla="*/ 90 h 669"/>
                <a:gd name="T66" fmla="*/ 233 w 609"/>
                <a:gd name="T67" fmla="*/ 0 h 669"/>
                <a:gd name="T68" fmla="*/ 307 w 609"/>
                <a:gd name="T69"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09" h="669">
                  <a:moveTo>
                    <a:pt x="307" y="0"/>
                  </a:moveTo>
                  <a:cubicBezTo>
                    <a:pt x="319" y="29"/>
                    <a:pt x="331" y="58"/>
                    <a:pt x="341" y="90"/>
                  </a:cubicBezTo>
                  <a:cubicBezTo>
                    <a:pt x="358" y="98"/>
                    <a:pt x="378" y="105"/>
                    <a:pt x="395" y="114"/>
                  </a:cubicBezTo>
                  <a:cubicBezTo>
                    <a:pt x="423" y="98"/>
                    <a:pt x="455" y="86"/>
                    <a:pt x="482" y="68"/>
                  </a:cubicBezTo>
                  <a:cubicBezTo>
                    <a:pt x="503" y="85"/>
                    <a:pt x="521" y="103"/>
                    <a:pt x="537" y="123"/>
                  </a:cubicBezTo>
                  <a:cubicBezTo>
                    <a:pt x="521" y="150"/>
                    <a:pt x="509" y="181"/>
                    <a:pt x="494" y="208"/>
                  </a:cubicBezTo>
                  <a:cubicBezTo>
                    <a:pt x="500" y="227"/>
                    <a:pt x="510" y="242"/>
                    <a:pt x="516" y="261"/>
                  </a:cubicBezTo>
                  <a:cubicBezTo>
                    <a:pt x="546" y="272"/>
                    <a:pt x="576" y="284"/>
                    <a:pt x="609" y="293"/>
                  </a:cubicBezTo>
                  <a:cubicBezTo>
                    <a:pt x="609" y="318"/>
                    <a:pt x="609" y="344"/>
                    <a:pt x="609" y="369"/>
                  </a:cubicBezTo>
                  <a:cubicBezTo>
                    <a:pt x="579" y="380"/>
                    <a:pt x="549" y="391"/>
                    <a:pt x="517" y="401"/>
                  </a:cubicBezTo>
                  <a:cubicBezTo>
                    <a:pt x="508" y="417"/>
                    <a:pt x="502" y="437"/>
                    <a:pt x="493" y="454"/>
                  </a:cubicBezTo>
                  <a:cubicBezTo>
                    <a:pt x="506" y="484"/>
                    <a:pt x="519" y="513"/>
                    <a:pt x="535" y="540"/>
                  </a:cubicBezTo>
                  <a:cubicBezTo>
                    <a:pt x="519" y="561"/>
                    <a:pt x="501" y="579"/>
                    <a:pt x="480" y="595"/>
                  </a:cubicBezTo>
                  <a:cubicBezTo>
                    <a:pt x="453" y="581"/>
                    <a:pt x="422" y="570"/>
                    <a:pt x="394" y="556"/>
                  </a:cubicBezTo>
                  <a:cubicBezTo>
                    <a:pt x="374" y="562"/>
                    <a:pt x="357" y="572"/>
                    <a:pt x="339" y="579"/>
                  </a:cubicBezTo>
                  <a:cubicBezTo>
                    <a:pt x="329" y="609"/>
                    <a:pt x="317" y="638"/>
                    <a:pt x="309" y="669"/>
                  </a:cubicBezTo>
                  <a:cubicBezTo>
                    <a:pt x="283" y="669"/>
                    <a:pt x="257" y="669"/>
                    <a:pt x="231" y="669"/>
                  </a:cubicBezTo>
                  <a:cubicBezTo>
                    <a:pt x="221" y="640"/>
                    <a:pt x="211" y="610"/>
                    <a:pt x="201" y="579"/>
                  </a:cubicBezTo>
                  <a:cubicBezTo>
                    <a:pt x="183" y="572"/>
                    <a:pt x="166" y="564"/>
                    <a:pt x="148" y="558"/>
                  </a:cubicBezTo>
                  <a:cubicBezTo>
                    <a:pt x="118" y="571"/>
                    <a:pt x="92" y="587"/>
                    <a:pt x="63" y="600"/>
                  </a:cubicBezTo>
                  <a:cubicBezTo>
                    <a:pt x="44" y="590"/>
                    <a:pt x="23" y="565"/>
                    <a:pt x="7" y="546"/>
                  </a:cubicBezTo>
                  <a:cubicBezTo>
                    <a:pt x="14" y="538"/>
                    <a:pt x="20" y="529"/>
                    <a:pt x="24" y="519"/>
                  </a:cubicBezTo>
                  <a:cubicBezTo>
                    <a:pt x="53" y="509"/>
                    <a:pt x="77" y="498"/>
                    <a:pt x="102" y="479"/>
                  </a:cubicBezTo>
                  <a:cubicBezTo>
                    <a:pt x="119" y="466"/>
                    <a:pt x="144" y="427"/>
                    <a:pt x="171" y="431"/>
                  </a:cubicBezTo>
                  <a:cubicBezTo>
                    <a:pt x="182" y="432"/>
                    <a:pt x="193" y="450"/>
                    <a:pt x="208" y="457"/>
                  </a:cubicBezTo>
                  <a:cubicBezTo>
                    <a:pt x="301" y="505"/>
                    <a:pt x="414" y="433"/>
                    <a:pt x="411" y="332"/>
                  </a:cubicBezTo>
                  <a:cubicBezTo>
                    <a:pt x="410" y="268"/>
                    <a:pt x="377" y="244"/>
                    <a:pt x="339" y="213"/>
                  </a:cubicBezTo>
                  <a:cubicBezTo>
                    <a:pt x="299" y="181"/>
                    <a:pt x="244" y="151"/>
                    <a:pt x="180" y="146"/>
                  </a:cubicBezTo>
                  <a:cubicBezTo>
                    <a:pt x="125" y="142"/>
                    <a:pt x="75" y="156"/>
                    <a:pt x="28" y="180"/>
                  </a:cubicBezTo>
                  <a:cubicBezTo>
                    <a:pt x="19" y="162"/>
                    <a:pt x="10" y="144"/>
                    <a:pt x="0" y="127"/>
                  </a:cubicBezTo>
                  <a:cubicBezTo>
                    <a:pt x="14" y="106"/>
                    <a:pt x="35" y="92"/>
                    <a:pt x="51" y="72"/>
                  </a:cubicBezTo>
                  <a:cubicBezTo>
                    <a:pt x="81" y="86"/>
                    <a:pt x="112" y="99"/>
                    <a:pt x="143" y="113"/>
                  </a:cubicBezTo>
                  <a:cubicBezTo>
                    <a:pt x="160" y="105"/>
                    <a:pt x="177" y="97"/>
                    <a:pt x="196" y="90"/>
                  </a:cubicBezTo>
                  <a:cubicBezTo>
                    <a:pt x="209" y="60"/>
                    <a:pt x="218" y="27"/>
                    <a:pt x="233" y="0"/>
                  </a:cubicBezTo>
                  <a:cubicBezTo>
                    <a:pt x="258" y="0"/>
                    <a:pt x="282" y="0"/>
                    <a:pt x="30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11" tIns="33605" rIns="67211" bIns="33605"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594" fontAlgn="auto">
                <a:spcBef>
                  <a:spcPts val="0"/>
                </a:spcBef>
                <a:spcAft>
                  <a:spcPts val="0"/>
                </a:spcAft>
                <a:defRPr/>
              </a:pPr>
              <a:endParaRPr lang="en-US" sz="1325" b="0" dirty="0">
                <a:solidFill>
                  <a:srgbClr val="FFFFFF"/>
                </a:solidFill>
                <a:latin typeface="Segoe UI"/>
              </a:endParaRPr>
            </a:p>
          </p:txBody>
        </p:sp>
        <p:sp>
          <p:nvSpPr>
            <p:cNvPr id="457" name="Freeform 456"/>
            <p:cNvSpPr>
              <a:spLocks/>
            </p:cNvSpPr>
            <p:nvPr/>
          </p:nvSpPr>
          <p:spPr bwMode="auto">
            <a:xfrm>
              <a:off x="1620384" y="5858389"/>
              <a:ext cx="1892300" cy="604838"/>
            </a:xfrm>
            <a:custGeom>
              <a:avLst/>
              <a:gdLst>
                <a:gd name="T0" fmla="*/ 319 w 504"/>
                <a:gd name="T1" fmla="*/ 4 h 161"/>
                <a:gd name="T2" fmla="*/ 486 w 504"/>
                <a:gd name="T3" fmla="*/ 67 h 161"/>
                <a:gd name="T4" fmla="*/ 502 w 504"/>
                <a:gd name="T5" fmla="*/ 90 h 161"/>
                <a:gd name="T6" fmla="*/ 490 w 504"/>
                <a:gd name="T7" fmla="*/ 115 h 161"/>
                <a:gd name="T8" fmla="*/ 455 w 504"/>
                <a:gd name="T9" fmla="*/ 90 h 161"/>
                <a:gd name="T10" fmla="*/ 327 w 504"/>
                <a:gd name="T11" fmla="*/ 37 h 161"/>
                <a:gd name="T12" fmla="*/ 216 w 504"/>
                <a:gd name="T13" fmla="*/ 69 h 161"/>
                <a:gd name="T14" fmla="*/ 68 w 504"/>
                <a:gd name="T15" fmla="*/ 143 h 161"/>
                <a:gd name="T16" fmla="*/ 2 w 504"/>
                <a:gd name="T17" fmla="*/ 99 h 161"/>
                <a:gd name="T18" fmla="*/ 11 w 504"/>
                <a:gd name="T19" fmla="*/ 76 h 161"/>
                <a:gd name="T20" fmla="*/ 76 w 504"/>
                <a:gd name="T21" fmla="*/ 110 h 161"/>
                <a:gd name="T22" fmla="*/ 174 w 504"/>
                <a:gd name="T23" fmla="*/ 57 h 161"/>
                <a:gd name="T24" fmla="*/ 319 w 504"/>
                <a:gd name="T25" fmla="*/ 4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4" h="161">
                  <a:moveTo>
                    <a:pt x="319" y="4"/>
                  </a:moveTo>
                  <a:cubicBezTo>
                    <a:pt x="384" y="0"/>
                    <a:pt x="445" y="29"/>
                    <a:pt x="486" y="67"/>
                  </a:cubicBezTo>
                  <a:cubicBezTo>
                    <a:pt x="490" y="71"/>
                    <a:pt x="501" y="81"/>
                    <a:pt x="502" y="90"/>
                  </a:cubicBezTo>
                  <a:cubicBezTo>
                    <a:pt x="504" y="101"/>
                    <a:pt x="499" y="113"/>
                    <a:pt x="490" y="115"/>
                  </a:cubicBezTo>
                  <a:cubicBezTo>
                    <a:pt x="480" y="117"/>
                    <a:pt x="461" y="97"/>
                    <a:pt x="455" y="90"/>
                  </a:cubicBezTo>
                  <a:cubicBezTo>
                    <a:pt x="424" y="61"/>
                    <a:pt x="384" y="38"/>
                    <a:pt x="327" y="37"/>
                  </a:cubicBezTo>
                  <a:cubicBezTo>
                    <a:pt x="284" y="37"/>
                    <a:pt x="245" y="51"/>
                    <a:pt x="216" y="69"/>
                  </a:cubicBezTo>
                  <a:cubicBezTo>
                    <a:pt x="173" y="96"/>
                    <a:pt x="147" y="161"/>
                    <a:pt x="68" y="143"/>
                  </a:cubicBezTo>
                  <a:cubicBezTo>
                    <a:pt x="45" y="138"/>
                    <a:pt x="7" y="123"/>
                    <a:pt x="2" y="99"/>
                  </a:cubicBezTo>
                  <a:cubicBezTo>
                    <a:pt x="0" y="91"/>
                    <a:pt x="1" y="80"/>
                    <a:pt x="11" y="76"/>
                  </a:cubicBezTo>
                  <a:cubicBezTo>
                    <a:pt x="31" y="70"/>
                    <a:pt x="54" y="107"/>
                    <a:pt x="76" y="110"/>
                  </a:cubicBezTo>
                  <a:cubicBezTo>
                    <a:pt x="126" y="116"/>
                    <a:pt x="147" y="79"/>
                    <a:pt x="174" y="57"/>
                  </a:cubicBezTo>
                  <a:cubicBezTo>
                    <a:pt x="208" y="29"/>
                    <a:pt x="256" y="8"/>
                    <a:pt x="319"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11" tIns="33605" rIns="67211" bIns="33605"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594" fontAlgn="auto">
                <a:spcBef>
                  <a:spcPts val="0"/>
                </a:spcBef>
                <a:spcAft>
                  <a:spcPts val="0"/>
                </a:spcAft>
                <a:defRPr/>
              </a:pPr>
              <a:endParaRPr lang="en-US" sz="1325" b="0" dirty="0">
                <a:solidFill>
                  <a:srgbClr val="FFFFFF"/>
                </a:solidFill>
                <a:latin typeface="Segoe UI"/>
              </a:endParaRPr>
            </a:p>
          </p:txBody>
        </p:sp>
        <p:sp>
          <p:nvSpPr>
            <p:cNvPr id="458" name="Freeform 457"/>
            <p:cNvSpPr>
              <a:spLocks/>
            </p:cNvSpPr>
            <p:nvPr/>
          </p:nvSpPr>
          <p:spPr bwMode="auto">
            <a:xfrm>
              <a:off x="1394959" y="6174302"/>
              <a:ext cx="1952625" cy="593725"/>
            </a:xfrm>
            <a:custGeom>
              <a:avLst/>
              <a:gdLst>
                <a:gd name="T0" fmla="*/ 366 w 520"/>
                <a:gd name="T1" fmla="*/ 6 h 158"/>
                <a:gd name="T2" fmla="*/ 508 w 520"/>
                <a:gd name="T3" fmla="*/ 59 h 158"/>
                <a:gd name="T4" fmla="*/ 506 w 520"/>
                <a:gd name="T5" fmla="*/ 95 h 158"/>
                <a:gd name="T6" fmla="*/ 453 w 520"/>
                <a:gd name="T7" fmla="*/ 59 h 158"/>
                <a:gd name="T8" fmla="*/ 290 w 520"/>
                <a:gd name="T9" fmla="*/ 74 h 158"/>
                <a:gd name="T10" fmla="*/ 260 w 520"/>
                <a:gd name="T11" fmla="*/ 105 h 158"/>
                <a:gd name="T12" fmla="*/ 32 w 520"/>
                <a:gd name="T13" fmla="*/ 97 h 158"/>
                <a:gd name="T14" fmla="*/ 27 w 520"/>
                <a:gd name="T15" fmla="*/ 51 h 158"/>
                <a:gd name="T16" fmla="*/ 78 w 520"/>
                <a:gd name="T17" fmla="*/ 88 h 158"/>
                <a:gd name="T18" fmla="*/ 230 w 520"/>
                <a:gd name="T19" fmla="*/ 82 h 158"/>
                <a:gd name="T20" fmla="*/ 366 w 520"/>
                <a:gd name="T21" fmla="*/ 6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0" h="158">
                  <a:moveTo>
                    <a:pt x="366" y="6"/>
                  </a:moveTo>
                  <a:cubicBezTo>
                    <a:pt x="422" y="0"/>
                    <a:pt x="479" y="24"/>
                    <a:pt x="508" y="59"/>
                  </a:cubicBezTo>
                  <a:cubicBezTo>
                    <a:pt x="520" y="75"/>
                    <a:pt x="518" y="91"/>
                    <a:pt x="506" y="95"/>
                  </a:cubicBezTo>
                  <a:cubicBezTo>
                    <a:pt x="488" y="100"/>
                    <a:pt x="467" y="68"/>
                    <a:pt x="453" y="59"/>
                  </a:cubicBezTo>
                  <a:cubicBezTo>
                    <a:pt x="402" y="29"/>
                    <a:pt x="333" y="38"/>
                    <a:pt x="290" y="74"/>
                  </a:cubicBezTo>
                  <a:cubicBezTo>
                    <a:pt x="281" y="82"/>
                    <a:pt x="270" y="97"/>
                    <a:pt x="260" y="105"/>
                  </a:cubicBezTo>
                  <a:cubicBezTo>
                    <a:pt x="195" y="158"/>
                    <a:pt x="91" y="149"/>
                    <a:pt x="32" y="97"/>
                  </a:cubicBezTo>
                  <a:cubicBezTo>
                    <a:pt x="24" y="89"/>
                    <a:pt x="0" y="56"/>
                    <a:pt x="27" y="51"/>
                  </a:cubicBezTo>
                  <a:cubicBezTo>
                    <a:pt x="43" y="47"/>
                    <a:pt x="61" y="77"/>
                    <a:pt x="78" y="88"/>
                  </a:cubicBezTo>
                  <a:cubicBezTo>
                    <a:pt x="125" y="116"/>
                    <a:pt x="190" y="109"/>
                    <a:pt x="230" y="82"/>
                  </a:cubicBezTo>
                  <a:cubicBezTo>
                    <a:pt x="277" y="51"/>
                    <a:pt x="292" y="14"/>
                    <a:pt x="366"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11" tIns="33605" rIns="67211" bIns="33605"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594" fontAlgn="auto">
                <a:spcBef>
                  <a:spcPts val="0"/>
                </a:spcBef>
                <a:spcAft>
                  <a:spcPts val="0"/>
                </a:spcAft>
                <a:defRPr/>
              </a:pPr>
              <a:endParaRPr lang="en-US" sz="1325" b="0" dirty="0">
                <a:solidFill>
                  <a:srgbClr val="FFFFFF"/>
                </a:solidFill>
                <a:latin typeface="Segoe UI"/>
              </a:endParaRPr>
            </a:p>
          </p:txBody>
        </p:sp>
        <p:sp>
          <p:nvSpPr>
            <p:cNvPr id="459" name="Freeform 458"/>
            <p:cNvSpPr>
              <a:spLocks/>
            </p:cNvSpPr>
            <p:nvPr/>
          </p:nvSpPr>
          <p:spPr bwMode="auto">
            <a:xfrm>
              <a:off x="1260022" y="6493389"/>
              <a:ext cx="1930400" cy="566738"/>
            </a:xfrm>
            <a:custGeom>
              <a:avLst/>
              <a:gdLst>
                <a:gd name="T0" fmla="*/ 10 w 514"/>
                <a:gd name="T1" fmla="*/ 35 h 151"/>
                <a:gd name="T2" fmla="*/ 63 w 514"/>
                <a:gd name="T3" fmla="*/ 72 h 151"/>
                <a:gd name="T4" fmla="*/ 211 w 514"/>
                <a:gd name="T5" fmla="*/ 111 h 151"/>
                <a:gd name="T6" fmla="*/ 296 w 514"/>
                <a:gd name="T7" fmla="*/ 77 h 151"/>
                <a:gd name="T8" fmla="*/ 436 w 514"/>
                <a:gd name="T9" fmla="*/ 8 h 151"/>
                <a:gd name="T10" fmla="*/ 510 w 514"/>
                <a:gd name="T11" fmla="*/ 49 h 151"/>
                <a:gd name="T12" fmla="*/ 501 w 514"/>
                <a:gd name="T13" fmla="*/ 73 h 151"/>
                <a:gd name="T14" fmla="*/ 448 w 514"/>
                <a:gd name="T15" fmla="*/ 42 h 151"/>
                <a:gd name="T16" fmla="*/ 323 w 514"/>
                <a:gd name="T17" fmla="*/ 103 h 151"/>
                <a:gd name="T18" fmla="*/ 165 w 514"/>
                <a:gd name="T19" fmla="*/ 146 h 151"/>
                <a:gd name="T20" fmla="*/ 63 w 514"/>
                <a:gd name="T21" fmla="*/ 111 h 151"/>
                <a:gd name="T22" fmla="*/ 10 w 514"/>
                <a:gd name="T23" fmla="*/ 35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4" h="151">
                  <a:moveTo>
                    <a:pt x="10" y="35"/>
                  </a:moveTo>
                  <a:cubicBezTo>
                    <a:pt x="40" y="37"/>
                    <a:pt x="46" y="59"/>
                    <a:pt x="63" y="72"/>
                  </a:cubicBezTo>
                  <a:cubicBezTo>
                    <a:pt x="95" y="96"/>
                    <a:pt x="147" y="117"/>
                    <a:pt x="211" y="111"/>
                  </a:cubicBezTo>
                  <a:cubicBezTo>
                    <a:pt x="248" y="107"/>
                    <a:pt x="274" y="92"/>
                    <a:pt x="296" y="77"/>
                  </a:cubicBezTo>
                  <a:cubicBezTo>
                    <a:pt x="338" y="48"/>
                    <a:pt x="358" y="0"/>
                    <a:pt x="436" y="8"/>
                  </a:cubicBezTo>
                  <a:cubicBezTo>
                    <a:pt x="454" y="10"/>
                    <a:pt x="503" y="25"/>
                    <a:pt x="510" y="49"/>
                  </a:cubicBezTo>
                  <a:cubicBezTo>
                    <a:pt x="512" y="58"/>
                    <a:pt x="514" y="70"/>
                    <a:pt x="501" y="73"/>
                  </a:cubicBezTo>
                  <a:cubicBezTo>
                    <a:pt x="484" y="78"/>
                    <a:pt x="467" y="48"/>
                    <a:pt x="448" y="42"/>
                  </a:cubicBezTo>
                  <a:cubicBezTo>
                    <a:pt x="388" y="23"/>
                    <a:pt x="360" y="77"/>
                    <a:pt x="323" y="103"/>
                  </a:cubicBezTo>
                  <a:cubicBezTo>
                    <a:pt x="286" y="130"/>
                    <a:pt x="237" y="151"/>
                    <a:pt x="165" y="146"/>
                  </a:cubicBezTo>
                  <a:cubicBezTo>
                    <a:pt x="129" y="143"/>
                    <a:pt x="92" y="129"/>
                    <a:pt x="63" y="111"/>
                  </a:cubicBezTo>
                  <a:cubicBezTo>
                    <a:pt x="38" y="95"/>
                    <a:pt x="0" y="73"/>
                    <a:pt x="10"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11" tIns="33605" rIns="67211" bIns="33605"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594" fontAlgn="auto">
                <a:spcBef>
                  <a:spcPts val="0"/>
                </a:spcBef>
                <a:spcAft>
                  <a:spcPts val="0"/>
                </a:spcAft>
                <a:defRPr/>
              </a:pPr>
              <a:endParaRPr lang="en-US" sz="1325" b="0" dirty="0">
                <a:solidFill>
                  <a:srgbClr val="FFFFFF"/>
                </a:solidFill>
                <a:latin typeface="Segoe UI"/>
              </a:endParaRPr>
            </a:p>
          </p:txBody>
        </p:sp>
      </p:grpSp>
      <p:sp>
        <p:nvSpPr>
          <p:cNvPr id="462" name="Freeform 461"/>
          <p:cNvSpPr/>
          <p:nvPr/>
        </p:nvSpPr>
        <p:spPr bwMode="auto">
          <a:xfrm>
            <a:off x="1505824" y="3599750"/>
            <a:ext cx="170213" cy="178122"/>
          </a:xfrm>
          <a:custGeom>
            <a:avLst/>
            <a:gdLst>
              <a:gd name="connsiteX0" fmla="*/ 84139 w 3657601"/>
              <a:gd name="connsiteY0" fmla="*/ 2916238 h 3827556"/>
              <a:gd name="connsiteX1" fmla="*/ 420687 w 3657601"/>
              <a:gd name="connsiteY1" fmla="*/ 2916238 h 3827556"/>
              <a:gd name="connsiteX2" fmla="*/ 504826 w 3657601"/>
              <a:gd name="connsiteY2" fmla="*/ 3000377 h 3827556"/>
              <a:gd name="connsiteX3" fmla="*/ 504826 w 3657601"/>
              <a:gd name="connsiteY3" fmla="*/ 3306764 h 3827556"/>
              <a:gd name="connsiteX4" fmla="*/ 3152775 w 3657601"/>
              <a:gd name="connsiteY4" fmla="*/ 3306764 h 3827556"/>
              <a:gd name="connsiteX5" fmla="*/ 3152775 w 3657601"/>
              <a:gd name="connsiteY5" fmla="*/ 3000377 h 3827556"/>
              <a:gd name="connsiteX6" fmla="*/ 3236914 w 3657601"/>
              <a:gd name="connsiteY6" fmla="*/ 2916238 h 3827556"/>
              <a:gd name="connsiteX7" fmla="*/ 3573462 w 3657601"/>
              <a:gd name="connsiteY7" fmla="*/ 2916238 h 3827556"/>
              <a:gd name="connsiteX8" fmla="*/ 3657601 w 3657601"/>
              <a:gd name="connsiteY8" fmla="*/ 3000377 h 3827556"/>
              <a:gd name="connsiteX9" fmla="*/ 3657601 w 3657601"/>
              <a:gd name="connsiteY9" fmla="*/ 3827556 h 3827556"/>
              <a:gd name="connsiteX10" fmla="*/ 3657600 w 3657601"/>
              <a:gd name="connsiteY10" fmla="*/ 3827556 h 3827556"/>
              <a:gd name="connsiteX11" fmla="*/ 3152775 w 3657601"/>
              <a:gd name="connsiteY11" fmla="*/ 3827556 h 3827556"/>
              <a:gd name="connsiteX12" fmla="*/ 504826 w 3657601"/>
              <a:gd name="connsiteY12" fmla="*/ 3827556 h 3827556"/>
              <a:gd name="connsiteX13" fmla="*/ 0 w 3657601"/>
              <a:gd name="connsiteY13" fmla="*/ 3827556 h 3827556"/>
              <a:gd name="connsiteX14" fmla="*/ 0 w 3657601"/>
              <a:gd name="connsiteY14" fmla="*/ 3306764 h 3827556"/>
              <a:gd name="connsiteX15" fmla="*/ 0 w 3657601"/>
              <a:gd name="connsiteY15" fmla="*/ 3000377 h 3827556"/>
              <a:gd name="connsiteX16" fmla="*/ 84139 w 3657601"/>
              <a:gd name="connsiteY16" fmla="*/ 2916238 h 3827556"/>
              <a:gd name="connsiteX17" fmla="*/ 805598 w 3657601"/>
              <a:gd name="connsiteY17" fmla="*/ 2427382 h 3827556"/>
              <a:gd name="connsiteX18" fmla="*/ 1347052 w 3657601"/>
              <a:gd name="connsiteY18" fmla="*/ 2427382 h 3827556"/>
              <a:gd name="connsiteX19" fmla="*/ 1390650 w 3657601"/>
              <a:gd name="connsiteY19" fmla="*/ 2470980 h 3827556"/>
              <a:gd name="connsiteX20" fmla="*/ 1390650 w 3657601"/>
              <a:gd name="connsiteY20" fmla="*/ 2869558 h 3827556"/>
              <a:gd name="connsiteX21" fmla="*/ 1347052 w 3657601"/>
              <a:gd name="connsiteY21" fmla="*/ 2913156 h 3827556"/>
              <a:gd name="connsiteX22" fmla="*/ 805598 w 3657601"/>
              <a:gd name="connsiteY22" fmla="*/ 2913156 h 3827556"/>
              <a:gd name="connsiteX23" fmla="*/ 762000 w 3657601"/>
              <a:gd name="connsiteY23" fmla="*/ 2869558 h 3827556"/>
              <a:gd name="connsiteX24" fmla="*/ 762000 w 3657601"/>
              <a:gd name="connsiteY24" fmla="*/ 2470980 h 3827556"/>
              <a:gd name="connsiteX25" fmla="*/ 805598 w 3657601"/>
              <a:gd name="connsiteY25" fmla="*/ 2427382 h 3827556"/>
              <a:gd name="connsiteX26" fmla="*/ 1681898 w 3657601"/>
              <a:gd name="connsiteY26" fmla="*/ 2047199 h 3827556"/>
              <a:gd name="connsiteX27" fmla="*/ 2223352 w 3657601"/>
              <a:gd name="connsiteY27" fmla="*/ 2047199 h 3827556"/>
              <a:gd name="connsiteX28" fmla="*/ 2266950 w 3657601"/>
              <a:gd name="connsiteY28" fmla="*/ 2090797 h 3827556"/>
              <a:gd name="connsiteX29" fmla="*/ 2266950 w 3657601"/>
              <a:gd name="connsiteY29" fmla="*/ 2489375 h 3827556"/>
              <a:gd name="connsiteX30" fmla="*/ 2223352 w 3657601"/>
              <a:gd name="connsiteY30" fmla="*/ 2532973 h 3827556"/>
              <a:gd name="connsiteX31" fmla="*/ 1681898 w 3657601"/>
              <a:gd name="connsiteY31" fmla="*/ 2532973 h 3827556"/>
              <a:gd name="connsiteX32" fmla="*/ 1638300 w 3657601"/>
              <a:gd name="connsiteY32" fmla="*/ 2489375 h 3827556"/>
              <a:gd name="connsiteX33" fmla="*/ 1638300 w 3657601"/>
              <a:gd name="connsiteY33" fmla="*/ 2090797 h 3827556"/>
              <a:gd name="connsiteX34" fmla="*/ 1681898 w 3657601"/>
              <a:gd name="connsiteY34" fmla="*/ 2047199 h 3827556"/>
              <a:gd name="connsiteX35" fmla="*/ 805598 w 3657601"/>
              <a:gd name="connsiteY35" fmla="*/ 1669351 h 3827556"/>
              <a:gd name="connsiteX36" fmla="*/ 1347052 w 3657601"/>
              <a:gd name="connsiteY36" fmla="*/ 1669351 h 3827556"/>
              <a:gd name="connsiteX37" fmla="*/ 1390650 w 3657601"/>
              <a:gd name="connsiteY37" fmla="*/ 1712949 h 3827556"/>
              <a:gd name="connsiteX38" fmla="*/ 1390650 w 3657601"/>
              <a:gd name="connsiteY38" fmla="*/ 2111527 h 3827556"/>
              <a:gd name="connsiteX39" fmla="*/ 1347052 w 3657601"/>
              <a:gd name="connsiteY39" fmla="*/ 2155125 h 3827556"/>
              <a:gd name="connsiteX40" fmla="*/ 805598 w 3657601"/>
              <a:gd name="connsiteY40" fmla="*/ 2155125 h 3827556"/>
              <a:gd name="connsiteX41" fmla="*/ 762000 w 3657601"/>
              <a:gd name="connsiteY41" fmla="*/ 2111527 h 3827556"/>
              <a:gd name="connsiteX42" fmla="*/ 762000 w 3657601"/>
              <a:gd name="connsiteY42" fmla="*/ 1712949 h 3827556"/>
              <a:gd name="connsiteX43" fmla="*/ 805598 w 3657601"/>
              <a:gd name="connsiteY43" fmla="*/ 1669351 h 3827556"/>
              <a:gd name="connsiteX44" fmla="*/ 2558198 w 3657601"/>
              <a:gd name="connsiteY44" fmla="*/ 1645318 h 3827556"/>
              <a:gd name="connsiteX45" fmla="*/ 3099652 w 3657601"/>
              <a:gd name="connsiteY45" fmla="*/ 1645318 h 3827556"/>
              <a:gd name="connsiteX46" fmla="*/ 3143250 w 3657601"/>
              <a:gd name="connsiteY46" fmla="*/ 1688916 h 3827556"/>
              <a:gd name="connsiteX47" fmla="*/ 3143250 w 3657601"/>
              <a:gd name="connsiteY47" fmla="*/ 2087494 h 3827556"/>
              <a:gd name="connsiteX48" fmla="*/ 3099652 w 3657601"/>
              <a:gd name="connsiteY48" fmla="*/ 2131092 h 3827556"/>
              <a:gd name="connsiteX49" fmla="*/ 2558198 w 3657601"/>
              <a:gd name="connsiteY49" fmla="*/ 2131092 h 3827556"/>
              <a:gd name="connsiteX50" fmla="*/ 2514600 w 3657601"/>
              <a:gd name="connsiteY50" fmla="*/ 2087494 h 3827556"/>
              <a:gd name="connsiteX51" fmla="*/ 2514600 w 3657601"/>
              <a:gd name="connsiteY51" fmla="*/ 1688916 h 3827556"/>
              <a:gd name="connsiteX52" fmla="*/ 2558198 w 3657601"/>
              <a:gd name="connsiteY52" fmla="*/ 1645318 h 3827556"/>
              <a:gd name="connsiteX53" fmla="*/ 1681898 w 3657601"/>
              <a:gd name="connsiteY53" fmla="*/ 1288793 h 3827556"/>
              <a:gd name="connsiteX54" fmla="*/ 2223352 w 3657601"/>
              <a:gd name="connsiteY54" fmla="*/ 1288793 h 3827556"/>
              <a:gd name="connsiteX55" fmla="*/ 2266950 w 3657601"/>
              <a:gd name="connsiteY55" fmla="*/ 1332391 h 3827556"/>
              <a:gd name="connsiteX56" fmla="*/ 2266950 w 3657601"/>
              <a:gd name="connsiteY56" fmla="*/ 1730969 h 3827556"/>
              <a:gd name="connsiteX57" fmla="*/ 2223352 w 3657601"/>
              <a:gd name="connsiteY57" fmla="*/ 1774567 h 3827556"/>
              <a:gd name="connsiteX58" fmla="*/ 1681898 w 3657601"/>
              <a:gd name="connsiteY58" fmla="*/ 1774567 h 3827556"/>
              <a:gd name="connsiteX59" fmla="*/ 1638300 w 3657601"/>
              <a:gd name="connsiteY59" fmla="*/ 1730969 h 3827556"/>
              <a:gd name="connsiteX60" fmla="*/ 1638300 w 3657601"/>
              <a:gd name="connsiteY60" fmla="*/ 1332391 h 3827556"/>
              <a:gd name="connsiteX61" fmla="*/ 1681898 w 3657601"/>
              <a:gd name="connsiteY61" fmla="*/ 1288793 h 3827556"/>
              <a:gd name="connsiteX62" fmla="*/ 805598 w 3657601"/>
              <a:gd name="connsiteY62" fmla="*/ 911320 h 3827556"/>
              <a:gd name="connsiteX63" fmla="*/ 1347052 w 3657601"/>
              <a:gd name="connsiteY63" fmla="*/ 911320 h 3827556"/>
              <a:gd name="connsiteX64" fmla="*/ 1390650 w 3657601"/>
              <a:gd name="connsiteY64" fmla="*/ 954918 h 3827556"/>
              <a:gd name="connsiteX65" fmla="*/ 1390650 w 3657601"/>
              <a:gd name="connsiteY65" fmla="*/ 1353496 h 3827556"/>
              <a:gd name="connsiteX66" fmla="*/ 1347052 w 3657601"/>
              <a:gd name="connsiteY66" fmla="*/ 1397094 h 3827556"/>
              <a:gd name="connsiteX67" fmla="*/ 805598 w 3657601"/>
              <a:gd name="connsiteY67" fmla="*/ 1397094 h 3827556"/>
              <a:gd name="connsiteX68" fmla="*/ 762000 w 3657601"/>
              <a:gd name="connsiteY68" fmla="*/ 1353496 h 3827556"/>
              <a:gd name="connsiteX69" fmla="*/ 762000 w 3657601"/>
              <a:gd name="connsiteY69" fmla="*/ 954918 h 3827556"/>
              <a:gd name="connsiteX70" fmla="*/ 805598 w 3657601"/>
              <a:gd name="connsiteY70" fmla="*/ 911320 h 3827556"/>
              <a:gd name="connsiteX71" fmla="*/ 0 w 3657601"/>
              <a:gd name="connsiteY71" fmla="*/ 0 h 3827556"/>
              <a:gd name="connsiteX72" fmla="*/ 1 w 3657601"/>
              <a:gd name="connsiteY72" fmla="*/ 0 h 3827556"/>
              <a:gd name="connsiteX73" fmla="*/ 504826 w 3657601"/>
              <a:gd name="connsiteY73" fmla="*/ 0 h 3827556"/>
              <a:gd name="connsiteX74" fmla="*/ 3152775 w 3657601"/>
              <a:gd name="connsiteY74" fmla="*/ 0 h 3827556"/>
              <a:gd name="connsiteX75" fmla="*/ 3657601 w 3657601"/>
              <a:gd name="connsiteY75" fmla="*/ 0 h 3827556"/>
              <a:gd name="connsiteX76" fmla="*/ 3657601 w 3657601"/>
              <a:gd name="connsiteY76" fmla="*/ 520792 h 3827556"/>
              <a:gd name="connsiteX77" fmla="*/ 3657601 w 3657601"/>
              <a:gd name="connsiteY77" fmla="*/ 827179 h 3827556"/>
              <a:gd name="connsiteX78" fmla="*/ 3573462 w 3657601"/>
              <a:gd name="connsiteY78" fmla="*/ 911318 h 3827556"/>
              <a:gd name="connsiteX79" fmla="*/ 3236914 w 3657601"/>
              <a:gd name="connsiteY79" fmla="*/ 911318 h 3827556"/>
              <a:gd name="connsiteX80" fmla="*/ 3152775 w 3657601"/>
              <a:gd name="connsiteY80" fmla="*/ 827179 h 3827556"/>
              <a:gd name="connsiteX81" fmla="*/ 3152775 w 3657601"/>
              <a:gd name="connsiteY81" fmla="*/ 520792 h 3827556"/>
              <a:gd name="connsiteX82" fmla="*/ 504826 w 3657601"/>
              <a:gd name="connsiteY82" fmla="*/ 520792 h 3827556"/>
              <a:gd name="connsiteX83" fmla="*/ 504826 w 3657601"/>
              <a:gd name="connsiteY83" fmla="*/ 827179 h 3827556"/>
              <a:gd name="connsiteX84" fmla="*/ 420687 w 3657601"/>
              <a:gd name="connsiteY84" fmla="*/ 911318 h 3827556"/>
              <a:gd name="connsiteX85" fmla="*/ 84139 w 3657601"/>
              <a:gd name="connsiteY85" fmla="*/ 911318 h 3827556"/>
              <a:gd name="connsiteX86" fmla="*/ 0 w 3657601"/>
              <a:gd name="connsiteY86" fmla="*/ 827179 h 3827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3657601" h="3827556">
                <a:moveTo>
                  <a:pt x="84139" y="2916238"/>
                </a:moveTo>
                <a:lnTo>
                  <a:pt x="420687" y="2916238"/>
                </a:lnTo>
                <a:cubicBezTo>
                  <a:pt x="467156" y="2916238"/>
                  <a:pt x="504826" y="2953908"/>
                  <a:pt x="504826" y="3000377"/>
                </a:cubicBezTo>
                <a:lnTo>
                  <a:pt x="504826" y="3306764"/>
                </a:lnTo>
                <a:lnTo>
                  <a:pt x="3152775" y="3306764"/>
                </a:lnTo>
                <a:lnTo>
                  <a:pt x="3152775" y="3000377"/>
                </a:lnTo>
                <a:cubicBezTo>
                  <a:pt x="3152775" y="2953908"/>
                  <a:pt x="3190445" y="2916238"/>
                  <a:pt x="3236914" y="2916238"/>
                </a:cubicBezTo>
                <a:lnTo>
                  <a:pt x="3573462" y="2916238"/>
                </a:lnTo>
                <a:cubicBezTo>
                  <a:pt x="3619931" y="2916238"/>
                  <a:pt x="3657601" y="2953908"/>
                  <a:pt x="3657601" y="3000377"/>
                </a:cubicBezTo>
                <a:lnTo>
                  <a:pt x="3657601" y="3827556"/>
                </a:lnTo>
                <a:lnTo>
                  <a:pt x="3657600" y="3827556"/>
                </a:lnTo>
                <a:lnTo>
                  <a:pt x="3152775" y="3827556"/>
                </a:lnTo>
                <a:lnTo>
                  <a:pt x="504826" y="3827556"/>
                </a:lnTo>
                <a:lnTo>
                  <a:pt x="0" y="3827556"/>
                </a:lnTo>
                <a:lnTo>
                  <a:pt x="0" y="3306764"/>
                </a:lnTo>
                <a:lnTo>
                  <a:pt x="0" y="3000377"/>
                </a:lnTo>
                <a:cubicBezTo>
                  <a:pt x="0" y="2953908"/>
                  <a:pt x="37670" y="2916238"/>
                  <a:pt x="84139" y="2916238"/>
                </a:cubicBezTo>
                <a:close/>
                <a:moveTo>
                  <a:pt x="805598" y="2427382"/>
                </a:moveTo>
                <a:lnTo>
                  <a:pt x="1347052" y="2427382"/>
                </a:lnTo>
                <a:cubicBezTo>
                  <a:pt x="1371131" y="2427382"/>
                  <a:pt x="1390650" y="2446901"/>
                  <a:pt x="1390650" y="2470980"/>
                </a:cubicBezTo>
                <a:lnTo>
                  <a:pt x="1390650" y="2869558"/>
                </a:lnTo>
                <a:cubicBezTo>
                  <a:pt x="1390650" y="2893637"/>
                  <a:pt x="1371131" y="2913156"/>
                  <a:pt x="1347052" y="2913156"/>
                </a:cubicBezTo>
                <a:lnTo>
                  <a:pt x="805598" y="2913156"/>
                </a:lnTo>
                <a:cubicBezTo>
                  <a:pt x="781519" y="2913156"/>
                  <a:pt x="762000" y="2893637"/>
                  <a:pt x="762000" y="2869558"/>
                </a:cubicBezTo>
                <a:lnTo>
                  <a:pt x="762000" y="2470980"/>
                </a:lnTo>
                <a:cubicBezTo>
                  <a:pt x="762000" y="2446901"/>
                  <a:pt x="781519" y="2427382"/>
                  <a:pt x="805598" y="2427382"/>
                </a:cubicBezTo>
                <a:close/>
                <a:moveTo>
                  <a:pt x="1681898" y="2047199"/>
                </a:moveTo>
                <a:lnTo>
                  <a:pt x="2223352" y="2047199"/>
                </a:lnTo>
                <a:cubicBezTo>
                  <a:pt x="2247431" y="2047199"/>
                  <a:pt x="2266950" y="2066718"/>
                  <a:pt x="2266950" y="2090797"/>
                </a:cubicBezTo>
                <a:lnTo>
                  <a:pt x="2266950" y="2489375"/>
                </a:lnTo>
                <a:cubicBezTo>
                  <a:pt x="2266950" y="2513454"/>
                  <a:pt x="2247431" y="2532973"/>
                  <a:pt x="2223352" y="2532973"/>
                </a:cubicBezTo>
                <a:lnTo>
                  <a:pt x="1681898" y="2532973"/>
                </a:lnTo>
                <a:cubicBezTo>
                  <a:pt x="1657819" y="2532973"/>
                  <a:pt x="1638300" y="2513454"/>
                  <a:pt x="1638300" y="2489375"/>
                </a:cubicBezTo>
                <a:lnTo>
                  <a:pt x="1638300" y="2090797"/>
                </a:lnTo>
                <a:cubicBezTo>
                  <a:pt x="1638300" y="2066718"/>
                  <a:pt x="1657819" y="2047199"/>
                  <a:pt x="1681898" y="2047199"/>
                </a:cubicBezTo>
                <a:close/>
                <a:moveTo>
                  <a:pt x="805598" y="1669351"/>
                </a:moveTo>
                <a:lnTo>
                  <a:pt x="1347052" y="1669351"/>
                </a:lnTo>
                <a:cubicBezTo>
                  <a:pt x="1371131" y="1669351"/>
                  <a:pt x="1390650" y="1688870"/>
                  <a:pt x="1390650" y="1712949"/>
                </a:cubicBezTo>
                <a:lnTo>
                  <a:pt x="1390650" y="2111527"/>
                </a:lnTo>
                <a:cubicBezTo>
                  <a:pt x="1390650" y="2135606"/>
                  <a:pt x="1371131" y="2155125"/>
                  <a:pt x="1347052" y="2155125"/>
                </a:cubicBezTo>
                <a:lnTo>
                  <a:pt x="805598" y="2155125"/>
                </a:lnTo>
                <a:cubicBezTo>
                  <a:pt x="781519" y="2155125"/>
                  <a:pt x="762000" y="2135606"/>
                  <a:pt x="762000" y="2111527"/>
                </a:cubicBezTo>
                <a:lnTo>
                  <a:pt x="762000" y="1712949"/>
                </a:lnTo>
                <a:cubicBezTo>
                  <a:pt x="762000" y="1688870"/>
                  <a:pt x="781519" y="1669351"/>
                  <a:pt x="805598" y="1669351"/>
                </a:cubicBezTo>
                <a:close/>
                <a:moveTo>
                  <a:pt x="2558198" y="1645318"/>
                </a:moveTo>
                <a:lnTo>
                  <a:pt x="3099652" y="1645318"/>
                </a:lnTo>
                <a:cubicBezTo>
                  <a:pt x="3123731" y="1645318"/>
                  <a:pt x="3143250" y="1664837"/>
                  <a:pt x="3143250" y="1688916"/>
                </a:cubicBezTo>
                <a:lnTo>
                  <a:pt x="3143250" y="2087494"/>
                </a:lnTo>
                <a:cubicBezTo>
                  <a:pt x="3143250" y="2111573"/>
                  <a:pt x="3123731" y="2131092"/>
                  <a:pt x="3099652" y="2131092"/>
                </a:cubicBezTo>
                <a:lnTo>
                  <a:pt x="2558198" y="2131092"/>
                </a:lnTo>
                <a:cubicBezTo>
                  <a:pt x="2534119" y="2131092"/>
                  <a:pt x="2514600" y="2111573"/>
                  <a:pt x="2514600" y="2087494"/>
                </a:cubicBezTo>
                <a:lnTo>
                  <a:pt x="2514600" y="1688916"/>
                </a:lnTo>
                <a:cubicBezTo>
                  <a:pt x="2514600" y="1664837"/>
                  <a:pt x="2534119" y="1645318"/>
                  <a:pt x="2558198" y="1645318"/>
                </a:cubicBezTo>
                <a:close/>
                <a:moveTo>
                  <a:pt x="1681898" y="1288793"/>
                </a:moveTo>
                <a:lnTo>
                  <a:pt x="2223352" y="1288793"/>
                </a:lnTo>
                <a:cubicBezTo>
                  <a:pt x="2247431" y="1288793"/>
                  <a:pt x="2266950" y="1308312"/>
                  <a:pt x="2266950" y="1332391"/>
                </a:cubicBezTo>
                <a:lnTo>
                  <a:pt x="2266950" y="1730969"/>
                </a:lnTo>
                <a:cubicBezTo>
                  <a:pt x="2266950" y="1755048"/>
                  <a:pt x="2247431" y="1774567"/>
                  <a:pt x="2223352" y="1774567"/>
                </a:cubicBezTo>
                <a:lnTo>
                  <a:pt x="1681898" y="1774567"/>
                </a:lnTo>
                <a:cubicBezTo>
                  <a:pt x="1657819" y="1774567"/>
                  <a:pt x="1638300" y="1755048"/>
                  <a:pt x="1638300" y="1730969"/>
                </a:cubicBezTo>
                <a:lnTo>
                  <a:pt x="1638300" y="1332391"/>
                </a:lnTo>
                <a:cubicBezTo>
                  <a:pt x="1638300" y="1308312"/>
                  <a:pt x="1657819" y="1288793"/>
                  <a:pt x="1681898" y="1288793"/>
                </a:cubicBezTo>
                <a:close/>
                <a:moveTo>
                  <a:pt x="805598" y="911320"/>
                </a:moveTo>
                <a:lnTo>
                  <a:pt x="1347052" y="911320"/>
                </a:lnTo>
                <a:cubicBezTo>
                  <a:pt x="1371131" y="911320"/>
                  <a:pt x="1390650" y="930839"/>
                  <a:pt x="1390650" y="954918"/>
                </a:cubicBezTo>
                <a:lnTo>
                  <a:pt x="1390650" y="1353496"/>
                </a:lnTo>
                <a:cubicBezTo>
                  <a:pt x="1390650" y="1377575"/>
                  <a:pt x="1371131" y="1397094"/>
                  <a:pt x="1347052" y="1397094"/>
                </a:cubicBezTo>
                <a:lnTo>
                  <a:pt x="805598" y="1397094"/>
                </a:lnTo>
                <a:cubicBezTo>
                  <a:pt x="781519" y="1397094"/>
                  <a:pt x="762000" y="1377575"/>
                  <a:pt x="762000" y="1353496"/>
                </a:cubicBezTo>
                <a:lnTo>
                  <a:pt x="762000" y="954918"/>
                </a:lnTo>
                <a:cubicBezTo>
                  <a:pt x="762000" y="930839"/>
                  <a:pt x="781519" y="911320"/>
                  <a:pt x="805598" y="911320"/>
                </a:cubicBezTo>
                <a:close/>
                <a:moveTo>
                  <a:pt x="0" y="0"/>
                </a:moveTo>
                <a:lnTo>
                  <a:pt x="1" y="0"/>
                </a:lnTo>
                <a:lnTo>
                  <a:pt x="504826" y="0"/>
                </a:lnTo>
                <a:lnTo>
                  <a:pt x="3152775" y="0"/>
                </a:lnTo>
                <a:lnTo>
                  <a:pt x="3657601" y="0"/>
                </a:lnTo>
                <a:lnTo>
                  <a:pt x="3657601" y="520792"/>
                </a:lnTo>
                <a:lnTo>
                  <a:pt x="3657601" y="827179"/>
                </a:lnTo>
                <a:cubicBezTo>
                  <a:pt x="3657601" y="873648"/>
                  <a:pt x="3619931" y="911318"/>
                  <a:pt x="3573462" y="911318"/>
                </a:cubicBezTo>
                <a:lnTo>
                  <a:pt x="3236914" y="911318"/>
                </a:lnTo>
                <a:cubicBezTo>
                  <a:pt x="3190445" y="911318"/>
                  <a:pt x="3152775" y="873648"/>
                  <a:pt x="3152775" y="827179"/>
                </a:cubicBezTo>
                <a:lnTo>
                  <a:pt x="3152775" y="520792"/>
                </a:lnTo>
                <a:lnTo>
                  <a:pt x="504826" y="520792"/>
                </a:lnTo>
                <a:lnTo>
                  <a:pt x="504826" y="827179"/>
                </a:lnTo>
                <a:cubicBezTo>
                  <a:pt x="504826" y="873648"/>
                  <a:pt x="467156" y="911318"/>
                  <a:pt x="420687" y="911318"/>
                </a:cubicBezTo>
                <a:lnTo>
                  <a:pt x="84139" y="911318"/>
                </a:lnTo>
                <a:cubicBezTo>
                  <a:pt x="37670" y="911318"/>
                  <a:pt x="0" y="873648"/>
                  <a:pt x="0" y="827179"/>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67211" tIns="33605" rIns="67211" bIns="33605" numCol="1" spcCol="0" rtlCol="0" fromWordArt="0" anchor="ctr" anchorCtr="0" forceAA="0" compatLnSpc="1">
            <a:prstTxWarp prst="textNoShape">
              <a:avLst/>
            </a:prstTxWarp>
            <a:noAutofit/>
          </a:bodyPr>
          <a:lstStyle/>
          <a:p>
            <a:pPr algn="ctr" defTabSz="685370">
              <a:defRPr/>
            </a:pPr>
            <a:endParaRPr lang="en-US" sz="1765" b="0" kern="0" dirty="0">
              <a:solidFill>
                <a:srgbClr val="FFFFFF"/>
              </a:solidFill>
              <a:latin typeface="Segoe UI"/>
              <a:ea typeface="Segoe UI" pitchFamily="34" charset="0"/>
              <a:cs typeface="Segoe UI" pitchFamily="34" charset="0"/>
            </a:endParaRPr>
          </a:p>
        </p:txBody>
      </p:sp>
      <p:sp>
        <p:nvSpPr>
          <p:cNvPr id="463" name="Freeform 462"/>
          <p:cNvSpPr/>
          <p:nvPr/>
        </p:nvSpPr>
        <p:spPr bwMode="auto">
          <a:xfrm flipH="1">
            <a:off x="4205692" y="2646641"/>
            <a:ext cx="196439" cy="207880"/>
          </a:xfrm>
          <a:custGeom>
            <a:avLst/>
            <a:gdLst>
              <a:gd name="connsiteX0" fmla="*/ 1820774 w 3146654"/>
              <a:gd name="connsiteY0" fmla="*/ 396240 h 3329940"/>
              <a:gd name="connsiteX1" fmla="*/ 1820774 w 3146654"/>
              <a:gd name="connsiteY1" fmla="*/ 1062990 h 3329940"/>
              <a:gd name="connsiteX2" fmla="*/ 2760574 w 3146654"/>
              <a:gd name="connsiteY2" fmla="*/ 2815590 h 3329940"/>
              <a:gd name="connsiteX3" fmla="*/ 2722474 w 3146654"/>
              <a:gd name="connsiteY3" fmla="*/ 2923540 h 3329940"/>
              <a:gd name="connsiteX4" fmla="*/ 2455774 w 3146654"/>
              <a:gd name="connsiteY4" fmla="*/ 2923540 h 3329940"/>
              <a:gd name="connsiteX5" fmla="*/ 1693774 w 3146654"/>
              <a:gd name="connsiteY5" fmla="*/ 1418590 h 3329940"/>
              <a:gd name="connsiteX6" fmla="*/ 1141324 w 3146654"/>
              <a:gd name="connsiteY6" fmla="*/ 1418590 h 3329940"/>
              <a:gd name="connsiteX7" fmla="*/ 1331824 w 3146654"/>
              <a:gd name="connsiteY7" fmla="*/ 999490 h 3329940"/>
              <a:gd name="connsiteX8" fmla="*/ 1331824 w 3146654"/>
              <a:gd name="connsiteY8" fmla="*/ 396240 h 3329940"/>
              <a:gd name="connsiteX9" fmla="*/ 2415134 w 3146654"/>
              <a:gd name="connsiteY9" fmla="*/ 0 h 3329940"/>
              <a:gd name="connsiteX10" fmla="*/ 2369414 w 3146654"/>
              <a:gd name="connsiteY10" fmla="*/ 0 h 3329940"/>
              <a:gd name="connsiteX11" fmla="*/ 1607414 w 3146654"/>
              <a:gd name="connsiteY11" fmla="*/ 0 h 3329940"/>
              <a:gd name="connsiteX12" fmla="*/ 1584960 w 3146654"/>
              <a:gd name="connsiteY12" fmla="*/ 0 h 3329940"/>
              <a:gd name="connsiteX13" fmla="*/ 1561694 w 3146654"/>
              <a:gd name="connsiteY13" fmla="*/ 0 h 3329940"/>
              <a:gd name="connsiteX14" fmla="*/ 1539240 w 3146654"/>
              <a:gd name="connsiteY14" fmla="*/ 0 h 3329940"/>
              <a:gd name="connsiteX15" fmla="*/ 777240 w 3146654"/>
              <a:gd name="connsiteY15" fmla="*/ 0 h 3329940"/>
              <a:gd name="connsiteX16" fmla="*/ 731520 w 3146654"/>
              <a:gd name="connsiteY16" fmla="*/ 0 h 3329940"/>
              <a:gd name="connsiteX17" fmla="*/ 731520 w 3146654"/>
              <a:gd name="connsiteY17" fmla="*/ 381000 h 3329940"/>
              <a:gd name="connsiteX18" fmla="*/ 784860 w 3146654"/>
              <a:gd name="connsiteY18" fmla="*/ 381000 h 3329940"/>
              <a:gd name="connsiteX19" fmla="*/ 960120 w 3146654"/>
              <a:gd name="connsiteY19" fmla="*/ 381000 h 3329940"/>
              <a:gd name="connsiteX20" fmla="*/ 960120 w 3146654"/>
              <a:gd name="connsiteY20" fmla="*/ 899160 h 3329940"/>
              <a:gd name="connsiteX21" fmla="*/ 0 w 3146654"/>
              <a:gd name="connsiteY21" fmla="*/ 2834640 h 3329940"/>
              <a:gd name="connsiteX22" fmla="*/ 297180 w 3146654"/>
              <a:gd name="connsiteY22" fmla="*/ 3329940 h 3329940"/>
              <a:gd name="connsiteX23" fmla="*/ 1561694 w 3146654"/>
              <a:gd name="connsiteY23" fmla="*/ 3329940 h 3329940"/>
              <a:gd name="connsiteX24" fmla="*/ 1584960 w 3146654"/>
              <a:gd name="connsiteY24" fmla="*/ 3329940 h 3329940"/>
              <a:gd name="connsiteX25" fmla="*/ 2849474 w 3146654"/>
              <a:gd name="connsiteY25" fmla="*/ 3329940 h 3329940"/>
              <a:gd name="connsiteX26" fmla="*/ 3146654 w 3146654"/>
              <a:gd name="connsiteY26" fmla="*/ 2834640 h 3329940"/>
              <a:gd name="connsiteX27" fmla="*/ 2186534 w 3146654"/>
              <a:gd name="connsiteY27" fmla="*/ 899160 h 3329940"/>
              <a:gd name="connsiteX28" fmla="*/ 2186534 w 3146654"/>
              <a:gd name="connsiteY28" fmla="*/ 381000 h 3329940"/>
              <a:gd name="connsiteX29" fmla="*/ 2361794 w 3146654"/>
              <a:gd name="connsiteY29" fmla="*/ 381000 h 3329940"/>
              <a:gd name="connsiteX30" fmla="*/ 2415134 w 3146654"/>
              <a:gd name="connsiteY30" fmla="*/ 381000 h 3329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146654" h="3329940">
                <a:moveTo>
                  <a:pt x="1820774" y="396240"/>
                </a:moveTo>
                <a:lnTo>
                  <a:pt x="1820774" y="1062990"/>
                </a:lnTo>
                <a:lnTo>
                  <a:pt x="2760574" y="2815590"/>
                </a:lnTo>
                <a:lnTo>
                  <a:pt x="2722474" y="2923540"/>
                </a:lnTo>
                <a:lnTo>
                  <a:pt x="2455774" y="2923540"/>
                </a:lnTo>
                <a:lnTo>
                  <a:pt x="1693774" y="1418590"/>
                </a:lnTo>
                <a:lnTo>
                  <a:pt x="1141324" y="1418590"/>
                </a:lnTo>
                <a:lnTo>
                  <a:pt x="1331824" y="999490"/>
                </a:lnTo>
                <a:lnTo>
                  <a:pt x="1331824" y="396240"/>
                </a:lnTo>
                <a:close/>
                <a:moveTo>
                  <a:pt x="2415134" y="0"/>
                </a:moveTo>
                <a:lnTo>
                  <a:pt x="2369414" y="0"/>
                </a:lnTo>
                <a:lnTo>
                  <a:pt x="1607414" y="0"/>
                </a:lnTo>
                <a:lnTo>
                  <a:pt x="1584960" y="0"/>
                </a:lnTo>
                <a:lnTo>
                  <a:pt x="1561694" y="0"/>
                </a:lnTo>
                <a:lnTo>
                  <a:pt x="1539240" y="0"/>
                </a:lnTo>
                <a:lnTo>
                  <a:pt x="777240" y="0"/>
                </a:lnTo>
                <a:lnTo>
                  <a:pt x="731520" y="0"/>
                </a:lnTo>
                <a:lnTo>
                  <a:pt x="731520" y="381000"/>
                </a:lnTo>
                <a:lnTo>
                  <a:pt x="784860" y="381000"/>
                </a:lnTo>
                <a:lnTo>
                  <a:pt x="960120" y="381000"/>
                </a:lnTo>
                <a:lnTo>
                  <a:pt x="960120" y="899160"/>
                </a:lnTo>
                <a:lnTo>
                  <a:pt x="0" y="2834640"/>
                </a:lnTo>
                <a:lnTo>
                  <a:pt x="297180" y="3329940"/>
                </a:lnTo>
                <a:lnTo>
                  <a:pt x="1561694" y="3329940"/>
                </a:lnTo>
                <a:lnTo>
                  <a:pt x="1584960" y="3329940"/>
                </a:lnTo>
                <a:lnTo>
                  <a:pt x="2849474" y="3329940"/>
                </a:lnTo>
                <a:lnTo>
                  <a:pt x="3146654" y="2834640"/>
                </a:lnTo>
                <a:lnTo>
                  <a:pt x="2186534" y="899160"/>
                </a:lnTo>
                <a:lnTo>
                  <a:pt x="2186534" y="381000"/>
                </a:lnTo>
                <a:lnTo>
                  <a:pt x="2361794" y="381000"/>
                </a:lnTo>
                <a:lnTo>
                  <a:pt x="2415134" y="381000"/>
                </a:ln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67211" tIns="33605" rIns="67211" bIns="33605" numCol="1" spcCol="0" rtlCol="0" fromWordArt="0" anchor="ctr" anchorCtr="0" forceAA="0" compatLnSpc="1">
            <a:prstTxWarp prst="textNoShape">
              <a:avLst/>
            </a:prstTxWarp>
            <a:noAutofit/>
          </a:bodyPr>
          <a:lstStyle/>
          <a:p>
            <a:pPr algn="ctr" defTabSz="685370">
              <a:defRPr/>
            </a:pPr>
            <a:endParaRPr lang="en-US" sz="1765" b="0" kern="0" dirty="0">
              <a:solidFill>
                <a:srgbClr val="FFFFFF"/>
              </a:solidFill>
              <a:latin typeface="Segoe UI"/>
              <a:ea typeface="Segoe UI" pitchFamily="34" charset="0"/>
              <a:cs typeface="Segoe UI" pitchFamily="34" charset="0"/>
            </a:endParaRPr>
          </a:p>
        </p:txBody>
      </p:sp>
      <p:grpSp>
        <p:nvGrpSpPr>
          <p:cNvPr id="468" name="Group 467"/>
          <p:cNvGrpSpPr/>
          <p:nvPr/>
        </p:nvGrpSpPr>
        <p:grpSpPr>
          <a:xfrm>
            <a:off x="497882" y="3328483"/>
            <a:ext cx="383714" cy="392173"/>
            <a:chOff x="2308225" y="7734300"/>
            <a:chExt cx="1368425" cy="1398588"/>
          </a:xfrm>
          <a:solidFill>
            <a:schemeClr val="tx1"/>
          </a:solidFill>
        </p:grpSpPr>
        <p:sp>
          <p:nvSpPr>
            <p:cNvPr id="469" name="Freeform 97"/>
            <p:cNvSpPr>
              <a:spLocks/>
            </p:cNvSpPr>
            <p:nvPr/>
          </p:nvSpPr>
          <p:spPr bwMode="auto">
            <a:xfrm>
              <a:off x="2574925" y="8740775"/>
              <a:ext cx="174625" cy="41275"/>
            </a:xfrm>
            <a:custGeom>
              <a:avLst/>
              <a:gdLst>
                <a:gd name="T0" fmla="*/ 96 w 110"/>
                <a:gd name="T1" fmla="*/ 26 h 26"/>
                <a:gd name="T2" fmla="*/ 14 w 110"/>
                <a:gd name="T3" fmla="*/ 26 h 26"/>
                <a:gd name="T4" fmla="*/ 14 w 110"/>
                <a:gd name="T5" fmla="*/ 26 h 26"/>
                <a:gd name="T6" fmla="*/ 8 w 110"/>
                <a:gd name="T7" fmla="*/ 24 h 26"/>
                <a:gd name="T8" fmla="*/ 4 w 110"/>
                <a:gd name="T9" fmla="*/ 22 h 26"/>
                <a:gd name="T10" fmla="*/ 2 w 110"/>
                <a:gd name="T11" fmla="*/ 18 h 26"/>
                <a:gd name="T12" fmla="*/ 0 w 110"/>
                <a:gd name="T13" fmla="*/ 12 h 26"/>
                <a:gd name="T14" fmla="*/ 0 w 110"/>
                <a:gd name="T15" fmla="*/ 12 h 26"/>
                <a:gd name="T16" fmla="*/ 2 w 110"/>
                <a:gd name="T17" fmla="*/ 8 h 26"/>
                <a:gd name="T18" fmla="*/ 4 w 110"/>
                <a:gd name="T19" fmla="*/ 4 h 26"/>
                <a:gd name="T20" fmla="*/ 8 w 110"/>
                <a:gd name="T21" fmla="*/ 2 h 26"/>
                <a:gd name="T22" fmla="*/ 14 w 110"/>
                <a:gd name="T23" fmla="*/ 0 h 26"/>
                <a:gd name="T24" fmla="*/ 96 w 110"/>
                <a:gd name="T25" fmla="*/ 0 h 26"/>
                <a:gd name="T26" fmla="*/ 96 w 110"/>
                <a:gd name="T27" fmla="*/ 0 h 26"/>
                <a:gd name="T28" fmla="*/ 102 w 110"/>
                <a:gd name="T29" fmla="*/ 2 h 26"/>
                <a:gd name="T30" fmla="*/ 106 w 110"/>
                <a:gd name="T31" fmla="*/ 4 h 26"/>
                <a:gd name="T32" fmla="*/ 108 w 110"/>
                <a:gd name="T33" fmla="*/ 8 h 26"/>
                <a:gd name="T34" fmla="*/ 110 w 110"/>
                <a:gd name="T35" fmla="*/ 12 h 26"/>
                <a:gd name="T36" fmla="*/ 110 w 110"/>
                <a:gd name="T37" fmla="*/ 12 h 26"/>
                <a:gd name="T38" fmla="*/ 108 w 110"/>
                <a:gd name="T39" fmla="*/ 18 h 26"/>
                <a:gd name="T40" fmla="*/ 106 w 110"/>
                <a:gd name="T41" fmla="*/ 22 h 26"/>
                <a:gd name="T42" fmla="*/ 102 w 110"/>
                <a:gd name="T43" fmla="*/ 24 h 26"/>
                <a:gd name="T44" fmla="*/ 96 w 110"/>
                <a:gd name="T45" fmla="*/ 26 h 26"/>
                <a:gd name="T46" fmla="*/ 96 w 110"/>
                <a:gd name="T47"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0" h="26">
                  <a:moveTo>
                    <a:pt x="96" y="26"/>
                  </a:moveTo>
                  <a:lnTo>
                    <a:pt x="14" y="26"/>
                  </a:lnTo>
                  <a:lnTo>
                    <a:pt x="14" y="26"/>
                  </a:lnTo>
                  <a:lnTo>
                    <a:pt x="8" y="24"/>
                  </a:lnTo>
                  <a:lnTo>
                    <a:pt x="4" y="22"/>
                  </a:lnTo>
                  <a:lnTo>
                    <a:pt x="2" y="18"/>
                  </a:lnTo>
                  <a:lnTo>
                    <a:pt x="0" y="12"/>
                  </a:lnTo>
                  <a:lnTo>
                    <a:pt x="0" y="12"/>
                  </a:lnTo>
                  <a:lnTo>
                    <a:pt x="2" y="8"/>
                  </a:lnTo>
                  <a:lnTo>
                    <a:pt x="4" y="4"/>
                  </a:lnTo>
                  <a:lnTo>
                    <a:pt x="8" y="2"/>
                  </a:lnTo>
                  <a:lnTo>
                    <a:pt x="14" y="0"/>
                  </a:lnTo>
                  <a:lnTo>
                    <a:pt x="96" y="0"/>
                  </a:lnTo>
                  <a:lnTo>
                    <a:pt x="96" y="0"/>
                  </a:lnTo>
                  <a:lnTo>
                    <a:pt x="102" y="2"/>
                  </a:lnTo>
                  <a:lnTo>
                    <a:pt x="106" y="4"/>
                  </a:lnTo>
                  <a:lnTo>
                    <a:pt x="108" y="8"/>
                  </a:lnTo>
                  <a:lnTo>
                    <a:pt x="110" y="12"/>
                  </a:lnTo>
                  <a:lnTo>
                    <a:pt x="110" y="12"/>
                  </a:lnTo>
                  <a:lnTo>
                    <a:pt x="108" y="18"/>
                  </a:lnTo>
                  <a:lnTo>
                    <a:pt x="106" y="22"/>
                  </a:lnTo>
                  <a:lnTo>
                    <a:pt x="102" y="24"/>
                  </a:lnTo>
                  <a:lnTo>
                    <a:pt x="96" y="26"/>
                  </a:lnTo>
                  <a:lnTo>
                    <a:pt x="96"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11" tIns="33605" rIns="67211" bIns="33605" numCol="1" anchor="t" anchorCtr="0" compatLnSpc="1">
              <a:prstTxWarp prst="textNoShape">
                <a:avLst/>
              </a:prstTxWarp>
            </a:bodyPr>
            <a:lstStyle/>
            <a:p>
              <a:pPr defTabSz="685594" fontAlgn="auto">
                <a:spcBef>
                  <a:spcPts val="0"/>
                </a:spcBef>
                <a:spcAft>
                  <a:spcPts val="0"/>
                </a:spcAft>
                <a:defRPr/>
              </a:pPr>
              <a:endParaRPr lang="en-US" sz="1325" b="0" kern="0" dirty="0">
                <a:solidFill>
                  <a:srgbClr val="FFFFFF"/>
                </a:solidFill>
                <a:latin typeface="Segoe UI Semilight"/>
                <a:ea typeface="MS PGothic" panose="020B0600070205080204" pitchFamily="34" charset="-128"/>
                <a:cs typeface="+mn-cs"/>
              </a:endParaRPr>
            </a:p>
          </p:txBody>
        </p:sp>
        <p:sp>
          <p:nvSpPr>
            <p:cNvPr id="470" name="Freeform 98"/>
            <p:cNvSpPr>
              <a:spLocks noEditPoints="1"/>
            </p:cNvSpPr>
            <p:nvPr/>
          </p:nvSpPr>
          <p:spPr bwMode="auto">
            <a:xfrm>
              <a:off x="2428875" y="8096250"/>
              <a:ext cx="219075" cy="215900"/>
            </a:xfrm>
            <a:custGeom>
              <a:avLst/>
              <a:gdLst>
                <a:gd name="T0" fmla="*/ 120 w 138"/>
                <a:gd name="T1" fmla="*/ 136 h 136"/>
                <a:gd name="T2" fmla="*/ 18 w 138"/>
                <a:gd name="T3" fmla="*/ 136 h 136"/>
                <a:gd name="T4" fmla="*/ 18 w 138"/>
                <a:gd name="T5" fmla="*/ 136 h 136"/>
                <a:gd name="T6" fmla="*/ 12 w 138"/>
                <a:gd name="T7" fmla="*/ 136 h 136"/>
                <a:gd name="T8" fmla="*/ 6 w 138"/>
                <a:gd name="T9" fmla="*/ 132 h 136"/>
                <a:gd name="T10" fmla="*/ 2 w 138"/>
                <a:gd name="T11" fmla="*/ 126 h 136"/>
                <a:gd name="T12" fmla="*/ 0 w 138"/>
                <a:gd name="T13" fmla="*/ 118 h 136"/>
                <a:gd name="T14" fmla="*/ 0 w 138"/>
                <a:gd name="T15" fmla="*/ 18 h 136"/>
                <a:gd name="T16" fmla="*/ 0 w 138"/>
                <a:gd name="T17" fmla="*/ 18 h 136"/>
                <a:gd name="T18" fmla="*/ 2 w 138"/>
                <a:gd name="T19" fmla="*/ 10 h 136"/>
                <a:gd name="T20" fmla="*/ 6 w 138"/>
                <a:gd name="T21" fmla="*/ 4 h 136"/>
                <a:gd name="T22" fmla="*/ 12 w 138"/>
                <a:gd name="T23" fmla="*/ 2 h 136"/>
                <a:gd name="T24" fmla="*/ 18 w 138"/>
                <a:gd name="T25" fmla="*/ 0 h 136"/>
                <a:gd name="T26" fmla="*/ 120 w 138"/>
                <a:gd name="T27" fmla="*/ 0 h 136"/>
                <a:gd name="T28" fmla="*/ 120 w 138"/>
                <a:gd name="T29" fmla="*/ 0 h 136"/>
                <a:gd name="T30" fmla="*/ 126 w 138"/>
                <a:gd name="T31" fmla="*/ 2 h 136"/>
                <a:gd name="T32" fmla="*/ 132 w 138"/>
                <a:gd name="T33" fmla="*/ 4 h 136"/>
                <a:gd name="T34" fmla="*/ 136 w 138"/>
                <a:gd name="T35" fmla="*/ 10 h 136"/>
                <a:gd name="T36" fmla="*/ 138 w 138"/>
                <a:gd name="T37" fmla="*/ 18 h 136"/>
                <a:gd name="T38" fmla="*/ 138 w 138"/>
                <a:gd name="T39" fmla="*/ 118 h 136"/>
                <a:gd name="T40" fmla="*/ 138 w 138"/>
                <a:gd name="T41" fmla="*/ 118 h 136"/>
                <a:gd name="T42" fmla="*/ 136 w 138"/>
                <a:gd name="T43" fmla="*/ 126 h 136"/>
                <a:gd name="T44" fmla="*/ 132 w 138"/>
                <a:gd name="T45" fmla="*/ 132 h 136"/>
                <a:gd name="T46" fmla="*/ 126 w 138"/>
                <a:gd name="T47" fmla="*/ 136 h 136"/>
                <a:gd name="T48" fmla="*/ 120 w 138"/>
                <a:gd name="T49" fmla="*/ 136 h 136"/>
                <a:gd name="T50" fmla="*/ 120 w 138"/>
                <a:gd name="T51" fmla="*/ 136 h 136"/>
                <a:gd name="T52" fmla="*/ 26 w 138"/>
                <a:gd name="T53" fmla="*/ 112 h 136"/>
                <a:gd name="T54" fmla="*/ 112 w 138"/>
                <a:gd name="T55" fmla="*/ 112 h 136"/>
                <a:gd name="T56" fmla="*/ 112 w 138"/>
                <a:gd name="T57" fmla="*/ 24 h 136"/>
                <a:gd name="T58" fmla="*/ 26 w 138"/>
                <a:gd name="T59" fmla="*/ 24 h 136"/>
                <a:gd name="T60" fmla="*/ 26 w 138"/>
                <a:gd name="T61" fmla="*/ 112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8" h="136">
                  <a:moveTo>
                    <a:pt x="120" y="136"/>
                  </a:moveTo>
                  <a:lnTo>
                    <a:pt x="18" y="136"/>
                  </a:lnTo>
                  <a:lnTo>
                    <a:pt x="18" y="136"/>
                  </a:lnTo>
                  <a:lnTo>
                    <a:pt x="12" y="136"/>
                  </a:lnTo>
                  <a:lnTo>
                    <a:pt x="6" y="132"/>
                  </a:lnTo>
                  <a:lnTo>
                    <a:pt x="2" y="126"/>
                  </a:lnTo>
                  <a:lnTo>
                    <a:pt x="0" y="118"/>
                  </a:lnTo>
                  <a:lnTo>
                    <a:pt x="0" y="18"/>
                  </a:lnTo>
                  <a:lnTo>
                    <a:pt x="0" y="18"/>
                  </a:lnTo>
                  <a:lnTo>
                    <a:pt x="2" y="10"/>
                  </a:lnTo>
                  <a:lnTo>
                    <a:pt x="6" y="4"/>
                  </a:lnTo>
                  <a:lnTo>
                    <a:pt x="12" y="2"/>
                  </a:lnTo>
                  <a:lnTo>
                    <a:pt x="18" y="0"/>
                  </a:lnTo>
                  <a:lnTo>
                    <a:pt x="120" y="0"/>
                  </a:lnTo>
                  <a:lnTo>
                    <a:pt x="120" y="0"/>
                  </a:lnTo>
                  <a:lnTo>
                    <a:pt x="126" y="2"/>
                  </a:lnTo>
                  <a:lnTo>
                    <a:pt x="132" y="4"/>
                  </a:lnTo>
                  <a:lnTo>
                    <a:pt x="136" y="10"/>
                  </a:lnTo>
                  <a:lnTo>
                    <a:pt x="138" y="18"/>
                  </a:lnTo>
                  <a:lnTo>
                    <a:pt x="138" y="118"/>
                  </a:lnTo>
                  <a:lnTo>
                    <a:pt x="138" y="118"/>
                  </a:lnTo>
                  <a:lnTo>
                    <a:pt x="136" y="126"/>
                  </a:lnTo>
                  <a:lnTo>
                    <a:pt x="132" y="132"/>
                  </a:lnTo>
                  <a:lnTo>
                    <a:pt x="126" y="136"/>
                  </a:lnTo>
                  <a:lnTo>
                    <a:pt x="120" y="136"/>
                  </a:lnTo>
                  <a:lnTo>
                    <a:pt x="120" y="136"/>
                  </a:lnTo>
                  <a:close/>
                  <a:moveTo>
                    <a:pt x="26" y="112"/>
                  </a:moveTo>
                  <a:lnTo>
                    <a:pt x="112" y="112"/>
                  </a:lnTo>
                  <a:lnTo>
                    <a:pt x="112" y="24"/>
                  </a:lnTo>
                  <a:lnTo>
                    <a:pt x="26" y="24"/>
                  </a:lnTo>
                  <a:lnTo>
                    <a:pt x="26" y="1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11" tIns="33605" rIns="67211" bIns="33605" numCol="1" anchor="t" anchorCtr="0" compatLnSpc="1">
              <a:prstTxWarp prst="textNoShape">
                <a:avLst/>
              </a:prstTxWarp>
            </a:bodyPr>
            <a:lstStyle/>
            <a:p>
              <a:pPr defTabSz="685594" fontAlgn="auto">
                <a:spcBef>
                  <a:spcPts val="0"/>
                </a:spcBef>
                <a:spcAft>
                  <a:spcPts val="0"/>
                </a:spcAft>
                <a:defRPr/>
              </a:pPr>
              <a:endParaRPr lang="en-US" sz="1325" b="0" kern="0" dirty="0">
                <a:solidFill>
                  <a:srgbClr val="FFFFFF"/>
                </a:solidFill>
                <a:latin typeface="Segoe UI Semilight"/>
                <a:ea typeface="MS PGothic" panose="020B0600070205080204" pitchFamily="34" charset="-128"/>
                <a:cs typeface="+mn-cs"/>
              </a:endParaRPr>
            </a:p>
          </p:txBody>
        </p:sp>
        <p:sp>
          <p:nvSpPr>
            <p:cNvPr id="471" name="Freeform 99"/>
            <p:cNvSpPr>
              <a:spLocks noEditPoints="1"/>
            </p:cNvSpPr>
            <p:nvPr/>
          </p:nvSpPr>
          <p:spPr bwMode="auto">
            <a:xfrm>
              <a:off x="2428875" y="7845425"/>
              <a:ext cx="219075" cy="219075"/>
            </a:xfrm>
            <a:custGeom>
              <a:avLst/>
              <a:gdLst>
                <a:gd name="T0" fmla="*/ 120 w 138"/>
                <a:gd name="T1" fmla="*/ 138 h 138"/>
                <a:gd name="T2" fmla="*/ 18 w 138"/>
                <a:gd name="T3" fmla="*/ 138 h 138"/>
                <a:gd name="T4" fmla="*/ 18 w 138"/>
                <a:gd name="T5" fmla="*/ 138 h 138"/>
                <a:gd name="T6" fmla="*/ 12 w 138"/>
                <a:gd name="T7" fmla="*/ 136 h 138"/>
                <a:gd name="T8" fmla="*/ 6 w 138"/>
                <a:gd name="T9" fmla="*/ 132 h 138"/>
                <a:gd name="T10" fmla="*/ 2 w 138"/>
                <a:gd name="T11" fmla="*/ 128 h 138"/>
                <a:gd name="T12" fmla="*/ 0 w 138"/>
                <a:gd name="T13" fmla="*/ 120 h 138"/>
                <a:gd name="T14" fmla="*/ 0 w 138"/>
                <a:gd name="T15" fmla="*/ 20 h 138"/>
                <a:gd name="T16" fmla="*/ 0 w 138"/>
                <a:gd name="T17" fmla="*/ 20 h 138"/>
                <a:gd name="T18" fmla="*/ 2 w 138"/>
                <a:gd name="T19" fmla="*/ 12 h 138"/>
                <a:gd name="T20" fmla="*/ 6 w 138"/>
                <a:gd name="T21" fmla="*/ 6 h 138"/>
                <a:gd name="T22" fmla="*/ 12 w 138"/>
                <a:gd name="T23" fmla="*/ 2 h 138"/>
                <a:gd name="T24" fmla="*/ 18 w 138"/>
                <a:gd name="T25" fmla="*/ 0 h 138"/>
                <a:gd name="T26" fmla="*/ 120 w 138"/>
                <a:gd name="T27" fmla="*/ 0 h 138"/>
                <a:gd name="T28" fmla="*/ 120 w 138"/>
                <a:gd name="T29" fmla="*/ 0 h 138"/>
                <a:gd name="T30" fmla="*/ 126 w 138"/>
                <a:gd name="T31" fmla="*/ 2 h 138"/>
                <a:gd name="T32" fmla="*/ 132 w 138"/>
                <a:gd name="T33" fmla="*/ 6 h 138"/>
                <a:gd name="T34" fmla="*/ 136 w 138"/>
                <a:gd name="T35" fmla="*/ 12 h 138"/>
                <a:gd name="T36" fmla="*/ 138 w 138"/>
                <a:gd name="T37" fmla="*/ 20 h 138"/>
                <a:gd name="T38" fmla="*/ 138 w 138"/>
                <a:gd name="T39" fmla="*/ 120 h 138"/>
                <a:gd name="T40" fmla="*/ 138 w 138"/>
                <a:gd name="T41" fmla="*/ 120 h 138"/>
                <a:gd name="T42" fmla="*/ 136 w 138"/>
                <a:gd name="T43" fmla="*/ 128 h 138"/>
                <a:gd name="T44" fmla="*/ 132 w 138"/>
                <a:gd name="T45" fmla="*/ 132 h 138"/>
                <a:gd name="T46" fmla="*/ 126 w 138"/>
                <a:gd name="T47" fmla="*/ 136 h 138"/>
                <a:gd name="T48" fmla="*/ 120 w 138"/>
                <a:gd name="T49" fmla="*/ 138 h 138"/>
                <a:gd name="T50" fmla="*/ 120 w 138"/>
                <a:gd name="T51" fmla="*/ 138 h 138"/>
                <a:gd name="T52" fmla="*/ 26 w 138"/>
                <a:gd name="T53" fmla="*/ 114 h 138"/>
                <a:gd name="T54" fmla="*/ 112 w 138"/>
                <a:gd name="T55" fmla="*/ 114 h 138"/>
                <a:gd name="T56" fmla="*/ 112 w 138"/>
                <a:gd name="T57" fmla="*/ 26 h 138"/>
                <a:gd name="T58" fmla="*/ 26 w 138"/>
                <a:gd name="T59" fmla="*/ 26 h 138"/>
                <a:gd name="T60" fmla="*/ 26 w 138"/>
                <a:gd name="T61" fmla="*/ 114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8" h="138">
                  <a:moveTo>
                    <a:pt x="120" y="138"/>
                  </a:moveTo>
                  <a:lnTo>
                    <a:pt x="18" y="138"/>
                  </a:lnTo>
                  <a:lnTo>
                    <a:pt x="18" y="138"/>
                  </a:lnTo>
                  <a:lnTo>
                    <a:pt x="12" y="136"/>
                  </a:lnTo>
                  <a:lnTo>
                    <a:pt x="6" y="132"/>
                  </a:lnTo>
                  <a:lnTo>
                    <a:pt x="2" y="128"/>
                  </a:lnTo>
                  <a:lnTo>
                    <a:pt x="0" y="120"/>
                  </a:lnTo>
                  <a:lnTo>
                    <a:pt x="0" y="20"/>
                  </a:lnTo>
                  <a:lnTo>
                    <a:pt x="0" y="20"/>
                  </a:lnTo>
                  <a:lnTo>
                    <a:pt x="2" y="12"/>
                  </a:lnTo>
                  <a:lnTo>
                    <a:pt x="6" y="6"/>
                  </a:lnTo>
                  <a:lnTo>
                    <a:pt x="12" y="2"/>
                  </a:lnTo>
                  <a:lnTo>
                    <a:pt x="18" y="0"/>
                  </a:lnTo>
                  <a:lnTo>
                    <a:pt x="120" y="0"/>
                  </a:lnTo>
                  <a:lnTo>
                    <a:pt x="120" y="0"/>
                  </a:lnTo>
                  <a:lnTo>
                    <a:pt x="126" y="2"/>
                  </a:lnTo>
                  <a:lnTo>
                    <a:pt x="132" y="6"/>
                  </a:lnTo>
                  <a:lnTo>
                    <a:pt x="136" y="12"/>
                  </a:lnTo>
                  <a:lnTo>
                    <a:pt x="138" y="20"/>
                  </a:lnTo>
                  <a:lnTo>
                    <a:pt x="138" y="120"/>
                  </a:lnTo>
                  <a:lnTo>
                    <a:pt x="138" y="120"/>
                  </a:lnTo>
                  <a:lnTo>
                    <a:pt x="136" y="128"/>
                  </a:lnTo>
                  <a:lnTo>
                    <a:pt x="132" y="132"/>
                  </a:lnTo>
                  <a:lnTo>
                    <a:pt x="126" y="136"/>
                  </a:lnTo>
                  <a:lnTo>
                    <a:pt x="120" y="138"/>
                  </a:lnTo>
                  <a:lnTo>
                    <a:pt x="120" y="138"/>
                  </a:lnTo>
                  <a:close/>
                  <a:moveTo>
                    <a:pt x="26" y="114"/>
                  </a:moveTo>
                  <a:lnTo>
                    <a:pt x="112" y="114"/>
                  </a:lnTo>
                  <a:lnTo>
                    <a:pt x="112" y="26"/>
                  </a:lnTo>
                  <a:lnTo>
                    <a:pt x="26" y="26"/>
                  </a:lnTo>
                  <a:lnTo>
                    <a:pt x="26"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11" tIns="33605" rIns="67211" bIns="33605" numCol="1" anchor="t" anchorCtr="0" compatLnSpc="1">
              <a:prstTxWarp prst="textNoShape">
                <a:avLst/>
              </a:prstTxWarp>
            </a:bodyPr>
            <a:lstStyle/>
            <a:p>
              <a:pPr defTabSz="685594" fontAlgn="auto">
                <a:spcBef>
                  <a:spcPts val="0"/>
                </a:spcBef>
                <a:spcAft>
                  <a:spcPts val="0"/>
                </a:spcAft>
                <a:defRPr/>
              </a:pPr>
              <a:endParaRPr lang="en-US" sz="1325" b="0" kern="0" dirty="0">
                <a:solidFill>
                  <a:srgbClr val="FFFFFF"/>
                </a:solidFill>
                <a:latin typeface="Segoe UI Semilight"/>
                <a:ea typeface="MS PGothic" panose="020B0600070205080204" pitchFamily="34" charset="-128"/>
                <a:cs typeface="+mn-cs"/>
              </a:endParaRPr>
            </a:p>
          </p:txBody>
        </p:sp>
        <p:sp>
          <p:nvSpPr>
            <p:cNvPr id="472" name="Freeform 100"/>
            <p:cNvSpPr>
              <a:spLocks noEditPoints="1"/>
            </p:cNvSpPr>
            <p:nvPr/>
          </p:nvSpPr>
          <p:spPr bwMode="auto">
            <a:xfrm>
              <a:off x="2676525" y="7845425"/>
              <a:ext cx="219075" cy="219075"/>
            </a:xfrm>
            <a:custGeom>
              <a:avLst/>
              <a:gdLst>
                <a:gd name="T0" fmla="*/ 120 w 138"/>
                <a:gd name="T1" fmla="*/ 138 h 138"/>
                <a:gd name="T2" fmla="*/ 18 w 138"/>
                <a:gd name="T3" fmla="*/ 138 h 138"/>
                <a:gd name="T4" fmla="*/ 18 w 138"/>
                <a:gd name="T5" fmla="*/ 138 h 138"/>
                <a:gd name="T6" fmla="*/ 12 w 138"/>
                <a:gd name="T7" fmla="*/ 136 h 138"/>
                <a:gd name="T8" fmla="*/ 6 w 138"/>
                <a:gd name="T9" fmla="*/ 132 h 138"/>
                <a:gd name="T10" fmla="*/ 2 w 138"/>
                <a:gd name="T11" fmla="*/ 128 h 138"/>
                <a:gd name="T12" fmla="*/ 0 w 138"/>
                <a:gd name="T13" fmla="*/ 120 h 138"/>
                <a:gd name="T14" fmla="*/ 0 w 138"/>
                <a:gd name="T15" fmla="*/ 20 h 138"/>
                <a:gd name="T16" fmla="*/ 0 w 138"/>
                <a:gd name="T17" fmla="*/ 20 h 138"/>
                <a:gd name="T18" fmla="*/ 2 w 138"/>
                <a:gd name="T19" fmla="*/ 12 h 138"/>
                <a:gd name="T20" fmla="*/ 6 w 138"/>
                <a:gd name="T21" fmla="*/ 6 h 138"/>
                <a:gd name="T22" fmla="*/ 12 w 138"/>
                <a:gd name="T23" fmla="*/ 2 h 138"/>
                <a:gd name="T24" fmla="*/ 18 w 138"/>
                <a:gd name="T25" fmla="*/ 0 h 138"/>
                <a:gd name="T26" fmla="*/ 120 w 138"/>
                <a:gd name="T27" fmla="*/ 0 h 138"/>
                <a:gd name="T28" fmla="*/ 120 w 138"/>
                <a:gd name="T29" fmla="*/ 0 h 138"/>
                <a:gd name="T30" fmla="*/ 126 w 138"/>
                <a:gd name="T31" fmla="*/ 2 h 138"/>
                <a:gd name="T32" fmla="*/ 132 w 138"/>
                <a:gd name="T33" fmla="*/ 6 h 138"/>
                <a:gd name="T34" fmla="*/ 136 w 138"/>
                <a:gd name="T35" fmla="*/ 12 h 138"/>
                <a:gd name="T36" fmla="*/ 138 w 138"/>
                <a:gd name="T37" fmla="*/ 20 h 138"/>
                <a:gd name="T38" fmla="*/ 138 w 138"/>
                <a:gd name="T39" fmla="*/ 120 h 138"/>
                <a:gd name="T40" fmla="*/ 138 w 138"/>
                <a:gd name="T41" fmla="*/ 120 h 138"/>
                <a:gd name="T42" fmla="*/ 136 w 138"/>
                <a:gd name="T43" fmla="*/ 128 h 138"/>
                <a:gd name="T44" fmla="*/ 132 w 138"/>
                <a:gd name="T45" fmla="*/ 132 h 138"/>
                <a:gd name="T46" fmla="*/ 126 w 138"/>
                <a:gd name="T47" fmla="*/ 136 h 138"/>
                <a:gd name="T48" fmla="*/ 120 w 138"/>
                <a:gd name="T49" fmla="*/ 138 h 138"/>
                <a:gd name="T50" fmla="*/ 120 w 138"/>
                <a:gd name="T51" fmla="*/ 138 h 138"/>
                <a:gd name="T52" fmla="*/ 26 w 138"/>
                <a:gd name="T53" fmla="*/ 114 h 138"/>
                <a:gd name="T54" fmla="*/ 112 w 138"/>
                <a:gd name="T55" fmla="*/ 114 h 138"/>
                <a:gd name="T56" fmla="*/ 112 w 138"/>
                <a:gd name="T57" fmla="*/ 26 h 138"/>
                <a:gd name="T58" fmla="*/ 26 w 138"/>
                <a:gd name="T59" fmla="*/ 26 h 138"/>
                <a:gd name="T60" fmla="*/ 26 w 138"/>
                <a:gd name="T61" fmla="*/ 114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8" h="138">
                  <a:moveTo>
                    <a:pt x="120" y="138"/>
                  </a:moveTo>
                  <a:lnTo>
                    <a:pt x="18" y="138"/>
                  </a:lnTo>
                  <a:lnTo>
                    <a:pt x="18" y="138"/>
                  </a:lnTo>
                  <a:lnTo>
                    <a:pt x="12" y="136"/>
                  </a:lnTo>
                  <a:lnTo>
                    <a:pt x="6" y="132"/>
                  </a:lnTo>
                  <a:lnTo>
                    <a:pt x="2" y="128"/>
                  </a:lnTo>
                  <a:lnTo>
                    <a:pt x="0" y="120"/>
                  </a:lnTo>
                  <a:lnTo>
                    <a:pt x="0" y="20"/>
                  </a:lnTo>
                  <a:lnTo>
                    <a:pt x="0" y="20"/>
                  </a:lnTo>
                  <a:lnTo>
                    <a:pt x="2" y="12"/>
                  </a:lnTo>
                  <a:lnTo>
                    <a:pt x="6" y="6"/>
                  </a:lnTo>
                  <a:lnTo>
                    <a:pt x="12" y="2"/>
                  </a:lnTo>
                  <a:lnTo>
                    <a:pt x="18" y="0"/>
                  </a:lnTo>
                  <a:lnTo>
                    <a:pt x="120" y="0"/>
                  </a:lnTo>
                  <a:lnTo>
                    <a:pt x="120" y="0"/>
                  </a:lnTo>
                  <a:lnTo>
                    <a:pt x="126" y="2"/>
                  </a:lnTo>
                  <a:lnTo>
                    <a:pt x="132" y="6"/>
                  </a:lnTo>
                  <a:lnTo>
                    <a:pt x="136" y="12"/>
                  </a:lnTo>
                  <a:lnTo>
                    <a:pt x="138" y="20"/>
                  </a:lnTo>
                  <a:lnTo>
                    <a:pt x="138" y="120"/>
                  </a:lnTo>
                  <a:lnTo>
                    <a:pt x="138" y="120"/>
                  </a:lnTo>
                  <a:lnTo>
                    <a:pt x="136" y="128"/>
                  </a:lnTo>
                  <a:lnTo>
                    <a:pt x="132" y="132"/>
                  </a:lnTo>
                  <a:lnTo>
                    <a:pt x="126" y="136"/>
                  </a:lnTo>
                  <a:lnTo>
                    <a:pt x="120" y="138"/>
                  </a:lnTo>
                  <a:lnTo>
                    <a:pt x="120" y="138"/>
                  </a:lnTo>
                  <a:close/>
                  <a:moveTo>
                    <a:pt x="26" y="114"/>
                  </a:moveTo>
                  <a:lnTo>
                    <a:pt x="112" y="114"/>
                  </a:lnTo>
                  <a:lnTo>
                    <a:pt x="112" y="26"/>
                  </a:lnTo>
                  <a:lnTo>
                    <a:pt x="26" y="26"/>
                  </a:lnTo>
                  <a:lnTo>
                    <a:pt x="26"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11" tIns="33605" rIns="67211" bIns="33605" numCol="1" anchor="t" anchorCtr="0" compatLnSpc="1">
              <a:prstTxWarp prst="textNoShape">
                <a:avLst/>
              </a:prstTxWarp>
            </a:bodyPr>
            <a:lstStyle/>
            <a:p>
              <a:pPr defTabSz="685594" fontAlgn="auto">
                <a:spcBef>
                  <a:spcPts val="0"/>
                </a:spcBef>
                <a:spcAft>
                  <a:spcPts val="0"/>
                </a:spcAft>
                <a:defRPr/>
              </a:pPr>
              <a:endParaRPr lang="en-US" sz="1325" b="0" kern="0" dirty="0">
                <a:solidFill>
                  <a:srgbClr val="FFFFFF"/>
                </a:solidFill>
                <a:latin typeface="Segoe UI Semilight"/>
                <a:ea typeface="MS PGothic" panose="020B0600070205080204" pitchFamily="34" charset="-128"/>
                <a:cs typeface="+mn-cs"/>
              </a:endParaRPr>
            </a:p>
          </p:txBody>
        </p:sp>
        <p:sp>
          <p:nvSpPr>
            <p:cNvPr id="473" name="Freeform 101"/>
            <p:cNvSpPr>
              <a:spLocks noEditPoints="1"/>
            </p:cNvSpPr>
            <p:nvPr/>
          </p:nvSpPr>
          <p:spPr bwMode="auto">
            <a:xfrm>
              <a:off x="2428875" y="8343900"/>
              <a:ext cx="219075" cy="219075"/>
            </a:xfrm>
            <a:custGeom>
              <a:avLst/>
              <a:gdLst>
                <a:gd name="T0" fmla="*/ 120 w 138"/>
                <a:gd name="T1" fmla="*/ 138 h 138"/>
                <a:gd name="T2" fmla="*/ 18 w 138"/>
                <a:gd name="T3" fmla="*/ 138 h 138"/>
                <a:gd name="T4" fmla="*/ 18 w 138"/>
                <a:gd name="T5" fmla="*/ 138 h 138"/>
                <a:gd name="T6" fmla="*/ 12 w 138"/>
                <a:gd name="T7" fmla="*/ 136 h 138"/>
                <a:gd name="T8" fmla="*/ 6 w 138"/>
                <a:gd name="T9" fmla="*/ 132 h 138"/>
                <a:gd name="T10" fmla="*/ 2 w 138"/>
                <a:gd name="T11" fmla="*/ 126 h 138"/>
                <a:gd name="T12" fmla="*/ 0 w 138"/>
                <a:gd name="T13" fmla="*/ 120 h 138"/>
                <a:gd name="T14" fmla="*/ 0 w 138"/>
                <a:gd name="T15" fmla="*/ 18 h 138"/>
                <a:gd name="T16" fmla="*/ 0 w 138"/>
                <a:gd name="T17" fmla="*/ 18 h 138"/>
                <a:gd name="T18" fmla="*/ 2 w 138"/>
                <a:gd name="T19" fmla="*/ 12 h 138"/>
                <a:gd name="T20" fmla="*/ 6 w 138"/>
                <a:gd name="T21" fmla="*/ 6 h 138"/>
                <a:gd name="T22" fmla="*/ 12 w 138"/>
                <a:gd name="T23" fmla="*/ 2 h 138"/>
                <a:gd name="T24" fmla="*/ 18 w 138"/>
                <a:gd name="T25" fmla="*/ 0 h 138"/>
                <a:gd name="T26" fmla="*/ 120 w 138"/>
                <a:gd name="T27" fmla="*/ 0 h 138"/>
                <a:gd name="T28" fmla="*/ 120 w 138"/>
                <a:gd name="T29" fmla="*/ 0 h 138"/>
                <a:gd name="T30" fmla="*/ 126 w 138"/>
                <a:gd name="T31" fmla="*/ 2 h 138"/>
                <a:gd name="T32" fmla="*/ 132 w 138"/>
                <a:gd name="T33" fmla="*/ 6 h 138"/>
                <a:gd name="T34" fmla="*/ 136 w 138"/>
                <a:gd name="T35" fmla="*/ 12 h 138"/>
                <a:gd name="T36" fmla="*/ 138 w 138"/>
                <a:gd name="T37" fmla="*/ 18 h 138"/>
                <a:gd name="T38" fmla="*/ 138 w 138"/>
                <a:gd name="T39" fmla="*/ 120 h 138"/>
                <a:gd name="T40" fmla="*/ 138 w 138"/>
                <a:gd name="T41" fmla="*/ 120 h 138"/>
                <a:gd name="T42" fmla="*/ 136 w 138"/>
                <a:gd name="T43" fmla="*/ 126 h 138"/>
                <a:gd name="T44" fmla="*/ 132 w 138"/>
                <a:gd name="T45" fmla="*/ 132 h 138"/>
                <a:gd name="T46" fmla="*/ 126 w 138"/>
                <a:gd name="T47" fmla="*/ 136 h 138"/>
                <a:gd name="T48" fmla="*/ 120 w 138"/>
                <a:gd name="T49" fmla="*/ 138 h 138"/>
                <a:gd name="T50" fmla="*/ 120 w 138"/>
                <a:gd name="T51" fmla="*/ 138 h 138"/>
                <a:gd name="T52" fmla="*/ 26 w 138"/>
                <a:gd name="T53" fmla="*/ 112 h 138"/>
                <a:gd name="T54" fmla="*/ 112 w 138"/>
                <a:gd name="T55" fmla="*/ 112 h 138"/>
                <a:gd name="T56" fmla="*/ 112 w 138"/>
                <a:gd name="T57" fmla="*/ 26 h 138"/>
                <a:gd name="T58" fmla="*/ 26 w 138"/>
                <a:gd name="T59" fmla="*/ 26 h 138"/>
                <a:gd name="T60" fmla="*/ 26 w 138"/>
                <a:gd name="T61" fmla="*/ 112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8" h="138">
                  <a:moveTo>
                    <a:pt x="120" y="138"/>
                  </a:moveTo>
                  <a:lnTo>
                    <a:pt x="18" y="138"/>
                  </a:lnTo>
                  <a:lnTo>
                    <a:pt x="18" y="138"/>
                  </a:lnTo>
                  <a:lnTo>
                    <a:pt x="12" y="136"/>
                  </a:lnTo>
                  <a:lnTo>
                    <a:pt x="6" y="132"/>
                  </a:lnTo>
                  <a:lnTo>
                    <a:pt x="2" y="126"/>
                  </a:lnTo>
                  <a:lnTo>
                    <a:pt x="0" y="120"/>
                  </a:lnTo>
                  <a:lnTo>
                    <a:pt x="0" y="18"/>
                  </a:lnTo>
                  <a:lnTo>
                    <a:pt x="0" y="18"/>
                  </a:lnTo>
                  <a:lnTo>
                    <a:pt x="2" y="12"/>
                  </a:lnTo>
                  <a:lnTo>
                    <a:pt x="6" y="6"/>
                  </a:lnTo>
                  <a:lnTo>
                    <a:pt x="12" y="2"/>
                  </a:lnTo>
                  <a:lnTo>
                    <a:pt x="18" y="0"/>
                  </a:lnTo>
                  <a:lnTo>
                    <a:pt x="120" y="0"/>
                  </a:lnTo>
                  <a:lnTo>
                    <a:pt x="120" y="0"/>
                  </a:lnTo>
                  <a:lnTo>
                    <a:pt x="126" y="2"/>
                  </a:lnTo>
                  <a:lnTo>
                    <a:pt x="132" y="6"/>
                  </a:lnTo>
                  <a:lnTo>
                    <a:pt x="136" y="12"/>
                  </a:lnTo>
                  <a:lnTo>
                    <a:pt x="138" y="18"/>
                  </a:lnTo>
                  <a:lnTo>
                    <a:pt x="138" y="120"/>
                  </a:lnTo>
                  <a:lnTo>
                    <a:pt x="138" y="120"/>
                  </a:lnTo>
                  <a:lnTo>
                    <a:pt x="136" y="126"/>
                  </a:lnTo>
                  <a:lnTo>
                    <a:pt x="132" y="132"/>
                  </a:lnTo>
                  <a:lnTo>
                    <a:pt x="126" y="136"/>
                  </a:lnTo>
                  <a:lnTo>
                    <a:pt x="120" y="138"/>
                  </a:lnTo>
                  <a:lnTo>
                    <a:pt x="120" y="138"/>
                  </a:lnTo>
                  <a:close/>
                  <a:moveTo>
                    <a:pt x="26" y="112"/>
                  </a:moveTo>
                  <a:lnTo>
                    <a:pt x="112" y="112"/>
                  </a:lnTo>
                  <a:lnTo>
                    <a:pt x="112" y="26"/>
                  </a:lnTo>
                  <a:lnTo>
                    <a:pt x="26" y="26"/>
                  </a:lnTo>
                  <a:lnTo>
                    <a:pt x="26" y="1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11" tIns="33605" rIns="67211" bIns="33605" numCol="1" anchor="t" anchorCtr="0" compatLnSpc="1">
              <a:prstTxWarp prst="textNoShape">
                <a:avLst/>
              </a:prstTxWarp>
            </a:bodyPr>
            <a:lstStyle/>
            <a:p>
              <a:pPr defTabSz="685594" fontAlgn="auto">
                <a:spcBef>
                  <a:spcPts val="0"/>
                </a:spcBef>
                <a:spcAft>
                  <a:spcPts val="0"/>
                </a:spcAft>
                <a:defRPr/>
              </a:pPr>
              <a:endParaRPr lang="en-US" sz="1325" b="0" kern="0" dirty="0">
                <a:solidFill>
                  <a:srgbClr val="FFFFFF"/>
                </a:solidFill>
                <a:latin typeface="Segoe UI Semilight"/>
                <a:ea typeface="MS PGothic" panose="020B0600070205080204" pitchFamily="34" charset="-128"/>
                <a:cs typeface="+mn-cs"/>
              </a:endParaRPr>
            </a:p>
          </p:txBody>
        </p:sp>
        <p:sp>
          <p:nvSpPr>
            <p:cNvPr id="474" name="Freeform 102"/>
            <p:cNvSpPr>
              <a:spLocks noEditPoints="1"/>
            </p:cNvSpPr>
            <p:nvPr/>
          </p:nvSpPr>
          <p:spPr bwMode="auto">
            <a:xfrm>
              <a:off x="2676525" y="8343900"/>
              <a:ext cx="219075" cy="219075"/>
            </a:xfrm>
            <a:custGeom>
              <a:avLst/>
              <a:gdLst>
                <a:gd name="T0" fmla="*/ 120 w 138"/>
                <a:gd name="T1" fmla="*/ 138 h 138"/>
                <a:gd name="T2" fmla="*/ 18 w 138"/>
                <a:gd name="T3" fmla="*/ 138 h 138"/>
                <a:gd name="T4" fmla="*/ 18 w 138"/>
                <a:gd name="T5" fmla="*/ 138 h 138"/>
                <a:gd name="T6" fmla="*/ 12 w 138"/>
                <a:gd name="T7" fmla="*/ 136 h 138"/>
                <a:gd name="T8" fmla="*/ 6 w 138"/>
                <a:gd name="T9" fmla="*/ 132 h 138"/>
                <a:gd name="T10" fmla="*/ 2 w 138"/>
                <a:gd name="T11" fmla="*/ 126 h 138"/>
                <a:gd name="T12" fmla="*/ 0 w 138"/>
                <a:gd name="T13" fmla="*/ 120 h 138"/>
                <a:gd name="T14" fmla="*/ 0 w 138"/>
                <a:gd name="T15" fmla="*/ 18 h 138"/>
                <a:gd name="T16" fmla="*/ 0 w 138"/>
                <a:gd name="T17" fmla="*/ 18 h 138"/>
                <a:gd name="T18" fmla="*/ 2 w 138"/>
                <a:gd name="T19" fmla="*/ 12 h 138"/>
                <a:gd name="T20" fmla="*/ 6 w 138"/>
                <a:gd name="T21" fmla="*/ 6 h 138"/>
                <a:gd name="T22" fmla="*/ 12 w 138"/>
                <a:gd name="T23" fmla="*/ 2 h 138"/>
                <a:gd name="T24" fmla="*/ 18 w 138"/>
                <a:gd name="T25" fmla="*/ 0 h 138"/>
                <a:gd name="T26" fmla="*/ 120 w 138"/>
                <a:gd name="T27" fmla="*/ 0 h 138"/>
                <a:gd name="T28" fmla="*/ 120 w 138"/>
                <a:gd name="T29" fmla="*/ 0 h 138"/>
                <a:gd name="T30" fmla="*/ 126 w 138"/>
                <a:gd name="T31" fmla="*/ 2 h 138"/>
                <a:gd name="T32" fmla="*/ 132 w 138"/>
                <a:gd name="T33" fmla="*/ 6 h 138"/>
                <a:gd name="T34" fmla="*/ 136 w 138"/>
                <a:gd name="T35" fmla="*/ 12 h 138"/>
                <a:gd name="T36" fmla="*/ 138 w 138"/>
                <a:gd name="T37" fmla="*/ 18 h 138"/>
                <a:gd name="T38" fmla="*/ 138 w 138"/>
                <a:gd name="T39" fmla="*/ 120 h 138"/>
                <a:gd name="T40" fmla="*/ 138 w 138"/>
                <a:gd name="T41" fmla="*/ 120 h 138"/>
                <a:gd name="T42" fmla="*/ 136 w 138"/>
                <a:gd name="T43" fmla="*/ 126 h 138"/>
                <a:gd name="T44" fmla="*/ 132 w 138"/>
                <a:gd name="T45" fmla="*/ 132 h 138"/>
                <a:gd name="T46" fmla="*/ 126 w 138"/>
                <a:gd name="T47" fmla="*/ 136 h 138"/>
                <a:gd name="T48" fmla="*/ 120 w 138"/>
                <a:gd name="T49" fmla="*/ 138 h 138"/>
                <a:gd name="T50" fmla="*/ 120 w 138"/>
                <a:gd name="T51" fmla="*/ 138 h 138"/>
                <a:gd name="T52" fmla="*/ 26 w 138"/>
                <a:gd name="T53" fmla="*/ 112 h 138"/>
                <a:gd name="T54" fmla="*/ 112 w 138"/>
                <a:gd name="T55" fmla="*/ 112 h 138"/>
                <a:gd name="T56" fmla="*/ 112 w 138"/>
                <a:gd name="T57" fmla="*/ 26 h 138"/>
                <a:gd name="T58" fmla="*/ 26 w 138"/>
                <a:gd name="T59" fmla="*/ 26 h 138"/>
                <a:gd name="T60" fmla="*/ 26 w 138"/>
                <a:gd name="T61" fmla="*/ 112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8" h="138">
                  <a:moveTo>
                    <a:pt x="120" y="138"/>
                  </a:moveTo>
                  <a:lnTo>
                    <a:pt x="18" y="138"/>
                  </a:lnTo>
                  <a:lnTo>
                    <a:pt x="18" y="138"/>
                  </a:lnTo>
                  <a:lnTo>
                    <a:pt x="12" y="136"/>
                  </a:lnTo>
                  <a:lnTo>
                    <a:pt x="6" y="132"/>
                  </a:lnTo>
                  <a:lnTo>
                    <a:pt x="2" y="126"/>
                  </a:lnTo>
                  <a:lnTo>
                    <a:pt x="0" y="120"/>
                  </a:lnTo>
                  <a:lnTo>
                    <a:pt x="0" y="18"/>
                  </a:lnTo>
                  <a:lnTo>
                    <a:pt x="0" y="18"/>
                  </a:lnTo>
                  <a:lnTo>
                    <a:pt x="2" y="12"/>
                  </a:lnTo>
                  <a:lnTo>
                    <a:pt x="6" y="6"/>
                  </a:lnTo>
                  <a:lnTo>
                    <a:pt x="12" y="2"/>
                  </a:lnTo>
                  <a:lnTo>
                    <a:pt x="18" y="0"/>
                  </a:lnTo>
                  <a:lnTo>
                    <a:pt x="120" y="0"/>
                  </a:lnTo>
                  <a:lnTo>
                    <a:pt x="120" y="0"/>
                  </a:lnTo>
                  <a:lnTo>
                    <a:pt x="126" y="2"/>
                  </a:lnTo>
                  <a:lnTo>
                    <a:pt x="132" y="6"/>
                  </a:lnTo>
                  <a:lnTo>
                    <a:pt x="136" y="12"/>
                  </a:lnTo>
                  <a:lnTo>
                    <a:pt x="138" y="18"/>
                  </a:lnTo>
                  <a:lnTo>
                    <a:pt x="138" y="120"/>
                  </a:lnTo>
                  <a:lnTo>
                    <a:pt x="138" y="120"/>
                  </a:lnTo>
                  <a:lnTo>
                    <a:pt x="136" y="126"/>
                  </a:lnTo>
                  <a:lnTo>
                    <a:pt x="132" y="132"/>
                  </a:lnTo>
                  <a:lnTo>
                    <a:pt x="126" y="136"/>
                  </a:lnTo>
                  <a:lnTo>
                    <a:pt x="120" y="138"/>
                  </a:lnTo>
                  <a:lnTo>
                    <a:pt x="120" y="138"/>
                  </a:lnTo>
                  <a:close/>
                  <a:moveTo>
                    <a:pt x="26" y="112"/>
                  </a:moveTo>
                  <a:lnTo>
                    <a:pt x="112" y="112"/>
                  </a:lnTo>
                  <a:lnTo>
                    <a:pt x="112" y="26"/>
                  </a:lnTo>
                  <a:lnTo>
                    <a:pt x="26" y="26"/>
                  </a:lnTo>
                  <a:lnTo>
                    <a:pt x="26" y="1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11" tIns="33605" rIns="67211" bIns="33605" numCol="1" anchor="t" anchorCtr="0" compatLnSpc="1">
              <a:prstTxWarp prst="textNoShape">
                <a:avLst/>
              </a:prstTxWarp>
            </a:bodyPr>
            <a:lstStyle/>
            <a:p>
              <a:pPr defTabSz="685594" fontAlgn="auto">
                <a:spcBef>
                  <a:spcPts val="0"/>
                </a:spcBef>
                <a:spcAft>
                  <a:spcPts val="0"/>
                </a:spcAft>
                <a:defRPr/>
              </a:pPr>
              <a:endParaRPr lang="en-US" sz="1325" b="0" kern="0" dirty="0">
                <a:solidFill>
                  <a:srgbClr val="FFFFFF"/>
                </a:solidFill>
                <a:latin typeface="Segoe UI Semilight"/>
                <a:ea typeface="MS PGothic" panose="020B0600070205080204" pitchFamily="34" charset="-128"/>
                <a:cs typeface="+mn-cs"/>
              </a:endParaRPr>
            </a:p>
          </p:txBody>
        </p:sp>
        <p:sp>
          <p:nvSpPr>
            <p:cNvPr id="475" name="Freeform 103"/>
            <p:cNvSpPr>
              <a:spLocks/>
            </p:cNvSpPr>
            <p:nvPr/>
          </p:nvSpPr>
          <p:spPr bwMode="auto">
            <a:xfrm>
              <a:off x="2330450" y="8623300"/>
              <a:ext cx="422275" cy="41275"/>
            </a:xfrm>
            <a:custGeom>
              <a:avLst/>
              <a:gdLst>
                <a:gd name="T0" fmla="*/ 264 w 266"/>
                <a:gd name="T1" fmla="*/ 4 h 26"/>
                <a:gd name="T2" fmla="*/ 264 w 266"/>
                <a:gd name="T3" fmla="*/ 2 h 26"/>
                <a:gd name="T4" fmla="*/ 266 w 266"/>
                <a:gd name="T5" fmla="*/ 0 h 26"/>
                <a:gd name="T6" fmla="*/ 0 w 266"/>
                <a:gd name="T7" fmla="*/ 0 h 26"/>
                <a:gd name="T8" fmla="*/ 0 w 266"/>
                <a:gd name="T9" fmla="*/ 26 h 26"/>
                <a:gd name="T10" fmla="*/ 250 w 266"/>
                <a:gd name="T11" fmla="*/ 26 h 26"/>
                <a:gd name="T12" fmla="*/ 250 w 266"/>
                <a:gd name="T13" fmla="*/ 26 h 26"/>
                <a:gd name="T14" fmla="*/ 256 w 266"/>
                <a:gd name="T15" fmla="*/ 12 h 26"/>
                <a:gd name="T16" fmla="*/ 264 w 266"/>
                <a:gd name="T17" fmla="*/ 4 h 26"/>
                <a:gd name="T18" fmla="*/ 264 w 266"/>
                <a:gd name="T19" fmla="*/ 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6" h="26">
                  <a:moveTo>
                    <a:pt x="264" y="4"/>
                  </a:moveTo>
                  <a:lnTo>
                    <a:pt x="264" y="2"/>
                  </a:lnTo>
                  <a:lnTo>
                    <a:pt x="266" y="0"/>
                  </a:lnTo>
                  <a:lnTo>
                    <a:pt x="0" y="0"/>
                  </a:lnTo>
                  <a:lnTo>
                    <a:pt x="0" y="26"/>
                  </a:lnTo>
                  <a:lnTo>
                    <a:pt x="250" y="26"/>
                  </a:lnTo>
                  <a:lnTo>
                    <a:pt x="250" y="26"/>
                  </a:lnTo>
                  <a:lnTo>
                    <a:pt x="256" y="12"/>
                  </a:lnTo>
                  <a:lnTo>
                    <a:pt x="264" y="4"/>
                  </a:lnTo>
                  <a:lnTo>
                    <a:pt x="264"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11" tIns="33605" rIns="67211" bIns="33605" numCol="1" anchor="t" anchorCtr="0" compatLnSpc="1">
              <a:prstTxWarp prst="textNoShape">
                <a:avLst/>
              </a:prstTxWarp>
            </a:bodyPr>
            <a:lstStyle/>
            <a:p>
              <a:pPr defTabSz="685594" fontAlgn="auto">
                <a:spcBef>
                  <a:spcPts val="0"/>
                </a:spcBef>
                <a:spcAft>
                  <a:spcPts val="0"/>
                </a:spcAft>
                <a:defRPr/>
              </a:pPr>
              <a:endParaRPr lang="en-US" sz="1325" b="0" kern="0" dirty="0">
                <a:solidFill>
                  <a:srgbClr val="FFFFFF"/>
                </a:solidFill>
                <a:latin typeface="Segoe UI Semilight"/>
                <a:ea typeface="MS PGothic" panose="020B0600070205080204" pitchFamily="34" charset="-128"/>
                <a:cs typeface="+mn-cs"/>
              </a:endParaRPr>
            </a:p>
          </p:txBody>
        </p:sp>
        <p:sp>
          <p:nvSpPr>
            <p:cNvPr id="476" name="Freeform 104"/>
            <p:cNvSpPr>
              <a:spLocks/>
            </p:cNvSpPr>
            <p:nvPr/>
          </p:nvSpPr>
          <p:spPr bwMode="auto">
            <a:xfrm>
              <a:off x="2676525" y="8096250"/>
              <a:ext cx="219075" cy="215900"/>
            </a:xfrm>
            <a:custGeom>
              <a:avLst/>
              <a:gdLst>
                <a:gd name="T0" fmla="*/ 86 w 138"/>
                <a:gd name="T1" fmla="*/ 112 h 136"/>
                <a:gd name="T2" fmla="*/ 26 w 138"/>
                <a:gd name="T3" fmla="*/ 112 h 136"/>
                <a:gd name="T4" fmla="*/ 26 w 138"/>
                <a:gd name="T5" fmla="*/ 24 h 136"/>
                <a:gd name="T6" fmla="*/ 112 w 138"/>
                <a:gd name="T7" fmla="*/ 24 h 136"/>
                <a:gd name="T8" fmla="*/ 112 w 138"/>
                <a:gd name="T9" fmla="*/ 38 h 136"/>
                <a:gd name="T10" fmla="*/ 114 w 138"/>
                <a:gd name="T11" fmla="*/ 38 h 136"/>
                <a:gd name="T12" fmla="*/ 114 w 138"/>
                <a:gd name="T13" fmla="*/ 38 h 136"/>
                <a:gd name="T14" fmla="*/ 118 w 138"/>
                <a:gd name="T15" fmla="*/ 38 h 136"/>
                <a:gd name="T16" fmla="*/ 124 w 138"/>
                <a:gd name="T17" fmla="*/ 38 h 136"/>
                <a:gd name="T18" fmla="*/ 124 w 138"/>
                <a:gd name="T19" fmla="*/ 38 h 136"/>
                <a:gd name="T20" fmla="*/ 138 w 138"/>
                <a:gd name="T21" fmla="*/ 50 h 136"/>
                <a:gd name="T22" fmla="*/ 138 w 138"/>
                <a:gd name="T23" fmla="*/ 18 h 136"/>
                <a:gd name="T24" fmla="*/ 138 w 138"/>
                <a:gd name="T25" fmla="*/ 18 h 136"/>
                <a:gd name="T26" fmla="*/ 136 w 138"/>
                <a:gd name="T27" fmla="*/ 10 h 136"/>
                <a:gd name="T28" fmla="*/ 132 w 138"/>
                <a:gd name="T29" fmla="*/ 4 h 136"/>
                <a:gd name="T30" fmla="*/ 126 w 138"/>
                <a:gd name="T31" fmla="*/ 2 h 136"/>
                <a:gd name="T32" fmla="*/ 120 w 138"/>
                <a:gd name="T33" fmla="*/ 0 h 136"/>
                <a:gd name="T34" fmla="*/ 18 w 138"/>
                <a:gd name="T35" fmla="*/ 0 h 136"/>
                <a:gd name="T36" fmla="*/ 18 w 138"/>
                <a:gd name="T37" fmla="*/ 0 h 136"/>
                <a:gd name="T38" fmla="*/ 12 w 138"/>
                <a:gd name="T39" fmla="*/ 2 h 136"/>
                <a:gd name="T40" fmla="*/ 6 w 138"/>
                <a:gd name="T41" fmla="*/ 4 h 136"/>
                <a:gd name="T42" fmla="*/ 2 w 138"/>
                <a:gd name="T43" fmla="*/ 10 h 136"/>
                <a:gd name="T44" fmla="*/ 0 w 138"/>
                <a:gd name="T45" fmla="*/ 18 h 136"/>
                <a:gd name="T46" fmla="*/ 0 w 138"/>
                <a:gd name="T47" fmla="*/ 118 h 136"/>
                <a:gd name="T48" fmla="*/ 0 w 138"/>
                <a:gd name="T49" fmla="*/ 118 h 136"/>
                <a:gd name="T50" fmla="*/ 2 w 138"/>
                <a:gd name="T51" fmla="*/ 126 h 136"/>
                <a:gd name="T52" fmla="*/ 6 w 138"/>
                <a:gd name="T53" fmla="*/ 132 h 136"/>
                <a:gd name="T54" fmla="*/ 12 w 138"/>
                <a:gd name="T55" fmla="*/ 136 h 136"/>
                <a:gd name="T56" fmla="*/ 18 w 138"/>
                <a:gd name="T57" fmla="*/ 136 h 136"/>
                <a:gd name="T58" fmla="*/ 102 w 138"/>
                <a:gd name="T59" fmla="*/ 136 h 136"/>
                <a:gd name="T60" fmla="*/ 102 w 138"/>
                <a:gd name="T61" fmla="*/ 136 h 136"/>
                <a:gd name="T62" fmla="*/ 86 w 138"/>
                <a:gd name="T63" fmla="*/ 112 h 136"/>
                <a:gd name="T64" fmla="*/ 86 w 138"/>
                <a:gd name="T65" fmla="*/ 112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8" h="136">
                  <a:moveTo>
                    <a:pt x="86" y="112"/>
                  </a:moveTo>
                  <a:lnTo>
                    <a:pt x="26" y="112"/>
                  </a:lnTo>
                  <a:lnTo>
                    <a:pt x="26" y="24"/>
                  </a:lnTo>
                  <a:lnTo>
                    <a:pt x="112" y="24"/>
                  </a:lnTo>
                  <a:lnTo>
                    <a:pt x="112" y="38"/>
                  </a:lnTo>
                  <a:lnTo>
                    <a:pt x="114" y="38"/>
                  </a:lnTo>
                  <a:lnTo>
                    <a:pt x="114" y="38"/>
                  </a:lnTo>
                  <a:lnTo>
                    <a:pt x="118" y="38"/>
                  </a:lnTo>
                  <a:lnTo>
                    <a:pt x="124" y="38"/>
                  </a:lnTo>
                  <a:lnTo>
                    <a:pt x="124" y="38"/>
                  </a:lnTo>
                  <a:lnTo>
                    <a:pt x="138" y="50"/>
                  </a:lnTo>
                  <a:lnTo>
                    <a:pt x="138" y="18"/>
                  </a:lnTo>
                  <a:lnTo>
                    <a:pt x="138" y="18"/>
                  </a:lnTo>
                  <a:lnTo>
                    <a:pt x="136" y="10"/>
                  </a:lnTo>
                  <a:lnTo>
                    <a:pt x="132" y="4"/>
                  </a:lnTo>
                  <a:lnTo>
                    <a:pt x="126" y="2"/>
                  </a:lnTo>
                  <a:lnTo>
                    <a:pt x="120" y="0"/>
                  </a:lnTo>
                  <a:lnTo>
                    <a:pt x="18" y="0"/>
                  </a:lnTo>
                  <a:lnTo>
                    <a:pt x="18" y="0"/>
                  </a:lnTo>
                  <a:lnTo>
                    <a:pt x="12" y="2"/>
                  </a:lnTo>
                  <a:lnTo>
                    <a:pt x="6" y="4"/>
                  </a:lnTo>
                  <a:lnTo>
                    <a:pt x="2" y="10"/>
                  </a:lnTo>
                  <a:lnTo>
                    <a:pt x="0" y="18"/>
                  </a:lnTo>
                  <a:lnTo>
                    <a:pt x="0" y="118"/>
                  </a:lnTo>
                  <a:lnTo>
                    <a:pt x="0" y="118"/>
                  </a:lnTo>
                  <a:lnTo>
                    <a:pt x="2" y="126"/>
                  </a:lnTo>
                  <a:lnTo>
                    <a:pt x="6" y="132"/>
                  </a:lnTo>
                  <a:lnTo>
                    <a:pt x="12" y="136"/>
                  </a:lnTo>
                  <a:lnTo>
                    <a:pt x="18" y="136"/>
                  </a:lnTo>
                  <a:lnTo>
                    <a:pt x="102" y="136"/>
                  </a:lnTo>
                  <a:lnTo>
                    <a:pt x="102" y="136"/>
                  </a:lnTo>
                  <a:lnTo>
                    <a:pt x="86" y="112"/>
                  </a:lnTo>
                  <a:lnTo>
                    <a:pt x="86" y="1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11" tIns="33605" rIns="67211" bIns="33605" numCol="1" anchor="t" anchorCtr="0" compatLnSpc="1">
              <a:prstTxWarp prst="textNoShape">
                <a:avLst/>
              </a:prstTxWarp>
            </a:bodyPr>
            <a:lstStyle/>
            <a:p>
              <a:pPr defTabSz="685594" fontAlgn="auto">
                <a:spcBef>
                  <a:spcPts val="0"/>
                </a:spcBef>
                <a:spcAft>
                  <a:spcPts val="0"/>
                </a:spcAft>
                <a:defRPr/>
              </a:pPr>
              <a:endParaRPr lang="en-US" sz="1325" b="0" kern="0" dirty="0">
                <a:solidFill>
                  <a:srgbClr val="FFFFFF"/>
                </a:solidFill>
                <a:latin typeface="Segoe UI Semilight"/>
                <a:ea typeface="MS PGothic" panose="020B0600070205080204" pitchFamily="34" charset="-128"/>
                <a:cs typeface="+mn-cs"/>
              </a:endParaRPr>
            </a:p>
          </p:txBody>
        </p:sp>
        <p:sp>
          <p:nvSpPr>
            <p:cNvPr id="477" name="Freeform 105"/>
            <p:cNvSpPr>
              <a:spLocks noEditPoints="1"/>
            </p:cNvSpPr>
            <p:nvPr/>
          </p:nvSpPr>
          <p:spPr bwMode="auto">
            <a:xfrm>
              <a:off x="2724150" y="8156575"/>
              <a:ext cx="952500" cy="976313"/>
            </a:xfrm>
            <a:custGeom>
              <a:avLst/>
              <a:gdLst>
                <a:gd name="T0" fmla="*/ 386 w 600"/>
                <a:gd name="T1" fmla="*/ 609 h 615"/>
                <a:gd name="T2" fmla="*/ 370 w 600"/>
                <a:gd name="T3" fmla="*/ 581 h 615"/>
                <a:gd name="T4" fmla="*/ 338 w 600"/>
                <a:gd name="T5" fmla="*/ 565 h 615"/>
                <a:gd name="T6" fmla="*/ 256 w 600"/>
                <a:gd name="T7" fmla="*/ 545 h 615"/>
                <a:gd name="T8" fmla="*/ 138 w 600"/>
                <a:gd name="T9" fmla="*/ 457 h 615"/>
                <a:gd name="T10" fmla="*/ 100 w 600"/>
                <a:gd name="T11" fmla="*/ 412 h 615"/>
                <a:gd name="T12" fmla="*/ 34 w 600"/>
                <a:gd name="T13" fmla="*/ 358 h 615"/>
                <a:gd name="T14" fmla="*/ 4 w 600"/>
                <a:gd name="T15" fmla="*/ 342 h 615"/>
                <a:gd name="T16" fmla="*/ 10 w 600"/>
                <a:gd name="T17" fmla="*/ 306 h 615"/>
                <a:gd name="T18" fmla="*/ 40 w 600"/>
                <a:gd name="T19" fmla="*/ 284 h 615"/>
                <a:gd name="T20" fmla="*/ 102 w 600"/>
                <a:gd name="T21" fmla="*/ 286 h 615"/>
                <a:gd name="T22" fmla="*/ 178 w 600"/>
                <a:gd name="T23" fmla="*/ 336 h 615"/>
                <a:gd name="T24" fmla="*/ 200 w 600"/>
                <a:gd name="T25" fmla="*/ 310 h 615"/>
                <a:gd name="T26" fmla="*/ 54 w 600"/>
                <a:gd name="T27" fmla="*/ 74 h 615"/>
                <a:gd name="T28" fmla="*/ 46 w 600"/>
                <a:gd name="T29" fmla="*/ 30 h 615"/>
                <a:gd name="T30" fmla="*/ 78 w 600"/>
                <a:gd name="T31" fmla="*/ 2 h 615"/>
                <a:gd name="T32" fmla="*/ 94 w 600"/>
                <a:gd name="T33" fmla="*/ 0 h 615"/>
                <a:gd name="T34" fmla="*/ 216 w 600"/>
                <a:gd name="T35" fmla="*/ 144 h 615"/>
                <a:gd name="T36" fmla="*/ 314 w 600"/>
                <a:gd name="T37" fmla="*/ 174 h 615"/>
                <a:gd name="T38" fmla="*/ 468 w 600"/>
                <a:gd name="T39" fmla="*/ 194 h 615"/>
                <a:gd name="T40" fmla="*/ 494 w 600"/>
                <a:gd name="T41" fmla="*/ 204 h 615"/>
                <a:gd name="T42" fmla="*/ 584 w 600"/>
                <a:gd name="T43" fmla="*/ 410 h 615"/>
                <a:gd name="T44" fmla="*/ 590 w 600"/>
                <a:gd name="T45" fmla="*/ 477 h 615"/>
                <a:gd name="T46" fmla="*/ 600 w 600"/>
                <a:gd name="T47" fmla="*/ 507 h 615"/>
                <a:gd name="T48" fmla="*/ 578 w 600"/>
                <a:gd name="T49" fmla="*/ 535 h 615"/>
                <a:gd name="T50" fmla="*/ 400 w 600"/>
                <a:gd name="T51" fmla="*/ 615 h 615"/>
                <a:gd name="T52" fmla="*/ 352 w 600"/>
                <a:gd name="T53" fmla="*/ 539 h 615"/>
                <a:gd name="T54" fmla="*/ 394 w 600"/>
                <a:gd name="T55" fmla="*/ 569 h 615"/>
                <a:gd name="T56" fmla="*/ 502 w 600"/>
                <a:gd name="T57" fmla="*/ 547 h 615"/>
                <a:gd name="T58" fmla="*/ 570 w 600"/>
                <a:gd name="T59" fmla="*/ 499 h 615"/>
                <a:gd name="T60" fmla="*/ 562 w 600"/>
                <a:gd name="T61" fmla="*/ 430 h 615"/>
                <a:gd name="T62" fmla="*/ 504 w 600"/>
                <a:gd name="T63" fmla="*/ 278 h 615"/>
                <a:gd name="T64" fmla="*/ 364 w 600"/>
                <a:gd name="T65" fmla="*/ 202 h 615"/>
                <a:gd name="T66" fmla="*/ 274 w 600"/>
                <a:gd name="T67" fmla="*/ 200 h 615"/>
                <a:gd name="T68" fmla="*/ 232 w 600"/>
                <a:gd name="T69" fmla="*/ 208 h 615"/>
                <a:gd name="T70" fmla="*/ 160 w 600"/>
                <a:gd name="T71" fmla="*/ 110 h 615"/>
                <a:gd name="T72" fmla="*/ 84 w 600"/>
                <a:gd name="T73" fmla="*/ 26 h 615"/>
                <a:gd name="T74" fmla="*/ 68 w 600"/>
                <a:gd name="T75" fmla="*/ 44 h 615"/>
                <a:gd name="T76" fmla="*/ 180 w 600"/>
                <a:gd name="T77" fmla="*/ 218 h 615"/>
                <a:gd name="T78" fmla="*/ 234 w 600"/>
                <a:gd name="T79" fmla="*/ 332 h 615"/>
                <a:gd name="T80" fmla="*/ 230 w 600"/>
                <a:gd name="T81" fmla="*/ 352 h 615"/>
                <a:gd name="T82" fmla="*/ 188 w 600"/>
                <a:gd name="T83" fmla="*/ 358 h 615"/>
                <a:gd name="T84" fmla="*/ 168 w 600"/>
                <a:gd name="T85" fmla="*/ 362 h 615"/>
                <a:gd name="T86" fmla="*/ 120 w 600"/>
                <a:gd name="T87" fmla="*/ 322 h 615"/>
                <a:gd name="T88" fmla="*/ 58 w 600"/>
                <a:gd name="T89" fmla="*/ 306 h 615"/>
                <a:gd name="T90" fmla="*/ 26 w 600"/>
                <a:gd name="T91" fmla="*/ 326 h 615"/>
                <a:gd name="T92" fmla="*/ 56 w 600"/>
                <a:gd name="T93" fmla="*/ 344 h 615"/>
                <a:gd name="T94" fmla="*/ 136 w 600"/>
                <a:gd name="T95" fmla="*/ 416 h 615"/>
                <a:gd name="T96" fmla="*/ 202 w 600"/>
                <a:gd name="T97" fmla="*/ 483 h 615"/>
                <a:gd name="T98" fmla="*/ 300 w 600"/>
                <a:gd name="T99" fmla="*/ 535 h 615"/>
                <a:gd name="T100" fmla="*/ 352 w 600"/>
                <a:gd name="T101" fmla="*/ 539 h 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00" h="615">
                  <a:moveTo>
                    <a:pt x="396" y="615"/>
                  </a:moveTo>
                  <a:lnTo>
                    <a:pt x="396" y="615"/>
                  </a:lnTo>
                  <a:lnTo>
                    <a:pt x="390" y="613"/>
                  </a:lnTo>
                  <a:lnTo>
                    <a:pt x="390" y="613"/>
                  </a:lnTo>
                  <a:lnTo>
                    <a:pt x="386" y="609"/>
                  </a:lnTo>
                  <a:lnTo>
                    <a:pt x="384" y="603"/>
                  </a:lnTo>
                  <a:lnTo>
                    <a:pt x="384" y="603"/>
                  </a:lnTo>
                  <a:lnTo>
                    <a:pt x="382" y="597"/>
                  </a:lnTo>
                  <a:lnTo>
                    <a:pt x="380" y="591"/>
                  </a:lnTo>
                  <a:lnTo>
                    <a:pt x="370" y="581"/>
                  </a:lnTo>
                  <a:lnTo>
                    <a:pt x="360" y="571"/>
                  </a:lnTo>
                  <a:lnTo>
                    <a:pt x="350" y="563"/>
                  </a:lnTo>
                  <a:lnTo>
                    <a:pt x="350" y="563"/>
                  </a:lnTo>
                  <a:lnTo>
                    <a:pt x="338" y="565"/>
                  </a:lnTo>
                  <a:lnTo>
                    <a:pt x="338" y="565"/>
                  </a:lnTo>
                  <a:lnTo>
                    <a:pt x="338" y="565"/>
                  </a:lnTo>
                  <a:lnTo>
                    <a:pt x="316" y="563"/>
                  </a:lnTo>
                  <a:lnTo>
                    <a:pt x="296" y="559"/>
                  </a:lnTo>
                  <a:lnTo>
                    <a:pt x="276" y="553"/>
                  </a:lnTo>
                  <a:lnTo>
                    <a:pt x="256" y="545"/>
                  </a:lnTo>
                  <a:lnTo>
                    <a:pt x="238" y="537"/>
                  </a:lnTo>
                  <a:lnTo>
                    <a:pt x="220" y="527"/>
                  </a:lnTo>
                  <a:lnTo>
                    <a:pt x="188" y="503"/>
                  </a:lnTo>
                  <a:lnTo>
                    <a:pt x="160" y="481"/>
                  </a:lnTo>
                  <a:lnTo>
                    <a:pt x="138" y="457"/>
                  </a:lnTo>
                  <a:lnTo>
                    <a:pt x="122" y="439"/>
                  </a:lnTo>
                  <a:lnTo>
                    <a:pt x="114" y="428"/>
                  </a:lnTo>
                  <a:lnTo>
                    <a:pt x="114" y="428"/>
                  </a:lnTo>
                  <a:lnTo>
                    <a:pt x="108" y="420"/>
                  </a:lnTo>
                  <a:lnTo>
                    <a:pt x="100" y="412"/>
                  </a:lnTo>
                  <a:lnTo>
                    <a:pt x="78" y="394"/>
                  </a:lnTo>
                  <a:lnTo>
                    <a:pt x="42" y="364"/>
                  </a:lnTo>
                  <a:lnTo>
                    <a:pt x="42" y="364"/>
                  </a:lnTo>
                  <a:lnTo>
                    <a:pt x="34" y="358"/>
                  </a:lnTo>
                  <a:lnTo>
                    <a:pt x="34" y="358"/>
                  </a:lnTo>
                  <a:lnTo>
                    <a:pt x="24" y="354"/>
                  </a:lnTo>
                  <a:lnTo>
                    <a:pt x="8" y="346"/>
                  </a:lnTo>
                  <a:lnTo>
                    <a:pt x="8" y="346"/>
                  </a:lnTo>
                  <a:lnTo>
                    <a:pt x="4" y="342"/>
                  </a:lnTo>
                  <a:lnTo>
                    <a:pt x="4" y="342"/>
                  </a:lnTo>
                  <a:lnTo>
                    <a:pt x="0" y="336"/>
                  </a:lnTo>
                  <a:lnTo>
                    <a:pt x="0" y="328"/>
                  </a:lnTo>
                  <a:lnTo>
                    <a:pt x="0" y="322"/>
                  </a:lnTo>
                  <a:lnTo>
                    <a:pt x="2" y="316"/>
                  </a:lnTo>
                  <a:lnTo>
                    <a:pt x="10" y="306"/>
                  </a:lnTo>
                  <a:lnTo>
                    <a:pt x="16" y="298"/>
                  </a:lnTo>
                  <a:lnTo>
                    <a:pt x="16" y="296"/>
                  </a:lnTo>
                  <a:lnTo>
                    <a:pt x="16" y="296"/>
                  </a:lnTo>
                  <a:lnTo>
                    <a:pt x="28" y="288"/>
                  </a:lnTo>
                  <a:lnTo>
                    <a:pt x="40" y="284"/>
                  </a:lnTo>
                  <a:lnTo>
                    <a:pt x="54" y="280"/>
                  </a:lnTo>
                  <a:lnTo>
                    <a:pt x="68" y="280"/>
                  </a:lnTo>
                  <a:lnTo>
                    <a:pt x="68" y="280"/>
                  </a:lnTo>
                  <a:lnTo>
                    <a:pt x="86" y="280"/>
                  </a:lnTo>
                  <a:lnTo>
                    <a:pt x="102" y="286"/>
                  </a:lnTo>
                  <a:lnTo>
                    <a:pt x="120" y="292"/>
                  </a:lnTo>
                  <a:lnTo>
                    <a:pt x="134" y="302"/>
                  </a:lnTo>
                  <a:lnTo>
                    <a:pt x="148" y="310"/>
                  </a:lnTo>
                  <a:lnTo>
                    <a:pt x="160" y="320"/>
                  </a:lnTo>
                  <a:lnTo>
                    <a:pt x="178" y="336"/>
                  </a:lnTo>
                  <a:lnTo>
                    <a:pt x="178" y="336"/>
                  </a:lnTo>
                  <a:lnTo>
                    <a:pt x="194" y="332"/>
                  </a:lnTo>
                  <a:lnTo>
                    <a:pt x="208" y="330"/>
                  </a:lnTo>
                  <a:lnTo>
                    <a:pt x="208" y="330"/>
                  </a:lnTo>
                  <a:lnTo>
                    <a:pt x="200" y="310"/>
                  </a:lnTo>
                  <a:lnTo>
                    <a:pt x="180" y="268"/>
                  </a:lnTo>
                  <a:lnTo>
                    <a:pt x="180" y="268"/>
                  </a:lnTo>
                  <a:lnTo>
                    <a:pt x="158" y="230"/>
                  </a:lnTo>
                  <a:lnTo>
                    <a:pt x="122" y="174"/>
                  </a:lnTo>
                  <a:lnTo>
                    <a:pt x="54" y="74"/>
                  </a:lnTo>
                  <a:lnTo>
                    <a:pt x="54" y="74"/>
                  </a:lnTo>
                  <a:lnTo>
                    <a:pt x="48" y="62"/>
                  </a:lnTo>
                  <a:lnTo>
                    <a:pt x="44" y="50"/>
                  </a:lnTo>
                  <a:lnTo>
                    <a:pt x="44" y="40"/>
                  </a:lnTo>
                  <a:lnTo>
                    <a:pt x="46" y="30"/>
                  </a:lnTo>
                  <a:lnTo>
                    <a:pt x="46" y="30"/>
                  </a:lnTo>
                  <a:lnTo>
                    <a:pt x="50" y="22"/>
                  </a:lnTo>
                  <a:lnTo>
                    <a:pt x="54" y="16"/>
                  </a:lnTo>
                  <a:lnTo>
                    <a:pt x="66" y="6"/>
                  </a:lnTo>
                  <a:lnTo>
                    <a:pt x="78" y="2"/>
                  </a:lnTo>
                  <a:lnTo>
                    <a:pt x="84" y="0"/>
                  </a:lnTo>
                  <a:lnTo>
                    <a:pt x="84" y="0"/>
                  </a:lnTo>
                  <a:lnTo>
                    <a:pt x="88" y="0"/>
                  </a:lnTo>
                  <a:lnTo>
                    <a:pt x="94" y="0"/>
                  </a:lnTo>
                  <a:lnTo>
                    <a:pt x="94" y="0"/>
                  </a:lnTo>
                  <a:lnTo>
                    <a:pt x="112" y="16"/>
                  </a:lnTo>
                  <a:lnTo>
                    <a:pt x="132" y="36"/>
                  </a:lnTo>
                  <a:lnTo>
                    <a:pt x="154" y="62"/>
                  </a:lnTo>
                  <a:lnTo>
                    <a:pt x="176" y="90"/>
                  </a:lnTo>
                  <a:lnTo>
                    <a:pt x="216" y="144"/>
                  </a:lnTo>
                  <a:lnTo>
                    <a:pt x="242" y="182"/>
                  </a:lnTo>
                  <a:lnTo>
                    <a:pt x="242" y="182"/>
                  </a:lnTo>
                  <a:lnTo>
                    <a:pt x="258" y="178"/>
                  </a:lnTo>
                  <a:lnTo>
                    <a:pt x="276" y="176"/>
                  </a:lnTo>
                  <a:lnTo>
                    <a:pt x="314" y="174"/>
                  </a:lnTo>
                  <a:lnTo>
                    <a:pt x="314" y="174"/>
                  </a:lnTo>
                  <a:lnTo>
                    <a:pt x="344" y="174"/>
                  </a:lnTo>
                  <a:lnTo>
                    <a:pt x="374" y="176"/>
                  </a:lnTo>
                  <a:lnTo>
                    <a:pt x="428" y="184"/>
                  </a:lnTo>
                  <a:lnTo>
                    <a:pt x="468" y="194"/>
                  </a:lnTo>
                  <a:lnTo>
                    <a:pt x="486" y="198"/>
                  </a:lnTo>
                  <a:lnTo>
                    <a:pt x="486" y="198"/>
                  </a:lnTo>
                  <a:lnTo>
                    <a:pt x="490" y="200"/>
                  </a:lnTo>
                  <a:lnTo>
                    <a:pt x="494" y="204"/>
                  </a:lnTo>
                  <a:lnTo>
                    <a:pt x="494" y="204"/>
                  </a:lnTo>
                  <a:lnTo>
                    <a:pt x="512" y="240"/>
                  </a:lnTo>
                  <a:lnTo>
                    <a:pt x="546" y="306"/>
                  </a:lnTo>
                  <a:lnTo>
                    <a:pt x="562" y="344"/>
                  </a:lnTo>
                  <a:lnTo>
                    <a:pt x="576" y="380"/>
                  </a:lnTo>
                  <a:lnTo>
                    <a:pt x="584" y="410"/>
                  </a:lnTo>
                  <a:lnTo>
                    <a:pt x="586" y="422"/>
                  </a:lnTo>
                  <a:lnTo>
                    <a:pt x="586" y="432"/>
                  </a:lnTo>
                  <a:lnTo>
                    <a:pt x="586" y="432"/>
                  </a:lnTo>
                  <a:lnTo>
                    <a:pt x="586" y="457"/>
                  </a:lnTo>
                  <a:lnTo>
                    <a:pt x="590" y="477"/>
                  </a:lnTo>
                  <a:lnTo>
                    <a:pt x="594" y="489"/>
                  </a:lnTo>
                  <a:lnTo>
                    <a:pt x="596" y="495"/>
                  </a:lnTo>
                  <a:lnTo>
                    <a:pt x="596" y="495"/>
                  </a:lnTo>
                  <a:lnTo>
                    <a:pt x="598" y="501"/>
                  </a:lnTo>
                  <a:lnTo>
                    <a:pt x="600" y="507"/>
                  </a:lnTo>
                  <a:lnTo>
                    <a:pt x="600" y="511"/>
                  </a:lnTo>
                  <a:lnTo>
                    <a:pt x="598" y="517"/>
                  </a:lnTo>
                  <a:lnTo>
                    <a:pt x="598" y="517"/>
                  </a:lnTo>
                  <a:lnTo>
                    <a:pt x="590" y="525"/>
                  </a:lnTo>
                  <a:lnTo>
                    <a:pt x="578" y="535"/>
                  </a:lnTo>
                  <a:lnTo>
                    <a:pt x="560" y="547"/>
                  </a:lnTo>
                  <a:lnTo>
                    <a:pt x="536" y="561"/>
                  </a:lnTo>
                  <a:lnTo>
                    <a:pt x="500" y="577"/>
                  </a:lnTo>
                  <a:lnTo>
                    <a:pt x="456" y="595"/>
                  </a:lnTo>
                  <a:lnTo>
                    <a:pt x="400" y="615"/>
                  </a:lnTo>
                  <a:lnTo>
                    <a:pt x="400" y="615"/>
                  </a:lnTo>
                  <a:lnTo>
                    <a:pt x="396" y="615"/>
                  </a:lnTo>
                  <a:lnTo>
                    <a:pt x="396" y="615"/>
                  </a:lnTo>
                  <a:close/>
                  <a:moveTo>
                    <a:pt x="352" y="539"/>
                  </a:moveTo>
                  <a:lnTo>
                    <a:pt x="352" y="539"/>
                  </a:lnTo>
                  <a:lnTo>
                    <a:pt x="360" y="541"/>
                  </a:lnTo>
                  <a:lnTo>
                    <a:pt x="360" y="541"/>
                  </a:lnTo>
                  <a:lnTo>
                    <a:pt x="366" y="545"/>
                  </a:lnTo>
                  <a:lnTo>
                    <a:pt x="380" y="555"/>
                  </a:lnTo>
                  <a:lnTo>
                    <a:pt x="394" y="569"/>
                  </a:lnTo>
                  <a:lnTo>
                    <a:pt x="400" y="577"/>
                  </a:lnTo>
                  <a:lnTo>
                    <a:pt x="404" y="587"/>
                  </a:lnTo>
                  <a:lnTo>
                    <a:pt x="404" y="587"/>
                  </a:lnTo>
                  <a:lnTo>
                    <a:pt x="452" y="569"/>
                  </a:lnTo>
                  <a:lnTo>
                    <a:pt x="502" y="547"/>
                  </a:lnTo>
                  <a:lnTo>
                    <a:pt x="546" y="527"/>
                  </a:lnTo>
                  <a:lnTo>
                    <a:pt x="562" y="517"/>
                  </a:lnTo>
                  <a:lnTo>
                    <a:pt x="574" y="507"/>
                  </a:lnTo>
                  <a:lnTo>
                    <a:pt x="574" y="507"/>
                  </a:lnTo>
                  <a:lnTo>
                    <a:pt x="570" y="499"/>
                  </a:lnTo>
                  <a:lnTo>
                    <a:pt x="566" y="483"/>
                  </a:lnTo>
                  <a:lnTo>
                    <a:pt x="562" y="459"/>
                  </a:lnTo>
                  <a:lnTo>
                    <a:pt x="562" y="445"/>
                  </a:lnTo>
                  <a:lnTo>
                    <a:pt x="562" y="430"/>
                  </a:lnTo>
                  <a:lnTo>
                    <a:pt x="562" y="430"/>
                  </a:lnTo>
                  <a:lnTo>
                    <a:pt x="560" y="416"/>
                  </a:lnTo>
                  <a:lnTo>
                    <a:pt x="554" y="394"/>
                  </a:lnTo>
                  <a:lnTo>
                    <a:pt x="544" y="368"/>
                  </a:lnTo>
                  <a:lnTo>
                    <a:pt x="532" y="340"/>
                  </a:lnTo>
                  <a:lnTo>
                    <a:pt x="504" y="278"/>
                  </a:lnTo>
                  <a:lnTo>
                    <a:pt x="474" y="220"/>
                  </a:lnTo>
                  <a:lnTo>
                    <a:pt x="474" y="220"/>
                  </a:lnTo>
                  <a:lnTo>
                    <a:pt x="450" y="214"/>
                  </a:lnTo>
                  <a:lnTo>
                    <a:pt x="412" y="208"/>
                  </a:lnTo>
                  <a:lnTo>
                    <a:pt x="364" y="202"/>
                  </a:lnTo>
                  <a:lnTo>
                    <a:pt x="340" y="200"/>
                  </a:lnTo>
                  <a:lnTo>
                    <a:pt x="314" y="198"/>
                  </a:lnTo>
                  <a:lnTo>
                    <a:pt x="314" y="198"/>
                  </a:lnTo>
                  <a:lnTo>
                    <a:pt x="292" y="200"/>
                  </a:lnTo>
                  <a:lnTo>
                    <a:pt x="274" y="200"/>
                  </a:lnTo>
                  <a:lnTo>
                    <a:pt x="256" y="204"/>
                  </a:lnTo>
                  <a:lnTo>
                    <a:pt x="240" y="208"/>
                  </a:lnTo>
                  <a:lnTo>
                    <a:pt x="240" y="208"/>
                  </a:lnTo>
                  <a:lnTo>
                    <a:pt x="236" y="208"/>
                  </a:lnTo>
                  <a:lnTo>
                    <a:pt x="232" y="208"/>
                  </a:lnTo>
                  <a:lnTo>
                    <a:pt x="230" y="206"/>
                  </a:lnTo>
                  <a:lnTo>
                    <a:pt x="226" y="204"/>
                  </a:lnTo>
                  <a:lnTo>
                    <a:pt x="226" y="204"/>
                  </a:lnTo>
                  <a:lnTo>
                    <a:pt x="198" y="162"/>
                  </a:lnTo>
                  <a:lnTo>
                    <a:pt x="160" y="110"/>
                  </a:lnTo>
                  <a:lnTo>
                    <a:pt x="140" y="84"/>
                  </a:lnTo>
                  <a:lnTo>
                    <a:pt x="120" y="60"/>
                  </a:lnTo>
                  <a:lnTo>
                    <a:pt x="102" y="40"/>
                  </a:lnTo>
                  <a:lnTo>
                    <a:pt x="84" y="26"/>
                  </a:lnTo>
                  <a:lnTo>
                    <a:pt x="84" y="26"/>
                  </a:lnTo>
                  <a:lnTo>
                    <a:pt x="76" y="30"/>
                  </a:lnTo>
                  <a:lnTo>
                    <a:pt x="72" y="34"/>
                  </a:lnTo>
                  <a:lnTo>
                    <a:pt x="70" y="38"/>
                  </a:lnTo>
                  <a:lnTo>
                    <a:pt x="70" y="38"/>
                  </a:lnTo>
                  <a:lnTo>
                    <a:pt x="68" y="44"/>
                  </a:lnTo>
                  <a:lnTo>
                    <a:pt x="70" y="48"/>
                  </a:lnTo>
                  <a:lnTo>
                    <a:pt x="76" y="58"/>
                  </a:lnTo>
                  <a:lnTo>
                    <a:pt x="76" y="58"/>
                  </a:lnTo>
                  <a:lnTo>
                    <a:pt x="144" y="162"/>
                  </a:lnTo>
                  <a:lnTo>
                    <a:pt x="180" y="218"/>
                  </a:lnTo>
                  <a:lnTo>
                    <a:pt x="202" y="256"/>
                  </a:lnTo>
                  <a:lnTo>
                    <a:pt x="202" y="256"/>
                  </a:lnTo>
                  <a:lnTo>
                    <a:pt x="222" y="296"/>
                  </a:lnTo>
                  <a:lnTo>
                    <a:pt x="232" y="320"/>
                  </a:lnTo>
                  <a:lnTo>
                    <a:pt x="234" y="332"/>
                  </a:lnTo>
                  <a:lnTo>
                    <a:pt x="236" y="336"/>
                  </a:lnTo>
                  <a:lnTo>
                    <a:pt x="234" y="344"/>
                  </a:lnTo>
                  <a:lnTo>
                    <a:pt x="234" y="344"/>
                  </a:lnTo>
                  <a:lnTo>
                    <a:pt x="234" y="348"/>
                  </a:lnTo>
                  <a:lnTo>
                    <a:pt x="230" y="352"/>
                  </a:lnTo>
                  <a:lnTo>
                    <a:pt x="226" y="354"/>
                  </a:lnTo>
                  <a:lnTo>
                    <a:pt x="222" y="356"/>
                  </a:lnTo>
                  <a:lnTo>
                    <a:pt x="222" y="356"/>
                  </a:lnTo>
                  <a:lnTo>
                    <a:pt x="200" y="356"/>
                  </a:lnTo>
                  <a:lnTo>
                    <a:pt x="188" y="358"/>
                  </a:lnTo>
                  <a:lnTo>
                    <a:pt x="180" y="362"/>
                  </a:lnTo>
                  <a:lnTo>
                    <a:pt x="180" y="362"/>
                  </a:lnTo>
                  <a:lnTo>
                    <a:pt x="176" y="362"/>
                  </a:lnTo>
                  <a:lnTo>
                    <a:pt x="172" y="362"/>
                  </a:lnTo>
                  <a:lnTo>
                    <a:pt x="168" y="362"/>
                  </a:lnTo>
                  <a:lnTo>
                    <a:pt x="166" y="358"/>
                  </a:lnTo>
                  <a:lnTo>
                    <a:pt x="166" y="358"/>
                  </a:lnTo>
                  <a:lnTo>
                    <a:pt x="156" y="350"/>
                  </a:lnTo>
                  <a:lnTo>
                    <a:pt x="134" y="332"/>
                  </a:lnTo>
                  <a:lnTo>
                    <a:pt x="120" y="322"/>
                  </a:lnTo>
                  <a:lnTo>
                    <a:pt x="102" y="312"/>
                  </a:lnTo>
                  <a:lnTo>
                    <a:pt x="86" y="306"/>
                  </a:lnTo>
                  <a:lnTo>
                    <a:pt x="68" y="304"/>
                  </a:lnTo>
                  <a:lnTo>
                    <a:pt x="68" y="304"/>
                  </a:lnTo>
                  <a:lnTo>
                    <a:pt x="58" y="306"/>
                  </a:lnTo>
                  <a:lnTo>
                    <a:pt x="50" y="308"/>
                  </a:lnTo>
                  <a:lnTo>
                    <a:pt x="42" y="310"/>
                  </a:lnTo>
                  <a:lnTo>
                    <a:pt x="34" y="316"/>
                  </a:lnTo>
                  <a:lnTo>
                    <a:pt x="34" y="316"/>
                  </a:lnTo>
                  <a:lnTo>
                    <a:pt x="26" y="326"/>
                  </a:lnTo>
                  <a:lnTo>
                    <a:pt x="26" y="326"/>
                  </a:lnTo>
                  <a:lnTo>
                    <a:pt x="40" y="332"/>
                  </a:lnTo>
                  <a:lnTo>
                    <a:pt x="50" y="340"/>
                  </a:lnTo>
                  <a:lnTo>
                    <a:pt x="50" y="340"/>
                  </a:lnTo>
                  <a:lnTo>
                    <a:pt x="56" y="344"/>
                  </a:lnTo>
                  <a:lnTo>
                    <a:pt x="56" y="344"/>
                  </a:lnTo>
                  <a:lnTo>
                    <a:pt x="80" y="362"/>
                  </a:lnTo>
                  <a:lnTo>
                    <a:pt x="102" y="380"/>
                  </a:lnTo>
                  <a:lnTo>
                    <a:pt x="122" y="398"/>
                  </a:lnTo>
                  <a:lnTo>
                    <a:pt x="136" y="416"/>
                  </a:lnTo>
                  <a:lnTo>
                    <a:pt x="136" y="416"/>
                  </a:lnTo>
                  <a:lnTo>
                    <a:pt x="142" y="426"/>
                  </a:lnTo>
                  <a:lnTo>
                    <a:pt x="158" y="441"/>
                  </a:lnTo>
                  <a:lnTo>
                    <a:pt x="176" y="461"/>
                  </a:lnTo>
                  <a:lnTo>
                    <a:pt x="202" y="483"/>
                  </a:lnTo>
                  <a:lnTo>
                    <a:pt x="232" y="503"/>
                  </a:lnTo>
                  <a:lnTo>
                    <a:pt x="248" y="513"/>
                  </a:lnTo>
                  <a:lnTo>
                    <a:pt x="264" y="521"/>
                  </a:lnTo>
                  <a:lnTo>
                    <a:pt x="282" y="529"/>
                  </a:lnTo>
                  <a:lnTo>
                    <a:pt x="300" y="535"/>
                  </a:lnTo>
                  <a:lnTo>
                    <a:pt x="318" y="537"/>
                  </a:lnTo>
                  <a:lnTo>
                    <a:pt x="338" y="539"/>
                  </a:lnTo>
                  <a:lnTo>
                    <a:pt x="338" y="539"/>
                  </a:lnTo>
                  <a:lnTo>
                    <a:pt x="338" y="539"/>
                  </a:lnTo>
                  <a:lnTo>
                    <a:pt x="352" y="539"/>
                  </a:lnTo>
                  <a:lnTo>
                    <a:pt x="352" y="53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11" tIns="33605" rIns="67211" bIns="33605" numCol="1" anchor="t" anchorCtr="0" compatLnSpc="1">
              <a:prstTxWarp prst="textNoShape">
                <a:avLst/>
              </a:prstTxWarp>
            </a:bodyPr>
            <a:lstStyle/>
            <a:p>
              <a:pPr defTabSz="685594" fontAlgn="auto">
                <a:spcBef>
                  <a:spcPts val="0"/>
                </a:spcBef>
                <a:spcAft>
                  <a:spcPts val="0"/>
                </a:spcAft>
                <a:defRPr/>
              </a:pPr>
              <a:endParaRPr lang="en-US" sz="1325" b="0" kern="0" dirty="0">
                <a:solidFill>
                  <a:srgbClr val="FFFFFF"/>
                </a:solidFill>
                <a:latin typeface="Segoe UI Semilight"/>
                <a:ea typeface="MS PGothic" panose="020B0600070205080204" pitchFamily="34" charset="-128"/>
                <a:cs typeface="+mn-cs"/>
              </a:endParaRPr>
            </a:p>
          </p:txBody>
        </p:sp>
        <p:sp>
          <p:nvSpPr>
            <p:cNvPr id="478" name="Freeform 106"/>
            <p:cNvSpPr>
              <a:spLocks/>
            </p:cNvSpPr>
            <p:nvPr/>
          </p:nvSpPr>
          <p:spPr bwMode="auto">
            <a:xfrm>
              <a:off x="2308225" y="7734300"/>
              <a:ext cx="704850" cy="1154113"/>
            </a:xfrm>
            <a:custGeom>
              <a:avLst/>
              <a:gdLst>
                <a:gd name="T0" fmla="*/ 34 w 444"/>
                <a:gd name="T1" fmla="*/ 703 h 727"/>
                <a:gd name="T2" fmla="*/ 34 w 444"/>
                <a:gd name="T3" fmla="*/ 703 h 727"/>
                <a:gd name="T4" fmla="*/ 28 w 444"/>
                <a:gd name="T5" fmla="*/ 701 h 727"/>
                <a:gd name="T6" fmla="*/ 26 w 444"/>
                <a:gd name="T7" fmla="*/ 696 h 727"/>
                <a:gd name="T8" fmla="*/ 26 w 444"/>
                <a:gd name="T9" fmla="*/ 32 h 727"/>
                <a:gd name="T10" fmla="*/ 26 w 444"/>
                <a:gd name="T11" fmla="*/ 32 h 727"/>
                <a:gd name="T12" fmla="*/ 28 w 444"/>
                <a:gd name="T13" fmla="*/ 26 h 727"/>
                <a:gd name="T14" fmla="*/ 34 w 444"/>
                <a:gd name="T15" fmla="*/ 24 h 727"/>
                <a:gd name="T16" fmla="*/ 412 w 444"/>
                <a:gd name="T17" fmla="*/ 24 h 727"/>
                <a:gd name="T18" fmla="*/ 412 w 444"/>
                <a:gd name="T19" fmla="*/ 24 h 727"/>
                <a:gd name="T20" fmla="*/ 418 w 444"/>
                <a:gd name="T21" fmla="*/ 26 h 727"/>
                <a:gd name="T22" fmla="*/ 420 w 444"/>
                <a:gd name="T23" fmla="*/ 32 h 727"/>
                <a:gd name="T24" fmla="*/ 420 w 444"/>
                <a:gd name="T25" fmla="*/ 348 h 727"/>
                <a:gd name="T26" fmla="*/ 420 w 444"/>
                <a:gd name="T27" fmla="*/ 348 h 727"/>
                <a:gd name="T28" fmla="*/ 444 w 444"/>
                <a:gd name="T29" fmla="*/ 382 h 727"/>
                <a:gd name="T30" fmla="*/ 444 w 444"/>
                <a:gd name="T31" fmla="*/ 32 h 727"/>
                <a:gd name="T32" fmla="*/ 444 w 444"/>
                <a:gd name="T33" fmla="*/ 32 h 727"/>
                <a:gd name="T34" fmla="*/ 444 w 444"/>
                <a:gd name="T35" fmla="*/ 26 h 727"/>
                <a:gd name="T36" fmla="*/ 442 w 444"/>
                <a:gd name="T37" fmla="*/ 20 h 727"/>
                <a:gd name="T38" fmla="*/ 440 w 444"/>
                <a:gd name="T39" fmla="*/ 14 h 727"/>
                <a:gd name="T40" fmla="*/ 436 w 444"/>
                <a:gd name="T41" fmla="*/ 8 h 727"/>
                <a:gd name="T42" fmla="*/ 430 w 444"/>
                <a:gd name="T43" fmla="*/ 4 h 727"/>
                <a:gd name="T44" fmla="*/ 426 w 444"/>
                <a:gd name="T45" fmla="*/ 2 h 727"/>
                <a:gd name="T46" fmla="*/ 420 w 444"/>
                <a:gd name="T47" fmla="*/ 0 h 727"/>
                <a:gd name="T48" fmla="*/ 412 w 444"/>
                <a:gd name="T49" fmla="*/ 0 h 727"/>
                <a:gd name="T50" fmla="*/ 34 w 444"/>
                <a:gd name="T51" fmla="*/ 0 h 727"/>
                <a:gd name="T52" fmla="*/ 34 w 444"/>
                <a:gd name="T53" fmla="*/ 0 h 727"/>
                <a:gd name="T54" fmla="*/ 26 w 444"/>
                <a:gd name="T55" fmla="*/ 0 h 727"/>
                <a:gd name="T56" fmla="*/ 20 w 444"/>
                <a:gd name="T57" fmla="*/ 2 h 727"/>
                <a:gd name="T58" fmla="*/ 16 w 444"/>
                <a:gd name="T59" fmla="*/ 4 h 727"/>
                <a:gd name="T60" fmla="*/ 10 w 444"/>
                <a:gd name="T61" fmla="*/ 8 h 727"/>
                <a:gd name="T62" fmla="*/ 6 w 444"/>
                <a:gd name="T63" fmla="*/ 14 h 727"/>
                <a:gd name="T64" fmla="*/ 4 w 444"/>
                <a:gd name="T65" fmla="*/ 20 h 727"/>
                <a:gd name="T66" fmla="*/ 2 w 444"/>
                <a:gd name="T67" fmla="*/ 26 h 727"/>
                <a:gd name="T68" fmla="*/ 0 w 444"/>
                <a:gd name="T69" fmla="*/ 32 h 727"/>
                <a:gd name="T70" fmla="*/ 0 w 444"/>
                <a:gd name="T71" fmla="*/ 696 h 727"/>
                <a:gd name="T72" fmla="*/ 0 w 444"/>
                <a:gd name="T73" fmla="*/ 696 h 727"/>
                <a:gd name="T74" fmla="*/ 2 w 444"/>
                <a:gd name="T75" fmla="*/ 701 h 727"/>
                <a:gd name="T76" fmla="*/ 4 w 444"/>
                <a:gd name="T77" fmla="*/ 707 h 727"/>
                <a:gd name="T78" fmla="*/ 6 w 444"/>
                <a:gd name="T79" fmla="*/ 713 h 727"/>
                <a:gd name="T80" fmla="*/ 10 w 444"/>
                <a:gd name="T81" fmla="*/ 719 h 727"/>
                <a:gd name="T82" fmla="*/ 16 w 444"/>
                <a:gd name="T83" fmla="*/ 723 h 727"/>
                <a:gd name="T84" fmla="*/ 20 w 444"/>
                <a:gd name="T85" fmla="*/ 725 h 727"/>
                <a:gd name="T86" fmla="*/ 26 w 444"/>
                <a:gd name="T87" fmla="*/ 727 h 727"/>
                <a:gd name="T88" fmla="*/ 34 w 444"/>
                <a:gd name="T89" fmla="*/ 727 h 727"/>
                <a:gd name="T90" fmla="*/ 404 w 444"/>
                <a:gd name="T91" fmla="*/ 727 h 727"/>
                <a:gd name="T92" fmla="*/ 404 w 444"/>
                <a:gd name="T93" fmla="*/ 727 h 727"/>
                <a:gd name="T94" fmla="*/ 382 w 444"/>
                <a:gd name="T95" fmla="*/ 703 h 727"/>
                <a:gd name="T96" fmla="*/ 34 w 444"/>
                <a:gd name="T97" fmla="*/ 703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44" h="727">
                  <a:moveTo>
                    <a:pt x="34" y="703"/>
                  </a:moveTo>
                  <a:lnTo>
                    <a:pt x="34" y="703"/>
                  </a:lnTo>
                  <a:lnTo>
                    <a:pt x="28" y="701"/>
                  </a:lnTo>
                  <a:lnTo>
                    <a:pt x="26" y="696"/>
                  </a:lnTo>
                  <a:lnTo>
                    <a:pt x="26" y="32"/>
                  </a:lnTo>
                  <a:lnTo>
                    <a:pt x="26" y="32"/>
                  </a:lnTo>
                  <a:lnTo>
                    <a:pt x="28" y="26"/>
                  </a:lnTo>
                  <a:lnTo>
                    <a:pt x="34" y="24"/>
                  </a:lnTo>
                  <a:lnTo>
                    <a:pt x="412" y="24"/>
                  </a:lnTo>
                  <a:lnTo>
                    <a:pt x="412" y="24"/>
                  </a:lnTo>
                  <a:lnTo>
                    <a:pt x="418" y="26"/>
                  </a:lnTo>
                  <a:lnTo>
                    <a:pt x="420" y="32"/>
                  </a:lnTo>
                  <a:lnTo>
                    <a:pt x="420" y="348"/>
                  </a:lnTo>
                  <a:lnTo>
                    <a:pt x="420" y="348"/>
                  </a:lnTo>
                  <a:lnTo>
                    <a:pt x="444" y="382"/>
                  </a:lnTo>
                  <a:lnTo>
                    <a:pt x="444" y="32"/>
                  </a:lnTo>
                  <a:lnTo>
                    <a:pt x="444" y="32"/>
                  </a:lnTo>
                  <a:lnTo>
                    <a:pt x="444" y="26"/>
                  </a:lnTo>
                  <a:lnTo>
                    <a:pt x="442" y="20"/>
                  </a:lnTo>
                  <a:lnTo>
                    <a:pt x="440" y="14"/>
                  </a:lnTo>
                  <a:lnTo>
                    <a:pt x="436" y="8"/>
                  </a:lnTo>
                  <a:lnTo>
                    <a:pt x="430" y="4"/>
                  </a:lnTo>
                  <a:lnTo>
                    <a:pt x="426" y="2"/>
                  </a:lnTo>
                  <a:lnTo>
                    <a:pt x="420" y="0"/>
                  </a:lnTo>
                  <a:lnTo>
                    <a:pt x="412" y="0"/>
                  </a:lnTo>
                  <a:lnTo>
                    <a:pt x="34" y="0"/>
                  </a:lnTo>
                  <a:lnTo>
                    <a:pt x="34" y="0"/>
                  </a:lnTo>
                  <a:lnTo>
                    <a:pt x="26" y="0"/>
                  </a:lnTo>
                  <a:lnTo>
                    <a:pt x="20" y="2"/>
                  </a:lnTo>
                  <a:lnTo>
                    <a:pt x="16" y="4"/>
                  </a:lnTo>
                  <a:lnTo>
                    <a:pt x="10" y="8"/>
                  </a:lnTo>
                  <a:lnTo>
                    <a:pt x="6" y="14"/>
                  </a:lnTo>
                  <a:lnTo>
                    <a:pt x="4" y="20"/>
                  </a:lnTo>
                  <a:lnTo>
                    <a:pt x="2" y="26"/>
                  </a:lnTo>
                  <a:lnTo>
                    <a:pt x="0" y="32"/>
                  </a:lnTo>
                  <a:lnTo>
                    <a:pt x="0" y="696"/>
                  </a:lnTo>
                  <a:lnTo>
                    <a:pt x="0" y="696"/>
                  </a:lnTo>
                  <a:lnTo>
                    <a:pt x="2" y="701"/>
                  </a:lnTo>
                  <a:lnTo>
                    <a:pt x="4" y="707"/>
                  </a:lnTo>
                  <a:lnTo>
                    <a:pt x="6" y="713"/>
                  </a:lnTo>
                  <a:lnTo>
                    <a:pt x="10" y="719"/>
                  </a:lnTo>
                  <a:lnTo>
                    <a:pt x="16" y="723"/>
                  </a:lnTo>
                  <a:lnTo>
                    <a:pt x="20" y="725"/>
                  </a:lnTo>
                  <a:lnTo>
                    <a:pt x="26" y="727"/>
                  </a:lnTo>
                  <a:lnTo>
                    <a:pt x="34" y="727"/>
                  </a:lnTo>
                  <a:lnTo>
                    <a:pt x="404" y="727"/>
                  </a:lnTo>
                  <a:lnTo>
                    <a:pt x="404" y="727"/>
                  </a:lnTo>
                  <a:lnTo>
                    <a:pt x="382" y="703"/>
                  </a:lnTo>
                  <a:lnTo>
                    <a:pt x="34" y="70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11" tIns="33605" rIns="67211" bIns="33605" numCol="1" anchor="t" anchorCtr="0" compatLnSpc="1">
              <a:prstTxWarp prst="textNoShape">
                <a:avLst/>
              </a:prstTxWarp>
            </a:bodyPr>
            <a:lstStyle/>
            <a:p>
              <a:pPr defTabSz="685594" fontAlgn="auto">
                <a:spcBef>
                  <a:spcPts val="0"/>
                </a:spcBef>
                <a:spcAft>
                  <a:spcPts val="0"/>
                </a:spcAft>
                <a:defRPr/>
              </a:pPr>
              <a:endParaRPr lang="en-US" sz="1325" b="0" kern="0" dirty="0">
                <a:solidFill>
                  <a:srgbClr val="FFFFFF"/>
                </a:solidFill>
                <a:latin typeface="Segoe UI Semilight"/>
                <a:ea typeface="MS PGothic" panose="020B0600070205080204" pitchFamily="34" charset="-128"/>
                <a:cs typeface="+mn-cs"/>
              </a:endParaRPr>
            </a:p>
          </p:txBody>
        </p:sp>
        <p:sp>
          <p:nvSpPr>
            <p:cNvPr id="479" name="Freeform 107"/>
            <p:cNvSpPr>
              <a:spLocks/>
            </p:cNvSpPr>
            <p:nvPr/>
          </p:nvSpPr>
          <p:spPr bwMode="auto">
            <a:xfrm>
              <a:off x="2974975" y="8467725"/>
              <a:ext cx="38100" cy="263525"/>
            </a:xfrm>
            <a:custGeom>
              <a:avLst/>
              <a:gdLst>
                <a:gd name="T0" fmla="*/ 0 w 24"/>
                <a:gd name="T1" fmla="*/ 0 h 166"/>
                <a:gd name="T2" fmla="*/ 0 w 24"/>
                <a:gd name="T3" fmla="*/ 134 h 166"/>
                <a:gd name="T4" fmla="*/ 0 w 24"/>
                <a:gd name="T5" fmla="*/ 134 h 166"/>
                <a:gd name="T6" fmla="*/ 24 w 24"/>
                <a:gd name="T7" fmla="*/ 166 h 166"/>
                <a:gd name="T8" fmla="*/ 24 w 24"/>
                <a:gd name="T9" fmla="*/ 50 h 166"/>
                <a:gd name="T10" fmla="*/ 24 w 24"/>
                <a:gd name="T11" fmla="*/ 50 h 166"/>
                <a:gd name="T12" fmla="*/ 12 w 24"/>
                <a:gd name="T13" fmla="*/ 22 h 166"/>
                <a:gd name="T14" fmla="*/ 0 w 24"/>
                <a:gd name="T15" fmla="*/ 0 h 166"/>
                <a:gd name="T16" fmla="*/ 0 w 24"/>
                <a:gd name="T17" fmla="*/ 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166">
                  <a:moveTo>
                    <a:pt x="0" y="0"/>
                  </a:moveTo>
                  <a:lnTo>
                    <a:pt x="0" y="134"/>
                  </a:lnTo>
                  <a:lnTo>
                    <a:pt x="0" y="134"/>
                  </a:lnTo>
                  <a:lnTo>
                    <a:pt x="24" y="166"/>
                  </a:lnTo>
                  <a:lnTo>
                    <a:pt x="24" y="50"/>
                  </a:lnTo>
                  <a:lnTo>
                    <a:pt x="24" y="50"/>
                  </a:lnTo>
                  <a:lnTo>
                    <a:pt x="12" y="22"/>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11" tIns="33605" rIns="67211" bIns="33605" numCol="1" anchor="t" anchorCtr="0" compatLnSpc="1">
              <a:prstTxWarp prst="textNoShape">
                <a:avLst/>
              </a:prstTxWarp>
            </a:bodyPr>
            <a:lstStyle/>
            <a:p>
              <a:pPr defTabSz="685594" fontAlgn="auto">
                <a:spcBef>
                  <a:spcPts val="0"/>
                </a:spcBef>
                <a:spcAft>
                  <a:spcPts val="0"/>
                </a:spcAft>
                <a:defRPr/>
              </a:pPr>
              <a:endParaRPr lang="en-US" sz="1325" b="0" kern="0" dirty="0">
                <a:solidFill>
                  <a:srgbClr val="FFFFFF"/>
                </a:solidFill>
                <a:latin typeface="Segoe UI Semilight"/>
                <a:ea typeface="MS PGothic" panose="020B0600070205080204" pitchFamily="34" charset="-128"/>
                <a:cs typeface="+mn-cs"/>
              </a:endParaRPr>
            </a:p>
          </p:txBody>
        </p:sp>
      </p:grpSp>
      <p:sp>
        <p:nvSpPr>
          <p:cNvPr id="480" name="Freeform 479"/>
          <p:cNvSpPr>
            <a:spLocks noChangeAspect="1"/>
          </p:cNvSpPr>
          <p:nvPr/>
        </p:nvSpPr>
        <p:spPr bwMode="auto">
          <a:xfrm>
            <a:off x="541045" y="4362222"/>
            <a:ext cx="252512" cy="428161"/>
          </a:xfrm>
          <a:custGeom>
            <a:avLst/>
            <a:gdLst>
              <a:gd name="connsiteX0" fmla="*/ 652199 w 1962365"/>
              <a:gd name="connsiteY0" fmla="*/ 661855 h 3327402"/>
              <a:gd name="connsiteX1" fmla="*/ 518186 w 1962365"/>
              <a:gd name="connsiteY1" fmla="*/ 722665 h 3327402"/>
              <a:gd name="connsiteX2" fmla="*/ 466408 w 1962365"/>
              <a:gd name="connsiteY2" fmla="*/ 853406 h 3327402"/>
              <a:gd name="connsiteX3" fmla="*/ 466408 w 1962365"/>
              <a:gd name="connsiteY3" fmla="*/ 1151375 h 3327402"/>
              <a:gd name="connsiteX4" fmla="*/ 466408 w 1962365"/>
              <a:gd name="connsiteY4" fmla="*/ 1282116 h 3327402"/>
              <a:gd name="connsiteX5" fmla="*/ 466408 w 1962365"/>
              <a:gd name="connsiteY5" fmla="*/ 1285157 h 3327402"/>
              <a:gd name="connsiteX6" fmla="*/ 466408 w 1962365"/>
              <a:gd name="connsiteY6" fmla="*/ 1726029 h 3327402"/>
              <a:gd name="connsiteX7" fmla="*/ 466408 w 1962365"/>
              <a:gd name="connsiteY7" fmla="*/ 1732110 h 3327402"/>
              <a:gd name="connsiteX8" fmla="*/ 466280 w 1962365"/>
              <a:gd name="connsiteY8" fmla="*/ 1733367 h 3327402"/>
              <a:gd name="connsiteX9" fmla="*/ 466726 w 1962365"/>
              <a:gd name="connsiteY9" fmla="*/ 1735547 h 3327402"/>
              <a:gd name="connsiteX10" fmla="*/ 466726 w 1962365"/>
              <a:gd name="connsiteY10" fmla="*/ 2345918 h 3327402"/>
              <a:gd name="connsiteX11" fmla="*/ 405607 w 1962365"/>
              <a:gd name="connsiteY11" fmla="*/ 2406651 h 3327402"/>
              <a:gd name="connsiteX12" fmla="*/ 344488 w 1962365"/>
              <a:gd name="connsiteY12" fmla="*/ 2345918 h 3327402"/>
              <a:gd name="connsiteX13" fmla="*/ 344488 w 1962365"/>
              <a:gd name="connsiteY13" fmla="*/ 1884564 h 3327402"/>
              <a:gd name="connsiteX14" fmla="*/ 344488 w 1962365"/>
              <a:gd name="connsiteY14" fmla="*/ 1816216 h 3327402"/>
              <a:gd name="connsiteX15" fmla="*/ 314121 w 1962365"/>
              <a:gd name="connsiteY15" fmla="*/ 1811163 h 3327402"/>
              <a:gd name="connsiteX16" fmla="*/ 292800 w 1962365"/>
              <a:gd name="connsiteY16" fmla="*/ 1814204 h 3327402"/>
              <a:gd name="connsiteX17" fmla="*/ 122238 w 1962365"/>
              <a:gd name="connsiteY17" fmla="*/ 2014877 h 3327402"/>
              <a:gd name="connsiteX18" fmla="*/ 122238 w 1962365"/>
              <a:gd name="connsiteY18" fmla="*/ 2671624 h 3327402"/>
              <a:gd name="connsiteX19" fmla="*/ 655245 w 1962365"/>
              <a:gd name="connsiteY19" fmla="*/ 3206752 h 3327402"/>
              <a:gd name="connsiteX20" fmla="*/ 1316173 w 1962365"/>
              <a:gd name="connsiteY20" fmla="*/ 3206752 h 3327402"/>
              <a:gd name="connsiteX21" fmla="*/ 1660343 w 1962365"/>
              <a:gd name="connsiteY21" fmla="*/ 3069930 h 3327402"/>
              <a:gd name="connsiteX22" fmla="*/ 1840042 w 1962365"/>
              <a:gd name="connsiteY22" fmla="*/ 2635138 h 3327402"/>
              <a:gd name="connsiteX23" fmla="*/ 1836997 w 1962365"/>
              <a:gd name="connsiteY23" fmla="*/ 2200347 h 3327402"/>
              <a:gd name="connsiteX24" fmla="*/ 1836997 w 1962365"/>
              <a:gd name="connsiteY24" fmla="*/ 1865892 h 3327402"/>
              <a:gd name="connsiteX25" fmla="*/ 1766944 w 1962365"/>
              <a:gd name="connsiteY25" fmla="*/ 1710827 h 3327402"/>
              <a:gd name="connsiteX26" fmla="*/ 1691943 w 1962365"/>
              <a:gd name="connsiteY26" fmla="*/ 1673201 h 3327402"/>
              <a:gd name="connsiteX27" fmla="*/ 1627188 w 1962365"/>
              <a:gd name="connsiteY27" fmla="*/ 1674055 h 3327402"/>
              <a:gd name="connsiteX28" fmla="*/ 1627188 w 1962365"/>
              <a:gd name="connsiteY28" fmla="*/ 1739862 h 3327402"/>
              <a:gd name="connsiteX29" fmla="*/ 1627188 w 1962365"/>
              <a:gd name="connsiteY29" fmla="*/ 2002880 h 3327402"/>
              <a:gd name="connsiteX30" fmla="*/ 1566069 w 1962365"/>
              <a:gd name="connsiteY30" fmla="*/ 2063750 h 3327402"/>
              <a:gd name="connsiteX31" fmla="*/ 1504950 w 1962365"/>
              <a:gd name="connsiteY31" fmla="*/ 2002880 h 3327402"/>
              <a:gd name="connsiteX32" fmla="*/ 1504950 w 1962365"/>
              <a:gd name="connsiteY32" fmla="*/ 1659347 h 3327402"/>
              <a:gd name="connsiteX33" fmla="*/ 1504950 w 1962365"/>
              <a:gd name="connsiteY33" fmla="*/ 1634494 h 3327402"/>
              <a:gd name="connsiteX34" fmla="*/ 1492827 w 1962365"/>
              <a:gd name="connsiteY34" fmla="*/ 1616571 h 3327402"/>
              <a:gd name="connsiteX35" fmla="*/ 1343347 w 1962365"/>
              <a:gd name="connsiteY35" fmla="*/ 1504121 h 3327402"/>
              <a:gd name="connsiteX36" fmla="*/ 1295401 w 1962365"/>
              <a:gd name="connsiteY36" fmla="*/ 1508888 h 3327402"/>
              <a:gd name="connsiteX37" fmla="*/ 1295401 w 1962365"/>
              <a:gd name="connsiteY37" fmla="*/ 1587395 h 3327402"/>
              <a:gd name="connsiteX38" fmla="*/ 1295401 w 1962365"/>
              <a:gd name="connsiteY38" fmla="*/ 1853811 h 3327402"/>
              <a:gd name="connsiteX39" fmla="*/ 1234282 w 1962365"/>
              <a:gd name="connsiteY39" fmla="*/ 1914526 h 3327402"/>
              <a:gd name="connsiteX40" fmla="*/ 1173163 w 1962365"/>
              <a:gd name="connsiteY40" fmla="*/ 1853811 h 3327402"/>
              <a:gd name="connsiteX41" fmla="*/ 1173163 w 1962365"/>
              <a:gd name="connsiteY41" fmla="*/ 1505839 h 3327402"/>
              <a:gd name="connsiteX42" fmla="*/ 1173163 w 1962365"/>
              <a:gd name="connsiteY42" fmla="*/ 1481814 h 3327402"/>
              <a:gd name="connsiteX43" fmla="*/ 1154748 w 1962365"/>
              <a:gd name="connsiteY43" fmla="*/ 1452384 h 3327402"/>
              <a:gd name="connsiteX44" fmla="*/ 1014692 w 1962365"/>
              <a:gd name="connsiteY44" fmla="*/ 1336513 h 3327402"/>
              <a:gd name="connsiteX45" fmla="*/ 960438 w 1962365"/>
              <a:gd name="connsiteY45" fmla="*/ 1336809 h 3327402"/>
              <a:gd name="connsiteX46" fmla="*/ 960438 w 1962365"/>
              <a:gd name="connsiteY46" fmla="*/ 1351429 h 3327402"/>
              <a:gd name="connsiteX47" fmla="*/ 960438 w 1962365"/>
              <a:gd name="connsiteY47" fmla="*/ 1856956 h 3327402"/>
              <a:gd name="connsiteX48" fmla="*/ 899319 w 1962365"/>
              <a:gd name="connsiteY48" fmla="*/ 1917701 h 3327402"/>
              <a:gd name="connsiteX49" fmla="*/ 838200 w 1962365"/>
              <a:gd name="connsiteY49" fmla="*/ 1856956 h 3327402"/>
              <a:gd name="connsiteX50" fmla="*/ 838200 w 1962365"/>
              <a:gd name="connsiteY50" fmla="*/ 1244632 h 3327402"/>
              <a:gd name="connsiteX51" fmla="*/ 838200 w 1962365"/>
              <a:gd name="connsiteY51" fmla="*/ 1244582 h 3327402"/>
              <a:gd name="connsiteX52" fmla="*/ 837990 w 1962365"/>
              <a:gd name="connsiteY52" fmla="*/ 1242590 h 3327402"/>
              <a:gd name="connsiteX53" fmla="*/ 837990 w 1962365"/>
              <a:gd name="connsiteY53" fmla="*/ 853406 h 3327402"/>
              <a:gd name="connsiteX54" fmla="*/ 777075 w 1962365"/>
              <a:gd name="connsiteY54" fmla="*/ 713543 h 3327402"/>
              <a:gd name="connsiteX55" fmla="*/ 652199 w 1962365"/>
              <a:gd name="connsiteY55" fmla="*/ 661855 h 3327402"/>
              <a:gd name="connsiteX56" fmla="*/ 639828 w 1962365"/>
              <a:gd name="connsiteY56" fmla="*/ 121613 h 3327402"/>
              <a:gd name="connsiteX57" fmla="*/ 137622 w 1962365"/>
              <a:gd name="connsiteY57" fmla="*/ 626308 h 3327402"/>
              <a:gd name="connsiteX58" fmla="*/ 282720 w 1962365"/>
              <a:gd name="connsiteY58" fmla="*/ 979461 h 3327402"/>
              <a:gd name="connsiteX59" fmla="*/ 345272 w 1962365"/>
              <a:gd name="connsiteY59" fmla="*/ 1028322 h 3327402"/>
              <a:gd name="connsiteX60" fmla="*/ 345456 w 1962365"/>
              <a:gd name="connsiteY60" fmla="*/ 1004557 h 3327402"/>
              <a:gd name="connsiteX61" fmla="*/ 344313 w 1962365"/>
              <a:gd name="connsiteY61" fmla="*/ 857195 h 3327402"/>
              <a:gd name="connsiteX62" fmla="*/ 429629 w 1962365"/>
              <a:gd name="connsiteY62" fmla="*/ 638431 h 3327402"/>
              <a:gd name="connsiteX63" fmla="*/ 649015 w 1962365"/>
              <a:gd name="connsiteY63" fmla="*/ 541203 h 3327402"/>
              <a:gd name="connsiteX64" fmla="*/ 859259 w 1962365"/>
              <a:gd name="connsiteY64" fmla="*/ 626277 h 3327402"/>
              <a:gd name="connsiteX65" fmla="*/ 959810 w 1962365"/>
              <a:gd name="connsiteY65" fmla="*/ 854156 h 3327402"/>
              <a:gd name="connsiteX66" fmla="*/ 961689 w 1962365"/>
              <a:gd name="connsiteY66" fmla="*/ 1008367 h 3327402"/>
              <a:gd name="connsiteX67" fmla="*/ 997413 w 1962365"/>
              <a:gd name="connsiteY67" fmla="*/ 981171 h 3327402"/>
              <a:gd name="connsiteX68" fmla="*/ 1145078 w 1962365"/>
              <a:gd name="connsiteY68" fmla="*/ 626308 h 3327402"/>
              <a:gd name="connsiteX69" fmla="*/ 639828 w 1962365"/>
              <a:gd name="connsiteY69" fmla="*/ 121613 h 3327402"/>
              <a:gd name="connsiteX70" fmla="*/ 639828 w 1962365"/>
              <a:gd name="connsiteY70" fmla="*/ 0 h 3327402"/>
              <a:gd name="connsiteX71" fmla="*/ 1266825 w 1962365"/>
              <a:gd name="connsiteY71" fmla="*/ 626308 h 3327402"/>
              <a:gd name="connsiteX72" fmla="*/ 1024764 w 1962365"/>
              <a:gd name="connsiteY72" fmla="*/ 1121039 h 3327402"/>
              <a:gd name="connsiteX73" fmla="*/ 960481 w 1962365"/>
              <a:gd name="connsiteY73" fmla="*/ 1164696 h 3327402"/>
              <a:gd name="connsiteX74" fmla="*/ 959810 w 1962365"/>
              <a:gd name="connsiteY74" fmla="*/ 1215724 h 3327402"/>
              <a:gd name="connsiteX75" fmla="*/ 1261465 w 1962365"/>
              <a:gd name="connsiteY75" fmla="*/ 1388912 h 3327402"/>
              <a:gd name="connsiteX76" fmla="*/ 1596636 w 1962365"/>
              <a:gd name="connsiteY76" fmla="*/ 1549947 h 3327402"/>
              <a:gd name="connsiteX77" fmla="*/ 1843445 w 1962365"/>
              <a:gd name="connsiteY77" fmla="*/ 1613753 h 3327402"/>
              <a:gd name="connsiteX78" fmla="*/ 1959231 w 1962365"/>
              <a:gd name="connsiteY78" fmla="*/ 1865939 h 3327402"/>
              <a:gd name="connsiteX79" fmla="*/ 1959231 w 1962365"/>
              <a:gd name="connsiteY79" fmla="*/ 2200161 h 3327402"/>
              <a:gd name="connsiteX80" fmla="*/ 1962278 w 1962365"/>
              <a:gd name="connsiteY80" fmla="*/ 2631612 h 3327402"/>
              <a:gd name="connsiteX81" fmla="*/ 1742893 w 1962365"/>
              <a:gd name="connsiteY81" fmla="*/ 3160291 h 3327402"/>
              <a:gd name="connsiteX82" fmla="*/ 1316311 w 1962365"/>
              <a:gd name="connsiteY82" fmla="*/ 3327402 h 3327402"/>
              <a:gd name="connsiteX83" fmla="*/ 981139 w 1962365"/>
              <a:gd name="connsiteY83" fmla="*/ 3327402 h 3327402"/>
              <a:gd name="connsiteX84" fmla="*/ 652062 w 1962365"/>
              <a:gd name="connsiteY84" fmla="*/ 3327402 h 3327402"/>
              <a:gd name="connsiteX85" fmla="*/ 0 w 1962365"/>
              <a:gd name="connsiteY85" fmla="*/ 2674149 h 3327402"/>
              <a:gd name="connsiteX86" fmla="*/ 0 w 1962365"/>
              <a:gd name="connsiteY86" fmla="*/ 2014820 h 3327402"/>
              <a:gd name="connsiteX87" fmla="*/ 271185 w 1962365"/>
              <a:gd name="connsiteY87" fmla="*/ 1695789 h 3327402"/>
              <a:gd name="connsiteX88" fmla="*/ 344313 w 1962365"/>
              <a:gd name="connsiteY88" fmla="*/ 1692751 h 3327402"/>
              <a:gd name="connsiteX89" fmla="*/ 344313 w 1962365"/>
              <a:gd name="connsiteY89" fmla="*/ 1282569 h 3327402"/>
              <a:gd name="connsiteX90" fmla="*/ 344313 w 1962365"/>
              <a:gd name="connsiteY90" fmla="*/ 1276492 h 3327402"/>
              <a:gd name="connsiteX91" fmla="*/ 344313 w 1962365"/>
              <a:gd name="connsiteY91" fmla="*/ 1169483 h 3327402"/>
              <a:gd name="connsiteX92" fmla="*/ 326330 w 1962365"/>
              <a:gd name="connsiteY92" fmla="*/ 1167487 h 3327402"/>
              <a:gd name="connsiteX93" fmla="*/ 15875 w 1962365"/>
              <a:gd name="connsiteY93" fmla="*/ 626308 h 3327402"/>
              <a:gd name="connsiteX94" fmla="*/ 639828 w 1962365"/>
              <a:gd name="connsiteY94" fmla="*/ 0 h 3327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Lst>
            <a:rect l="l" t="t" r="r" b="b"/>
            <a:pathLst>
              <a:path w="1962365" h="3327402">
                <a:moveTo>
                  <a:pt x="652199" y="661855"/>
                </a:moveTo>
                <a:cubicBezTo>
                  <a:pt x="603467" y="661855"/>
                  <a:pt x="554735" y="683138"/>
                  <a:pt x="518186" y="722665"/>
                </a:cubicBezTo>
                <a:cubicBezTo>
                  <a:pt x="484683" y="759151"/>
                  <a:pt x="463362" y="807799"/>
                  <a:pt x="466408" y="853406"/>
                </a:cubicBezTo>
                <a:cubicBezTo>
                  <a:pt x="469454" y="953743"/>
                  <a:pt x="466408" y="1054079"/>
                  <a:pt x="466408" y="1151375"/>
                </a:cubicBezTo>
                <a:cubicBezTo>
                  <a:pt x="466408" y="1193942"/>
                  <a:pt x="466408" y="1236509"/>
                  <a:pt x="466408" y="1282116"/>
                </a:cubicBezTo>
                <a:cubicBezTo>
                  <a:pt x="466408" y="1282116"/>
                  <a:pt x="466408" y="1285157"/>
                  <a:pt x="466408" y="1285157"/>
                </a:cubicBezTo>
                <a:cubicBezTo>
                  <a:pt x="466408" y="1726029"/>
                  <a:pt x="466408" y="1726029"/>
                  <a:pt x="466408" y="1726029"/>
                </a:cubicBezTo>
                <a:cubicBezTo>
                  <a:pt x="466408" y="1729070"/>
                  <a:pt x="466408" y="1729070"/>
                  <a:pt x="466408" y="1732110"/>
                </a:cubicBezTo>
                <a:lnTo>
                  <a:pt x="466280" y="1733367"/>
                </a:lnTo>
                <a:lnTo>
                  <a:pt x="466726" y="1735547"/>
                </a:lnTo>
                <a:cubicBezTo>
                  <a:pt x="466726" y="2345918"/>
                  <a:pt x="466726" y="2345918"/>
                  <a:pt x="466726" y="2345918"/>
                </a:cubicBezTo>
                <a:cubicBezTo>
                  <a:pt x="466726" y="2379321"/>
                  <a:pt x="439223" y="2406651"/>
                  <a:pt x="405607" y="2406651"/>
                </a:cubicBezTo>
                <a:cubicBezTo>
                  <a:pt x="371992" y="2406651"/>
                  <a:pt x="344488" y="2379321"/>
                  <a:pt x="344488" y="2345918"/>
                </a:cubicBezTo>
                <a:cubicBezTo>
                  <a:pt x="344488" y="2117029"/>
                  <a:pt x="344488" y="1973973"/>
                  <a:pt x="344488" y="1884564"/>
                </a:cubicBezTo>
                <a:lnTo>
                  <a:pt x="344488" y="1816216"/>
                </a:lnTo>
                <a:lnTo>
                  <a:pt x="314121" y="1811163"/>
                </a:lnTo>
                <a:cubicBezTo>
                  <a:pt x="308029" y="1811163"/>
                  <a:pt x="298892" y="1811163"/>
                  <a:pt x="292800" y="1814204"/>
                </a:cubicBezTo>
                <a:cubicBezTo>
                  <a:pt x="189245" y="1832447"/>
                  <a:pt x="122238" y="1911500"/>
                  <a:pt x="122238" y="2014877"/>
                </a:cubicBezTo>
                <a:cubicBezTo>
                  <a:pt x="122238" y="2233793"/>
                  <a:pt x="122238" y="2455749"/>
                  <a:pt x="122238" y="2671624"/>
                </a:cubicBezTo>
                <a:cubicBezTo>
                  <a:pt x="122238" y="2969593"/>
                  <a:pt x="356761" y="3203712"/>
                  <a:pt x="655245" y="3206752"/>
                </a:cubicBezTo>
                <a:cubicBezTo>
                  <a:pt x="874539" y="3206752"/>
                  <a:pt x="1096879" y="3206752"/>
                  <a:pt x="1316173" y="3206752"/>
                </a:cubicBezTo>
                <a:cubicBezTo>
                  <a:pt x="1447140" y="3203712"/>
                  <a:pt x="1562879" y="3158104"/>
                  <a:pt x="1660343" y="3069930"/>
                </a:cubicBezTo>
                <a:cubicBezTo>
                  <a:pt x="1782173" y="2960472"/>
                  <a:pt x="1843088" y="2817568"/>
                  <a:pt x="1840042" y="2635138"/>
                </a:cubicBezTo>
                <a:cubicBezTo>
                  <a:pt x="1836997" y="2489194"/>
                  <a:pt x="1836997" y="2343251"/>
                  <a:pt x="1836997" y="2200347"/>
                </a:cubicBezTo>
                <a:cubicBezTo>
                  <a:pt x="1836997" y="2090889"/>
                  <a:pt x="1840042" y="1978391"/>
                  <a:pt x="1836997" y="1865892"/>
                </a:cubicBezTo>
                <a:cubicBezTo>
                  <a:pt x="1836997" y="1802042"/>
                  <a:pt x="1812631" y="1747313"/>
                  <a:pt x="1766944" y="1710827"/>
                </a:cubicBezTo>
                <a:cubicBezTo>
                  <a:pt x="1744101" y="1692584"/>
                  <a:pt x="1718974" y="1679662"/>
                  <a:pt x="1691943" y="1673201"/>
                </a:cubicBezTo>
                <a:lnTo>
                  <a:pt x="1627188" y="1674055"/>
                </a:lnTo>
                <a:lnTo>
                  <a:pt x="1627188" y="1739862"/>
                </a:lnTo>
                <a:cubicBezTo>
                  <a:pt x="1627188" y="2002880"/>
                  <a:pt x="1627188" y="2002880"/>
                  <a:pt x="1627188" y="2002880"/>
                </a:cubicBezTo>
                <a:cubicBezTo>
                  <a:pt x="1627188" y="2036359"/>
                  <a:pt x="1599685" y="2063750"/>
                  <a:pt x="1566069" y="2063750"/>
                </a:cubicBezTo>
                <a:cubicBezTo>
                  <a:pt x="1532454" y="2063750"/>
                  <a:pt x="1504950" y="2036359"/>
                  <a:pt x="1504950" y="2002880"/>
                </a:cubicBezTo>
                <a:cubicBezTo>
                  <a:pt x="1504950" y="1806575"/>
                  <a:pt x="1504950" y="1708423"/>
                  <a:pt x="1504950" y="1659347"/>
                </a:cubicBezTo>
                <a:lnTo>
                  <a:pt x="1504950" y="1634494"/>
                </a:lnTo>
                <a:lnTo>
                  <a:pt x="1492827" y="1616571"/>
                </a:lnTo>
                <a:cubicBezTo>
                  <a:pt x="1456278" y="1550441"/>
                  <a:pt x="1402597" y="1509964"/>
                  <a:pt x="1343347" y="1504121"/>
                </a:cubicBezTo>
                <a:lnTo>
                  <a:pt x="1295401" y="1508888"/>
                </a:lnTo>
                <a:lnTo>
                  <a:pt x="1295401" y="1587395"/>
                </a:lnTo>
                <a:cubicBezTo>
                  <a:pt x="1295401" y="1853811"/>
                  <a:pt x="1295401" y="1853811"/>
                  <a:pt x="1295401" y="1853811"/>
                </a:cubicBezTo>
                <a:cubicBezTo>
                  <a:pt x="1295401" y="1887204"/>
                  <a:pt x="1270954" y="1914526"/>
                  <a:pt x="1234282" y="1914526"/>
                </a:cubicBezTo>
                <a:cubicBezTo>
                  <a:pt x="1200667" y="1914526"/>
                  <a:pt x="1173163" y="1887204"/>
                  <a:pt x="1173163" y="1853811"/>
                </a:cubicBezTo>
                <a:cubicBezTo>
                  <a:pt x="1173163" y="1654970"/>
                  <a:pt x="1173163" y="1555549"/>
                  <a:pt x="1173163" y="1505839"/>
                </a:cubicBezTo>
                <a:lnTo>
                  <a:pt x="1173163" y="1481814"/>
                </a:lnTo>
                <a:lnTo>
                  <a:pt x="1154748" y="1452384"/>
                </a:lnTo>
                <a:cubicBezTo>
                  <a:pt x="1127336" y="1388534"/>
                  <a:pt x="1074226" y="1346917"/>
                  <a:pt x="1014692" y="1336513"/>
                </a:cubicBezTo>
                <a:lnTo>
                  <a:pt x="960438" y="1336809"/>
                </a:lnTo>
                <a:lnTo>
                  <a:pt x="960438" y="1351429"/>
                </a:lnTo>
                <a:cubicBezTo>
                  <a:pt x="960438" y="1856956"/>
                  <a:pt x="960438" y="1856956"/>
                  <a:pt x="960438" y="1856956"/>
                </a:cubicBezTo>
                <a:cubicBezTo>
                  <a:pt x="960438" y="1890366"/>
                  <a:pt x="932935" y="1917701"/>
                  <a:pt x="899319" y="1917701"/>
                </a:cubicBezTo>
                <a:cubicBezTo>
                  <a:pt x="865704" y="1917701"/>
                  <a:pt x="838200" y="1890366"/>
                  <a:pt x="838200" y="1856956"/>
                </a:cubicBezTo>
                <a:cubicBezTo>
                  <a:pt x="838200" y="1320124"/>
                  <a:pt x="838200" y="1253020"/>
                  <a:pt x="838200" y="1244632"/>
                </a:cubicBezTo>
                <a:lnTo>
                  <a:pt x="838200" y="1244582"/>
                </a:lnTo>
                <a:lnTo>
                  <a:pt x="837990" y="1242590"/>
                </a:lnTo>
                <a:cubicBezTo>
                  <a:pt x="841036" y="1127051"/>
                  <a:pt x="841036" y="993269"/>
                  <a:pt x="837990" y="853406"/>
                </a:cubicBezTo>
                <a:cubicBezTo>
                  <a:pt x="837990" y="801718"/>
                  <a:pt x="816670" y="750029"/>
                  <a:pt x="777075" y="713543"/>
                </a:cubicBezTo>
                <a:cubicBezTo>
                  <a:pt x="740526" y="677057"/>
                  <a:pt x="694840" y="658814"/>
                  <a:pt x="652199" y="661855"/>
                </a:cubicBezTo>
                <a:close/>
                <a:moveTo>
                  <a:pt x="639828" y="121613"/>
                </a:moveTo>
                <a:cubicBezTo>
                  <a:pt x="362854" y="121613"/>
                  <a:pt x="137622" y="346598"/>
                  <a:pt x="137622" y="626308"/>
                </a:cubicBezTo>
                <a:cubicBezTo>
                  <a:pt x="137622" y="758562"/>
                  <a:pt x="190696" y="885686"/>
                  <a:pt x="282720" y="979461"/>
                </a:cubicBezTo>
                <a:lnTo>
                  <a:pt x="345272" y="1028322"/>
                </a:lnTo>
                <a:lnTo>
                  <a:pt x="345456" y="1004557"/>
                </a:lnTo>
                <a:cubicBezTo>
                  <a:pt x="345837" y="955183"/>
                  <a:pt x="345837" y="905809"/>
                  <a:pt x="344313" y="857195"/>
                </a:cubicBezTo>
                <a:cubicBezTo>
                  <a:pt x="341266" y="781235"/>
                  <a:pt x="371736" y="699199"/>
                  <a:pt x="429629" y="638431"/>
                </a:cubicBezTo>
                <a:cubicBezTo>
                  <a:pt x="490570" y="577663"/>
                  <a:pt x="566745" y="541203"/>
                  <a:pt x="649015" y="541203"/>
                </a:cubicBezTo>
                <a:cubicBezTo>
                  <a:pt x="725190" y="538164"/>
                  <a:pt x="801365" y="568548"/>
                  <a:pt x="859259" y="626277"/>
                </a:cubicBezTo>
                <a:cubicBezTo>
                  <a:pt x="923246" y="687045"/>
                  <a:pt x="959810" y="769081"/>
                  <a:pt x="959810" y="854156"/>
                </a:cubicBezTo>
                <a:lnTo>
                  <a:pt x="961689" y="1008367"/>
                </a:lnTo>
                <a:lnTo>
                  <a:pt x="997413" y="981171"/>
                </a:lnTo>
                <a:cubicBezTo>
                  <a:pt x="1090292" y="888536"/>
                  <a:pt x="1145078" y="760842"/>
                  <a:pt x="1145078" y="626308"/>
                </a:cubicBezTo>
                <a:cubicBezTo>
                  <a:pt x="1145078" y="346598"/>
                  <a:pt x="919846" y="121613"/>
                  <a:pt x="639828" y="121613"/>
                </a:cubicBezTo>
                <a:close/>
                <a:moveTo>
                  <a:pt x="639828" y="0"/>
                </a:moveTo>
                <a:cubicBezTo>
                  <a:pt x="986807" y="0"/>
                  <a:pt x="1266825" y="279710"/>
                  <a:pt x="1266825" y="626308"/>
                </a:cubicBezTo>
                <a:cubicBezTo>
                  <a:pt x="1266825" y="820509"/>
                  <a:pt x="1175943" y="1003071"/>
                  <a:pt x="1024764" y="1121039"/>
                </a:cubicBezTo>
                <a:lnTo>
                  <a:pt x="960481" y="1164696"/>
                </a:lnTo>
                <a:lnTo>
                  <a:pt x="959810" y="1215724"/>
                </a:lnTo>
                <a:cubicBezTo>
                  <a:pt x="1084738" y="1203571"/>
                  <a:pt x="1200524" y="1273454"/>
                  <a:pt x="1261465" y="1388912"/>
                </a:cubicBezTo>
                <a:cubicBezTo>
                  <a:pt x="1392486" y="1358528"/>
                  <a:pt x="1523508" y="1422334"/>
                  <a:pt x="1596636" y="1549947"/>
                </a:cubicBezTo>
                <a:cubicBezTo>
                  <a:pt x="1688047" y="1537793"/>
                  <a:pt x="1776410" y="1559062"/>
                  <a:pt x="1843445" y="1613753"/>
                </a:cubicBezTo>
                <a:cubicBezTo>
                  <a:pt x="1916573" y="1674520"/>
                  <a:pt x="1959231" y="1765672"/>
                  <a:pt x="1959231" y="1865939"/>
                </a:cubicBezTo>
                <a:cubicBezTo>
                  <a:pt x="1962278" y="1975321"/>
                  <a:pt x="1959231" y="2090779"/>
                  <a:pt x="1959231" y="2200161"/>
                </a:cubicBezTo>
                <a:cubicBezTo>
                  <a:pt x="1959231" y="2339927"/>
                  <a:pt x="1959231" y="2488808"/>
                  <a:pt x="1962278" y="2631612"/>
                </a:cubicBezTo>
                <a:cubicBezTo>
                  <a:pt x="1965325" y="2847337"/>
                  <a:pt x="1889150" y="3026602"/>
                  <a:pt x="1742893" y="3160291"/>
                </a:cubicBezTo>
                <a:cubicBezTo>
                  <a:pt x="1621012" y="3269673"/>
                  <a:pt x="1477803" y="3324364"/>
                  <a:pt x="1316311" y="3327402"/>
                </a:cubicBezTo>
                <a:cubicBezTo>
                  <a:pt x="1206618" y="3327402"/>
                  <a:pt x="1093879" y="3327402"/>
                  <a:pt x="981139" y="3327402"/>
                </a:cubicBezTo>
                <a:cubicBezTo>
                  <a:pt x="871447" y="3327402"/>
                  <a:pt x="761754" y="3327402"/>
                  <a:pt x="652062" y="3327402"/>
                </a:cubicBezTo>
                <a:cubicBezTo>
                  <a:pt x="289467" y="3324364"/>
                  <a:pt x="3047" y="3035717"/>
                  <a:pt x="0" y="2674149"/>
                </a:cubicBezTo>
                <a:cubicBezTo>
                  <a:pt x="0" y="2455386"/>
                  <a:pt x="0" y="2233583"/>
                  <a:pt x="0" y="2014820"/>
                </a:cubicBezTo>
                <a:cubicBezTo>
                  <a:pt x="0" y="1853785"/>
                  <a:pt x="109693" y="1723135"/>
                  <a:pt x="271185" y="1695789"/>
                </a:cubicBezTo>
                <a:cubicBezTo>
                  <a:pt x="295561" y="1689712"/>
                  <a:pt x="319937" y="1689712"/>
                  <a:pt x="344313" y="1692751"/>
                </a:cubicBezTo>
                <a:cubicBezTo>
                  <a:pt x="344313" y="1282569"/>
                  <a:pt x="344313" y="1282569"/>
                  <a:pt x="344313" y="1282569"/>
                </a:cubicBezTo>
                <a:cubicBezTo>
                  <a:pt x="344313" y="1279530"/>
                  <a:pt x="344313" y="1279530"/>
                  <a:pt x="344313" y="1276492"/>
                </a:cubicBezTo>
                <a:lnTo>
                  <a:pt x="344313" y="1169483"/>
                </a:lnTo>
                <a:lnTo>
                  <a:pt x="326330" y="1167487"/>
                </a:lnTo>
                <a:cubicBezTo>
                  <a:pt x="134579" y="1054994"/>
                  <a:pt x="15875" y="848252"/>
                  <a:pt x="15875" y="626308"/>
                </a:cubicBezTo>
                <a:cubicBezTo>
                  <a:pt x="15875" y="279710"/>
                  <a:pt x="295893" y="0"/>
                  <a:pt x="639828" y="0"/>
                </a:cubicBezTo>
                <a:close/>
              </a:path>
            </a:pathLst>
          </a:custGeom>
          <a:solidFill>
            <a:schemeClr val="tx1"/>
          </a:solidFill>
          <a:ln>
            <a:noFill/>
          </a:ln>
          <a:extLst/>
        </p:spPr>
        <p:txBody>
          <a:bodyPr vert="horz" wrap="square" lIns="67211" tIns="33605" rIns="67211" bIns="33605" numCol="1" anchor="t" anchorCtr="0" compatLnSpc="1">
            <a:prstTxWarp prst="textNoShape">
              <a:avLst/>
            </a:prstTxWarp>
            <a:noAutofit/>
          </a:bodyPr>
          <a:lstStyle/>
          <a:p>
            <a:pPr defTabSz="685594" fontAlgn="auto">
              <a:spcBef>
                <a:spcPts val="0"/>
              </a:spcBef>
              <a:spcAft>
                <a:spcPts val="0"/>
              </a:spcAft>
              <a:defRPr/>
            </a:pPr>
            <a:endParaRPr lang="en-US" sz="1175" b="0" kern="0" dirty="0">
              <a:solidFill>
                <a:srgbClr val="FFFFFF"/>
              </a:solidFill>
              <a:latin typeface="Segoe UI Semilight"/>
              <a:ea typeface="MS PGothic" panose="020B0600070205080204" pitchFamily="34" charset="-128"/>
              <a:cs typeface="+mn-cs"/>
            </a:endParaRPr>
          </a:p>
        </p:txBody>
      </p:sp>
      <p:sp>
        <p:nvSpPr>
          <p:cNvPr id="127" name="Rectangle 126"/>
          <p:cNvSpPr/>
          <p:nvPr/>
        </p:nvSpPr>
        <p:spPr bwMode="auto">
          <a:xfrm>
            <a:off x="5468448" y="2076547"/>
            <a:ext cx="1314531" cy="1170041"/>
          </a:xfrm>
          <a:prstGeom prst="rect">
            <a:avLst/>
          </a:prstGeom>
          <a:solidFill>
            <a:schemeClr val="accent4"/>
          </a:solidFill>
          <a:ln w="3175">
            <a:noFill/>
          </a:ln>
          <a:effectLst/>
        </p:spPr>
        <p:txBody>
          <a:bodyPr spcFirstLastPara="0" vert="horz" wrap="square" lIns="67232" tIns="33616" rIns="67232" bIns="33616" numCol="1" spcCol="1270" anchor="t" anchorCtr="0">
            <a:noAutofit/>
          </a:bodyPr>
          <a:lstStyle/>
          <a:p>
            <a:pPr algn="ctr" defTabSz="532887" fontAlgn="auto">
              <a:spcAft>
                <a:spcPct val="35000"/>
              </a:spcAft>
              <a:defRPr/>
            </a:pPr>
            <a:r>
              <a:rPr lang="en-US" sz="882" b="0" kern="0" dirty="0">
                <a:solidFill>
                  <a:srgbClr val="FFFFFF"/>
                </a:solidFill>
                <a:latin typeface="Segoe UI Semibold" panose="020B0702040204020203" pitchFamily="34" charset="0"/>
                <a:ea typeface="MS PGothic" panose="020B0600070205080204" pitchFamily="34" charset="-128"/>
                <a:cs typeface="Segoe UI Semibold" panose="020B0702040204020203" pitchFamily="34" charset="0"/>
              </a:rPr>
              <a:t>Intelligence</a:t>
            </a:r>
          </a:p>
        </p:txBody>
      </p:sp>
      <p:sp>
        <p:nvSpPr>
          <p:cNvPr id="128" name="Rectangle 127"/>
          <p:cNvSpPr/>
          <p:nvPr/>
        </p:nvSpPr>
        <p:spPr>
          <a:xfrm>
            <a:off x="5904367" y="3015784"/>
            <a:ext cx="741943" cy="124521"/>
          </a:xfrm>
          <a:prstGeom prst="rect">
            <a:avLst/>
          </a:prstGeom>
        </p:spPr>
        <p:txBody>
          <a:bodyPr wrap="square" lIns="0" tIns="0" rIns="0" bIns="0">
            <a:spAutoFit/>
          </a:bodyPr>
          <a:lstStyle/>
          <a:p>
            <a:pPr defTabSz="672097" fontAlgn="auto">
              <a:spcBef>
                <a:spcPts val="0"/>
              </a:spcBef>
              <a:spcAft>
                <a:spcPts val="0"/>
              </a:spcAft>
              <a:defRPr/>
            </a:pPr>
            <a:r>
              <a:rPr lang="en-US" sz="809" b="0" kern="0" dirty="0">
                <a:solidFill>
                  <a:srgbClr val="FFFFFF"/>
                </a:solidFill>
                <a:latin typeface="Segoe UI Semilight"/>
                <a:cs typeface="Segoe UI Semilight" panose="020B0402040204020203" pitchFamily="34" charset="0"/>
              </a:rPr>
              <a:t>Cortana</a:t>
            </a:r>
          </a:p>
        </p:txBody>
      </p:sp>
      <p:grpSp>
        <p:nvGrpSpPr>
          <p:cNvPr id="129" name="Group 128"/>
          <p:cNvGrpSpPr/>
          <p:nvPr/>
        </p:nvGrpSpPr>
        <p:grpSpPr>
          <a:xfrm>
            <a:off x="5584165" y="2969817"/>
            <a:ext cx="216302" cy="216302"/>
            <a:chOff x="3236100" y="589298"/>
            <a:chExt cx="5641200" cy="5641200"/>
          </a:xfrm>
        </p:grpSpPr>
        <p:sp>
          <p:nvSpPr>
            <p:cNvPr id="130" name="Freeform 348"/>
            <p:cNvSpPr/>
            <p:nvPr/>
          </p:nvSpPr>
          <p:spPr bwMode="auto">
            <a:xfrm>
              <a:off x="3236100" y="589298"/>
              <a:ext cx="5641200" cy="5641200"/>
            </a:xfrm>
            <a:custGeom>
              <a:avLst/>
              <a:gdLst>
                <a:gd name="connsiteX0" fmla="*/ 2820600 w 5641200"/>
                <a:gd name="connsiteY0" fmla="*/ 378999 h 5641200"/>
                <a:gd name="connsiteX1" fmla="*/ 378999 w 5641200"/>
                <a:gd name="connsiteY1" fmla="*/ 2820600 h 5641200"/>
                <a:gd name="connsiteX2" fmla="*/ 2820600 w 5641200"/>
                <a:gd name="connsiteY2" fmla="*/ 5262201 h 5641200"/>
                <a:gd name="connsiteX3" fmla="*/ 5262201 w 5641200"/>
                <a:gd name="connsiteY3" fmla="*/ 2820600 h 5641200"/>
                <a:gd name="connsiteX4" fmla="*/ 2820600 w 5641200"/>
                <a:gd name="connsiteY4" fmla="*/ 378999 h 5641200"/>
                <a:gd name="connsiteX5" fmla="*/ 2820600 w 5641200"/>
                <a:gd name="connsiteY5" fmla="*/ 0 h 5641200"/>
                <a:gd name="connsiteX6" fmla="*/ 5641200 w 5641200"/>
                <a:gd name="connsiteY6" fmla="*/ 2820600 h 5641200"/>
                <a:gd name="connsiteX7" fmla="*/ 2820600 w 5641200"/>
                <a:gd name="connsiteY7" fmla="*/ 5641200 h 5641200"/>
                <a:gd name="connsiteX8" fmla="*/ 0 w 5641200"/>
                <a:gd name="connsiteY8" fmla="*/ 2820600 h 5641200"/>
                <a:gd name="connsiteX9" fmla="*/ 2820600 w 5641200"/>
                <a:gd name="connsiteY9" fmla="*/ 0 h 564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641200" h="5641200">
                  <a:moveTo>
                    <a:pt x="2820600" y="378999"/>
                  </a:moveTo>
                  <a:cubicBezTo>
                    <a:pt x="1472141" y="378999"/>
                    <a:pt x="378999" y="1472141"/>
                    <a:pt x="378999" y="2820600"/>
                  </a:cubicBezTo>
                  <a:cubicBezTo>
                    <a:pt x="378999" y="4169059"/>
                    <a:pt x="1472141" y="5262201"/>
                    <a:pt x="2820600" y="5262201"/>
                  </a:cubicBezTo>
                  <a:cubicBezTo>
                    <a:pt x="4169059" y="5262201"/>
                    <a:pt x="5262201" y="4169059"/>
                    <a:pt x="5262201" y="2820600"/>
                  </a:cubicBezTo>
                  <a:cubicBezTo>
                    <a:pt x="5262201" y="1472141"/>
                    <a:pt x="4169059" y="378999"/>
                    <a:pt x="2820600" y="378999"/>
                  </a:cubicBezTo>
                  <a:close/>
                  <a:moveTo>
                    <a:pt x="2820600" y="0"/>
                  </a:moveTo>
                  <a:cubicBezTo>
                    <a:pt x="4378374" y="0"/>
                    <a:pt x="5641200" y="1262826"/>
                    <a:pt x="5641200" y="2820600"/>
                  </a:cubicBezTo>
                  <a:cubicBezTo>
                    <a:pt x="5641200" y="4378374"/>
                    <a:pt x="4378374" y="5641200"/>
                    <a:pt x="2820600" y="5641200"/>
                  </a:cubicBezTo>
                  <a:cubicBezTo>
                    <a:pt x="1262826" y="5641200"/>
                    <a:pt x="0" y="4378374"/>
                    <a:pt x="0" y="2820600"/>
                  </a:cubicBezTo>
                  <a:cubicBezTo>
                    <a:pt x="0" y="1262826"/>
                    <a:pt x="1262826" y="0"/>
                    <a:pt x="2820600"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34407" tIns="107525" rIns="134407" bIns="107525" numCol="1" spcCol="0" rtlCol="0" fromWordArt="0" anchor="t" anchorCtr="0" forceAA="0" compatLnSpc="1">
              <a:prstTxWarp prst="textNoShape">
                <a:avLst/>
              </a:prstTxWarp>
              <a:noAutofit/>
            </a:bodyPr>
            <a:lstStyle/>
            <a:p>
              <a:pPr algn="ctr" defTabSz="685381" fontAlgn="auto">
                <a:spcBef>
                  <a:spcPts val="0"/>
                </a:spcBef>
                <a:spcAft>
                  <a:spcPts val="0"/>
                </a:spcAft>
                <a:defRPr/>
              </a:pPr>
              <a:endParaRPr lang="en-US" sz="2646" b="0" kern="0" dirty="0">
                <a:solidFill>
                  <a:srgbClr val="FFFFFF"/>
                </a:solidFill>
                <a:latin typeface="Segoe UI"/>
                <a:ea typeface="Segoe UI" pitchFamily="34" charset="0"/>
                <a:cs typeface="Segoe UI" pitchFamily="34" charset="0"/>
              </a:endParaRPr>
            </a:p>
          </p:txBody>
        </p:sp>
        <p:sp>
          <p:nvSpPr>
            <p:cNvPr id="131" name="Freeform 349"/>
            <p:cNvSpPr/>
            <p:nvPr/>
          </p:nvSpPr>
          <p:spPr bwMode="auto">
            <a:xfrm>
              <a:off x="3615099" y="968297"/>
              <a:ext cx="4883202" cy="4883202"/>
            </a:xfrm>
            <a:custGeom>
              <a:avLst/>
              <a:gdLst>
                <a:gd name="connsiteX0" fmla="*/ 2441601 w 4883202"/>
                <a:gd name="connsiteY0" fmla="*/ 535401 h 4883202"/>
                <a:gd name="connsiteX1" fmla="*/ 535401 w 4883202"/>
                <a:gd name="connsiteY1" fmla="*/ 2441601 h 4883202"/>
                <a:gd name="connsiteX2" fmla="*/ 2441601 w 4883202"/>
                <a:gd name="connsiteY2" fmla="*/ 4347801 h 4883202"/>
                <a:gd name="connsiteX3" fmla="*/ 4347801 w 4883202"/>
                <a:gd name="connsiteY3" fmla="*/ 2441601 h 4883202"/>
                <a:gd name="connsiteX4" fmla="*/ 2441601 w 4883202"/>
                <a:gd name="connsiteY4" fmla="*/ 535401 h 4883202"/>
                <a:gd name="connsiteX5" fmla="*/ 2441601 w 4883202"/>
                <a:gd name="connsiteY5" fmla="*/ 0 h 4883202"/>
                <a:gd name="connsiteX6" fmla="*/ 4883202 w 4883202"/>
                <a:gd name="connsiteY6" fmla="*/ 2441601 h 4883202"/>
                <a:gd name="connsiteX7" fmla="*/ 2441601 w 4883202"/>
                <a:gd name="connsiteY7" fmla="*/ 4883202 h 4883202"/>
                <a:gd name="connsiteX8" fmla="*/ 0 w 4883202"/>
                <a:gd name="connsiteY8" fmla="*/ 2441601 h 4883202"/>
                <a:gd name="connsiteX9" fmla="*/ 2441601 w 4883202"/>
                <a:gd name="connsiteY9" fmla="*/ 0 h 4883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883202" h="4883202">
                  <a:moveTo>
                    <a:pt x="2441601" y="535401"/>
                  </a:moveTo>
                  <a:cubicBezTo>
                    <a:pt x="1388836" y="535401"/>
                    <a:pt x="535401" y="1388836"/>
                    <a:pt x="535401" y="2441601"/>
                  </a:cubicBezTo>
                  <a:cubicBezTo>
                    <a:pt x="535401" y="3494366"/>
                    <a:pt x="1388836" y="4347801"/>
                    <a:pt x="2441601" y="4347801"/>
                  </a:cubicBezTo>
                  <a:cubicBezTo>
                    <a:pt x="3494366" y="4347801"/>
                    <a:pt x="4347801" y="3494366"/>
                    <a:pt x="4347801" y="2441601"/>
                  </a:cubicBezTo>
                  <a:cubicBezTo>
                    <a:pt x="4347801" y="1388836"/>
                    <a:pt x="3494366" y="535401"/>
                    <a:pt x="2441601" y="535401"/>
                  </a:cubicBezTo>
                  <a:close/>
                  <a:moveTo>
                    <a:pt x="2441601" y="0"/>
                  </a:moveTo>
                  <a:cubicBezTo>
                    <a:pt x="3790060" y="0"/>
                    <a:pt x="4883202" y="1093142"/>
                    <a:pt x="4883202" y="2441601"/>
                  </a:cubicBezTo>
                  <a:cubicBezTo>
                    <a:pt x="4883202" y="3790060"/>
                    <a:pt x="3790060" y="4883202"/>
                    <a:pt x="2441601" y="4883202"/>
                  </a:cubicBezTo>
                  <a:cubicBezTo>
                    <a:pt x="1093142" y="4883202"/>
                    <a:pt x="0" y="3790060"/>
                    <a:pt x="0" y="2441601"/>
                  </a:cubicBezTo>
                  <a:cubicBezTo>
                    <a:pt x="0" y="1093142"/>
                    <a:pt x="1093142" y="0"/>
                    <a:pt x="2441601" y="0"/>
                  </a:cubicBezTo>
                  <a:close/>
                </a:path>
              </a:pathLst>
            </a:custGeom>
            <a:solidFill>
              <a:srgbClr val="FFFFFF">
                <a:lumMod val="85000"/>
              </a:srgbClr>
            </a:solidFill>
            <a:ln w="9525" cap="flat" cmpd="sng" algn="ctr">
              <a:noFill/>
              <a:prstDash val="solid"/>
              <a:headEnd type="none" w="med" len="med"/>
              <a:tailEnd type="none" w="med" len="med"/>
            </a:ln>
            <a:effectLst/>
          </p:spPr>
          <p:txBody>
            <a:bodyPr rot="0" spcFirstLastPara="0" vertOverflow="overflow" horzOverflow="overflow" vert="horz" wrap="square" lIns="134407" tIns="107525" rIns="134407" bIns="107525" numCol="1" spcCol="0" rtlCol="0" fromWordArt="0" anchor="t" anchorCtr="0" forceAA="0" compatLnSpc="1">
              <a:prstTxWarp prst="textNoShape">
                <a:avLst/>
              </a:prstTxWarp>
              <a:noAutofit/>
            </a:bodyPr>
            <a:lstStyle/>
            <a:p>
              <a:pPr algn="ctr" defTabSz="685381" fontAlgn="auto">
                <a:spcBef>
                  <a:spcPts val="0"/>
                </a:spcBef>
                <a:spcAft>
                  <a:spcPts val="0"/>
                </a:spcAft>
                <a:defRPr/>
              </a:pPr>
              <a:endParaRPr lang="en-US" sz="2646" b="0" kern="0" dirty="0">
                <a:solidFill>
                  <a:srgbClr val="FFFFFF"/>
                </a:solidFill>
                <a:latin typeface="Segoe UI"/>
                <a:ea typeface="Segoe UI" pitchFamily="34" charset="0"/>
                <a:cs typeface="Segoe UI" pitchFamily="34" charset="0"/>
              </a:endParaRPr>
            </a:p>
          </p:txBody>
        </p:sp>
      </p:grpSp>
      <p:grpSp>
        <p:nvGrpSpPr>
          <p:cNvPr id="132" name="Group 131"/>
          <p:cNvGrpSpPr/>
          <p:nvPr/>
        </p:nvGrpSpPr>
        <p:grpSpPr>
          <a:xfrm>
            <a:off x="5545915" y="2384095"/>
            <a:ext cx="292799" cy="187748"/>
            <a:chOff x="7822816" y="2717080"/>
            <a:chExt cx="427431" cy="274077"/>
          </a:xfrm>
        </p:grpSpPr>
        <p:sp>
          <p:nvSpPr>
            <p:cNvPr id="133" name="Freeform 444"/>
            <p:cNvSpPr>
              <a:spLocks/>
            </p:cNvSpPr>
            <p:nvPr/>
          </p:nvSpPr>
          <p:spPr bwMode="auto">
            <a:xfrm flipH="1">
              <a:off x="7822816" y="2717080"/>
              <a:ext cx="427431" cy="274077"/>
            </a:xfrm>
            <a:custGeom>
              <a:avLst/>
              <a:gdLst>
                <a:gd name="connsiteX0" fmla="*/ 1918425 w 3835400"/>
                <a:gd name="connsiteY0" fmla="*/ 122238 h 2295525"/>
                <a:gd name="connsiteX1" fmla="*/ 1304995 w 3835400"/>
                <a:gd name="connsiteY1" fmla="*/ 621307 h 2295525"/>
                <a:gd name="connsiteX2" fmla="*/ 1292848 w 3835400"/>
                <a:gd name="connsiteY2" fmla="*/ 752160 h 2295525"/>
                <a:gd name="connsiteX3" fmla="*/ 1226039 w 3835400"/>
                <a:gd name="connsiteY3" fmla="*/ 806936 h 2295525"/>
                <a:gd name="connsiteX4" fmla="*/ 1168340 w 3835400"/>
                <a:gd name="connsiteY4" fmla="*/ 800850 h 2295525"/>
                <a:gd name="connsiteX5" fmla="*/ 800889 w 3835400"/>
                <a:gd name="connsiteY5" fmla="*/ 953005 h 2295525"/>
                <a:gd name="connsiteX6" fmla="*/ 758374 w 3835400"/>
                <a:gd name="connsiteY6" fmla="*/ 1004737 h 2295525"/>
                <a:gd name="connsiteX7" fmla="*/ 706749 w 3835400"/>
                <a:gd name="connsiteY7" fmla="*/ 1026039 h 2295525"/>
                <a:gd name="connsiteX8" fmla="*/ 694602 w 3835400"/>
                <a:gd name="connsiteY8" fmla="*/ 1026039 h 2295525"/>
                <a:gd name="connsiteX9" fmla="*/ 120650 w 3835400"/>
                <a:gd name="connsiteY9" fmla="*/ 1598142 h 2295525"/>
                <a:gd name="connsiteX10" fmla="*/ 636903 w 3835400"/>
                <a:gd name="connsiteY10" fmla="*/ 2170245 h 2295525"/>
                <a:gd name="connsiteX11" fmla="*/ 679418 w 3835400"/>
                <a:gd name="connsiteY11" fmla="*/ 2173288 h 2295525"/>
                <a:gd name="connsiteX12" fmla="*/ 682455 w 3835400"/>
                <a:gd name="connsiteY12" fmla="*/ 2173288 h 2295525"/>
                <a:gd name="connsiteX13" fmla="*/ 688528 w 3835400"/>
                <a:gd name="connsiteY13" fmla="*/ 2173288 h 2295525"/>
                <a:gd name="connsiteX14" fmla="*/ 3151358 w 3835400"/>
                <a:gd name="connsiteY14" fmla="*/ 2173288 h 2295525"/>
                <a:gd name="connsiteX15" fmla="*/ 3160469 w 3835400"/>
                <a:gd name="connsiteY15" fmla="*/ 2173288 h 2295525"/>
                <a:gd name="connsiteX16" fmla="*/ 3169579 w 3835400"/>
                <a:gd name="connsiteY16" fmla="*/ 2173288 h 2295525"/>
                <a:gd name="connsiteX17" fmla="*/ 3193873 w 3835400"/>
                <a:gd name="connsiteY17" fmla="*/ 2173288 h 2295525"/>
                <a:gd name="connsiteX18" fmla="*/ 3713163 w 3835400"/>
                <a:gd name="connsiteY18" fmla="*/ 1655961 h 2295525"/>
                <a:gd name="connsiteX19" fmla="*/ 3488441 w 3835400"/>
                <a:gd name="connsiteY19" fmla="*/ 1226884 h 2295525"/>
                <a:gd name="connsiteX20" fmla="*/ 3442890 w 3835400"/>
                <a:gd name="connsiteY20" fmla="*/ 1202539 h 2295525"/>
                <a:gd name="connsiteX21" fmla="*/ 3409485 w 3835400"/>
                <a:gd name="connsiteY21" fmla="*/ 1144720 h 2295525"/>
                <a:gd name="connsiteX22" fmla="*/ 3415558 w 3835400"/>
                <a:gd name="connsiteY22" fmla="*/ 1059513 h 2295525"/>
                <a:gd name="connsiteX23" fmla="*/ 2789981 w 3835400"/>
                <a:gd name="connsiteY23" fmla="*/ 435678 h 2295525"/>
                <a:gd name="connsiteX24" fmla="*/ 2604738 w 3835400"/>
                <a:gd name="connsiteY24" fmla="*/ 463065 h 2295525"/>
                <a:gd name="connsiteX25" fmla="*/ 2547039 w 3835400"/>
                <a:gd name="connsiteY25" fmla="*/ 484367 h 2295525"/>
                <a:gd name="connsiteX26" fmla="*/ 2471119 w 3835400"/>
                <a:gd name="connsiteY26" fmla="*/ 456979 h 2295525"/>
                <a:gd name="connsiteX27" fmla="*/ 2437715 w 3835400"/>
                <a:gd name="connsiteY27" fmla="*/ 396117 h 2295525"/>
                <a:gd name="connsiteX28" fmla="*/ 1918425 w 3835400"/>
                <a:gd name="connsiteY28" fmla="*/ 122238 h 2295525"/>
                <a:gd name="connsiteX29" fmla="*/ 1919219 w 3835400"/>
                <a:gd name="connsiteY29" fmla="*/ 0 h 2295525"/>
                <a:gd name="connsiteX30" fmla="*/ 2541750 w 3835400"/>
                <a:gd name="connsiteY30" fmla="*/ 331847 h 2295525"/>
                <a:gd name="connsiteX31" fmla="*/ 2544787 w 3835400"/>
                <a:gd name="connsiteY31" fmla="*/ 334891 h 2295525"/>
                <a:gd name="connsiteX32" fmla="*/ 2553897 w 3835400"/>
                <a:gd name="connsiteY32" fmla="*/ 353158 h 2295525"/>
                <a:gd name="connsiteX33" fmla="*/ 2563007 w 3835400"/>
                <a:gd name="connsiteY33" fmla="*/ 350113 h 2295525"/>
                <a:gd name="connsiteX34" fmla="*/ 2566044 w 3835400"/>
                <a:gd name="connsiteY34" fmla="*/ 347069 h 2295525"/>
                <a:gd name="connsiteX35" fmla="*/ 2790762 w 3835400"/>
                <a:gd name="connsiteY35" fmla="*/ 313580 h 2295525"/>
                <a:gd name="connsiteX36" fmla="*/ 3537800 w 3835400"/>
                <a:gd name="connsiteY36" fmla="*/ 1062518 h 2295525"/>
                <a:gd name="connsiteX37" fmla="*/ 3537800 w 3835400"/>
                <a:gd name="connsiteY37" fmla="*/ 1065562 h 2295525"/>
                <a:gd name="connsiteX38" fmla="*/ 3534763 w 3835400"/>
                <a:gd name="connsiteY38" fmla="*/ 1114274 h 2295525"/>
                <a:gd name="connsiteX39" fmla="*/ 3546910 w 3835400"/>
                <a:gd name="connsiteY39" fmla="*/ 1120363 h 2295525"/>
                <a:gd name="connsiteX40" fmla="*/ 3552983 w 3835400"/>
                <a:gd name="connsiteY40" fmla="*/ 1123407 h 2295525"/>
                <a:gd name="connsiteX41" fmla="*/ 3835400 w 3835400"/>
                <a:gd name="connsiteY41" fmla="*/ 1656188 h 2295525"/>
                <a:gd name="connsiteX42" fmla="*/ 3194648 w 3835400"/>
                <a:gd name="connsiteY42" fmla="*/ 2295525 h 2295525"/>
                <a:gd name="connsiteX43" fmla="*/ 3191612 w 3835400"/>
                <a:gd name="connsiteY43" fmla="*/ 2295525 h 2295525"/>
                <a:gd name="connsiteX44" fmla="*/ 3170355 w 3835400"/>
                <a:gd name="connsiteY44" fmla="*/ 2295525 h 2295525"/>
                <a:gd name="connsiteX45" fmla="*/ 3161244 w 3835400"/>
                <a:gd name="connsiteY45" fmla="*/ 2295525 h 2295525"/>
                <a:gd name="connsiteX46" fmla="*/ 3155171 w 3835400"/>
                <a:gd name="connsiteY46" fmla="*/ 2295525 h 2295525"/>
                <a:gd name="connsiteX47" fmla="*/ 686303 w 3835400"/>
                <a:gd name="connsiteY47" fmla="*/ 2295525 h 2295525"/>
                <a:gd name="connsiteX48" fmla="*/ 680230 w 3835400"/>
                <a:gd name="connsiteY48" fmla="*/ 2295525 h 2295525"/>
                <a:gd name="connsiteX49" fmla="*/ 671119 w 3835400"/>
                <a:gd name="connsiteY49" fmla="*/ 2295525 h 2295525"/>
                <a:gd name="connsiteX50" fmla="*/ 628605 w 3835400"/>
                <a:gd name="connsiteY50" fmla="*/ 2292481 h 2295525"/>
                <a:gd name="connsiteX51" fmla="*/ 625568 w 3835400"/>
                <a:gd name="connsiteY51" fmla="*/ 2292481 h 2295525"/>
                <a:gd name="connsiteX52" fmla="*/ 0 w 3835400"/>
                <a:gd name="connsiteY52" fmla="*/ 1598343 h 2295525"/>
                <a:gd name="connsiteX53" fmla="*/ 683266 w 3835400"/>
                <a:gd name="connsiteY53" fmla="*/ 904206 h 2295525"/>
                <a:gd name="connsiteX54" fmla="*/ 710597 w 3835400"/>
                <a:gd name="connsiteY54" fmla="*/ 873761 h 2295525"/>
                <a:gd name="connsiteX55" fmla="*/ 713634 w 3835400"/>
                <a:gd name="connsiteY55" fmla="*/ 867672 h 2295525"/>
                <a:gd name="connsiteX56" fmla="*/ 1172181 w 3835400"/>
                <a:gd name="connsiteY56" fmla="*/ 678915 h 2295525"/>
                <a:gd name="connsiteX57" fmla="*/ 1178255 w 3835400"/>
                <a:gd name="connsiteY57" fmla="*/ 678915 h 2295525"/>
                <a:gd name="connsiteX58" fmla="*/ 1184328 w 3835400"/>
                <a:gd name="connsiteY58" fmla="*/ 605848 h 2295525"/>
                <a:gd name="connsiteX59" fmla="*/ 1187365 w 3835400"/>
                <a:gd name="connsiteY59" fmla="*/ 599759 h 2295525"/>
                <a:gd name="connsiteX60" fmla="*/ 1919219 w 3835400"/>
                <a:gd name="connsiteY60" fmla="*/ 0 h 2295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3835400" h="2295525">
                  <a:moveTo>
                    <a:pt x="1918425" y="122238"/>
                  </a:moveTo>
                  <a:cubicBezTo>
                    <a:pt x="1623857" y="122238"/>
                    <a:pt x="1365731" y="332212"/>
                    <a:pt x="1304995" y="621307"/>
                  </a:cubicBezTo>
                  <a:cubicBezTo>
                    <a:pt x="1292848" y="752160"/>
                    <a:pt x="1292848" y="752160"/>
                    <a:pt x="1292848" y="752160"/>
                  </a:cubicBezTo>
                  <a:cubicBezTo>
                    <a:pt x="1289811" y="785634"/>
                    <a:pt x="1259443" y="809979"/>
                    <a:pt x="1226039" y="806936"/>
                  </a:cubicBezTo>
                  <a:cubicBezTo>
                    <a:pt x="1168340" y="800850"/>
                    <a:pt x="1168340" y="800850"/>
                    <a:pt x="1168340" y="800850"/>
                  </a:cubicBezTo>
                  <a:cubicBezTo>
                    <a:pt x="1028648" y="800850"/>
                    <a:pt x="898066" y="855625"/>
                    <a:pt x="800889" y="953005"/>
                  </a:cubicBezTo>
                  <a:cubicBezTo>
                    <a:pt x="758374" y="1004737"/>
                    <a:pt x="758374" y="1004737"/>
                    <a:pt x="758374" y="1004737"/>
                  </a:cubicBezTo>
                  <a:cubicBezTo>
                    <a:pt x="746227" y="1019953"/>
                    <a:pt x="728007" y="1026039"/>
                    <a:pt x="706749" y="1026039"/>
                  </a:cubicBezTo>
                  <a:cubicBezTo>
                    <a:pt x="694602" y="1026039"/>
                    <a:pt x="694602" y="1026039"/>
                    <a:pt x="694602" y="1026039"/>
                  </a:cubicBezTo>
                  <a:cubicBezTo>
                    <a:pt x="378777" y="1026039"/>
                    <a:pt x="120650" y="1281660"/>
                    <a:pt x="120650" y="1598142"/>
                  </a:cubicBezTo>
                  <a:cubicBezTo>
                    <a:pt x="120650" y="1893323"/>
                    <a:pt x="342335" y="2139814"/>
                    <a:pt x="636903" y="2170245"/>
                  </a:cubicBezTo>
                  <a:cubicBezTo>
                    <a:pt x="679418" y="2173288"/>
                    <a:pt x="679418" y="2173288"/>
                    <a:pt x="679418" y="2173288"/>
                  </a:cubicBezTo>
                  <a:cubicBezTo>
                    <a:pt x="679418" y="2173288"/>
                    <a:pt x="679418" y="2173288"/>
                    <a:pt x="682455" y="2173288"/>
                  </a:cubicBezTo>
                  <a:lnTo>
                    <a:pt x="688528" y="2173288"/>
                  </a:lnTo>
                  <a:cubicBezTo>
                    <a:pt x="3151358" y="2173288"/>
                    <a:pt x="3151358" y="2173288"/>
                    <a:pt x="3151358" y="2173288"/>
                  </a:cubicBezTo>
                  <a:cubicBezTo>
                    <a:pt x="3160469" y="2173288"/>
                    <a:pt x="3160469" y="2173288"/>
                    <a:pt x="3160469" y="2173288"/>
                  </a:cubicBezTo>
                  <a:cubicBezTo>
                    <a:pt x="3163506" y="2173288"/>
                    <a:pt x="3166542" y="2173288"/>
                    <a:pt x="3169579" y="2173288"/>
                  </a:cubicBezTo>
                  <a:cubicBezTo>
                    <a:pt x="3193873" y="2173288"/>
                    <a:pt x="3193873" y="2173288"/>
                    <a:pt x="3193873" y="2173288"/>
                  </a:cubicBezTo>
                  <a:cubicBezTo>
                    <a:pt x="3482368" y="2173288"/>
                    <a:pt x="3713163" y="1938969"/>
                    <a:pt x="3713163" y="1655961"/>
                  </a:cubicBezTo>
                  <a:cubicBezTo>
                    <a:pt x="3713163" y="1482504"/>
                    <a:pt x="3628133" y="1324263"/>
                    <a:pt x="3488441" y="1226884"/>
                  </a:cubicBezTo>
                  <a:cubicBezTo>
                    <a:pt x="3442890" y="1202539"/>
                    <a:pt x="3442890" y="1202539"/>
                    <a:pt x="3442890" y="1202539"/>
                  </a:cubicBezTo>
                  <a:cubicBezTo>
                    <a:pt x="3421632" y="1190367"/>
                    <a:pt x="3409485" y="1169065"/>
                    <a:pt x="3409485" y="1144720"/>
                  </a:cubicBezTo>
                  <a:cubicBezTo>
                    <a:pt x="3415558" y="1059513"/>
                    <a:pt x="3415558" y="1059513"/>
                    <a:pt x="3415558" y="1059513"/>
                  </a:cubicBezTo>
                  <a:cubicBezTo>
                    <a:pt x="3415558" y="715643"/>
                    <a:pt x="3133138" y="435678"/>
                    <a:pt x="2789981" y="435678"/>
                  </a:cubicBezTo>
                  <a:cubicBezTo>
                    <a:pt x="2726209" y="435678"/>
                    <a:pt x="2662437" y="444807"/>
                    <a:pt x="2604738" y="463065"/>
                  </a:cubicBezTo>
                  <a:cubicBezTo>
                    <a:pt x="2547039" y="484367"/>
                    <a:pt x="2547039" y="484367"/>
                    <a:pt x="2547039" y="484367"/>
                  </a:cubicBezTo>
                  <a:cubicBezTo>
                    <a:pt x="2516671" y="496540"/>
                    <a:pt x="2486303" y="484367"/>
                    <a:pt x="2471119" y="456979"/>
                  </a:cubicBezTo>
                  <a:cubicBezTo>
                    <a:pt x="2437715" y="396117"/>
                    <a:pt x="2437715" y="396117"/>
                    <a:pt x="2437715" y="396117"/>
                  </a:cubicBezTo>
                  <a:cubicBezTo>
                    <a:pt x="2322317" y="225704"/>
                    <a:pt x="2127963" y="122238"/>
                    <a:pt x="1918425" y="122238"/>
                  </a:cubicBezTo>
                  <a:close/>
                  <a:moveTo>
                    <a:pt x="1919219" y="0"/>
                  </a:moveTo>
                  <a:cubicBezTo>
                    <a:pt x="2168231" y="0"/>
                    <a:pt x="2402060" y="124823"/>
                    <a:pt x="2541750" y="331847"/>
                  </a:cubicBezTo>
                  <a:cubicBezTo>
                    <a:pt x="2541750" y="331847"/>
                    <a:pt x="2544787" y="334891"/>
                    <a:pt x="2544787" y="334891"/>
                  </a:cubicBezTo>
                  <a:cubicBezTo>
                    <a:pt x="2553897" y="353158"/>
                    <a:pt x="2553897" y="353158"/>
                    <a:pt x="2553897" y="353158"/>
                  </a:cubicBezTo>
                  <a:cubicBezTo>
                    <a:pt x="2563007" y="350113"/>
                    <a:pt x="2563007" y="350113"/>
                    <a:pt x="2563007" y="350113"/>
                  </a:cubicBezTo>
                  <a:cubicBezTo>
                    <a:pt x="2566044" y="350113"/>
                    <a:pt x="2566044" y="347069"/>
                    <a:pt x="2566044" y="347069"/>
                  </a:cubicBezTo>
                  <a:cubicBezTo>
                    <a:pt x="2638925" y="325758"/>
                    <a:pt x="2714844" y="313580"/>
                    <a:pt x="2790762" y="313580"/>
                  </a:cubicBezTo>
                  <a:cubicBezTo>
                    <a:pt x="3203759" y="313580"/>
                    <a:pt x="3537800" y="648471"/>
                    <a:pt x="3537800" y="1062518"/>
                  </a:cubicBezTo>
                  <a:cubicBezTo>
                    <a:pt x="3537800" y="1062518"/>
                    <a:pt x="3537800" y="1065562"/>
                    <a:pt x="3537800" y="1065562"/>
                  </a:cubicBezTo>
                  <a:cubicBezTo>
                    <a:pt x="3534763" y="1114274"/>
                    <a:pt x="3534763" y="1114274"/>
                    <a:pt x="3534763" y="1114274"/>
                  </a:cubicBezTo>
                  <a:cubicBezTo>
                    <a:pt x="3546910" y="1120363"/>
                    <a:pt x="3546910" y="1120363"/>
                    <a:pt x="3546910" y="1120363"/>
                  </a:cubicBezTo>
                  <a:cubicBezTo>
                    <a:pt x="3549947" y="1123407"/>
                    <a:pt x="3552983" y="1123407"/>
                    <a:pt x="3552983" y="1123407"/>
                  </a:cubicBezTo>
                  <a:cubicBezTo>
                    <a:pt x="3729114" y="1245185"/>
                    <a:pt x="3835400" y="1443076"/>
                    <a:pt x="3835400" y="1656188"/>
                  </a:cubicBezTo>
                  <a:cubicBezTo>
                    <a:pt x="3835400" y="2009346"/>
                    <a:pt x="3546910" y="2295525"/>
                    <a:pt x="3194648" y="2295525"/>
                  </a:cubicBezTo>
                  <a:cubicBezTo>
                    <a:pt x="3194648" y="2295525"/>
                    <a:pt x="3191612" y="2295525"/>
                    <a:pt x="3191612" y="2295525"/>
                  </a:cubicBezTo>
                  <a:cubicBezTo>
                    <a:pt x="3170355" y="2295525"/>
                    <a:pt x="3170355" y="2295525"/>
                    <a:pt x="3170355" y="2295525"/>
                  </a:cubicBezTo>
                  <a:cubicBezTo>
                    <a:pt x="3161244" y="2295525"/>
                    <a:pt x="3161244" y="2295525"/>
                    <a:pt x="3161244" y="2295525"/>
                  </a:cubicBezTo>
                  <a:cubicBezTo>
                    <a:pt x="3158208" y="2295525"/>
                    <a:pt x="3158208" y="2295525"/>
                    <a:pt x="3155171" y="2295525"/>
                  </a:cubicBezTo>
                  <a:cubicBezTo>
                    <a:pt x="686303" y="2295525"/>
                    <a:pt x="686303" y="2295525"/>
                    <a:pt x="686303" y="2295525"/>
                  </a:cubicBezTo>
                  <a:cubicBezTo>
                    <a:pt x="686303" y="2295525"/>
                    <a:pt x="683266" y="2295525"/>
                    <a:pt x="680230" y="2295525"/>
                  </a:cubicBezTo>
                  <a:cubicBezTo>
                    <a:pt x="671119" y="2295525"/>
                    <a:pt x="671119" y="2295525"/>
                    <a:pt x="671119" y="2295525"/>
                  </a:cubicBezTo>
                  <a:cubicBezTo>
                    <a:pt x="628605" y="2292481"/>
                    <a:pt x="628605" y="2292481"/>
                    <a:pt x="628605" y="2292481"/>
                  </a:cubicBezTo>
                  <a:cubicBezTo>
                    <a:pt x="628605" y="2292481"/>
                    <a:pt x="628605" y="2292481"/>
                    <a:pt x="625568" y="2292481"/>
                  </a:cubicBezTo>
                  <a:cubicBezTo>
                    <a:pt x="270270" y="2255947"/>
                    <a:pt x="0" y="1957590"/>
                    <a:pt x="0" y="1598343"/>
                  </a:cubicBezTo>
                  <a:cubicBezTo>
                    <a:pt x="0" y="1220830"/>
                    <a:pt x="306711" y="910295"/>
                    <a:pt x="683266" y="904206"/>
                  </a:cubicBezTo>
                  <a:cubicBezTo>
                    <a:pt x="710597" y="873761"/>
                    <a:pt x="710597" y="873761"/>
                    <a:pt x="710597" y="873761"/>
                  </a:cubicBezTo>
                  <a:cubicBezTo>
                    <a:pt x="710597" y="870717"/>
                    <a:pt x="713634" y="870717"/>
                    <a:pt x="713634" y="867672"/>
                  </a:cubicBezTo>
                  <a:cubicBezTo>
                    <a:pt x="835103" y="745894"/>
                    <a:pt x="999087" y="678915"/>
                    <a:pt x="1172181" y="678915"/>
                  </a:cubicBezTo>
                  <a:cubicBezTo>
                    <a:pt x="1172181" y="678915"/>
                    <a:pt x="1175218" y="678915"/>
                    <a:pt x="1178255" y="678915"/>
                  </a:cubicBezTo>
                  <a:cubicBezTo>
                    <a:pt x="1184328" y="605848"/>
                    <a:pt x="1184328" y="605848"/>
                    <a:pt x="1184328" y="605848"/>
                  </a:cubicBezTo>
                  <a:cubicBezTo>
                    <a:pt x="1184328" y="602804"/>
                    <a:pt x="1184328" y="599759"/>
                    <a:pt x="1187365" y="599759"/>
                  </a:cubicBezTo>
                  <a:cubicBezTo>
                    <a:pt x="1257210" y="252691"/>
                    <a:pt x="1566957" y="0"/>
                    <a:pt x="1919219" y="0"/>
                  </a:cubicBezTo>
                  <a:close/>
                </a:path>
              </a:pathLst>
            </a:custGeom>
            <a:solidFill>
              <a:srgbClr val="FFFFFF"/>
            </a:solidFill>
            <a:ln>
              <a:noFill/>
            </a:ln>
          </p:spPr>
          <p:txBody>
            <a:bodyPr vert="horz" wrap="square" lIns="67203" tIns="33602" rIns="67203" bIns="33602" numCol="1" anchor="t" anchorCtr="0" compatLnSpc="1">
              <a:prstTxWarp prst="textNoShape">
                <a:avLst/>
              </a:prstTxWarp>
              <a:noAutofit/>
            </a:bodyPr>
            <a:lstStyle/>
            <a:p>
              <a:pPr defTabSz="672097" fontAlgn="auto">
                <a:spcBef>
                  <a:spcPts val="0"/>
                </a:spcBef>
                <a:spcAft>
                  <a:spcPts val="0"/>
                </a:spcAft>
                <a:defRPr/>
              </a:pPr>
              <a:endParaRPr lang="en-US" sz="1325" b="0" kern="0" dirty="0">
                <a:solidFill>
                  <a:srgbClr val="FFFFFF"/>
                </a:solidFill>
                <a:latin typeface="Segoe UI"/>
                <a:cs typeface="+mn-cs"/>
              </a:endParaRPr>
            </a:p>
          </p:txBody>
        </p:sp>
        <p:sp>
          <p:nvSpPr>
            <p:cNvPr id="134" name="Freeform 109"/>
            <p:cNvSpPr>
              <a:spLocks/>
            </p:cNvSpPr>
            <p:nvPr/>
          </p:nvSpPr>
          <p:spPr bwMode="auto">
            <a:xfrm>
              <a:off x="7936686" y="2796097"/>
              <a:ext cx="148270" cy="149376"/>
            </a:xfrm>
            <a:custGeom>
              <a:avLst/>
              <a:gdLst>
                <a:gd name="T0" fmla="*/ 680 w 701"/>
                <a:gd name="T1" fmla="*/ 640 h 704"/>
                <a:gd name="T2" fmla="*/ 568 w 701"/>
                <a:gd name="T3" fmla="*/ 571 h 704"/>
                <a:gd name="T4" fmla="*/ 531 w 701"/>
                <a:gd name="T5" fmla="*/ 573 h 704"/>
                <a:gd name="T6" fmla="*/ 351 w 701"/>
                <a:gd name="T7" fmla="*/ 637 h 704"/>
                <a:gd name="T8" fmla="*/ 64 w 701"/>
                <a:gd name="T9" fmla="*/ 350 h 704"/>
                <a:gd name="T10" fmla="*/ 351 w 701"/>
                <a:gd name="T11" fmla="*/ 64 h 704"/>
                <a:gd name="T12" fmla="*/ 631 w 701"/>
                <a:gd name="T13" fmla="*/ 294 h 704"/>
                <a:gd name="T14" fmla="*/ 474 w 701"/>
                <a:gd name="T15" fmla="*/ 294 h 704"/>
                <a:gd name="T16" fmla="*/ 445 w 701"/>
                <a:gd name="T17" fmla="*/ 312 h 704"/>
                <a:gd name="T18" fmla="*/ 432 w 701"/>
                <a:gd name="T19" fmla="*/ 338 h 704"/>
                <a:gd name="T20" fmla="*/ 320 w 701"/>
                <a:gd name="T21" fmla="*/ 203 h 704"/>
                <a:gd name="T22" fmla="*/ 284 w 701"/>
                <a:gd name="T23" fmla="*/ 193 h 704"/>
                <a:gd name="T24" fmla="*/ 263 w 701"/>
                <a:gd name="T25" fmla="*/ 223 h 704"/>
                <a:gd name="T26" fmla="*/ 263 w 701"/>
                <a:gd name="T27" fmla="*/ 327 h 704"/>
                <a:gd name="T28" fmla="*/ 192 w 701"/>
                <a:gd name="T29" fmla="*/ 327 h 704"/>
                <a:gd name="T30" fmla="*/ 160 w 701"/>
                <a:gd name="T31" fmla="*/ 359 h 704"/>
                <a:gd name="T32" fmla="*/ 192 w 701"/>
                <a:gd name="T33" fmla="*/ 391 h 704"/>
                <a:gd name="T34" fmla="*/ 295 w 701"/>
                <a:gd name="T35" fmla="*/ 391 h 704"/>
                <a:gd name="T36" fmla="*/ 327 w 701"/>
                <a:gd name="T37" fmla="*/ 359 h 704"/>
                <a:gd name="T38" fmla="*/ 327 w 701"/>
                <a:gd name="T39" fmla="*/ 311 h 704"/>
                <a:gd name="T40" fmla="*/ 414 w 701"/>
                <a:gd name="T41" fmla="*/ 416 h 704"/>
                <a:gd name="T42" fmla="*/ 439 w 701"/>
                <a:gd name="T43" fmla="*/ 428 h 704"/>
                <a:gd name="T44" fmla="*/ 443 w 701"/>
                <a:gd name="T45" fmla="*/ 428 h 704"/>
                <a:gd name="T46" fmla="*/ 468 w 701"/>
                <a:gd name="T47" fmla="*/ 410 h 704"/>
                <a:gd name="T48" fmla="*/ 494 w 701"/>
                <a:gd name="T49" fmla="*/ 358 h 704"/>
                <a:gd name="T50" fmla="*/ 661 w 701"/>
                <a:gd name="T51" fmla="*/ 358 h 704"/>
                <a:gd name="T52" fmla="*/ 665 w 701"/>
                <a:gd name="T53" fmla="*/ 358 h 704"/>
                <a:gd name="T54" fmla="*/ 670 w 701"/>
                <a:gd name="T55" fmla="*/ 358 h 704"/>
                <a:gd name="T56" fmla="*/ 700 w 701"/>
                <a:gd name="T57" fmla="*/ 324 h 704"/>
                <a:gd name="T58" fmla="*/ 589 w 701"/>
                <a:gd name="T59" fmla="*/ 94 h 704"/>
                <a:gd name="T60" fmla="*/ 351 w 701"/>
                <a:gd name="T61" fmla="*/ 0 h 704"/>
                <a:gd name="T62" fmla="*/ 0 w 701"/>
                <a:gd name="T63" fmla="*/ 350 h 704"/>
                <a:gd name="T64" fmla="*/ 351 w 701"/>
                <a:gd name="T65" fmla="*/ 701 h 704"/>
                <a:gd name="T66" fmla="*/ 553 w 701"/>
                <a:gd name="T67" fmla="*/ 637 h 704"/>
                <a:gd name="T68" fmla="*/ 646 w 701"/>
                <a:gd name="T69" fmla="*/ 694 h 704"/>
                <a:gd name="T70" fmla="*/ 690 w 701"/>
                <a:gd name="T71" fmla="*/ 684 h 704"/>
                <a:gd name="T72" fmla="*/ 680 w 701"/>
                <a:gd name="T73" fmla="*/ 640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01" h="704">
                  <a:moveTo>
                    <a:pt x="680" y="640"/>
                  </a:moveTo>
                  <a:cubicBezTo>
                    <a:pt x="568" y="571"/>
                    <a:pt x="568" y="571"/>
                    <a:pt x="568" y="571"/>
                  </a:cubicBezTo>
                  <a:cubicBezTo>
                    <a:pt x="556" y="564"/>
                    <a:pt x="541" y="564"/>
                    <a:pt x="531" y="573"/>
                  </a:cubicBezTo>
                  <a:cubicBezTo>
                    <a:pt x="479" y="615"/>
                    <a:pt x="417" y="637"/>
                    <a:pt x="351" y="637"/>
                  </a:cubicBezTo>
                  <a:cubicBezTo>
                    <a:pt x="193" y="637"/>
                    <a:pt x="64" y="508"/>
                    <a:pt x="64" y="350"/>
                  </a:cubicBezTo>
                  <a:cubicBezTo>
                    <a:pt x="64" y="193"/>
                    <a:pt x="193" y="64"/>
                    <a:pt x="351" y="64"/>
                  </a:cubicBezTo>
                  <a:cubicBezTo>
                    <a:pt x="488" y="64"/>
                    <a:pt x="605" y="163"/>
                    <a:pt x="631" y="294"/>
                  </a:cubicBezTo>
                  <a:cubicBezTo>
                    <a:pt x="474" y="294"/>
                    <a:pt x="474" y="294"/>
                    <a:pt x="474" y="294"/>
                  </a:cubicBezTo>
                  <a:cubicBezTo>
                    <a:pt x="462" y="294"/>
                    <a:pt x="451" y="301"/>
                    <a:pt x="445" y="312"/>
                  </a:cubicBezTo>
                  <a:cubicBezTo>
                    <a:pt x="432" y="338"/>
                    <a:pt x="432" y="338"/>
                    <a:pt x="432" y="338"/>
                  </a:cubicBezTo>
                  <a:cubicBezTo>
                    <a:pt x="320" y="203"/>
                    <a:pt x="320" y="203"/>
                    <a:pt x="320" y="203"/>
                  </a:cubicBezTo>
                  <a:cubicBezTo>
                    <a:pt x="311" y="192"/>
                    <a:pt x="297" y="188"/>
                    <a:pt x="284" y="193"/>
                  </a:cubicBezTo>
                  <a:cubicBezTo>
                    <a:pt x="271" y="197"/>
                    <a:pt x="263" y="210"/>
                    <a:pt x="263" y="223"/>
                  </a:cubicBezTo>
                  <a:cubicBezTo>
                    <a:pt x="263" y="327"/>
                    <a:pt x="263" y="327"/>
                    <a:pt x="263" y="327"/>
                  </a:cubicBezTo>
                  <a:cubicBezTo>
                    <a:pt x="192" y="327"/>
                    <a:pt x="192" y="327"/>
                    <a:pt x="192" y="327"/>
                  </a:cubicBezTo>
                  <a:cubicBezTo>
                    <a:pt x="174" y="327"/>
                    <a:pt x="160" y="341"/>
                    <a:pt x="160" y="359"/>
                  </a:cubicBezTo>
                  <a:cubicBezTo>
                    <a:pt x="160" y="377"/>
                    <a:pt x="174" y="391"/>
                    <a:pt x="192" y="391"/>
                  </a:cubicBezTo>
                  <a:cubicBezTo>
                    <a:pt x="295" y="391"/>
                    <a:pt x="295" y="391"/>
                    <a:pt x="295" y="391"/>
                  </a:cubicBezTo>
                  <a:cubicBezTo>
                    <a:pt x="313" y="391"/>
                    <a:pt x="327" y="377"/>
                    <a:pt x="327" y="359"/>
                  </a:cubicBezTo>
                  <a:cubicBezTo>
                    <a:pt x="327" y="311"/>
                    <a:pt x="327" y="311"/>
                    <a:pt x="327" y="311"/>
                  </a:cubicBezTo>
                  <a:cubicBezTo>
                    <a:pt x="414" y="416"/>
                    <a:pt x="414" y="416"/>
                    <a:pt x="414" y="416"/>
                  </a:cubicBezTo>
                  <a:cubicBezTo>
                    <a:pt x="421" y="424"/>
                    <a:pt x="430" y="428"/>
                    <a:pt x="439" y="428"/>
                  </a:cubicBezTo>
                  <a:cubicBezTo>
                    <a:pt x="440" y="428"/>
                    <a:pt x="441" y="428"/>
                    <a:pt x="443" y="428"/>
                  </a:cubicBezTo>
                  <a:cubicBezTo>
                    <a:pt x="453" y="427"/>
                    <a:pt x="463" y="420"/>
                    <a:pt x="468" y="410"/>
                  </a:cubicBezTo>
                  <a:cubicBezTo>
                    <a:pt x="494" y="358"/>
                    <a:pt x="494" y="358"/>
                    <a:pt x="494" y="358"/>
                  </a:cubicBezTo>
                  <a:cubicBezTo>
                    <a:pt x="661" y="358"/>
                    <a:pt x="661" y="358"/>
                    <a:pt x="661" y="358"/>
                  </a:cubicBezTo>
                  <a:cubicBezTo>
                    <a:pt x="662" y="358"/>
                    <a:pt x="663" y="358"/>
                    <a:pt x="665" y="358"/>
                  </a:cubicBezTo>
                  <a:cubicBezTo>
                    <a:pt x="666" y="358"/>
                    <a:pt x="668" y="358"/>
                    <a:pt x="670" y="358"/>
                  </a:cubicBezTo>
                  <a:cubicBezTo>
                    <a:pt x="688" y="357"/>
                    <a:pt x="701" y="341"/>
                    <a:pt x="700" y="324"/>
                  </a:cubicBezTo>
                  <a:cubicBezTo>
                    <a:pt x="693" y="236"/>
                    <a:pt x="654" y="154"/>
                    <a:pt x="589" y="94"/>
                  </a:cubicBezTo>
                  <a:cubicBezTo>
                    <a:pt x="524" y="33"/>
                    <a:pt x="439" y="0"/>
                    <a:pt x="351" y="0"/>
                  </a:cubicBezTo>
                  <a:cubicBezTo>
                    <a:pt x="157" y="0"/>
                    <a:pt x="0" y="157"/>
                    <a:pt x="0" y="350"/>
                  </a:cubicBezTo>
                  <a:cubicBezTo>
                    <a:pt x="0" y="544"/>
                    <a:pt x="157" y="701"/>
                    <a:pt x="351" y="701"/>
                  </a:cubicBezTo>
                  <a:cubicBezTo>
                    <a:pt x="423" y="701"/>
                    <a:pt x="494" y="678"/>
                    <a:pt x="553" y="637"/>
                  </a:cubicBezTo>
                  <a:cubicBezTo>
                    <a:pt x="646" y="694"/>
                    <a:pt x="646" y="694"/>
                    <a:pt x="646" y="694"/>
                  </a:cubicBezTo>
                  <a:cubicBezTo>
                    <a:pt x="661" y="704"/>
                    <a:pt x="681" y="699"/>
                    <a:pt x="690" y="684"/>
                  </a:cubicBezTo>
                  <a:cubicBezTo>
                    <a:pt x="700" y="669"/>
                    <a:pt x="695" y="649"/>
                    <a:pt x="680" y="640"/>
                  </a:cubicBezTo>
                  <a:close/>
                </a:path>
              </a:pathLst>
            </a:custGeom>
            <a:solidFill>
              <a:srgbClr val="FFFFFF"/>
            </a:solidFill>
            <a:ln>
              <a:noFill/>
            </a:ln>
          </p:spPr>
          <p:txBody>
            <a:bodyPr vert="horz" wrap="square" lIns="67203" tIns="33602" rIns="67203" bIns="33602" numCol="1" anchor="t" anchorCtr="0" compatLnSpc="1">
              <a:prstTxWarp prst="textNoShape">
                <a:avLst/>
              </a:prstTxWarp>
            </a:bodyPr>
            <a:lstStyle/>
            <a:p>
              <a:pPr defTabSz="672097" fontAlgn="auto">
                <a:spcBef>
                  <a:spcPts val="0"/>
                </a:spcBef>
                <a:spcAft>
                  <a:spcPts val="0"/>
                </a:spcAft>
                <a:defRPr/>
              </a:pPr>
              <a:endParaRPr lang="en-US" sz="1325" b="0" kern="0" dirty="0">
                <a:solidFill>
                  <a:srgbClr val="FFFFFF"/>
                </a:solidFill>
                <a:latin typeface="Segoe UI"/>
                <a:cs typeface="+mn-cs"/>
              </a:endParaRPr>
            </a:p>
          </p:txBody>
        </p:sp>
      </p:grpSp>
      <p:sp>
        <p:nvSpPr>
          <p:cNvPr id="135" name="Freeform 453"/>
          <p:cNvSpPr/>
          <p:nvPr/>
        </p:nvSpPr>
        <p:spPr bwMode="auto">
          <a:xfrm>
            <a:off x="5564436" y="2705172"/>
            <a:ext cx="255759" cy="173856"/>
          </a:xfrm>
          <a:custGeom>
            <a:avLst/>
            <a:gdLst>
              <a:gd name="connsiteX0" fmla="*/ 3322794 w 5223983"/>
              <a:gd name="connsiteY0" fmla="*/ 1406050 h 3551081"/>
              <a:gd name="connsiteX1" fmla="*/ 3699984 w 5223983"/>
              <a:gd name="connsiteY1" fmla="*/ 1783240 h 3551081"/>
              <a:gd name="connsiteX2" fmla="*/ 3322794 w 5223983"/>
              <a:gd name="connsiteY2" fmla="*/ 2160430 h 3551081"/>
              <a:gd name="connsiteX3" fmla="*/ 2945604 w 5223983"/>
              <a:gd name="connsiteY3" fmla="*/ 1783240 h 3551081"/>
              <a:gd name="connsiteX4" fmla="*/ 3322794 w 5223983"/>
              <a:gd name="connsiteY4" fmla="*/ 1406050 h 3551081"/>
              <a:gd name="connsiteX5" fmla="*/ 1901190 w 5223983"/>
              <a:gd name="connsiteY5" fmla="*/ 1406050 h 3551081"/>
              <a:gd name="connsiteX6" fmla="*/ 2278380 w 5223983"/>
              <a:gd name="connsiteY6" fmla="*/ 1783240 h 3551081"/>
              <a:gd name="connsiteX7" fmla="*/ 1901190 w 5223983"/>
              <a:gd name="connsiteY7" fmla="*/ 2160430 h 3551081"/>
              <a:gd name="connsiteX8" fmla="*/ 1524000 w 5223983"/>
              <a:gd name="connsiteY8" fmla="*/ 1783240 h 3551081"/>
              <a:gd name="connsiteX9" fmla="*/ 1901190 w 5223983"/>
              <a:gd name="connsiteY9" fmla="*/ 1406050 h 3551081"/>
              <a:gd name="connsiteX10" fmla="*/ 3444555 w 5223983"/>
              <a:gd name="connsiteY10" fmla="*/ 1 h 3551081"/>
              <a:gd name="connsiteX11" fmla="*/ 5223983 w 5223983"/>
              <a:gd name="connsiteY11" fmla="*/ 1779430 h 3551081"/>
              <a:gd name="connsiteX12" fmla="*/ 3452333 w 5223983"/>
              <a:gd name="connsiteY12" fmla="*/ 3551081 h 3551081"/>
              <a:gd name="connsiteX13" fmla="*/ 3296124 w 5223983"/>
              <a:gd name="connsiteY13" fmla="*/ 3394871 h 3551081"/>
              <a:gd name="connsiteX14" fmla="*/ 4919183 w 5223983"/>
              <a:gd name="connsiteY14" fmla="*/ 1771811 h 3551081"/>
              <a:gd name="connsiteX15" fmla="*/ 3295964 w 5223983"/>
              <a:gd name="connsiteY15" fmla="*/ 148592 h 3551081"/>
              <a:gd name="connsiteX16" fmla="*/ 1779429 w 5223983"/>
              <a:gd name="connsiteY16" fmla="*/ 0 h 3551081"/>
              <a:gd name="connsiteX17" fmla="*/ 1928020 w 5223983"/>
              <a:gd name="connsiteY17" fmla="*/ 148590 h 3551081"/>
              <a:gd name="connsiteX18" fmla="*/ 304801 w 5223983"/>
              <a:gd name="connsiteY18" fmla="*/ 1771809 h 3551081"/>
              <a:gd name="connsiteX19" fmla="*/ 1927860 w 5223983"/>
              <a:gd name="connsiteY19" fmla="*/ 3394869 h 3551081"/>
              <a:gd name="connsiteX20" fmla="*/ 1771651 w 5223983"/>
              <a:gd name="connsiteY20" fmla="*/ 3551079 h 3551081"/>
              <a:gd name="connsiteX21" fmla="*/ 0 w 5223983"/>
              <a:gd name="connsiteY21" fmla="*/ 1779428 h 3551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223983" h="3551081">
                <a:moveTo>
                  <a:pt x="3322794" y="1406050"/>
                </a:moveTo>
                <a:cubicBezTo>
                  <a:pt x="3531110" y="1406050"/>
                  <a:pt x="3699984" y="1574924"/>
                  <a:pt x="3699984" y="1783240"/>
                </a:cubicBezTo>
                <a:cubicBezTo>
                  <a:pt x="3699984" y="1991556"/>
                  <a:pt x="3531110" y="2160430"/>
                  <a:pt x="3322794" y="2160430"/>
                </a:cubicBezTo>
                <a:cubicBezTo>
                  <a:pt x="3114478" y="2160430"/>
                  <a:pt x="2945604" y="1991556"/>
                  <a:pt x="2945604" y="1783240"/>
                </a:cubicBezTo>
                <a:cubicBezTo>
                  <a:pt x="2945604" y="1574924"/>
                  <a:pt x="3114478" y="1406050"/>
                  <a:pt x="3322794" y="1406050"/>
                </a:cubicBezTo>
                <a:close/>
                <a:moveTo>
                  <a:pt x="1901190" y="1406050"/>
                </a:moveTo>
                <a:cubicBezTo>
                  <a:pt x="2109506" y="1406050"/>
                  <a:pt x="2278380" y="1574924"/>
                  <a:pt x="2278380" y="1783240"/>
                </a:cubicBezTo>
                <a:cubicBezTo>
                  <a:pt x="2278380" y="1991556"/>
                  <a:pt x="2109506" y="2160430"/>
                  <a:pt x="1901190" y="2160430"/>
                </a:cubicBezTo>
                <a:cubicBezTo>
                  <a:pt x="1692874" y="2160430"/>
                  <a:pt x="1524000" y="1991556"/>
                  <a:pt x="1524000" y="1783240"/>
                </a:cubicBezTo>
                <a:cubicBezTo>
                  <a:pt x="1524000" y="1574924"/>
                  <a:pt x="1692874" y="1406050"/>
                  <a:pt x="1901190" y="1406050"/>
                </a:cubicBezTo>
                <a:close/>
                <a:moveTo>
                  <a:pt x="3444555" y="1"/>
                </a:moveTo>
                <a:lnTo>
                  <a:pt x="5223983" y="1779430"/>
                </a:lnTo>
                <a:lnTo>
                  <a:pt x="3452333" y="3551081"/>
                </a:lnTo>
                <a:lnTo>
                  <a:pt x="3296124" y="3394871"/>
                </a:lnTo>
                <a:lnTo>
                  <a:pt x="4919183" y="1771811"/>
                </a:lnTo>
                <a:lnTo>
                  <a:pt x="3295964" y="148592"/>
                </a:lnTo>
                <a:close/>
                <a:moveTo>
                  <a:pt x="1779429" y="0"/>
                </a:moveTo>
                <a:lnTo>
                  <a:pt x="1928020" y="148590"/>
                </a:lnTo>
                <a:lnTo>
                  <a:pt x="304801" y="1771809"/>
                </a:lnTo>
                <a:lnTo>
                  <a:pt x="1927860" y="3394869"/>
                </a:lnTo>
                <a:lnTo>
                  <a:pt x="1771651" y="3551079"/>
                </a:lnTo>
                <a:lnTo>
                  <a:pt x="0" y="1779428"/>
                </a:ln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67203" tIns="33602" rIns="67203" bIns="33602" numCol="1" spcCol="0" rtlCol="0" fromWordArt="0" anchor="ctr" anchorCtr="0" forceAA="0" compatLnSpc="1">
            <a:prstTxWarp prst="textNoShape">
              <a:avLst/>
            </a:prstTxWarp>
            <a:noAutofit/>
          </a:bodyPr>
          <a:lstStyle/>
          <a:p>
            <a:pPr algn="ctr" defTabSz="685381" fontAlgn="auto">
              <a:spcBef>
                <a:spcPts val="0"/>
              </a:spcBef>
              <a:spcAft>
                <a:spcPts val="0"/>
              </a:spcAft>
              <a:defRPr/>
            </a:pPr>
            <a:endParaRPr lang="en-US" sz="1765" b="0" kern="0" dirty="0">
              <a:solidFill>
                <a:srgbClr val="FFFFFF"/>
              </a:solidFill>
              <a:latin typeface="Segoe UI"/>
              <a:ea typeface="Segoe UI" pitchFamily="34" charset="0"/>
              <a:cs typeface="Segoe UI" pitchFamily="34" charset="0"/>
            </a:endParaRPr>
          </a:p>
        </p:txBody>
      </p:sp>
      <p:sp>
        <p:nvSpPr>
          <p:cNvPr id="136" name="Rectangle 135"/>
          <p:cNvSpPr/>
          <p:nvPr/>
        </p:nvSpPr>
        <p:spPr bwMode="auto">
          <a:xfrm>
            <a:off x="5468448" y="3268997"/>
            <a:ext cx="1314531" cy="1075710"/>
          </a:xfrm>
          <a:prstGeom prst="rect">
            <a:avLst/>
          </a:prstGeom>
          <a:solidFill>
            <a:schemeClr val="accent4"/>
          </a:solidFill>
          <a:ln w="3175">
            <a:noFill/>
          </a:ln>
          <a:effectLst/>
        </p:spPr>
        <p:txBody>
          <a:bodyPr spcFirstLastPara="0" vert="horz" wrap="square" lIns="67232" tIns="33616" rIns="67232" bIns="33616" numCol="1" spcCol="1270" anchor="t" anchorCtr="0">
            <a:noAutofit/>
          </a:bodyPr>
          <a:lstStyle/>
          <a:p>
            <a:pPr algn="ctr" defTabSz="532887" fontAlgn="auto">
              <a:spcAft>
                <a:spcPct val="35000"/>
              </a:spcAft>
              <a:defRPr/>
            </a:pPr>
            <a:r>
              <a:rPr lang="en-US" sz="882" b="0" kern="0" dirty="0">
                <a:solidFill>
                  <a:srgbClr val="FFFFFF"/>
                </a:solidFill>
                <a:latin typeface="Segoe UI Semibold" panose="020B0702040204020203" pitchFamily="34" charset="0"/>
                <a:ea typeface="MS PGothic" panose="020B0600070205080204" pitchFamily="34" charset="-128"/>
                <a:cs typeface="Segoe UI Semibold" panose="020B0702040204020203" pitchFamily="34" charset="0"/>
              </a:rPr>
              <a:t>Business Scenarios</a:t>
            </a:r>
          </a:p>
        </p:txBody>
      </p:sp>
      <p:sp>
        <p:nvSpPr>
          <p:cNvPr id="138" name="Rectangle 137"/>
          <p:cNvSpPr/>
          <p:nvPr/>
        </p:nvSpPr>
        <p:spPr>
          <a:xfrm>
            <a:off x="5904366" y="3685373"/>
            <a:ext cx="800176" cy="373564"/>
          </a:xfrm>
          <a:prstGeom prst="rect">
            <a:avLst/>
          </a:prstGeom>
        </p:spPr>
        <p:txBody>
          <a:bodyPr wrap="square" lIns="0" tIns="0" rIns="0" bIns="0">
            <a:spAutoFit/>
          </a:bodyPr>
          <a:lstStyle/>
          <a:p>
            <a:pPr defTabSz="685316" fontAlgn="auto">
              <a:spcBef>
                <a:spcPts val="0"/>
              </a:spcBef>
              <a:spcAft>
                <a:spcPts val="0"/>
              </a:spcAft>
              <a:defRPr/>
            </a:pPr>
            <a:r>
              <a:rPr lang="en-US" sz="809" b="0" kern="0" spc="-22" dirty="0">
                <a:solidFill>
                  <a:srgbClr val="FFFFFF"/>
                </a:solidFill>
                <a:latin typeface="Segoe UI Semilight"/>
                <a:cs typeface="Segoe UI Semilight" panose="020B0402040204020203" pitchFamily="34" charset="0"/>
              </a:rPr>
              <a:t>Recommendations,</a:t>
            </a:r>
          </a:p>
          <a:p>
            <a:pPr defTabSz="685316" fontAlgn="auto">
              <a:spcBef>
                <a:spcPts val="0"/>
              </a:spcBef>
              <a:spcAft>
                <a:spcPts val="0"/>
              </a:spcAft>
              <a:defRPr/>
            </a:pPr>
            <a:r>
              <a:rPr lang="en-US" sz="809" b="0" kern="0" spc="-22" dirty="0">
                <a:solidFill>
                  <a:srgbClr val="FFFFFF"/>
                </a:solidFill>
                <a:latin typeface="Segoe UI Semilight"/>
                <a:cs typeface="Segoe UI Semilight" panose="020B0402040204020203" pitchFamily="34" charset="0"/>
              </a:rPr>
              <a:t>customer churn,</a:t>
            </a:r>
          </a:p>
          <a:p>
            <a:pPr defTabSz="685316" fontAlgn="auto">
              <a:spcBef>
                <a:spcPts val="0"/>
              </a:spcBef>
              <a:spcAft>
                <a:spcPts val="0"/>
              </a:spcAft>
              <a:defRPr/>
            </a:pPr>
            <a:r>
              <a:rPr lang="en-US" sz="809" b="0" kern="0" spc="-22" dirty="0">
                <a:solidFill>
                  <a:srgbClr val="FFFFFF"/>
                </a:solidFill>
                <a:latin typeface="Segoe UI Semilight"/>
                <a:cs typeface="Segoe UI Semilight" panose="020B0402040204020203" pitchFamily="34" charset="0"/>
              </a:rPr>
              <a:t>forecasting, etc.</a:t>
            </a:r>
          </a:p>
        </p:txBody>
      </p:sp>
      <p:sp>
        <p:nvSpPr>
          <p:cNvPr id="146" name="Rectangle 145"/>
          <p:cNvSpPr/>
          <p:nvPr/>
        </p:nvSpPr>
        <p:spPr>
          <a:xfrm>
            <a:off x="5904367" y="2667579"/>
            <a:ext cx="741943" cy="249043"/>
          </a:xfrm>
          <a:prstGeom prst="rect">
            <a:avLst/>
          </a:prstGeom>
        </p:spPr>
        <p:txBody>
          <a:bodyPr wrap="square" lIns="0" tIns="0" rIns="0" bIns="0" anchor="ctr">
            <a:spAutoFit/>
          </a:bodyPr>
          <a:lstStyle/>
          <a:p>
            <a:pPr defTabSz="672097" fontAlgn="auto">
              <a:spcBef>
                <a:spcPts val="0"/>
              </a:spcBef>
              <a:spcAft>
                <a:spcPts val="0"/>
              </a:spcAft>
              <a:defRPr/>
            </a:pPr>
            <a:r>
              <a:rPr lang="en-US" sz="809" b="0" kern="0" dirty="0">
                <a:solidFill>
                  <a:srgbClr val="FFFFFF"/>
                </a:solidFill>
                <a:latin typeface="Segoe UI Semilight"/>
                <a:cs typeface="Segoe UI Semilight" panose="020B0402040204020203" pitchFamily="34" charset="0"/>
              </a:rPr>
              <a:t>Bot </a:t>
            </a:r>
            <a:br>
              <a:rPr lang="en-US" sz="809" b="0" kern="0" dirty="0">
                <a:solidFill>
                  <a:srgbClr val="FFFFFF"/>
                </a:solidFill>
                <a:latin typeface="Segoe UI Semilight"/>
                <a:cs typeface="Segoe UI Semilight" panose="020B0402040204020203" pitchFamily="34" charset="0"/>
              </a:rPr>
            </a:br>
            <a:r>
              <a:rPr lang="en-US" sz="809" b="0" kern="0" dirty="0">
                <a:solidFill>
                  <a:srgbClr val="FFFFFF"/>
                </a:solidFill>
                <a:latin typeface="Segoe UI Semilight"/>
                <a:cs typeface="Segoe UI Semilight" panose="020B0402040204020203" pitchFamily="34" charset="0"/>
              </a:rPr>
              <a:t>Framework</a:t>
            </a:r>
          </a:p>
        </p:txBody>
      </p:sp>
      <p:sp>
        <p:nvSpPr>
          <p:cNvPr id="147" name="Rectangle 146"/>
          <p:cNvSpPr/>
          <p:nvPr/>
        </p:nvSpPr>
        <p:spPr>
          <a:xfrm>
            <a:off x="5904367" y="2353507"/>
            <a:ext cx="741943" cy="249043"/>
          </a:xfrm>
          <a:prstGeom prst="rect">
            <a:avLst/>
          </a:prstGeom>
        </p:spPr>
        <p:txBody>
          <a:bodyPr wrap="square" lIns="0" tIns="0" rIns="0" bIns="0">
            <a:spAutoFit/>
          </a:bodyPr>
          <a:lstStyle/>
          <a:p>
            <a:pPr defTabSz="672097" fontAlgn="auto">
              <a:spcBef>
                <a:spcPts val="0"/>
              </a:spcBef>
              <a:spcAft>
                <a:spcPts val="0"/>
              </a:spcAft>
              <a:defRPr/>
            </a:pPr>
            <a:r>
              <a:rPr lang="en-US" sz="809" b="0" kern="0" dirty="0">
                <a:solidFill>
                  <a:srgbClr val="FFFFFF"/>
                </a:solidFill>
                <a:latin typeface="Segoe UI Semilight"/>
                <a:cs typeface="Segoe UI Semilight" panose="020B0402040204020203" pitchFamily="34" charset="0"/>
              </a:rPr>
              <a:t>Cognitive</a:t>
            </a:r>
            <a:br>
              <a:rPr lang="en-US" sz="809" b="0" kern="0" dirty="0">
                <a:solidFill>
                  <a:srgbClr val="FFFFFF"/>
                </a:solidFill>
                <a:latin typeface="Segoe UI Semilight"/>
                <a:cs typeface="Segoe UI Semilight" panose="020B0402040204020203" pitchFamily="34" charset="0"/>
              </a:rPr>
            </a:br>
            <a:r>
              <a:rPr lang="en-US" sz="809" b="0" kern="0" dirty="0">
                <a:solidFill>
                  <a:srgbClr val="FFFFFF"/>
                </a:solidFill>
                <a:latin typeface="Segoe UI Semilight"/>
                <a:cs typeface="Segoe UI Semilight" panose="020B0402040204020203" pitchFamily="34" charset="0"/>
              </a:rPr>
              <a:t>Services</a:t>
            </a:r>
          </a:p>
        </p:txBody>
      </p:sp>
      <p:pic>
        <p:nvPicPr>
          <p:cNvPr id="149" name="Picture 14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787967" y="3149931"/>
            <a:ext cx="313820" cy="313820"/>
          </a:xfrm>
          <a:prstGeom prst="rect">
            <a:avLst/>
          </a:prstGeom>
        </p:spPr>
      </p:pic>
      <p:pic>
        <p:nvPicPr>
          <p:cNvPr id="150" name="Picture 14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805986" y="2738202"/>
            <a:ext cx="259376" cy="259376"/>
          </a:xfrm>
          <a:prstGeom prst="rect">
            <a:avLst/>
          </a:prstGeom>
        </p:spPr>
      </p:pic>
      <p:grpSp>
        <p:nvGrpSpPr>
          <p:cNvPr id="98" name="Group 97">
            <a:extLst>
              <a:ext uri="{FF2B5EF4-FFF2-40B4-BE49-F238E27FC236}">
                <a16:creationId xmlns:a16="http://schemas.microsoft.com/office/drawing/2014/main" id="{1A18EBB6-969A-436E-AC6F-22CD10609163}"/>
              </a:ext>
            </a:extLst>
          </p:cNvPr>
          <p:cNvGrpSpPr/>
          <p:nvPr/>
        </p:nvGrpSpPr>
        <p:grpSpPr>
          <a:xfrm>
            <a:off x="2791723" y="3587986"/>
            <a:ext cx="1226827" cy="287902"/>
            <a:chOff x="4104234" y="3713494"/>
            <a:chExt cx="1668570" cy="391566"/>
          </a:xfrm>
        </p:grpSpPr>
        <p:sp>
          <p:nvSpPr>
            <p:cNvPr id="148" name="Rectangle 147"/>
            <p:cNvSpPr/>
            <p:nvPr/>
          </p:nvSpPr>
          <p:spPr>
            <a:xfrm>
              <a:off x="4502185" y="3755390"/>
              <a:ext cx="1270619" cy="294501"/>
            </a:xfrm>
            <a:prstGeom prst="rect">
              <a:avLst/>
            </a:prstGeom>
          </p:spPr>
          <p:txBody>
            <a:bodyPr wrap="square">
              <a:spAutoFit/>
            </a:bodyPr>
            <a:lstStyle/>
            <a:p>
              <a:pPr defTabSz="685594" fontAlgn="auto">
                <a:spcBef>
                  <a:spcPts val="0"/>
                </a:spcBef>
                <a:spcAft>
                  <a:spcPts val="0"/>
                </a:spcAft>
                <a:defRPr/>
              </a:pPr>
              <a:r>
                <a:rPr lang="en-US" sz="807" b="0" kern="0" dirty="0">
                  <a:solidFill>
                    <a:srgbClr val="FFFFFF"/>
                  </a:solidFill>
                  <a:latin typeface="Segoe UI Semilight"/>
                  <a:ea typeface="MS PGothic" panose="020B0600070205080204" pitchFamily="34" charset="-128"/>
                  <a:cs typeface="Segoe UI Semilight" panose="020B0402040204020203" pitchFamily="34" charset="0"/>
                </a:rPr>
                <a:t>Cosmos DB</a:t>
              </a:r>
            </a:p>
          </p:txBody>
        </p:sp>
        <p:pic>
          <p:nvPicPr>
            <p:cNvPr id="152" name="Picture 15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104234" y="3713494"/>
              <a:ext cx="391566" cy="391566"/>
            </a:xfrm>
            <a:prstGeom prst="rect">
              <a:avLst/>
            </a:prstGeom>
          </p:spPr>
        </p:pic>
      </p:grpSp>
      <p:pic>
        <p:nvPicPr>
          <p:cNvPr id="155" name="Picture 154" descr="http://www.algebraixdata.com/wp-content/uploads/2016/09/spark_logo1.png?c82824">
            <a:extLst>
              <a:ext uri="{FF2B5EF4-FFF2-40B4-BE49-F238E27FC236}">
                <a16:creationId xmlns:a16="http://schemas.microsoft.com/office/drawing/2014/main" id="{5098192B-12D3-422F-953F-51ABC0943EC8}"/>
              </a:ext>
            </a:extLst>
          </p:cNvPr>
          <p:cNvPicPr>
            <a:picLocks noChangeAspect="1" noChangeArrowheads="1"/>
          </p:cNvPicPr>
          <p:nvPr/>
        </p:nvPicPr>
        <p:blipFill>
          <a:blip r:embed="rId6" cstate="print">
            <a:duotone>
              <a:schemeClr val="accent1">
                <a:shade val="45000"/>
                <a:satMod val="135000"/>
              </a:schemeClr>
              <a:prstClr val="white"/>
            </a:duotone>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a:ext>
            </a:extLst>
          </a:blip>
          <a:srcRect/>
          <a:stretch>
            <a:fillRect/>
          </a:stretch>
        </p:blipFill>
        <p:spPr bwMode="auto">
          <a:xfrm>
            <a:off x="4189678" y="3574352"/>
            <a:ext cx="244049" cy="244048"/>
          </a:xfrm>
          <a:prstGeom prst="rect">
            <a:avLst/>
          </a:prstGeom>
          <a:noFill/>
          <a:extLst>
            <a:ext uri="{909E8E84-426E-40DD-AFC4-6F175D3DCCD1}">
              <a14:hiddenFill xmlns:a14="http://schemas.microsoft.com/office/drawing/2010/main">
                <a:solidFill>
                  <a:srgbClr val="FFFFFF"/>
                </a:solidFill>
              </a14:hiddenFill>
            </a:ext>
          </a:extLst>
        </p:spPr>
      </p:pic>
      <p:grpSp>
        <p:nvGrpSpPr>
          <p:cNvPr id="10" name="Group 4">
            <a:extLst>
              <a:ext uri="{FF2B5EF4-FFF2-40B4-BE49-F238E27FC236}">
                <a16:creationId xmlns:a16="http://schemas.microsoft.com/office/drawing/2014/main" id="{4F0C2CD8-0562-4FC7-A9D7-059DAE8AA0D1}"/>
              </a:ext>
            </a:extLst>
          </p:cNvPr>
          <p:cNvGrpSpPr>
            <a:grpSpLocks noChangeAspect="1"/>
          </p:cNvGrpSpPr>
          <p:nvPr/>
        </p:nvGrpSpPr>
        <p:grpSpPr bwMode="auto">
          <a:xfrm>
            <a:off x="529228" y="2219421"/>
            <a:ext cx="280862" cy="337033"/>
            <a:chOff x="3856" y="2127"/>
            <a:chExt cx="125" cy="150"/>
          </a:xfrm>
        </p:grpSpPr>
        <p:sp>
          <p:nvSpPr>
            <p:cNvPr id="12" name="Line 5">
              <a:extLst>
                <a:ext uri="{FF2B5EF4-FFF2-40B4-BE49-F238E27FC236}">
                  <a16:creationId xmlns:a16="http://schemas.microsoft.com/office/drawing/2014/main" id="{DF679969-4A2D-4391-BF14-1864EA7FF217}"/>
                </a:ext>
              </a:extLst>
            </p:cNvPr>
            <p:cNvSpPr>
              <a:spLocks noChangeShapeType="1"/>
            </p:cNvSpPr>
            <p:nvPr/>
          </p:nvSpPr>
          <p:spPr bwMode="auto">
            <a:xfrm flipV="1">
              <a:off x="3856" y="2221"/>
              <a:ext cx="0" cy="56"/>
            </a:xfrm>
            <a:prstGeom prst="line">
              <a:avLst/>
            </a:prstGeom>
            <a:noFill/>
            <a:ln w="15240">
              <a:solidFill>
                <a:schemeClr val="tx1"/>
              </a:solidFill>
            </a:ln>
            <a:extLst>
              <a:ext uri="{909E8E84-426E-40DD-AFC4-6F175D3DCCD1}">
                <a14:hiddenFill xmlns:a14="http://schemas.microsoft.com/office/drawing/2010/main">
                  <a:noFill/>
                </a14:hiddenFill>
              </a:ext>
            </a:extLst>
          </p:spPr>
          <p:txBody>
            <a:bodyPr vert="horz" wrap="square" lIns="67201" tIns="33600" rIns="67201" bIns="33600" numCol="1" anchor="t" anchorCtr="0" compatLnSpc="1">
              <a:prstTxWarp prst="textNoShape">
                <a:avLst/>
              </a:prstTxWarp>
            </a:bodyPr>
            <a:lstStyle/>
            <a:p>
              <a:pPr defTabSz="685437" fontAlgn="auto">
                <a:spcBef>
                  <a:spcPts val="0"/>
                </a:spcBef>
                <a:spcAft>
                  <a:spcPts val="0"/>
                </a:spcAft>
                <a:defRPr/>
              </a:pPr>
              <a:endParaRPr lang="en-US" sz="1325" b="0" kern="0">
                <a:solidFill>
                  <a:srgbClr val="333333"/>
                </a:solidFill>
                <a:latin typeface="Segoe UI Semilight"/>
                <a:ea typeface="MS PGothic" panose="020B0600070205080204" pitchFamily="34" charset="-128"/>
                <a:cs typeface="+mn-cs"/>
              </a:endParaRPr>
            </a:p>
          </p:txBody>
        </p:sp>
        <p:sp>
          <p:nvSpPr>
            <p:cNvPr id="13" name="Line 6">
              <a:extLst>
                <a:ext uri="{FF2B5EF4-FFF2-40B4-BE49-F238E27FC236}">
                  <a16:creationId xmlns:a16="http://schemas.microsoft.com/office/drawing/2014/main" id="{20A26795-CA46-41EB-A8EA-BF805341D7A5}"/>
                </a:ext>
              </a:extLst>
            </p:cNvPr>
            <p:cNvSpPr>
              <a:spLocks noChangeShapeType="1"/>
            </p:cNvSpPr>
            <p:nvPr/>
          </p:nvSpPr>
          <p:spPr bwMode="auto">
            <a:xfrm flipV="1">
              <a:off x="3898" y="2185"/>
              <a:ext cx="0" cy="92"/>
            </a:xfrm>
            <a:prstGeom prst="line">
              <a:avLst/>
            </a:prstGeom>
            <a:noFill/>
            <a:ln w="15240">
              <a:solidFill>
                <a:schemeClr val="tx1"/>
              </a:solidFill>
            </a:ln>
            <a:extLst>
              <a:ext uri="{909E8E84-426E-40DD-AFC4-6F175D3DCCD1}">
                <a14:hiddenFill xmlns:a14="http://schemas.microsoft.com/office/drawing/2010/main">
                  <a:noFill/>
                </a14:hiddenFill>
              </a:ext>
            </a:extLst>
          </p:spPr>
          <p:txBody>
            <a:bodyPr vert="horz" wrap="square" lIns="67201" tIns="33600" rIns="67201" bIns="33600" numCol="1" anchor="t" anchorCtr="0" compatLnSpc="1">
              <a:prstTxWarp prst="textNoShape">
                <a:avLst/>
              </a:prstTxWarp>
            </a:bodyPr>
            <a:lstStyle/>
            <a:p>
              <a:pPr defTabSz="685437" fontAlgn="auto">
                <a:spcBef>
                  <a:spcPts val="0"/>
                </a:spcBef>
                <a:spcAft>
                  <a:spcPts val="0"/>
                </a:spcAft>
                <a:defRPr/>
              </a:pPr>
              <a:endParaRPr lang="en-US" sz="1325" b="0" kern="0">
                <a:solidFill>
                  <a:srgbClr val="333333"/>
                </a:solidFill>
                <a:latin typeface="Segoe UI Semilight"/>
                <a:ea typeface="MS PGothic" panose="020B0600070205080204" pitchFamily="34" charset="-128"/>
                <a:cs typeface="+mn-cs"/>
              </a:endParaRPr>
            </a:p>
          </p:txBody>
        </p:sp>
        <p:sp>
          <p:nvSpPr>
            <p:cNvPr id="14" name="Line 7">
              <a:extLst>
                <a:ext uri="{FF2B5EF4-FFF2-40B4-BE49-F238E27FC236}">
                  <a16:creationId xmlns:a16="http://schemas.microsoft.com/office/drawing/2014/main" id="{24585801-51F5-45AF-A566-BF0337A49842}"/>
                </a:ext>
              </a:extLst>
            </p:cNvPr>
            <p:cNvSpPr>
              <a:spLocks noChangeShapeType="1"/>
            </p:cNvSpPr>
            <p:nvPr/>
          </p:nvSpPr>
          <p:spPr bwMode="auto">
            <a:xfrm flipV="1">
              <a:off x="3939" y="2196"/>
              <a:ext cx="0" cy="81"/>
            </a:xfrm>
            <a:prstGeom prst="line">
              <a:avLst/>
            </a:prstGeom>
            <a:noFill/>
            <a:ln w="15240">
              <a:solidFill>
                <a:schemeClr val="tx1"/>
              </a:solidFill>
            </a:ln>
            <a:extLst>
              <a:ext uri="{909E8E84-426E-40DD-AFC4-6F175D3DCCD1}">
                <a14:hiddenFill xmlns:a14="http://schemas.microsoft.com/office/drawing/2010/main">
                  <a:noFill/>
                </a14:hiddenFill>
              </a:ext>
            </a:extLst>
          </p:spPr>
          <p:txBody>
            <a:bodyPr vert="horz" wrap="square" lIns="67201" tIns="33600" rIns="67201" bIns="33600" numCol="1" anchor="t" anchorCtr="0" compatLnSpc="1">
              <a:prstTxWarp prst="textNoShape">
                <a:avLst/>
              </a:prstTxWarp>
            </a:bodyPr>
            <a:lstStyle/>
            <a:p>
              <a:pPr defTabSz="685437" fontAlgn="auto">
                <a:spcBef>
                  <a:spcPts val="0"/>
                </a:spcBef>
                <a:spcAft>
                  <a:spcPts val="0"/>
                </a:spcAft>
                <a:defRPr/>
              </a:pPr>
              <a:endParaRPr lang="en-US" sz="1325" b="0" kern="0">
                <a:solidFill>
                  <a:srgbClr val="333333"/>
                </a:solidFill>
                <a:latin typeface="Segoe UI Semilight"/>
                <a:ea typeface="MS PGothic" panose="020B0600070205080204" pitchFamily="34" charset="-128"/>
                <a:cs typeface="+mn-cs"/>
              </a:endParaRPr>
            </a:p>
          </p:txBody>
        </p:sp>
        <p:sp>
          <p:nvSpPr>
            <p:cNvPr id="15" name="Line 8">
              <a:extLst>
                <a:ext uri="{FF2B5EF4-FFF2-40B4-BE49-F238E27FC236}">
                  <a16:creationId xmlns:a16="http://schemas.microsoft.com/office/drawing/2014/main" id="{EF6706FC-5643-4910-B7E5-7EB056982B67}"/>
                </a:ext>
              </a:extLst>
            </p:cNvPr>
            <p:cNvSpPr>
              <a:spLocks noChangeShapeType="1"/>
            </p:cNvSpPr>
            <p:nvPr/>
          </p:nvSpPr>
          <p:spPr bwMode="auto">
            <a:xfrm flipV="1">
              <a:off x="3981" y="2157"/>
              <a:ext cx="0" cy="120"/>
            </a:xfrm>
            <a:prstGeom prst="line">
              <a:avLst/>
            </a:prstGeom>
            <a:noFill/>
            <a:ln w="15240">
              <a:solidFill>
                <a:schemeClr val="tx1"/>
              </a:solidFill>
            </a:ln>
            <a:extLst>
              <a:ext uri="{909E8E84-426E-40DD-AFC4-6F175D3DCCD1}">
                <a14:hiddenFill xmlns:a14="http://schemas.microsoft.com/office/drawing/2010/main">
                  <a:noFill/>
                </a14:hiddenFill>
              </a:ext>
            </a:extLst>
          </p:spPr>
          <p:txBody>
            <a:bodyPr vert="horz" wrap="square" lIns="67201" tIns="33600" rIns="67201" bIns="33600" numCol="1" anchor="t" anchorCtr="0" compatLnSpc="1">
              <a:prstTxWarp prst="textNoShape">
                <a:avLst/>
              </a:prstTxWarp>
            </a:bodyPr>
            <a:lstStyle/>
            <a:p>
              <a:pPr defTabSz="685437" fontAlgn="auto">
                <a:spcBef>
                  <a:spcPts val="0"/>
                </a:spcBef>
                <a:spcAft>
                  <a:spcPts val="0"/>
                </a:spcAft>
                <a:defRPr/>
              </a:pPr>
              <a:endParaRPr lang="en-US" sz="1325" b="0" kern="0">
                <a:solidFill>
                  <a:srgbClr val="333333"/>
                </a:solidFill>
                <a:latin typeface="Segoe UI Semilight"/>
                <a:ea typeface="MS PGothic" panose="020B0600070205080204" pitchFamily="34" charset="-128"/>
                <a:cs typeface="+mn-cs"/>
              </a:endParaRPr>
            </a:p>
          </p:txBody>
        </p:sp>
        <p:sp>
          <p:nvSpPr>
            <p:cNvPr id="16" name="Freeform 9">
              <a:extLst>
                <a:ext uri="{FF2B5EF4-FFF2-40B4-BE49-F238E27FC236}">
                  <a16:creationId xmlns:a16="http://schemas.microsoft.com/office/drawing/2014/main" id="{4133673E-65FD-4903-98AC-61C103B76935}"/>
                </a:ext>
              </a:extLst>
            </p:cNvPr>
            <p:cNvSpPr>
              <a:spLocks/>
            </p:cNvSpPr>
            <p:nvPr/>
          </p:nvSpPr>
          <p:spPr bwMode="auto">
            <a:xfrm>
              <a:off x="3856" y="2141"/>
              <a:ext cx="113" cy="62"/>
            </a:xfrm>
            <a:custGeom>
              <a:avLst/>
              <a:gdLst>
                <a:gd name="T0" fmla="*/ 0 w 113"/>
                <a:gd name="T1" fmla="*/ 62 h 62"/>
                <a:gd name="T2" fmla="*/ 41 w 113"/>
                <a:gd name="T3" fmla="*/ 19 h 62"/>
                <a:gd name="T4" fmla="*/ 83 w 113"/>
                <a:gd name="T5" fmla="*/ 40 h 62"/>
                <a:gd name="T6" fmla="*/ 113 w 113"/>
                <a:gd name="T7" fmla="*/ 0 h 62"/>
              </a:gdLst>
              <a:ahLst/>
              <a:cxnLst>
                <a:cxn ang="0">
                  <a:pos x="T0" y="T1"/>
                </a:cxn>
                <a:cxn ang="0">
                  <a:pos x="T2" y="T3"/>
                </a:cxn>
                <a:cxn ang="0">
                  <a:pos x="T4" y="T5"/>
                </a:cxn>
                <a:cxn ang="0">
                  <a:pos x="T6" y="T7"/>
                </a:cxn>
              </a:cxnLst>
              <a:rect l="0" t="0" r="r" b="b"/>
              <a:pathLst>
                <a:path w="113" h="62">
                  <a:moveTo>
                    <a:pt x="0" y="62"/>
                  </a:moveTo>
                  <a:lnTo>
                    <a:pt x="41" y="19"/>
                  </a:lnTo>
                  <a:lnTo>
                    <a:pt x="83" y="40"/>
                  </a:lnTo>
                  <a:lnTo>
                    <a:pt x="113" y="0"/>
                  </a:lnTo>
                </a:path>
              </a:pathLst>
            </a:custGeom>
            <a:noFill/>
            <a:ln w="15240">
              <a:solidFill>
                <a:schemeClr val="tx1"/>
              </a:solidFill>
            </a:ln>
            <a:extLst>
              <a:ext uri="{909E8E84-426E-40DD-AFC4-6F175D3DCCD1}">
                <a14:hiddenFill xmlns:a14="http://schemas.microsoft.com/office/drawing/2010/main">
                  <a:solidFill>
                    <a:srgbClr val="FFFFFF"/>
                  </a:solidFill>
                </a14:hiddenFill>
              </a:ext>
            </a:extLst>
          </p:spPr>
          <p:txBody>
            <a:bodyPr vert="horz" wrap="square" lIns="67201" tIns="33600" rIns="67201" bIns="33600" numCol="1" anchor="t" anchorCtr="0" compatLnSpc="1">
              <a:prstTxWarp prst="textNoShape">
                <a:avLst/>
              </a:prstTxWarp>
            </a:bodyPr>
            <a:lstStyle/>
            <a:p>
              <a:pPr defTabSz="685437" fontAlgn="auto">
                <a:spcBef>
                  <a:spcPts val="0"/>
                </a:spcBef>
                <a:spcAft>
                  <a:spcPts val="0"/>
                </a:spcAft>
                <a:defRPr/>
              </a:pPr>
              <a:endParaRPr lang="en-US" sz="1325" b="0" kern="0">
                <a:solidFill>
                  <a:srgbClr val="333333"/>
                </a:solidFill>
                <a:latin typeface="Segoe UI Semilight"/>
                <a:ea typeface="MS PGothic" panose="020B0600070205080204" pitchFamily="34" charset="-128"/>
                <a:cs typeface="+mn-cs"/>
              </a:endParaRPr>
            </a:p>
          </p:txBody>
        </p:sp>
        <p:sp>
          <p:nvSpPr>
            <p:cNvPr id="17" name="Freeform 10">
              <a:extLst>
                <a:ext uri="{FF2B5EF4-FFF2-40B4-BE49-F238E27FC236}">
                  <a16:creationId xmlns:a16="http://schemas.microsoft.com/office/drawing/2014/main" id="{B062782F-2A1F-45BC-86CA-50D29AD27C81}"/>
                </a:ext>
              </a:extLst>
            </p:cNvPr>
            <p:cNvSpPr>
              <a:spLocks/>
            </p:cNvSpPr>
            <p:nvPr/>
          </p:nvSpPr>
          <p:spPr bwMode="auto">
            <a:xfrm>
              <a:off x="3957" y="2127"/>
              <a:ext cx="24" cy="25"/>
            </a:xfrm>
            <a:custGeom>
              <a:avLst/>
              <a:gdLst>
                <a:gd name="T0" fmla="*/ 19 w 24"/>
                <a:gd name="T1" fmla="*/ 25 h 25"/>
                <a:gd name="T2" fmla="*/ 24 w 24"/>
                <a:gd name="T3" fmla="*/ 0 h 25"/>
                <a:gd name="T4" fmla="*/ 0 w 24"/>
                <a:gd name="T5" fmla="*/ 9 h 25"/>
                <a:gd name="T6" fmla="*/ 19 w 24"/>
                <a:gd name="T7" fmla="*/ 25 h 25"/>
              </a:gdLst>
              <a:ahLst/>
              <a:cxnLst>
                <a:cxn ang="0">
                  <a:pos x="T0" y="T1"/>
                </a:cxn>
                <a:cxn ang="0">
                  <a:pos x="T2" y="T3"/>
                </a:cxn>
                <a:cxn ang="0">
                  <a:pos x="T4" y="T5"/>
                </a:cxn>
                <a:cxn ang="0">
                  <a:pos x="T6" y="T7"/>
                </a:cxn>
              </a:cxnLst>
              <a:rect l="0" t="0" r="r" b="b"/>
              <a:pathLst>
                <a:path w="24" h="25">
                  <a:moveTo>
                    <a:pt x="19" y="25"/>
                  </a:moveTo>
                  <a:lnTo>
                    <a:pt x="24" y="0"/>
                  </a:lnTo>
                  <a:lnTo>
                    <a:pt x="0" y="9"/>
                  </a:lnTo>
                  <a:lnTo>
                    <a:pt x="19" y="25"/>
                  </a:lnTo>
                  <a:close/>
                </a:path>
              </a:pathLst>
            </a:custGeom>
            <a:solidFill>
              <a:schemeClr val="tx1"/>
            </a:solidFill>
            <a:ln w="9525">
              <a:noFill/>
              <a:round/>
              <a:headEnd/>
              <a:tailEnd/>
            </a:ln>
          </p:spPr>
          <p:txBody>
            <a:bodyPr vert="horz" wrap="square" lIns="67201" tIns="33600" rIns="67201" bIns="33600" numCol="1" anchor="t" anchorCtr="0" compatLnSpc="1">
              <a:prstTxWarp prst="textNoShape">
                <a:avLst/>
              </a:prstTxWarp>
            </a:bodyPr>
            <a:lstStyle/>
            <a:p>
              <a:pPr defTabSz="685437" fontAlgn="auto">
                <a:spcBef>
                  <a:spcPts val="0"/>
                </a:spcBef>
                <a:spcAft>
                  <a:spcPts val="0"/>
                </a:spcAft>
                <a:defRPr/>
              </a:pPr>
              <a:endParaRPr lang="en-US" sz="1325" b="0" kern="0">
                <a:solidFill>
                  <a:srgbClr val="333333"/>
                </a:solidFill>
                <a:latin typeface="Segoe UI Semilight"/>
                <a:ea typeface="MS PGothic" panose="020B0600070205080204" pitchFamily="34" charset="-128"/>
                <a:cs typeface="+mn-cs"/>
              </a:endParaRPr>
            </a:p>
          </p:txBody>
        </p:sp>
      </p:grpSp>
      <p:grpSp>
        <p:nvGrpSpPr>
          <p:cNvPr id="466" name="Group 27">
            <a:extLst>
              <a:ext uri="{FF2B5EF4-FFF2-40B4-BE49-F238E27FC236}">
                <a16:creationId xmlns:a16="http://schemas.microsoft.com/office/drawing/2014/main" id="{EE5C82E0-8F9E-41B1-BD4C-F39C2CED704B}"/>
              </a:ext>
            </a:extLst>
          </p:cNvPr>
          <p:cNvGrpSpPr>
            <a:grpSpLocks noChangeAspect="1"/>
          </p:cNvGrpSpPr>
          <p:nvPr/>
        </p:nvGrpSpPr>
        <p:grpSpPr bwMode="auto">
          <a:xfrm>
            <a:off x="5556261" y="3740064"/>
            <a:ext cx="272110" cy="264003"/>
            <a:chOff x="4904" y="2372"/>
            <a:chExt cx="235" cy="228"/>
          </a:xfrm>
          <a:solidFill>
            <a:schemeClr val="bg1"/>
          </a:solidFill>
        </p:grpSpPr>
        <p:sp>
          <p:nvSpPr>
            <p:cNvPr id="482" name="Freeform 28">
              <a:extLst>
                <a:ext uri="{FF2B5EF4-FFF2-40B4-BE49-F238E27FC236}">
                  <a16:creationId xmlns:a16="http://schemas.microsoft.com/office/drawing/2014/main" id="{2E1576D0-27CF-4DA4-9147-48DAB18DBF13}"/>
                </a:ext>
              </a:extLst>
            </p:cNvPr>
            <p:cNvSpPr>
              <a:spLocks noEditPoints="1"/>
            </p:cNvSpPr>
            <p:nvPr/>
          </p:nvSpPr>
          <p:spPr bwMode="auto">
            <a:xfrm>
              <a:off x="5037" y="2420"/>
              <a:ext cx="84" cy="84"/>
            </a:xfrm>
            <a:custGeom>
              <a:avLst/>
              <a:gdLst>
                <a:gd name="T0" fmla="*/ 21 w 42"/>
                <a:gd name="T1" fmla="*/ 42 h 42"/>
                <a:gd name="T2" fmla="*/ 0 w 42"/>
                <a:gd name="T3" fmla="*/ 21 h 42"/>
                <a:gd name="T4" fmla="*/ 21 w 42"/>
                <a:gd name="T5" fmla="*/ 0 h 42"/>
                <a:gd name="T6" fmla="*/ 42 w 42"/>
                <a:gd name="T7" fmla="*/ 21 h 42"/>
                <a:gd name="T8" fmla="*/ 21 w 42"/>
                <a:gd name="T9" fmla="*/ 42 h 42"/>
                <a:gd name="T10" fmla="*/ 21 w 42"/>
                <a:gd name="T11" fmla="*/ 4 h 42"/>
                <a:gd name="T12" fmla="*/ 4 w 42"/>
                <a:gd name="T13" fmla="*/ 21 h 42"/>
                <a:gd name="T14" fmla="*/ 21 w 42"/>
                <a:gd name="T15" fmla="*/ 38 h 42"/>
                <a:gd name="T16" fmla="*/ 38 w 42"/>
                <a:gd name="T17" fmla="*/ 21 h 42"/>
                <a:gd name="T18" fmla="*/ 21 w 42"/>
                <a:gd name="T19" fmla="*/ 4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 h="42">
                  <a:moveTo>
                    <a:pt x="21" y="42"/>
                  </a:moveTo>
                  <a:cubicBezTo>
                    <a:pt x="9" y="42"/>
                    <a:pt x="0" y="33"/>
                    <a:pt x="0" y="21"/>
                  </a:cubicBezTo>
                  <a:cubicBezTo>
                    <a:pt x="0" y="10"/>
                    <a:pt x="9" y="0"/>
                    <a:pt x="21" y="0"/>
                  </a:cubicBezTo>
                  <a:cubicBezTo>
                    <a:pt x="33" y="0"/>
                    <a:pt x="42" y="10"/>
                    <a:pt x="42" y="21"/>
                  </a:cubicBezTo>
                  <a:cubicBezTo>
                    <a:pt x="42" y="33"/>
                    <a:pt x="33" y="42"/>
                    <a:pt x="21" y="42"/>
                  </a:cubicBezTo>
                  <a:close/>
                  <a:moveTo>
                    <a:pt x="21" y="4"/>
                  </a:moveTo>
                  <a:cubicBezTo>
                    <a:pt x="12" y="4"/>
                    <a:pt x="4" y="12"/>
                    <a:pt x="4" y="21"/>
                  </a:cubicBezTo>
                  <a:cubicBezTo>
                    <a:pt x="4" y="31"/>
                    <a:pt x="12" y="38"/>
                    <a:pt x="21" y="38"/>
                  </a:cubicBezTo>
                  <a:cubicBezTo>
                    <a:pt x="30" y="38"/>
                    <a:pt x="38" y="31"/>
                    <a:pt x="38" y="21"/>
                  </a:cubicBezTo>
                  <a:cubicBezTo>
                    <a:pt x="38" y="12"/>
                    <a:pt x="30" y="4"/>
                    <a:pt x="21"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a:solidFill>
                  <a:srgbClr val="353535"/>
                </a:solidFill>
                <a:latin typeface="Segoe UI Semilight"/>
                <a:cs typeface="+mn-cs"/>
              </a:endParaRPr>
            </a:p>
          </p:txBody>
        </p:sp>
        <p:sp>
          <p:nvSpPr>
            <p:cNvPr id="483" name="Freeform 29">
              <a:extLst>
                <a:ext uri="{FF2B5EF4-FFF2-40B4-BE49-F238E27FC236}">
                  <a16:creationId xmlns:a16="http://schemas.microsoft.com/office/drawing/2014/main" id="{42705E25-A088-4552-A063-4D66B1BC90C8}"/>
                </a:ext>
              </a:extLst>
            </p:cNvPr>
            <p:cNvSpPr>
              <a:spLocks noEditPoints="1"/>
            </p:cNvSpPr>
            <p:nvPr/>
          </p:nvSpPr>
          <p:spPr bwMode="auto">
            <a:xfrm>
              <a:off x="4904" y="2372"/>
              <a:ext cx="235" cy="162"/>
            </a:xfrm>
            <a:custGeom>
              <a:avLst/>
              <a:gdLst>
                <a:gd name="T0" fmla="*/ 115 w 117"/>
                <a:gd name="T1" fmla="*/ 81 h 81"/>
                <a:gd name="T2" fmla="*/ 2 w 117"/>
                <a:gd name="T3" fmla="*/ 81 h 81"/>
                <a:gd name="T4" fmla="*/ 0 w 117"/>
                <a:gd name="T5" fmla="*/ 79 h 81"/>
                <a:gd name="T6" fmla="*/ 0 w 117"/>
                <a:gd name="T7" fmla="*/ 2 h 81"/>
                <a:gd name="T8" fmla="*/ 2 w 117"/>
                <a:gd name="T9" fmla="*/ 0 h 81"/>
                <a:gd name="T10" fmla="*/ 115 w 117"/>
                <a:gd name="T11" fmla="*/ 0 h 81"/>
                <a:gd name="T12" fmla="*/ 117 w 117"/>
                <a:gd name="T13" fmla="*/ 2 h 81"/>
                <a:gd name="T14" fmla="*/ 117 w 117"/>
                <a:gd name="T15" fmla="*/ 79 h 81"/>
                <a:gd name="T16" fmla="*/ 115 w 117"/>
                <a:gd name="T17" fmla="*/ 81 h 81"/>
                <a:gd name="T18" fmla="*/ 4 w 117"/>
                <a:gd name="T19" fmla="*/ 77 h 81"/>
                <a:gd name="T20" fmla="*/ 113 w 117"/>
                <a:gd name="T21" fmla="*/ 77 h 81"/>
                <a:gd name="T22" fmla="*/ 113 w 117"/>
                <a:gd name="T23" fmla="*/ 4 h 81"/>
                <a:gd name="T24" fmla="*/ 4 w 117"/>
                <a:gd name="T25" fmla="*/ 4 h 81"/>
                <a:gd name="T26" fmla="*/ 4 w 117"/>
                <a:gd name="T27" fmla="*/ 77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7" h="81">
                  <a:moveTo>
                    <a:pt x="115" y="81"/>
                  </a:moveTo>
                  <a:cubicBezTo>
                    <a:pt x="2" y="81"/>
                    <a:pt x="2" y="81"/>
                    <a:pt x="2" y="81"/>
                  </a:cubicBezTo>
                  <a:cubicBezTo>
                    <a:pt x="1" y="81"/>
                    <a:pt x="0" y="80"/>
                    <a:pt x="0" y="79"/>
                  </a:cubicBezTo>
                  <a:cubicBezTo>
                    <a:pt x="0" y="2"/>
                    <a:pt x="0" y="2"/>
                    <a:pt x="0" y="2"/>
                  </a:cubicBezTo>
                  <a:cubicBezTo>
                    <a:pt x="0" y="1"/>
                    <a:pt x="1" y="0"/>
                    <a:pt x="2" y="0"/>
                  </a:cubicBezTo>
                  <a:cubicBezTo>
                    <a:pt x="115" y="0"/>
                    <a:pt x="115" y="0"/>
                    <a:pt x="115" y="0"/>
                  </a:cubicBezTo>
                  <a:cubicBezTo>
                    <a:pt x="116" y="0"/>
                    <a:pt x="117" y="1"/>
                    <a:pt x="117" y="2"/>
                  </a:cubicBezTo>
                  <a:cubicBezTo>
                    <a:pt x="117" y="79"/>
                    <a:pt x="117" y="79"/>
                    <a:pt x="117" y="79"/>
                  </a:cubicBezTo>
                  <a:cubicBezTo>
                    <a:pt x="117" y="80"/>
                    <a:pt x="116" y="81"/>
                    <a:pt x="115" y="81"/>
                  </a:cubicBezTo>
                  <a:close/>
                  <a:moveTo>
                    <a:pt x="4" y="77"/>
                  </a:moveTo>
                  <a:cubicBezTo>
                    <a:pt x="113" y="77"/>
                    <a:pt x="113" y="77"/>
                    <a:pt x="113" y="77"/>
                  </a:cubicBezTo>
                  <a:cubicBezTo>
                    <a:pt x="113" y="4"/>
                    <a:pt x="113" y="4"/>
                    <a:pt x="113" y="4"/>
                  </a:cubicBezTo>
                  <a:cubicBezTo>
                    <a:pt x="4" y="4"/>
                    <a:pt x="4" y="4"/>
                    <a:pt x="4" y="4"/>
                  </a:cubicBezTo>
                  <a:lnTo>
                    <a:pt x="4" y="7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a:solidFill>
                  <a:srgbClr val="353535"/>
                </a:solidFill>
                <a:latin typeface="Segoe UI Semilight"/>
                <a:cs typeface="+mn-cs"/>
              </a:endParaRPr>
            </a:p>
          </p:txBody>
        </p:sp>
        <p:sp>
          <p:nvSpPr>
            <p:cNvPr id="484" name="Freeform 30">
              <a:extLst>
                <a:ext uri="{FF2B5EF4-FFF2-40B4-BE49-F238E27FC236}">
                  <a16:creationId xmlns:a16="http://schemas.microsoft.com/office/drawing/2014/main" id="{3D0951F4-66C6-422B-975C-4073B1BA4EB5}"/>
                </a:ext>
              </a:extLst>
            </p:cNvPr>
            <p:cNvSpPr>
              <a:spLocks/>
            </p:cNvSpPr>
            <p:nvPr/>
          </p:nvSpPr>
          <p:spPr bwMode="auto">
            <a:xfrm>
              <a:off x="5016" y="2526"/>
              <a:ext cx="11" cy="74"/>
            </a:xfrm>
            <a:custGeom>
              <a:avLst/>
              <a:gdLst>
                <a:gd name="T0" fmla="*/ 3 w 5"/>
                <a:gd name="T1" fmla="*/ 37 h 37"/>
                <a:gd name="T2" fmla="*/ 0 w 5"/>
                <a:gd name="T3" fmla="*/ 35 h 37"/>
                <a:gd name="T4" fmla="*/ 0 w 5"/>
                <a:gd name="T5" fmla="*/ 2 h 37"/>
                <a:gd name="T6" fmla="*/ 3 w 5"/>
                <a:gd name="T7" fmla="*/ 0 h 37"/>
                <a:gd name="T8" fmla="*/ 5 w 5"/>
                <a:gd name="T9" fmla="*/ 2 h 37"/>
                <a:gd name="T10" fmla="*/ 5 w 5"/>
                <a:gd name="T11" fmla="*/ 35 h 37"/>
                <a:gd name="T12" fmla="*/ 3 w 5"/>
                <a:gd name="T13" fmla="*/ 37 h 37"/>
              </a:gdLst>
              <a:ahLst/>
              <a:cxnLst>
                <a:cxn ang="0">
                  <a:pos x="T0" y="T1"/>
                </a:cxn>
                <a:cxn ang="0">
                  <a:pos x="T2" y="T3"/>
                </a:cxn>
                <a:cxn ang="0">
                  <a:pos x="T4" y="T5"/>
                </a:cxn>
                <a:cxn ang="0">
                  <a:pos x="T6" y="T7"/>
                </a:cxn>
                <a:cxn ang="0">
                  <a:pos x="T8" y="T9"/>
                </a:cxn>
                <a:cxn ang="0">
                  <a:pos x="T10" y="T11"/>
                </a:cxn>
                <a:cxn ang="0">
                  <a:pos x="T12" y="T13"/>
                </a:cxn>
              </a:cxnLst>
              <a:rect l="0" t="0" r="r" b="b"/>
              <a:pathLst>
                <a:path w="5" h="37">
                  <a:moveTo>
                    <a:pt x="3" y="37"/>
                  </a:moveTo>
                  <a:cubicBezTo>
                    <a:pt x="1" y="37"/>
                    <a:pt x="0" y="36"/>
                    <a:pt x="0" y="35"/>
                  </a:cubicBezTo>
                  <a:cubicBezTo>
                    <a:pt x="0" y="2"/>
                    <a:pt x="0" y="2"/>
                    <a:pt x="0" y="2"/>
                  </a:cubicBezTo>
                  <a:cubicBezTo>
                    <a:pt x="0" y="1"/>
                    <a:pt x="1" y="0"/>
                    <a:pt x="3" y="0"/>
                  </a:cubicBezTo>
                  <a:cubicBezTo>
                    <a:pt x="4" y="0"/>
                    <a:pt x="5" y="1"/>
                    <a:pt x="5" y="2"/>
                  </a:cubicBezTo>
                  <a:cubicBezTo>
                    <a:pt x="5" y="35"/>
                    <a:pt x="5" y="35"/>
                    <a:pt x="5" y="35"/>
                  </a:cubicBezTo>
                  <a:cubicBezTo>
                    <a:pt x="5" y="36"/>
                    <a:pt x="4" y="37"/>
                    <a:pt x="3" y="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a:solidFill>
                  <a:srgbClr val="353535"/>
                </a:solidFill>
                <a:latin typeface="Segoe UI Semilight"/>
                <a:cs typeface="+mn-cs"/>
              </a:endParaRPr>
            </a:p>
          </p:txBody>
        </p:sp>
        <p:sp>
          <p:nvSpPr>
            <p:cNvPr id="485" name="Freeform 31">
              <a:extLst>
                <a:ext uri="{FF2B5EF4-FFF2-40B4-BE49-F238E27FC236}">
                  <a16:creationId xmlns:a16="http://schemas.microsoft.com/office/drawing/2014/main" id="{D732D217-903B-487C-8A73-44F02E5F38A7}"/>
                </a:ext>
              </a:extLst>
            </p:cNvPr>
            <p:cNvSpPr>
              <a:spLocks/>
            </p:cNvSpPr>
            <p:nvPr/>
          </p:nvSpPr>
          <p:spPr bwMode="auto">
            <a:xfrm>
              <a:off x="4990" y="2592"/>
              <a:ext cx="69" cy="8"/>
            </a:xfrm>
            <a:custGeom>
              <a:avLst/>
              <a:gdLst>
                <a:gd name="T0" fmla="*/ 32 w 34"/>
                <a:gd name="T1" fmla="*/ 4 h 4"/>
                <a:gd name="T2" fmla="*/ 2 w 34"/>
                <a:gd name="T3" fmla="*/ 4 h 4"/>
                <a:gd name="T4" fmla="*/ 0 w 34"/>
                <a:gd name="T5" fmla="*/ 2 h 4"/>
                <a:gd name="T6" fmla="*/ 2 w 34"/>
                <a:gd name="T7" fmla="*/ 0 h 4"/>
                <a:gd name="T8" fmla="*/ 32 w 34"/>
                <a:gd name="T9" fmla="*/ 0 h 4"/>
                <a:gd name="T10" fmla="*/ 34 w 34"/>
                <a:gd name="T11" fmla="*/ 2 h 4"/>
                <a:gd name="T12" fmla="*/ 32 w 34"/>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34" h="4">
                  <a:moveTo>
                    <a:pt x="32" y="4"/>
                  </a:moveTo>
                  <a:cubicBezTo>
                    <a:pt x="2" y="4"/>
                    <a:pt x="2" y="4"/>
                    <a:pt x="2" y="4"/>
                  </a:cubicBezTo>
                  <a:cubicBezTo>
                    <a:pt x="1" y="4"/>
                    <a:pt x="0" y="3"/>
                    <a:pt x="0" y="2"/>
                  </a:cubicBezTo>
                  <a:cubicBezTo>
                    <a:pt x="0" y="1"/>
                    <a:pt x="1" y="0"/>
                    <a:pt x="2" y="0"/>
                  </a:cubicBezTo>
                  <a:cubicBezTo>
                    <a:pt x="32" y="0"/>
                    <a:pt x="32" y="0"/>
                    <a:pt x="32" y="0"/>
                  </a:cubicBezTo>
                  <a:cubicBezTo>
                    <a:pt x="33" y="0"/>
                    <a:pt x="34" y="1"/>
                    <a:pt x="34" y="2"/>
                  </a:cubicBezTo>
                  <a:cubicBezTo>
                    <a:pt x="34" y="3"/>
                    <a:pt x="33" y="4"/>
                    <a:pt x="3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a:solidFill>
                  <a:srgbClr val="353535"/>
                </a:solidFill>
                <a:latin typeface="Segoe UI Semilight"/>
                <a:cs typeface="+mn-cs"/>
              </a:endParaRPr>
            </a:p>
          </p:txBody>
        </p:sp>
        <p:sp>
          <p:nvSpPr>
            <p:cNvPr id="486" name="Freeform 32">
              <a:extLst>
                <a:ext uri="{FF2B5EF4-FFF2-40B4-BE49-F238E27FC236}">
                  <a16:creationId xmlns:a16="http://schemas.microsoft.com/office/drawing/2014/main" id="{8CAC905B-2AF5-445B-B23D-1081F6D8773D}"/>
                </a:ext>
              </a:extLst>
            </p:cNvPr>
            <p:cNvSpPr>
              <a:spLocks/>
            </p:cNvSpPr>
            <p:nvPr/>
          </p:nvSpPr>
          <p:spPr bwMode="auto">
            <a:xfrm>
              <a:off x="4920" y="2400"/>
              <a:ext cx="102" cy="114"/>
            </a:xfrm>
            <a:custGeom>
              <a:avLst/>
              <a:gdLst>
                <a:gd name="T0" fmla="*/ 49 w 51"/>
                <a:gd name="T1" fmla="*/ 57 h 57"/>
                <a:gd name="T2" fmla="*/ 2 w 51"/>
                <a:gd name="T3" fmla="*/ 57 h 57"/>
                <a:gd name="T4" fmla="*/ 0 w 51"/>
                <a:gd name="T5" fmla="*/ 55 h 57"/>
                <a:gd name="T6" fmla="*/ 0 w 51"/>
                <a:gd name="T7" fmla="*/ 2 h 57"/>
                <a:gd name="T8" fmla="*/ 2 w 51"/>
                <a:gd name="T9" fmla="*/ 0 h 57"/>
                <a:gd name="T10" fmla="*/ 4 w 51"/>
                <a:gd name="T11" fmla="*/ 2 h 57"/>
                <a:gd name="T12" fmla="*/ 4 w 51"/>
                <a:gd name="T13" fmla="*/ 53 h 57"/>
                <a:gd name="T14" fmla="*/ 49 w 51"/>
                <a:gd name="T15" fmla="*/ 53 h 57"/>
                <a:gd name="T16" fmla="*/ 51 w 51"/>
                <a:gd name="T17" fmla="*/ 55 h 57"/>
                <a:gd name="T18" fmla="*/ 49 w 51"/>
                <a:gd name="T19"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57">
                  <a:moveTo>
                    <a:pt x="49" y="57"/>
                  </a:moveTo>
                  <a:cubicBezTo>
                    <a:pt x="2" y="57"/>
                    <a:pt x="2" y="57"/>
                    <a:pt x="2" y="57"/>
                  </a:cubicBezTo>
                  <a:cubicBezTo>
                    <a:pt x="1" y="57"/>
                    <a:pt x="0" y="56"/>
                    <a:pt x="0" y="55"/>
                  </a:cubicBezTo>
                  <a:cubicBezTo>
                    <a:pt x="0" y="2"/>
                    <a:pt x="0" y="2"/>
                    <a:pt x="0" y="2"/>
                  </a:cubicBezTo>
                  <a:cubicBezTo>
                    <a:pt x="0" y="1"/>
                    <a:pt x="1" y="0"/>
                    <a:pt x="2" y="0"/>
                  </a:cubicBezTo>
                  <a:cubicBezTo>
                    <a:pt x="3" y="0"/>
                    <a:pt x="4" y="1"/>
                    <a:pt x="4" y="2"/>
                  </a:cubicBezTo>
                  <a:cubicBezTo>
                    <a:pt x="4" y="53"/>
                    <a:pt x="4" y="53"/>
                    <a:pt x="4" y="53"/>
                  </a:cubicBezTo>
                  <a:cubicBezTo>
                    <a:pt x="49" y="53"/>
                    <a:pt x="49" y="53"/>
                    <a:pt x="49" y="53"/>
                  </a:cubicBezTo>
                  <a:cubicBezTo>
                    <a:pt x="50" y="53"/>
                    <a:pt x="51" y="54"/>
                    <a:pt x="51" y="55"/>
                  </a:cubicBezTo>
                  <a:cubicBezTo>
                    <a:pt x="51" y="56"/>
                    <a:pt x="50" y="57"/>
                    <a:pt x="49" y="5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a:solidFill>
                  <a:srgbClr val="353535"/>
                </a:solidFill>
                <a:latin typeface="Segoe UI Semilight"/>
                <a:cs typeface="+mn-cs"/>
              </a:endParaRPr>
            </a:p>
          </p:txBody>
        </p:sp>
        <p:sp>
          <p:nvSpPr>
            <p:cNvPr id="487" name="Freeform 33">
              <a:extLst>
                <a:ext uri="{FF2B5EF4-FFF2-40B4-BE49-F238E27FC236}">
                  <a16:creationId xmlns:a16="http://schemas.microsoft.com/office/drawing/2014/main" id="{2E14C892-3CC1-4B0D-A31C-938BD76A56D0}"/>
                </a:ext>
              </a:extLst>
            </p:cNvPr>
            <p:cNvSpPr>
              <a:spLocks/>
            </p:cNvSpPr>
            <p:nvPr/>
          </p:nvSpPr>
          <p:spPr bwMode="auto">
            <a:xfrm>
              <a:off x="4958" y="2426"/>
              <a:ext cx="8" cy="78"/>
            </a:xfrm>
            <a:custGeom>
              <a:avLst/>
              <a:gdLst>
                <a:gd name="T0" fmla="*/ 2 w 4"/>
                <a:gd name="T1" fmla="*/ 39 h 39"/>
                <a:gd name="T2" fmla="*/ 0 w 4"/>
                <a:gd name="T3" fmla="*/ 37 h 39"/>
                <a:gd name="T4" fmla="*/ 0 w 4"/>
                <a:gd name="T5" fmla="*/ 2 h 39"/>
                <a:gd name="T6" fmla="*/ 2 w 4"/>
                <a:gd name="T7" fmla="*/ 0 h 39"/>
                <a:gd name="T8" fmla="*/ 4 w 4"/>
                <a:gd name="T9" fmla="*/ 2 h 39"/>
                <a:gd name="T10" fmla="*/ 4 w 4"/>
                <a:gd name="T11" fmla="*/ 37 h 39"/>
                <a:gd name="T12" fmla="*/ 2 w 4"/>
                <a:gd name="T13" fmla="*/ 39 h 39"/>
              </a:gdLst>
              <a:ahLst/>
              <a:cxnLst>
                <a:cxn ang="0">
                  <a:pos x="T0" y="T1"/>
                </a:cxn>
                <a:cxn ang="0">
                  <a:pos x="T2" y="T3"/>
                </a:cxn>
                <a:cxn ang="0">
                  <a:pos x="T4" y="T5"/>
                </a:cxn>
                <a:cxn ang="0">
                  <a:pos x="T6" y="T7"/>
                </a:cxn>
                <a:cxn ang="0">
                  <a:pos x="T8" y="T9"/>
                </a:cxn>
                <a:cxn ang="0">
                  <a:pos x="T10" y="T11"/>
                </a:cxn>
                <a:cxn ang="0">
                  <a:pos x="T12" y="T13"/>
                </a:cxn>
              </a:cxnLst>
              <a:rect l="0" t="0" r="r" b="b"/>
              <a:pathLst>
                <a:path w="4" h="39">
                  <a:moveTo>
                    <a:pt x="2" y="39"/>
                  </a:moveTo>
                  <a:cubicBezTo>
                    <a:pt x="1" y="39"/>
                    <a:pt x="0" y="38"/>
                    <a:pt x="0" y="37"/>
                  </a:cubicBezTo>
                  <a:cubicBezTo>
                    <a:pt x="0" y="2"/>
                    <a:pt x="0" y="2"/>
                    <a:pt x="0" y="2"/>
                  </a:cubicBezTo>
                  <a:cubicBezTo>
                    <a:pt x="0" y="1"/>
                    <a:pt x="1" y="0"/>
                    <a:pt x="2" y="0"/>
                  </a:cubicBezTo>
                  <a:cubicBezTo>
                    <a:pt x="3" y="0"/>
                    <a:pt x="4" y="1"/>
                    <a:pt x="4" y="2"/>
                  </a:cubicBezTo>
                  <a:cubicBezTo>
                    <a:pt x="4" y="37"/>
                    <a:pt x="4" y="37"/>
                    <a:pt x="4" y="37"/>
                  </a:cubicBezTo>
                  <a:cubicBezTo>
                    <a:pt x="4" y="38"/>
                    <a:pt x="3" y="39"/>
                    <a:pt x="2" y="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a:solidFill>
                  <a:srgbClr val="353535"/>
                </a:solidFill>
                <a:latin typeface="Segoe UI Semilight"/>
                <a:cs typeface="+mn-cs"/>
              </a:endParaRPr>
            </a:p>
          </p:txBody>
        </p:sp>
        <p:sp>
          <p:nvSpPr>
            <p:cNvPr id="488" name="Freeform 34">
              <a:extLst>
                <a:ext uri="{FF2B5EF4-FFF2-40B4-BE49-F238E27FC236}">
                  <a16:creationId xmlns:a16="http://schemas.microsoft.com/office/drawing/2014/main" id="{CDFC27CD-3E46-4D39-8285-0A96EBBDAD5E}"/>
                </a:ext>
              </a:extLst>
            </p:cNvPr>
            <p:cNvSpPr>
              <a:spLocks/>
            </p:cNvSpPr>
            <p:nvPr/>
          </p:nvSpPr>
          <p:spPr bwMode="auto">
            <a:xfrm>
              <a:off x="4978" y="2450"/>
              <a:ext cx="10" cy="54"/>
            </a:xfrm>
            <a:custGeom>
              <a:avLst/>
              <a:gdLst>
                <a:gd name="T0" fmla="*/ 2 w 5"/>
                <a:gd name="T1" fmla="*/ 27 h 27"/>
                <a:gd name="T2" fmla="*/ 0 w 5"/>
                <a:gd name="T3" fmla="*/ 25 h 27"/>
                <a:gd name="T4" fmla="*/ 0 w 5"/>
                <a:gd name="T5" fmla="*/ 3 h 27"/>
                <a:gd name="T6" fmla="*/ 2 w 5"/>
                <a:gd name="T7" fmla="*/ 0 h 27"/>
                <a:gd name="T8" fmla="*/ 5 w 5"/>
                <a:gd name="T9" fmla="*/ 3 h 27"/>
                <a:gd name="T10" fmla="*/ 5 w 5"/>
                <a:gd name="T11" fmla="*/ 25 h 27"/>
                <a:gd name="T12" fmla="*/ 2 w 5"/>
                <a:gd name="T13" fmla="*/ 27 h 27"/>
              </a:gdLst>
              <a:ahLst/>
              <a:cxnLst>
                <a:cxn ang="0">
                  <a:pos x="T0" y="T1"/>
                </a:cxn>
                <a:cxn ang="0">
                  <a:pos x="T2" y="T3"/>
                </a:cxn>
                <a:cxn ang="0">
                  <a:pos x="T4" y="T5"/>
                </a:cxn>
                <a:cxn ang="0">
                  <a:pos x="T6" y="T7"/>
                </a:cxn>
                <a:cxn ang="0">
                  <a:pos x="T8" y="T9"/>
                </a:cxn>
                <a:cxn ang="0">
                  <a:pos x="T10" y="T11"/>
                </a:cxn>
                <a:cxn ang="0">
                  <a:pos x="T12" y="T13"/>
                </a:cxn>
              </a:cxnLst>
              <a:rect l="0" t="0" r="r" b="b"/>
              <a:pathLst>
                <a:path w="5" h="27">
                  <a:moveTo>
                    <a:pt x="2" y="27"/>
                  </a:moveTo>
                  <a:cubicBezTo>
                    <a:pt x="1" y="27"/>
                    <a:pt x="0" y="26"/>
                    <a:pt x="0" y="25"/>
                  </a:cubicBezTo>
                  <a:cubicBezTo>
                    <a:pt x="0" y="3"/>
                    <a:pt x="0" y="3"/>
                    <a:pt x="0" y="3"/>
                  </a:cubicBezTo>
                  <a:cubicBezTo>
                    <a:pt x="0" y="1"/>
                    <a:pt x="1" y="0"/>
                    <a:pt x="2" y="0"/>
                  </a:cubicBezTo>
                  <a:cubicBezTo>
                    <a:pt x="4" y="0"/>
                    <a:pt x="5" y="1"/>
                    <a:pt x="5" y="3"/>
                  </a:cubicBezTo>
                  <a:cubicBezTo>
                    <a:pt x="5" y="25"/>
                    <a:pt x="5" y="25"/>
                    <a:pt x="5" y="25"/>
                  </a:cubicBezTo>
                  <a:cubicBezTo>
                    <a:pt x="5" y="26"/>
                    <a:pt x="4" y="27"/>
                    <a:pt x="2" y="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a:solidFill>
                  <a:srgbClr val="353535"/>
                </a:solidFill>
                <a:latin typeface="Segoe UI Semilight"/>
                <a:cs typeface="+mn-cs"/>
              </a:endParaRPr>
            </a:p>
          </p:txBody>
        </p:sp>
        <p:sp>
          <p:nvSpPr>
            <p:cNvPr id="489" name="Freeform 35">
              <a:extLst>
                <a:ext uri="{FF2B5EF4-FFF2-40B4-BE49-F238E27FC236}">
                  <a16:creationId xmlns:a16="http://schemas.microsoft.com/office/drawing/2014/main" id="{5EE02F97-2371-406E-BFFC-AF8447486E1F}"/>
                </a:ext>
              </a:extLst>
            </p:cNvPr>
            <p:cNvSpPr>
              <a:spLocks/>
            </p:cNvSpPr>
            <p:nvPr/>
          </p:nvSpPr>
          <p:spPr bwMode="auto">
            <a:xfrm>
              <a:off x="5002" y="2406"/>
              <a:ext cx="8" cy="98"/>
            </a:xfrm>
            <a:custGeom>
              <a:avLst/>
              <a:gdLst>
                <a:gd name="T0" fmla="*/ 2 w 4"/>
                <a:gd name="T1" fmla="*/ 49 h 49"/>
                <a:gd name="T2" fmla="*/ 0 w 4"/>
                <a:gd name="T3" fmla="*/ 47 h 49"/>
                <a:gd name="T4" fmla="*/ 0 w 4"/>
                <a:gd name="T5" fmla="*/ 2 h 49"/>
                <a:gd name="T6" fmla="*/ 2 w 4"/>
                <a:gd name="T7" fmla="*/ 0 h 49"/>
                <a:gd name="T8" fmla="*/ 4 w 4"/>
                <a:gd name="T9" fmla="*/ 2 h 49"/>
                <a:gd name="T10" fmla="*/ 4 w 4"/>
                <a:gd name="T11" fmla="*/ 47 h 49"/>
                <a:gd name="T12" fmla="*/ 2 w 4"/>
                <a:gd name="T13" fmla="*/ 49 h 49"/>
              </a:gdLst>
              <a:ahLst/>
              <a:cxnLst>
                <a:cxn ang="0">
                  <a:pos x="T0" y="T1"/>
                </a:cxn>
                <a:cxn ang="0">
                  <a:pos x="T2" y="T3"/>
                </a:cxn>
                <a:cxn ang="0">
                  <a:pos x="T4" y="T5"/>
                </a:cxn>
                <a:cxn ang="0">
                  <a:pos x="T6" y="T7"/>
                </a:cxn>
                <a:cxn ang="0">
                  <a:pos x="T8" y="T9"/>
                </a:cxn>
                <a:cxn ang="0">
                  <a:pos x="T10" y="T11"/>
                </a:cxn>
                <a:cxn ang="0">
                  <a:pos x="T12" y="T13"/>
                </a:cxn>
              </a:cxnLst>
              <a:rect l="0" t="0" r="r" b="b"/>
              <a:pathLst>
                <a:path w="4" h="49">
                  <a:moveTo>
                    <a:pt x="2" y="49"/>
                  </a:moveTo>
                  <a:cubicBezTo>
                    <a:pt x="1" y="49"/>
                    <a:pt x="0" y="48"/>
                    <a:pt x="0" y="47"/>
                  </a:cubicBezTo>
                  <a:cubicBezTo>
                    <a:pt x="0" y="2"/>
                    <a:pt x="0" y="2"/>
                    <a:pt x="0" y="2"/>
                  </a:cubicBezTo>
                  <a:cubicBezTo>
                    <a:pt x="0" y="1"/>
                    <a:pt x="1" y="0"/>
                    <a:pt x="2" y="0"/>
                  </a:cubicBezTo>
                  <a:cubicBezTo>
                    <a:pt x="3" y="0"/>
                    <a:pt x="4" y="1"/>
                    <a:pt x="4" y="2"/>
                  </a:cubicBezTo>
                  <a:cubicBezTo>
                    <a:pt x="4" y="47"/>
                    <a:pt x="4" y="47"/>
                    <a:pt x="4" y="47"/>
                  </a:cubicBezTo>
                  <a:cubicBezTo>
                    <a:pt x="4" y="48"/>
                    <a:pt x="3" y="49"/>
                    <a:pt x="2" y="4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a:solidFill>
                  <a:srgbClr val="353535"/>
                </a:solidFill>
                <a:latin typeface="Segoe UI Semilight"/>
                <a:cs typeface="+mn-cs"/>
              </a:endParaRPr>
            </a:p>
          </p:txBody>
        </p:sp>
        <p:sp>
          <p:nvSpPr>
            <p:cNvPr id="490" name="Freeform 36">
              <a:extLst>
                <a:ext uri="{FF2B5EF4-FFF2-40B4-BE49-F238E27FC236}">
                  <a16:creationId xmlns:a16="http://schemas.microsoft.com/office/drawing/2014/main" id="{1CB4F807-3F25-4299-8576-9014729041CE}"/>
                </a:ext>
              </a:extLst>
            </p:cNvPr>
            <p:cNvSpPr>
              <a:spLocks/>
            </p:cNvSpPr>
            <p:nvPr/>
          </p:nvSpPr>
          <p:spPr bwMode="auto">
            <a:xfrm>
              <a:off x="5073" y="2436"/>
              <a:ext cx="38" cy="30"/>
            </a:xfrm>
            <a:custGeom>
              <a:avLst/>
              <a:gdLst>
                <a:gd name="T0" fmla="*/ 2 w 19"/>
                <a:gd name="T1" fmla="*/ 15 h 15"/>
                <a:gd name="T2" fmla="*/ 1 w 19"/>
                <a:gd name="T3" fmla="*/ 15 h 15"/>
                <a:gd name="T4" fmla="*/ 1 w 19"/>
                <a:gd name="T5" fmla="*/ 12 h 15"/>
                <a:gd name="T6" fmla="*/ 16 w 19"/>
                <a:gd name="T7" fmla="*/ 1 h 15"/>
                <a:gd name="T8" fmla="*/ 19 w 19"/>
                <a:gd name="T9" fmla="*/ 1 h 15"/>
                <a:gd name="T10" fmla="*/ 18 w 19"/>
                <a:gd name="T11" fmla="*/ 4 h 15"/>
                <a:gd name="T12" fmla="*/ 4 w 19"/>
                <a:gd name="T13" fmla="*/ 15 h 15"/>
                <a:gd name="T14" fmla="*/ 2 w 19"/>
                <a:gd name="T15" fmla="*/ 15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15">
                  <a:moveTo>
                    <a:pt x="2" y="15"/>
                  </a:moveTo>
                  <a:cubicBezTo>
                    <a:pt x="2" y="15"/>
                    <a:pt x="1" y="15"/>
                    <a:pt x="1" y="15"/>
                  </a:cubicBezTo>
                  <a:cubicBezTo>
                    <a:pt x="0" y="14"/>
                    <a:pt x="0" y="12"/>
                    <a:pt x="1" y="12"/>
                  </a:cubicBezTo>
                  <a:cubicBezTo>
                    <a:pt x="16" y="1"/>
                    <a:pt x="16" y="1"/>
                    <a:pt x="16" y="1"/>
                  </a:cubicBezTo>
                  <a:cubicBezTo>
                    <a:pt x="17" y="0"/>
                    <a:pt x="18" y="0"/>
                    <a:pt x="19" y="1"/>
                  </a:cubicBezTo>
                  <a:cubicBezTo>
                    <a:pt x="19" y="2"/>
                    <a:pt x="19" y="3"/>
                    <a:pt x="18" y="4"/>
                  </a:cubicBezTo>
                  <a:cubicBezTo>
                    <a:pt x="4" y="15"/>
                    <a:pt x="4" y="15"/>
                    <a:pt x="4" y="15"/>
                  </a:cubicBezTo>
                  <a:cubicBezTo>
                    <a:pt x="3" y="15"/>
                    <a:pt x="3" y="15"/>
                    <a:pt x="2"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a:solidFill>
                  <a:srgbClr val="353535"/>
                </a:solidFill>
                <a:latin typeface="Segoe UI Semilight"/>
                <a:cs typeface="+mn-cs"/>
              </a:endParaRPr>
            </a:p>
          </p:txBody>
        </p:sp>
        <p:sp>
          <p:nvSpPr>
            <p:cNvPr id="491" name="Freeform 37">
              <a:extLst>
                <a:ext uri="{FF2B5EF4-FFF2-40B4-BE49-F238E27FC236}">
                  <a16:creationId xmlns:a16="http://schemas.microsoft.com/office/drawing/2014/main" id="{50EB116A-7386-40EC-8CFE-0896E50607E2}"/>
                </a:ext>
              </a:extLst>
            </p:cNvPr>
            <p:cNvSpPr>
              <a:spLocks/>
            </p:cNvSpPr>
            <p:nvPr/>
          </p:nvSpPr>
          <p:spPr bwMode="auto">
            <a:xfrm>
              <a:off x="5073" y="2458"/>
              <a:ext cx="38" cy="36"/>
            </a:xfrm>
            <a:custGeom>
              <a:avLst/>
              <a:gdLst>
                <a:gd name="T0" fmla="*/ 16 w 19"/>
                <a:gd name="T1" fmla="*/ 18 h 18"/>
                <a:gd name="T2" fmla="*/ 15 w 19"/>
                <a:gd name="T3" fmla="*/ 17 h 18"/>
                <a:gd name="T4" fmla="*/ 1 w 19"/>
                <a:gd name="T5" fmla="*/ 4 h 18"/>
                <a:gd name="T6" fmla="*/ 1 w 19"/>
                <a:gd name="T7" fmla="*/ 1 h 18"/>
                <a:gd name="T8" fmla="*/ 4 w 19"/>
                <a:gd name="T9" fmla="*/ 1 h 18"/>
                <a:gd name="T10" fmla="*/ 18 w 19"/>
                <a:gd name="T11" fmla="*/ 14 h 18"/>
                <a:gd name="T12" fmla="*/ 18 w 19"/>
                <a:gd name="T13" fmla="*/ 17 h 18"/>
                <a:gd name="T14" fmla="*/ 16 w 19"/>
                <a:gd name="T15" fmla="*/ 18 h 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18">
                  <a:moveTo>
                    <a:pt x="16" y="18"/>
                  </a:moveTo>
                  <a:cubicBezTo>
                    <a:pt x="16" y="18"/>
                    <a:pt x="15" y="18"/>
                    <a:pt x="15" y="17"/>
                  </a:cubicBezTo>
                  <a:cubicBezTo>
                    <a:pt x="1" y="4"/>
                    <a:pt x="1" y="4"/>
                    <a:pt x="1" y="4"/>
                  </a:cubicBezTo>
                  <a:cubicBezTo>
                    <a:pt x="0" y="3"/>
                    <a:pt x="0" y="2"/>
                    <a:pt x="1" y="1"/>
                  </a:cubicBezTo>
                  <a:cubicBezTo>
                    <a:pt x="2" y="0"/>
                    <a:pt x="3" y="0"/>
                    <a:pt x="4" y="1"/>
                  </a:cubicBezTo>
                  <a:cubicBezTo>
                    <a:pt x="18" y="14"/>
                    <a:pt x="18" y="14"/>
                    <a:pt x="18" y="14"/>
                  </a:cubicBezTo>
                  <a:cubicBezTo>
                    <a:pt x="19" y="15"/>
                    <a:pt x="19" y="16"/>
                    <a:pt x="18" y="17"/>
                  </a:cubicBezTo>
                  <a:cubicBezTo>
                    <a:pt x="17" y="18"/>
                    <a:pt x="17" y="18"/>
                    <a:pt x="16"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a:solidFill>
                  <a:srgbClr val="353535"/>
                </a:solidFill>
                <a:latin typeface="Segoe UI Semilight"/>
                <a:cs typeface="+mn-cs"/>
              </a:endParaRPr>
            </a:p>
          </p:txBody>
        </p:sp>
      </p:grpSp>
      <p:grpSp>
        <p:nvGrpSpPr>
          <p:cNvPr id="503" name="Group 50">
            <a:extLst>
              <a:ext uri="{FF2B5EF4-FFF2-40B4-BE49-F238E27FC236}">
                <a16:creationId xmlns:a16="http://schemas.microsoft.com/office/drawing/2014/main" id="{A95C5DCB-C1F9-4372-BB22-0A7AE8E8A9B3}"/>
              </a:ext>
            </a:extLst>
          </p:cNvPr>
          <p:cNvGrpSpPr>
            <a:grpSpLocks noChangeAspect="1"/>
          </p:cNvGrpSpPr>
          <p:nvPr/>
        </p:nvGrpSpPr>
        <p:grpSpPr bwMode="auto">
          <a:xfrm>
            <a:off x="5534506" y="4746519"/>
            <a:ext cx="315617" cy="202658"/>
            <a:chOff x="3821" y="2142"/>
            <a:chExt cx="190" cy="122"/>
          </a:xfrm>
          <a:solidFill>
            <a:schemeClr val="bg1"/>
          </a:solidFill>
        </p:grpSpPr>
        <p:sp>
          <p:nvSpPr>
            <p:cNvPr id="505" name="Freeform 51">
              <a:extLst>
                <a:ext uri="{FF2B5EF4-FFF2-40B4-BE49-F238E27FC236}">
                  <a16:creationId xmlns:a16="http://schemas.microsoft.com/office/drawing/2014/main" id="{3C3B3B39-BA70-406E-B072-879D3E2A20E1}"/>
                </a:ext>
              </a:extLst>
            </p:cNvPr>
            <p:cNvSpPr>
              <a:spLocks noEditPoints="1"/>
            </p:cNvSpPr>
            <p:nvPr/>
          </p:nvSpPr>
          <p:spPr bwMode="auto">
            <a:xfrm>
              <a:off x="3836" y="2142"/>
              <a:ext cx="161" cy="109"/>
            </a:xfrm>
            <a:custGeom>
              <a:avLst/>
              <a:gdLst>
                <a:gd name="T0" fmla="*/ 115 w 117"/>
                <a:gd name="T1" fmla="*/ 78 h 78"/>
                <a:gd name="T2" fmla="*/ 2 w 117"/>
                <a:gd name="T3" fmla="*/ 78 h 78"/>
                <a:gd name="T4" fmla="*/ 0 w 117"/>
                <a:gd name="T5" fmla="*/ 76 h 78"/>
                <a:gd name="T6" fmla="*/ 0 w 117"/>
                <a:gd name="T7" fmla="*/ 2 h 78"/>
                <a:gd name="T8" fmla="*/ 2 w 117"/>
                <a:gd name="T9" fmla="*/ 0 h 78"/>
                <a:gd name="T10" fmla="*/ 115 w 117"/>
                <a:gd name="T11" fmla="*/ 0 h 78"/>
                <a:gd name="T12" fmla="*/ 117 w 117"/>
                <a:gd name="T13" fmla="*/ 2 h 78"/>
                <a:gd name="T14" fmla="*/ 117 w 117"/>
                <a:gd name="T15" fmla="*/ 76 h 78"/>
                <a:gd name="T16" fmla="*/ 115 w 117"/>
                <a:gd name="T17" fmla="*/ 78 h 78"/>
                <a:gd name="T18" fmla="*/ 4 w 117"/>
                <a:gd name="T19" fmla="*/ 74 h 78"/>
                <a:gd name="T20" fmla="*/ 113 w 117"/>
                <a:gd name="T21" fmla="*/ 74 h 78"/>
                <a:gd name="T22" fmla="*/ 113 w 117"/>
                <a:gd name="T23" fmla="*/ 4 h 78"/>
                <a:gd name="T24" fmla="*/ 4 w 117"/>
                <a:gd name="T25" fmla="*/ 4 h 78"/>
                <a:gd name="T26" fmla="*/ 4 w 117"/>
                <a:gd name="T27" fmla="*/ 7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7" h="78">
                  <a:moveTo>
                    <a:pt x="115" y="78"/>
                  </a:moveTo>
                  <a:cubicBezTo>
                    <a:pt x="2" y="78"/>
                    <a:pt x="2" y="78"/>
                    <a:pt x="2" y="78"/>
                  </a:cubicBezTo>
                  <a:cubicBezTo>
                    <a:pt x="0" y="78"/>
                    <a:pt x="0" y="78"/>
                    <a:pt x="0" y="76"/>
                  </a:cubicBezTo>
                  <a:cubicBezTo>
                    <a:pt x="0" y="2"/>
                    <a:pt x="0" y="2"/>
                    <a:pt x="0" y="2"/>
                  </a:cubicBezTo>
                  <a:cubicBezTo>
                    <a:pt x="0" y="1"/>
                    <a:pt x="0" y="0"/>
                    <a:pt x="2" y="0"/>
                  </a:cubicBezTo>
                  <a:cubicBezTo>
                    <a:pt x="115" y="0"/>
                    <a:pt x="115" y="0"/>
                    <a:pt x="115" y="0"/>
                  </a:cubicBezTo>
                  <a:cubicBezTo>
                    <a:pt x="116" y="0"/>
                    <a:pt x="117" y="1"/>
                    <a:pt x="117" y="2"/>
                  </a:cubicBezTo>
                  <a:cubicBezTo>
                    <a:pt x="117" y="76"/>
                    <a:pt x="117" y="76"/>
                    <a:pt x="117" y="76"/>
                  </a:cubicBezTo>
                  <a:cubicBezTo>
                    <a:pt x="117" y="78"/>
                    <a:pt x="116" y="78"/>
                    <a:pt x="115" y="78"/>
                  </a:cubicBezTo>
                  <a:close/>
                  <a:moveTo>
                    <a:pt x="4" y="74"/>
                  </a:moveTo>
                  <a:cubicBezTo>
                    <a:pt x="113" y="74"/>
                    <a:pt x="113" y="74"/>
                    <a:pt x="113" y="74"/>
                  </a:cubicBezTo>
                  <a:cubicBezTo>
                    <a:pt x="113" y="4"/>
                    <a:pt x="113" y="4"/>
                    <a:pt x="113" y="4"/>
                  </a:cubicBezTo>
                  <a:cubicBezTo>
                    <a:pt x="4" y="4"/>
                    <a:pt x="4" y="4"/>
                    <a:pt x="4" y="4"/>
                  </a:cubicBezTo>
                  <a:lnTo>
                    <a:pt x="4" y="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a:solidFill>
                  <a:srgbClr val="353535"/>
                </a:solidFill>
                <a:latin typeface="Segoe UI Semilight"/>
                <a:cs typeface="+mn-cs"/>
              </a:endParaRPr>
            </a:p>
          </p:txBody>
        </p:sp>
        <p:sp>
          <p:nvSpPr>
            <p:cNvPr id="506" name="Freeform 52">
              <a:extLst>
                <a:ext uri="{FF2B5EF4-FFF2-40B4-BE49-F238E27FC236}">
                  <a16:creationId xmlns:a16="http://schemas.microsoft.com/office/drawing/2014/main" id="{FC9AB051-5FF3-4C7E-9E17-CC90076BB76B}"/>
                </a:ext>
              </a:extLst>
            </p:cNvPr>
            <p:cNvSpPr>
              <a:spLocks/>
            </p:cNvSpPr>
            <p:nvPr/>
          </p:nvSpPr>
          <p:spPr bwMode="auto">
            <a:xfrm>
              <a:off x="3888" y="2191"/>
              <a:ext cx="6" cy="44"/>
            </a:xfrm>
            <a:custGeom>
              <a:avLst/>
              <a:gdLst>
                <a:gd name="T0" fmla="*/ 2 w 4"/>
                <a:gd name="T1" fmla="*/ 31 h 31"/>
                <a:gd name="T2" fmla="*/ 0 w 4"/>
                <a:gd name="T3" fmla="*/ 29 h 31"/>
                <a:gd name="T4" fmla="*/ 0 w 4"/>
                <a:gd name="T5" fmla="*/ 2 h 31"/>
                <a:gd name="T6" fmla="*/ 2 w 4"/>
                <a:gd name="T7" fmla="*/ 0 h 31"/>
                <a:gd name="T8" fmla="*/ 4 w 4"/>
                <a:gd name="T9" fmla="*/ 2 h 31"/>
                <a:gd name="T10" fmla="*/ 4 w 4"/>
                <a:gd name="T11" fmla="*/ 29 h 31"/>
                <a:gd name="T12" fmla="*/ 2 w 4"/>
                <a:gd name="T13" fmla="*/ 31 h 31"/>
              </a:gdLst>
              <a:ahLst/>
              <a:cxnLst>
                <a:cxn ang="0">
                  <a:pos x="T0" y="T1"/>
                </a:cxn>
                <a:cxn ang="0">
                  <a:pos x="T2" y="T3"/>
                </a:cxn>
                <a:cxn ang="0">
                  <a:pos x="T4" y="T5"/>
                </a:cxn>
                <a:cxn ang="0">
                  <a:pos x="T6" y="T7"/>
                </a:cxn>
                <a:cxn ang="0">
                  <a:pos x="T8" y="T9"/>
                </a:cxn>
                <a:cxn ang="0">
                  <a:pos x="T10" y="T11"/>
                </a:cxn>
                <a:cxn ang="0">
                  <a:pos x="T12" y="T13"/>
                </a:cxn>
              </a:cxnLst>
              <a:rect l="0" t="0" r="r" b="b"/>
              <a:pathLst>
                <a:path w="4" h="31">
                  <a:moveTo>
                    <a:pt x="2" y="31"/>
                  </a:moveTo>
                  <a:cubicBezTo>
                    <a:pt x="0" y="31"/>
                    <a:pt x="0" y="30"/>
                    <a:pt x="0" y="29"/>
                  </a:cubicBezTo>
                  <a:cubicBezTo>
                    <a:pt x="0" y="2"/>
                    <a:pt x="0" y="2"/>
                    <a:pt x="0" y="2"/>
                  </a:cubicBezTo>
                  <a:cubicBezTo>
                    <a:pt x="0" y="1"/>
                    <a:pt x="0" y="0"/>
                    <a:pt x="2" y="0"/>
                  </a:cubicBezTo>
                  <a:cubicBezTo>
                    <a:pt x="3" y="0"/>
                    <a:pt x="4" y="1"/>
                    <a:pt x="4" y="2"/>
                  </a:cubicBezTo>
                  <a:cubicBezTo>
                    <a:pt x="4" y="29"/>
                    <a:pt x="4" y="29"/>
                    <a:pt x="4" y="29"/>
                  </a:cubicBezTo>
                  <a:cubicBezTo>
                    <a:pt x="4" y="30"/>
                    <a:pt x="3" y="31"/>
                    <a:pt x="2" y="3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a:solidFill>
                  <a:srgbClr val="353535"/>
                </a:solidFill>
                <a:latin typeface="Segoe UI Semilight"/>
                <a:cs typeface="+mn-cs"/>
              </a:endParaRPr>
            </a:p>
          </p:txBody>
        </p:sp>
        <p:sp>
          <p:nvSpPr>
            <p:cNvPr id="507" name="Freeform 53">
              <a:extLst>
                <a:ext uri="{FF2B5EF4-FFF2-40B4-BE49-F238E27FC236}">
                  <a16:creationId xmlns:a16="http://schemas.microsoft.com/office/drawing/2014/main" id="{49EA2D03-1BB2-48CC-9AC6-11CDD3D59676}"/>
                </a:ext>
              </a:extLst>
            </p:cNvPr>
            <p:cNvSpPr>
              <a:spLocks/>
            </p:cNvSpPr>
            <p:nvPr/>
          </p:nvSpPr>
          <p:spPr bwMode="auto">
            <a:xfrm>
              <a:off x="3862" y="2191"/>
              <a:ext cx="5" cy="44"/>
            </a:xfrm>
            <a:custGeom>
              <a:avLst/>
              <a:gdLst>
                <a:gd name="T0" fmla="*/ 2 w 4"/>
                <a:gd name="T1" fmla="*/ 31 h 31"/>
                <a:gd name="T2" fmla="*/ 0 w 4"/>
                <a:gd name="T3" fmla="*/ 29 h 31"/>
                <a:gd name="T4" fmla="*/ 0 w 4"/>
                <a:gd name="T5" fmla="*/ 2 h 31"/>
                <a:gd name="T6" fmla="*/ 2 w 4"/>
                <a:gd name="T7" fmla="*/ 0 h 31"/>
                <a:gd name="T8" fmla="*/ 4 w 4"/>
                <a:gd name="T9" fmla="*/ 2 h 31"/>
                <a:gd name="T10" fmla="*/ 4 w 4"/>
                <a:gd name="T11" fmla="*/ 29 h 31"/>
                <a:gd name="T12" fmla="*/ 2 w 4"/>
                <a:gd name="T13" fmla="*/ 31 h 31"/>
              </a:gdLst>
              <a:ahLst/>
              <a:cxnLst>
                <a:cxn ang="0">
                  <a:pos x="T0" y="T1"/>
                </a:cxn>
                <a:cxn ang="0">
                  <a:pos x="T2" y="T3"/>
                </a:cxn>
                <a:cxn ang="0">
                  <a:pos x="T4" y="T5"/>
                </a:cxn>
                <a:cxn ang="0">
                  <a:pos x="T6" y="T7"/>
                </a:cxn>
                <a:cxn ang="0">
                  <a:pos x="T8" y="T9"/>
                </a:cxn>
                <a:cxn ang="0">
                  <a:pos x="T10" y="T11"/>
                </a:cxn>
                <a:cxn ang="0">
                  <a:pos x="T12" y="T13"/>
                </a:cxn>
              </a:cxnLst>
              <a:rect l="0" t="0" r="r" b="b"/>
              <a:pathLst>
                <a:path w="4" h="31">
                  <a:moveTo>
                    <a:pt x="2" y="31"/>
                  </a:moveTo>
                  <a:cubicBezTo>
                    <a:pt x="1" y="31"/>
                    <a:pt x="0" y="30"/>
                    <a:pt x="0" y="29"/>
                  </a:cubicBezTo>
                  <a:cubicBezTo>
                    <a:pt x="0" y="2"/>
                    <a:pt x="0" y="2"/>
                    <a:pt x="0" y="2"/>
                  </a:cubicBezTo>
                  <a:cubicBezTo>
                    <a:pt x="0" y="1"/>
                    <a:pt x="1" y="0"/>
                    <a:pt x="2" y="0"/>
                  </a:cubicBezTo>
                  <a:cubicBezTo>
                    <a:pt x="3" y="0"/>
                    <a:pt x="4" y="1"/>
                    <a:pt x="4" y="2"/>
                  </a:cubicBezTo>
                  <a:cubicBezTo>
                    <a:pt x="4" y="29"/>
                    <a:pt x="4" y="29"/>
                    <a:pt x="4" y="29"/>
                  </a:cubicBezTo>
                  <a:cubicBezTo>
                    <a:pt x="4" y="30"/>
                    <a:pt x="3" y="31"/>
                    <a:pt x="2" y="3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a:solidFill>
                  <a:srgbClr val="353535"/>
                </a:solidFill>
                <a:latin typeface="Segoe UI Semilight"/>
                <a:cs typeface="+mn-cs"/>
              </a:endParaRPr>
            </a:p>
          </p:txBody>
        </p:sp>
        <p:sp>
          <p:nvSpPr>
            <p:cNvPr id="508" name="Freeform 54">
              <a:extLst>
                <a:ext uri="{FF2B5EF4-FFF2-40B4-BE49-F238E27FC236}">
                  <a16:creationId xmlns:a16="http://schemas.microsoft.com/office/drawing/2014/main" id="{930B6252-1D04-4804-98BF-0C79797EB272}"/>
                </a:ext>
              </a:extLst>
            </p:cNvPr>
            <p:cNvSpPr>
              <a:spLocks/>
            </p:cNvSpPr>
            <p:nvPr/>
          </p:nvSpPr>
          <p:spPr bwMode="auto">
            <a:xfrm>
              <a:off x="3913" y="2180"/>
              <a:ext cx="5" cy="55"/>
            </a:xfrm>
            <a:custGeom>
              <a:avLst/>
              <a:gdLst>
                <a:gd name="T0" fmla="*/ 2 w 4"/>
                <a:gd name="T1" fmla="*/ 39 h 39"/>
                <a:gd name="T2" fmla="*/ 0 w 4"/>
                <a:gd name="T3" fmla="*/ 37 h 39"/>
                <a:gd name="T4" fmla="*/ 0 w 4"/>
                <a:gd name="T5" fmla="*/ 2 h 39"/>
                <a:gd name="T6" fmla="*/ 2 w 4"/>
                <a:gd name="T7" fmla="*/ 0 h 39"/>
                <a:gd name="T8" fmla="*/ 4 w 4"/>
                <a:gd name="T9" fmla="*/ 2 h 39"/>
                <a:gd name="T10" fmla="*/ 4 w 4"/>
                <a:gd name="T11" fmla="*/ 37 h 39"/>
                <a:gd name="T12" fmla="*/ 2 w 4"/>
                <a:gd name="T13" fmla="*/ 39 h 39"/>
              </a:gdLst>
              <a:ahLst/>
              <a:cxnLst>
                <a:cxn ang="0">
                  <a:pos x="T0" y="T1"/>
                </a:cxn>
                <a:cxn ang="0">
                  <a:pos x="T2" y="T3"/>
                </a:cxn>
                <a:cxn ang="0">
                  <a:pos x="T4" y="T5"/>
                </a:cxn>
                <a:cxn ang="0">
                  <a:pos x="T6" y="T7"/>
                </a:cxn>
                <a:cxn ang="0">
                  <a:pos x="T8" y="T9"/>
                </a:cxn>
                <a:cxn ang="0">
                  <a:pos x="T10" y="T11"/>
                </a:cxn>
                <a:cxn ang="0">
                  <a:pos x="T12" y="T13"/>
                </a:cxn>
              </a:cxnLst>
              <a:rect l="0" t="0" r="r" b="b"/>
              <a:pathLst>
                <a:path w="4" h="39">
                  <a:moveTo>
                    <a:pt x="2" y="39"/>
                  </a:moveTo>
                  <a:cubicBezTo>
                    <a:pt x="1" y="39"/>
                    <a:pt x="0" y="38"/>
                    <a:pt x="0" y="37"/>
                  </a:cubicBezTo>
                  <a:cubicBezTo>
                    <a:pt x="0" y="2"/>
                    <a:pt x="0" y="2"/>
                    <a:pt x="0" y="2"/>
                  </a:cubicBezTo>
                  <a:cubicBezTo>
                    <a:pt x="0" y="1"/>
                    <a:pt x="1" y="0"/>
                    <a:pt x="2" y="0"/>
                  </a:cubicBezTo>
                  <a:cubicBezTo>
                    <a:pt x="3" y="0"/>
                    <a:pt x="4" y="1"/>
                    <a:pt x="4" y="2"/>
                  </a:cubicBezTo>
                  <a:cubicBezTo>
                    <a:pt x="4" y="37"/>
                    <a:pt x="4" y="37"/>
                    <a:pt x="4" y="37"/>
                  </a:cubicBezTo>
                  <a:cubicBezTo>
                    <a:pt x="4" y="38"/>
                    <a:pt x="3" y="39"/>
                    <a:pt x="2" y="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a:solidFill>
                  <a:srgbClr val="353535"/>
                </a:solidFill>
                <a:latin typeface="Segoe UI Semilight"/>
                <a:cs typeface="+mn-cs"/>
              </a:endParaRPr>
            </a:p>
          </p:txBody>
        </p:sp>
        <p:sp>
          <p:nvSpPr>
            <p:cNvPr id="509" name="Freeform 55">
              <a:extLst>
                <a:ext uri="{FF2B5EF4-FFF2-40B4-BE49-F238E27FC236}">
                  <a16:creationId xmlns:a16="http://schemas.microsoft.com/office/drawing/2014/main" id="{14ECA4FD-FF3F-4C95-B6CB-429E6D712334}"/>
                </a:ext>
              </a:extLst>
            </p:cNvPr>
            <p:cNvSpPr>
              <a:spLocks/>
            </p:cNvSpPr>
            <p:nvPr/>
          </p:nvSpPr>
          <p:spPr bwMode="auto">
            <a:xfrm>
              <a:off x="3939" y="2197"/>
              <a:ext cx="6" cy="38"/>
            </a:xfrm>
            <a:custGeom>
              <a:avLst/>
              <a:gdLst>
                <a:gd name="T0" fmla="*/ 2 w 4"/>
                <a:gd name="T1" fmla="*/ 27 h 27"/>
                <a:gd name="T2" fmla="*/ 0 w 4"/>
                <a:gd name="T3" fmla="*/ 25 h 27"/>
                <a:gd name="T4" fmla="*/ 0 w 4"/>
                <a:gd name="T5" fmla="*/ 2 h 27"/>
                <a:gd name="T6" fmla="*/ 2 w 4"/>
                <a:gd name="T7" fmla="*/ 0 h 27"/>
                <a:gd name="T8" fmla="*/ 4 w 4"/>
                <a:gd name="T9" fmla="*/ 2 h 27"/>
                <a:gd name="T10" fmla="*/ 4 w 4"/>
                <a:gd name="T11" fmla="*/ 25 h 27"/>
                <a:gd name="T12" fmla="*/ 2 w 4"/>
                <a:gd name="T13" fmla="*/ 27 h 27"/>
              </a:gdLst>
              <a:ahLst/>
              <a:cxnLst>
                <a:cxn ang="0">
                  <a:pos x="T0" y="T1"/>
                </a:cxn>
                <a:cxn ang="0">
                  <a:pos x="T2" y="T3"/>
                </a:cxn>
                <a:cxn ang="0">
                  <a:pos x="T4" y="T5"/>
                </a:cxn>
                <a:cxn ang="0">
                  <a:pos x="T6" y="T7"/>
                </a:cxn>
                <a:cxn ang="0">
                  <a:pos x="T8" y="T9"/>
                </a:cxn>
                <a:cxn ang="0">
                  <a:pos x="T10" y="T11"/>
                </a:cxn>
                <a:cxn ang="0">
                  <a:pos x="T12" y="T13"/>
                </a:cxn>
              </a:cxnLst>
              <a:rect l="0" t="0" r="r" b="b"/>
              <a:pathLst>
                <a:path w="4" h="27">
                  <a:moveTo>
                    <a:pt x="2" y="27"/>
                  </a:moveTo>
                  <a:cubicBezTo>
                    <a:pt x="0" y="27"/>
                    <a:pt x="0" y="26"/>
                    <a:pt x="0" y="25"/>
                  </a:cubicBezTo>
                  <a:cubicBezTo>
                    <a:pt x="0" y="2"/>
                    <a:pt x="0" y="2"/>
                    <a:pt x="0" y="2"/>
                  </a:cubicBezTo>
                  <a:cubicBezTo>
                    <a:pt x="0" y="1"/>
                    <a:pt x="0" y="0"/>
                    <a:pt x="2" y="0"/>
                  </a:cubicBezTo>
                  <a:cubicBezTo>
                    <a:pt x="3" y="0"/>
                    <a:pt x="4" y="1"/>
                    <a:pt x="4" y="2"/>
                  </a:cubicBezTo>
                  <a:cubicBezTo>
                    <a:pt x="4" y="25"/>
                    <a:pt x="4" y="25"/>
                    <a:pt x="4" y="25"/>
                  </a:cubicBezTo>
                  <a:cubicBezTo>
                    <a:pt x="4" y="26"/>
                    <a:pt x="3" y="27"/>
                    <a:pt x="2" y="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a:solidFill>
                  <a:srgbClr val="353535"/>
                </a:solidFill>
                <a:latin typeface="Segoe UI Semilight"/>
                <a:cs typeface="+mn-cs"/>
              </a:endParaRPr>
            </a:p>
          </p:txBody>
        </p:sp>
        <p:sp>
          <p:nvSpPr>
            <p:cNvPr id="510" name="Freeform 56">
              <a:extLst>
                <a:ext uri="{FF2B5EF4-FFF2-40B4-BE49-F238E27FC236}">
                  <a16:creationId xmlns:a16="http://schemas.microsoft.com/office/drawing/2014/main" id="{8F7319C5-4838-4813-AABA-A4982093F55E}"/>
                </a:ext>
              </a:extLst>
            </p:cNvPr>
            <p:cNvSpPr>
              <a:spLocks/>
            </p:cNvSpPr>
            <p:nvPr/>
          </p:nvSpPr>
          <p:spPr bwMode="auto">
            <a:xfrm>
              <a:off x="3964" y="2164"/>
              <a:ext cx="5" cy="71"/>
            </a:xfrm>
            <a:custGeom>
              <a:avLst/>
              <a:gdLst>
                <a:gd name="T0" fmla="*/ 2 w 4"/>
                <a:gd name="T1" fmla="*/ 50 h 50"/>
                <a:gd name="T2" fmla="*/ 0 w 4"/>
                <a:gd name="T3" fmla="*/ 48 h 50"/>
                <a:gd name="T4" fmla="*/ 0 w 4"/>
                <a:gd name="T5" fmla="*/ 2 h 50"/>
                <a:gd name="T6" fmla="*/ 2 w 4"/>
                <a:gd name="T7" fmla="*/ 0 h 50"/>
                <a:gd name="T8" fmla="*/ 4 w 4"/>
                <a:gd name="T9" fmla="*/ 2 h 50"/>
                <a:gd name="T10" fmla="*/ 4 w 4"/>
                <a:gd name="T11" fmla="*/ 48 h 50"/>
                <a:gd name="T12" fmla="*/ 2 w 4"/>
                <a:gd name="T13" fmla="*/ 50 h 50"/>
              </a:gdLst>
              <a:ahLst/>
              <a:cxnLst>
                <a:cxn ang="0">
                  <a:pos x="T0" y="T1"/>
                </a:cxn>
                <a:cxn ang="0">
                  <a:pos x="T2" y="T3"/>
                </a:cxn>
                <a:cxn ang="0">
                  <a:pos x="T4" y="T5"/>
                </a:cxn>
                <a:cxn ang="0">
                  <a:pos x="T6" y="T7"/>
                </a:cxn>
                <a:cxn ang="0">
                  <a:pos x="T8" y="T9"/>
                </a:cxn>
                <a:cxn ang="0">
                  <a:pos x="T10" y="T11"/>
                </a:cxn>
                <a:cxn ang="0">
                  <a:pos x="T12" y="T13"/>
                </a:cxn>
              </a:cxnLst>
              <a:rect l="0" t="0" r="r" b="b"/>
              <a:pathLst>
                <a:path w="4" h="50">
                  <a:moveTo>
                    <a:pt x="2" y="50"/>
                  </a:moveTo>
                  <a:cubicBezTo>
                    <a:pt x="1" y="50"/>
                    <a:pt x="0" y="49"/>
                    <a:pt x="0" y="48"/>
                  </a:cubicBezTo>
                  <a:cubicBezTo>
                    <a:pt x="0" y="2"/>
                    <a:pt x="0" y="2"/>
                    <a:pt x="0" y="2"/>
                  </a:cubicBezTo>
                  <a:cubicBezTo>
                    <a:pt x="0" y="1"/>
                    <a:pt x="1" y="0"/>
                    <a:pt x="2" y="0"/>
                  </a:cubicBezTo>
                  <a:cubicBezTo>
                    <a:pt x="3" y="0"/>
                    <a:pt x="4" y="1"/>
                    <a:pt x="4" y="2"/>
                  </a:cubicBezTo>
                  <a:cubicBezTo>
                    <a:pt x="4" y="48"/>
                    <a:pt x="4" y="48"/>
                    <a:pt x="4" y="48"/>
                  </a:cubicBezTo>
                  <a:cubicBezTo>
                    <a:pt x="4" y="49"/>
                    <a:pt x="3" y="50"/>
                    <a:pt x="2" y="5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a:solidFill>
                  <a:srgbClr val="353535"/>
                </a:solidFill>
                <a:latin typeface="Segoe UI Semilight"/>
                <a:cs typeface="+mn-cs"/>
              </a:endParaRPr>
            </a:p>
          </p:txBody>
        </p:sp>
        <p:sp>
          <p:nvSpPr>
            <p:cNvPr id="511" name="Freeform 57">
              <a:extLst>
                <a:ext uri="{FF2B5EF4-FFF2-40B4-BE49-F238E27FC236}">
                  <a16:creationId xmlns:a16="http://schemas.microsoft.com/office/drawing/2014/main" id="{7A2C0DE9-385A-4FC8-A554-5452BED3DB49}"/>
                </a:ext>
              </a:extLst>
            </p:cNvPr>
            <p:cNvSpPr>
              <a:spLocks noEditPoints="1"/>
            </p:cNvSpPr>
            <p:nvPr/>
          </p:nvSpPr>
          <p:spPr bwMode="auto">
            <a:xfrm>
              <a:off x="3821" y="2246"/>
              <a:ext cx="190" cy="18"/>
            </a:xfrm>
            <a:custGeom>
              <a:avLst/>
              <a:gdLst>
                <a:gd name="T0" fmla="*/ 131 w 138"/>
                <a:gd name="T1" fmla="*/ 13 h 13"/>
                <a:gd name="T2" fmla="*/ 7 w 138"/>
                <a:gd name="T3" fmla="*/ 13 h 13"/>
                <a:gd name="T4" fmla="*/ 0 w 138"/>
                <a:gd name="T5" fmla="*/ 7 h 13"/>
                <a:gd name="T6" fmla="*/ 7 w 138"/>
                <a:gd name="T7" fmla="*/ 0 h 13"/>
                <a:gd name="T8" fmla="*/ 131 w 138"/>
                <a:gd name="T9" fmla="*/ 0 h 13"/>
                <a:gd name="T10" fmla="*/ 138 w 138"/>
                <a:gd name="T11" fmla="*/ 7 h 13"/>
                <a:gd name="T12" fmla="*/ 131 w 138"/>
                <a:gd name="T13" fmla="*/ 13 h 13"/>
                <a:gd name="T14" fmla="*/ 7 w 138"/>
                <a:gd name="T15" fmla="*/ 4 h 13"/>
                <a:gd name="T16" fmla="*/ 4 w 138"/>
                <a:gd name="T17" fmla="*/ 7 h 13"/>
                <a:gd name="T18" fmla="*/ 7 w 138"/>
                <a:gd name="T19" fmla="*/ 9 h 13"/>
                <a:gd name="T20" fmla="*/ 131 w 138"/>
                <a:gd name="T21" fmla="*/ 9 h 13"/>
                <a:gd name="T22" fmla="*/ 134 w 138"/>
                <a:gd name="T23" fmla="*/ 7 h 13"/>
                <a:gd name="T24" fmla="*/ 131 w 138"/>
                <a:gd name="T25" fmla="*/ 4 h 13"/>
                <a:gd name="T26" fmla="*/ 7 w 138"/>
                <a:gd name="T27" fmla="*/ 4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8" h="13">
                  <a:moveTo>
                    <a:pt x="131" y="13"/>
                  </a:moveTo>
                  <a:cubicBezTo>
                    <a:pt x="7" y="13"/>
                    <a:pt x="7" y="13"/>
                    <a:pt x="7" y="13"/>
                  </a:cubicBezTo>
                  <a:cubicBezTo>
                    <a:pt x="3" y="13"/>
                    <a:pt x="0" y="10"/>
                    <a:pt x="0" y="7"/>
                  </a:cubicBezTo>
                  <a:cubicBezTo>
                    <a:pt x="0" y="3"/>
                    <a:pt x="3" y="0"/>
                    <a:pt x="7" y="0"/>
                  </a:cubicBezTo>
                  <a:cubicBezTo>
                    <a:pt x="131" y="0"/>
                    <a:pt x="131" y="0"/>
                    <a:pt x="131" y="0"/>
                  </a:cubicBezTo>
                  <a:cubicBezTo>
                    <a:pt x="135" y="0"/>
                    <a:pt x="138" y="3"/>
                    <a:pt x="138" y="7"/>
                  </a:cubicBezTo>
                  <a:cubicBezTo>
                    <a:pt x="138" y="10"/>
                    <a:pt x="135" y="13"/>
                    <a:pt x="131" y="13"/>
                  </a:cubicBezTo>
                  <a:close/>
                  <a:moveTo>
                    <a:pt x="7" y="4"/>
                  </a:moveTo>
                  <a:cubicBezTo>
                    <a:pt x="6" y="4"/>
                    <a:pt x="4" y="5"/>
                    <a:pt x="4" y="7"/>
                  </a:cubicBezTo>
                  <a:cubicBezTo>
                    <a:pt x="4" y="8"/>
                    <a:pt x="6" y="9"/>
                    <a:pt x="7" y="9"/>
                  </a:cubicBezTo>
                  <a:cubicBezTo>
                    <a:pt x="131" y="9"/>
                    <a:pt x="131" y="9"/>
                    <a:pt x="131" y="9"/>
                  </a:cubicBezTo>
                  <a:cubicBezTo>
                    <a:pt x="133" y="9"/>
                    <a:pt x="134" y="8"/>
                    <a:pt x="134" y="7"/>
                  </a:cubicBezTo>
                  <a:cubicBezTo>
                    <a:pt x="134" y="5"/>
                    <a:pt x="133" y="4"/>
                    <a:pt x="131" y="4"/>
                  </a:cubicBezTo>
                  <a:lnTo>
                    <a:pt x="7"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a:solidFill>
                  <a:srgbClr val="353535"/>
                </a:solidFill>
                <a:latin typeface="Segoe UI Semilight"/>
                <a:cs typeface="+mn-cs"/>
              </a:endParaRPr>
            </a:p>
          </p:txBody>
        </p:sp>
      </p:grpSp>
      <p:grpSp>
        <p:nvGrpSpPr>
          <p:cNvPr id="101" name="Group 60">
            <a:extLst>
              <a:ext uri="{FF2B5EF4-FFF2-40B4-BE49-F238E27FC236}">
                <a16:creationId xmlns:a16="http://schemas.microsoft.com/office/drawing/2014/main" id="{2B9C434A-8DC3-4393-A85E-66017540A062}"/>
              </a:ext>
            </a:extLst>
          </p:cNvPr>
          <p:cNvGrpSpPr>
            <a:grpSpLocks noChangeAspect="1"/>
          </p:cNvGrpSpPr>
          <p:nvPr/>
        </p:nvGrpSpPr>
        <p:grpSpPr bwMode="auto">
          <a:xfrm>
            <a:off x="1474464" y="2636500"/>
            <a:ext cx="226675" cy="209597"/>
            <a:chOff x="3845" y="2135"/>
            <a:chExt cx="146" cy="135"/>
          </a:xfrm>
          <a:solidFill>
            <a:schemeClr val="bg1"/>
          </a:solidFill>
        </p:grpSpPr>
        <p:sp>
          <p:nvSpPr>
            <p:cNvPr id="103" name="Freeform 61">
              <a:extLst>
                <a:ext uri="{FF2B5EF4-FFF2-40B4-BE49-F238E27FC236}">
                  <a16:creationId xmlns:a16="http://schemas.microsoft.com/office/drawing/2014/main" id="{F7A5DA84-6996-42B0-9C90-296159988CB1}"/>
                </a:ext>
              </a:extLst>
            </p:cNvPr>
            <p:cNvSpPr>
              <a:spLocks noEditPoints="1"/>
            </p:cNvSpPr>
            <p:nvPr/>
          </p:nvSpPr>
          <p:spPr bwMode="auto">
            <a:xfrm>
              <a:off x="3845" y="2135"/>
              <a:ext cx="146" cy="135"/>
            </a:xfrm>
            <a:custGeom>
              <a:avLst/>
              <a:gdLst>
                <a:gd name="T0" fmla="*/ 103 w 105"/>
                <a:gd name="T1" fmla="*/ 97 h 97"/>
                <a:gd name="T2" fmla="*/ 2 w 105"/>
                <a:gd name="T3" fmla="*/ 97 h 97"/>
                <a:gd name="T4" fmla="*/ 0 w 105"/>
                <a:gd name="T5" fmla="*/ 95 h 97"/>
                <a:gd name="T6" fmla="*/ 0 w 105"/>
                <a:gd name="T7" fmla="*/ 7 h 97"/>
                <a:gd name="T8" fmla="*/ 18 w 105"/>
                <a:gd name="T9" fmla="*/ 0 h 97"/>
                <a:gd name="T10" fmla="*/ 35 w 105"/>
                <a:gd name="T11" fmla="*/ 7 h 97"/>
                <a:gd name="T12" fmla="*/ 35 w 105"/>
                <a:gd name="T13" fmla="*/ 51 h 97"/>
                <a:gd name="T14" fmla="*/ 66 w 105"/>
                <a:gd name="T15" fmla="*/ 37 h 97"/>
                <a:gd name="T16" fmla="*/ 68 w 105"/>
                <a:gd name="T17" fmla="*/ 37 h 97"/>
                <a:gd name="T18" fmla="*/ 69 w 105"/>
                <a:gd name="T19" fmla="*/ 38 h 97"/>
                <a:gd name="T20" fmla="*/ 69 w 105"/>
                <a:gd name="T21" fmla="*/ 55 h 97"/>
                <a:gd name="T22" fmla="*/ 102 w 105"/>
                <a:gd name="T23" fmla="*/ 38 h 97"/>
                <a:gd name="T24" fmla="*/ 104 w 105"/>
                <a:gd name="T25" fmla="*/ 38 h 97"/>
                <a:gd name="T26" fmla="*/ 105 w 105"/>
                <a:gd name="T27" fmla="*/ 39 h 97"/>
                <a:gd name="T28" fmla="*/ 105 w 105"/>
                <a:gd name="T29" fmla="*/ 95 h 97"/>
                <a:gd name="T30" fmla="*/ 103 w 105"/>
                <a:gd name="T31" fmla="*/ 97 h 97"/>
                <a:gd name="T32" fmla="*/ 4 w 105"/>
                <a:gd name="T33" fmla="*/ 93 h 97"/>
                <a:gd name="T34" fmla="*/ 101 w 105"/>
                <a:gd name="T35" fmla="*/ 93 h 97"/>
                <a:gd name="T36" fmla="*/ 101 w 105"/>
                <a:gd name="T37" fmla="*/ 43 h 97"/>
                <a:gd name="T38" fmla="*/ 68 w 105"/>
                <a:gd name="T39" fmla="*/ 60 h 97"/>
                <a:gd name="T40" fmla="*/ 66 w 105"/>
                <a:gd name="T41" fmla="*/ 60 h 97"/>
                <a:gd name="T42" fmla="*/ 65 w 105"/>
                <a:gd name="T43" fmla="*/ 58 h 97"/>
                <a:gd name="T44" fmla="*/ 65 w 105"/>
                <a:gd name="T45" fmla="*/ 42 h 97"/>
                <a:gd name="T46" fmla="*/ 34 w 105"/>
                <a:gd name="T47" fmla="*/ 56 h 97"/>
                <a:gd name="T48" fmla="*/ 32 w 105"/>
                <a:gd name="T49" fmla="*/ 56 h 97"/>
                <a:gd name="T50" fmla="*/ 31 w 105"/>
                <a:gd name="T51" fmla="*/ 54 h 97"/>
                <a:gd name="T52" fmla="*/ 31 w 105"/>
                <a:gd name="T53" fmla="*/ 7 h 97"/>
                <a:gd name="T54" fmla="*/ 18 w 105"/>
                <a:gd name="T55" fmla="*/ 4 h 97"/>
                <a:gd name="T56" fmla="*/ 4 w 105"/>
                <a:gd name="T57" fmla="*/ 7 h 97"/>
                <a:gd name="T58" fmla="*/ 4 w 105"/>
                <a:gd name="T59" fmla="*/ 93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5" h="97">
                  <a:moveTo>
                    <a:pt x="103" y="97"/>
                  </a:moveTo>
                  <a:cubicBezTo>
                    <a:pt x="2" y="97"/>
                    <a:pt x="2" y="97"/>
                    <a:pt x="2" y="97"/>
                  </a:cubicBezTo>
                  <a:cubicBezTo>
                    <a:pt x="1" y="97"/>
                    <a:pt x="0" y="96"/>
                    <a:pt x="0" y="95"/>
                  </a:cubicBezTo>
                  <a:cubicBezTo>
                    <a:pt x="0" y="7"/>
                    <a:pt x="0" y="7"/>
                    <a:pt x="0" y="7"/>
                  </a:cubicBezTo>
                  <a:cubicBezTo>
                    <a:pt x="0" y="2"/>
                    <a:pt x="9" y="0"/>
                    <a:pt x="18" y="0"/>
                  </a:cubicBezTo>
                  <a:cubicBezTo>
                    <a:pt x="26" y="0"/>
                    <a:pt x="35" y="2"/>
                    <a:pt x="35" y="7"/>
                  </a:cubicBezTo>
                  <a:cubicBezTo>
                    <a:pt x="35" y="51"/>
                    <a:pt x="35" y="51"/>
                    <a:pt x="35" y="51"/>
                  </a:cubicBezTo>
                  <a:cubicBezTo>
                    <a:pt x="66" y="37"/>
                    <a:pt x="66" y="37"/>
                    <a:pt x="66" y="37"/>
                  </a:cubicBezTo>
                  <a:cubicBezTo>
                    <a:pt x="67" y="36"/>
                    <a:pt x="67" y="36"/>
                    <a:pt x="68" y="37"/>
                  </a:cubicBezTo>
                  <a:cubicBezTo>
                    <a:pt x="69" y="37"/>
                    <a:pt x="69" y="38"/>
                    <a:pt x="69" y="38"/>
                  </a:cubicBezTo>
                  <a:cubicBezTo>
                    <a:pt x="69" y="55"/>
                    <a:pt x="69" y="55"/>
                    <a:pt x="69" y="55"/>
                  </a:cubicBezTo>
                  <a:cubicBezTo>
                    <a:pt x="102" y="38"/>
                    <a:pt x="102" y="38"/>
                    <a:pt x="102" y="38"/>
                  </a:cubicBezTo>
                  <a:cubicBezTo>
                    <a:pt x="103" y="37"/>
                    <a:pt x="103" y="37"/>
                    <a:pt x="104" y="38"/>
                  </a:cubicBezTo>
                  <a:cubicBezTo>
                    <a:pt x="105" y="38"/>
                    <a:pt x="105" y="39"/>
                    <a:pt x="105" y="39"/>
                  </a:cubicBezTo>
                  <a:cubicBezTo>
                    <a:pt x="105" y="95"/>
                    <a:pt x="105" y="95"/>
                    <a:pt x="105" y="95"/>
                  </a:cubicBezTo>
                  <a:cubicBezTo>
                    <a:pt x="105" y="96"/>
                    <a:pt x="104" y="97"/>
                    <a:pt x="103" y="97"/>
                  </a:cubicBezTo>
                  <a:close/>
                  <a:moveTo>
                    <a:pt x="4" y="93"/>
                  </a:moveTo>
                  <a:cubicBezTo>
                    <a:pt x="101" y="93"/>
                    <a:pt x="101" y="93"/>
                    <a:pt x="101" y="93"/>
                  </a:cubicBezTo>
                  <a:cubicBezTo>
                    <a:pt x="101" y="43"/>
                    <a:pt x="101" y="43"/>
                    <a:pt x="101" y="43"/>
                  </a:cubicBezTo>
                  <a:cubicBezTo>
                    <a:pt x="68" y="60"/>
                    <a:pt x="68" y="60"/>
                    <a:pt x="68" y="60"/>
                  </a:cubicBezTo>
                  <a:cubicBezTo>
                    <a:pt x="67" y="60"/>
                    <a:pt x="66" y="60"/>
                    <a:pt x="66" y="60"/>
                  </a:cubicBezTo>
                  <a:cubicBezTo>
                    <a:pt x="65" y="60"/>
                    <a:pt x="65" y="59"/>
                    <a:pt x="65" y="58"/>
                  </a:cubicBezTo>
                  <a:cubicBezTo>
                    <a:pt x="65" y="42"/>
                    <a:pt x="65" y="42"/>
                    <a:pt x="65" y="42"/>
                  </a:cubicBezTo>
                  <a:cubicBezTo>
                    <a:pt x="34" y="56"/>
                    <a:pt x="34" y="56"/>
                    <a:pt x="34" y="56"/>
                  </a:cubicBezTo>
                  <a:cubicBezTo>
                    <a:pt x="34" y="56"/>
                    <a:pt x="33" y="56"/>
                    <a:pt x="32" y="56"/>
                  </a:cubicBezTo>
                  <a:cubicBezTo>
                    <a:pt x="32" y="55"/>
                    <a:pt x="31" y="55"/>
                    <a:pt x="31" y="54"/>
                  </a:cubicBezTo>
                  <a:cubicBezTo>
                    <a:pt x="31" y="7"/>
                    <a:pt x="31" y="7"/>
                    <a:pt x="31" y="7"/>
                  </a:cubicBezTo>
                  <a:cubicBezTo>
                    <a:pt x="31" y="6"/>
                    <a:pt x="27" y="4"/>
                    <a:pt x="18" y="4"/>
                  </a:cubicBezTo>
                  <a:cubicBezTo>
                    <a:pt x="9" y="4"/>
                    <a:pt x="4" y="6"/>
                    <a:pt x="4" y="7"/>
                  </a:cubicBezTo>
                  <a:lnTo>
                    <a:pt x="4" y="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a:solidFill>
                  <a:srgbClr val="353535"/>
                </a:solidFill>
                <a:latin typeface="Segoe UI Semilight"/>
                <a:cs typeface="+mn-cs"/>
              </a:endParaRPr>
            </a:p>
          </p:txBody>
        </p:sp>
        <p:sp>
          <p:nvSpPr>
            <p:cNvPr id="105" name="Freeform 62">
              <a:extLst>
                <a:ext uri="{FF2B5EF4-FFF2-40B4-BE49-F238E27FC236}">
                  <a16:creationId xmlns:a16="http://schemas.microsoft.com/office/drawing/2014/main" id="{29EB2067-09FD-4578-9F70-3A86E8D65D7D}"/>
                </a:ext>
              </a:extLst>
            </p:cNvPr>
            <p:cNvSpPr>
              <a:spLocks/>
            </p:cNvSpPr>
            <p:nvPr/>
          </p:nvSpPr>
          <p:spPr bwMode="auto">
            <a:xfrm>
              <a:off x="3891" y="2231"/>
              <a:ext cx="28" cy="6"/>
            </a:xfrm>
            <a:custGeom>
              <a:avLst/>
              <a:gdLst>
                <a:gd name="T0" fmla="*/ 18 w 20"/>
                <a:gd name="T1" fmla="*/ 4 h 4"/>
                <a:gd name="T2" fmla="*/ 2 w 20"/>
                <a:gd name="T3" fmla="*/ 4 h 4"/>
                <a:gd name="T4" fmla="*/ 0 w 20"/>
                <a:gd name="T5" fmla="*/ 2 h 4"/>
                <a:gd name="T6" fmla="*/ 2 w 20"/>
                <a:gd name="T7" fmla="*/ 0 h 4"/>
                <a:gd name="T8" fmla="*/ 18 w 20"/>
                <a:gd name="T9" fmla="*/ 0 h 4"/>
                <a:gd name="T10" fmla="*/ 20 w 20"/>
                <a:gd name="T11" fmla="*/ 2 h 4"/>
                <a:gd name="T12" fmla="*/ 18 w 20"/>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20" h="4">
                  <a:moveTo>
                    <a:pt x="18" y="4"/>
                  </a:moveTo>
                  <a:cubicBezTo>
                    <a:pt x="2" y="4"/>
                    <a:pt x="2" y="4"/>
                    <a:pt x="2" y="4"/>
                  </a:cubicBezTo>
                  <a:cubicBezTo>
                    <a:pt x="1" y="4"/>
                    <a:pt x="0" y="3"/>
                    <a:pt x="0" y="2"/>
                  </a:cubicBezTo>
                  <a:cubicBezTo>
                    <a:pt x="0" y="1"/>
                    <a:pt x="1" y="0"/>
                    <a:pt x="2" y="0"/>
                  </a:cubicBezTo>
                  <a:cubicBezTo>
                    <a:pt x="18" y="0"/>
                    <a:pt x="18" y="0"/>
                    <a:pt x="18" y="0"/>
                  </a:cubicBezTo>
                  <a:cubicBezTo>
                    <a:pt x="19" y="0"/>
                    <a:pt x="20" y="1"/>
                    <a:pt x="20" y="2"/>
                  </a:cubicBezTo>
                  <a:cubicBezTo>
                    <a:pt x="20" y="3"/>
                    <a:pt x="19" y="4"/>
                    <a:pt x="18"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a:solidFill>
                  <a:srgbClr val="353535"/>
                </a:solidFill>
                <a:latin typeface="Segoe UI Semilight"/>
                <a:cs typeface="+mn-cs"/>
              </a:endParaRPr>
            </a:p>
          </p:txBody>
        </p:sp>
        <p:sp>
          <p:nvSpPr>
            <p:cNvPr id="106" name="Freeform 63">
              <a:extLst>
                <a:ext uri="{FF2B5EF4-FFF2-40B4-BE49-F238E27FC236}">
                  <a16:creationId xmlns:a16="http://schemas.microsoft.com/office/drawing/2014/main" id="{91EDECE5-E6FC-4D51-9BB5-77DB15F277D4}"/>
                </a:ext>
              </a:extLst>
            </p:cNvPr>
            <p:cNvSpPr>
              <a:spLocks/>
            </p:cNvSpPr>
            <p:nvPr/>
          </p:nvSpPr>
          <p:spPr bwMode="auto">
            <a:xfrm>
              <a:off x="3936" y="2231"/>
              <a:ext cx="28" cy="6"/>
            </a:xfrm>
            <a:custGeom>
              <a:avLst/>
              <a:gdLst>
                <a:gd name="T0" fmla="*/ 18 w 20"/>
                <a:gd name="T1" fmla="*/ 4 h 4"/>
                <a:gd name="T2" fmla="*/ 2 w 20"/>
                <a:gd name="T3" fmla="*/ 4 h 4"/>
                <a:gd name="T4" fmla="*/ 0 w 20"/>
                <a:gd name="T5" fmla="*/ 2 h 4"/>
                <a:gd name="T6" fmla="*/ 2 w 20"/>
                <a:gd name="T7" fmla="*/ 0 h 4"/>
                <a:gd name="T8" fmla="*/ 18 w 20"/>
                <a:gd name="T9" fmla="*/ 0 h 4"/>
                <a:gd name="T10" fmla="*/ 20 w 20"/>
                <a:gd name="T11" fmla="*/ 2 h 4"/>
                <a:gd name="T12" fmla="*/ 18 w 20"/>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20" h="4">
                  <a:moveTo>
                    <a:pt x="18" y="4"/>
                  </a:moveTo>
                  <a:cubicBezTo>
                    <a:pt x="2" y="4"/>
                    <a:pt x="2" y="4"/>
                    <a:pt x="2" y="4"/>
                  </a:cubicBezTo>
                  <a:cubicBezTo>
                    <a:pt x="1" y="4"/>
                    <a:pt x="0" y="3"/>
                    <a:pt x="0" y="2"/>
                  </a:cubicBezTo>
                  <a:cubicBezTo>
                    <a:pt x="0" y="1"/>
                    <a:pt x="1" y="0"/>
                    <a:pt x="2" y="0"/>
                  </a:cubicBezTo>
                  <a:cubicBezTo>
                    <a:pt x="18" y="0"/>
                    <a:pt x="18" y="0"/>
                    <a:pt x="18" y="0"/>
                  </a:cubicBezTo>
                  <a:cubicBezTo>
                    <a:pt x="19" y="0"/>
                    <a:pt x="20" y="1"/>
                    <a:pt x="20" y="2"/>
                  </a:cubicBezTo>
                  <a:cubicBezTo>
                    <a:pt x="20" y="3"/>
                    <a:pt x="19" y="4"/>
                    <a:pt x="18"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a:solidFill>
                  <a:srgbClr val="353535"/>
                </a:solidFill>
                <a:latin typeface="Segoe UI Semilight"/>
                <a:cs typeface="+mn-cs"/>
              </a:endParaRPr>
            </a:p>
          </p:txBody>
        </p:sp>
      </p:grpSp>
      <p:grpSp>
        <p:nvGrpSpPr>
          <p:cNvPr id="108" name="Group 66">
            <a:extLst>
              <a:ext uri="{FF2B5EF4-FFF2-40B4-BE49-F238E27FC236}">
                <a16:creationId xmlns:a16="http://schemas.microsoft.com/office/drawing/2014/main" id="{071607FF-68BA-41D5-A300-DAEEBABC3755}"/>
              </a:ext>
            </a:extLst>
          </p:cNvPr>
          <p:cNvGrpSpPr>
            <a:grpSpLocks noChangeAspect="1"/>
          </p:cNvGrpSpPr>
          <p:nvPr/>
        </p:nvGrpSpPr>
        <p:grpSpPr bwMode="auto">
          <a:xfrm>
            <a:off x="1486834" y="3137434"/>
            <a:ext cx="189089" cy="201929"/>
            <a:chOff x="1069" y="1970"/>
            <a:chExt cx="162" cy="173"/>
          </a:xfrm>
          <a:solidFill>
            <a:schemeClr val="bg1"/>
          </a:solidFill>
        </p:grpSpPr>
        <p:sp>
          <p:nvSpPr>
            <p:cNvPr id="110" name="Freeform 67">
              <a:extLst>
                <a:ext uri="{FF2B5EF4-FFF2-40B4-BE49-F238E27FC236}">
                  <a16:creationId xmlns:a16="http://schemas.microsoft.com/office/drawing/2014/main" id="{2BB5AAC4-5C8A-42D1-AB14-A7DFED9AE983}"/>
                </a:ext>
              </a:extLst>
            </p:cNvPr>
            <p:cNvSpPr>
              <a:spLocks noEditPoints="1"/>
            </p:cNvSpPr>
            <p:nvPr/>
          </p:nvSpPr>
          <p:spPr bwMode="auto">
            <a:xfrm>
              <a:off x="1128" y="2049"/>
              <a:ext cx="103" cy="94"/>
            </a:xfrm>
            <a:custGeom>
              <a:avLst/>
              <a:gdLst>
                <a:gd name="T0" fmla="*/ 37 w 74"/>
                <a:gd name="T1" fmla="*/ 68 h 68"/>
                <a:gd name="T2" fmla="*/ 0 w 74"/>
                <a:gd name="T3" fmla="*/ 57 h 68"/>
                <a:gd name="T4" fmla="*/ 0 w 74"/>
                <a:gd name="T5" fmla="*/ 2 h 68"/>
                <a:gd name="T6" fmla="*/ 2 w 74"/>
                <a:gd name="T7" fmla="*/ 0 h 68"/>
                <a:gd name="T8" fmla="*/ 4 w 74"/>
                <a:gd name="T9" fmla="*/ 2 h 68"/>
                <a:gd name="T10" fmla="*/ 37 w 74"/>
                <a:gd name="T11" fmla="*/ 9 h 68"/>
                <a:gd name="T12" fmla="*/ 70 w 74"/>
                <a:gd name="T13" fmla="*/ 2 h 68"/>
                <a:gd name="T14" fmla="*/ 72 w 74"/>
                <a:gd name="T15" fmla="*/ 0 h 68"/>
                <a:gd name="T16" fmla="*/ 74 w 74"/>
                <a:gd name="T17" fmla="*/ 2 h 68"/>
                <a:gd name="T18" fmla="*/ 74 w 74"/>
                <a:gd name="T19" fmla="*/ 57 h 68"/>
                <a:gd name="T20" fmla="*/ 37 w 74"/>
                <a:gd name="T21" fmla="*/ 68 h 68"/>
                <a:gd name="T22" fmla="*/ 4 w 74"/>
                <a:gd name="T23" fmla="*/ 7 h 68"/>
                <a:gd name="T24" fmla="*/ 4 w 74"/>
                <a:gd name="T25" fmla="*/ 57 h 68"/>
                <a:gd name="T26" fmla="*/ 37 w 74"/>
                <a:gd name="T27" fmla="*/ 64 h 68"/>
                <a:gd name="T28" fmla="*/ 70 w 74"/>
                <a:gd name="T29" fmla="*/ 57 h 68"/>
                <a:gd name="T30" fmla="*/ 70 w 74"/>
                <a:gd name="T31" fmla="*/ 7 h 68"/>
                <a:gd name="T32" fmla="*/ 37 w 74"/>
                <a:gd name="T33" fmla="*/ 13 h 68"/>
                <a:gd name="T34" fmla="*/ 4 w 74"/>
                <a:gd name="T35" fmla="*/ 7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4" h="68">
                  <a:moveTo>
                    <a:pt x="37" y="68"/>
                  </a:moveTo>
                  <a:cubicBezTo>
                    <a:pt x="19" y="68"/>
                    <a:pt x="0" y="65"/>
                    <a:pt x="0" y="57"/>
                  </a:cubicBezTo>
                  <a:cubicBezTo>
                    <a:pt x="0" y="2"/>
                    <a:pt x="0" y="2"/>
                    <a:pt x="0" y="2"/>
                  </a:cubicBezTo>
                  <a:cubicBezTo>
                    <a:pt x="0" y="0"/>
                    <a:pt x="1" y="0"/>
                    <a:pt x="2" y="0"/>
                  </a:cubicBezTo>
                  <a:cubicBezTo>
                    <a:pt x="3" y="0"/>
                    <a:pt x="4" y="0"/>
                    <a:pt x="4" y="2"/>
                  </a:cubicBezTo>
                  <a:cubicBezTo>
                    <a:pt x="4" y="4"/>
                    <a:pt x="15" y="9"/>
                    <a:pt x="37" y="9"/>
                  </a:cubicBezTo>
                  <a:cubicBezTo>
                    <a:pt x="59" y="9"/>
                    <a:pt x="70" y="4"/>
                    <a:pt x="70" y="2"/>
                  </a:cubicBezTo>
                  <a:cubicBezTo>
                    <a:pt x="70" y="0"/>
                    <a:pt x="71" y="0"/>
                    <a:pt x="72" y="0"/>
                  </a:cubicBezTo>
                  <a:cubicBezTo>
                    <a:pt x="73" y="0"/>
                    <a:pt x="74" y="0"/>
                    <a:pt x="74" y="2"/>
                  </a:cubicBezTo>
                  <a:cubicBezTo>
                    <a:pt x="74" y="57"/>
                    <a:pt x="74" y="57"/>
                    <a:pt x="74" y="57"/>
                  </a:cubicBezTo>
                  <a:cubicBezTo>
                    <a:pt x="74" y="65"/>
                    <a:pt x="55" y="68"/>
                    <a:pt x="37" y="68"/>
                  </a:cubicBezTo>
                  <a:close/>
                  <a:moveTo>
                    <a:pt x="4" y="7"/>
                  </a:moveTo>
                  <a:cubicBezTo>
                    <a:pt x="4" y="57"/>
                    <a:pt x="4" y="57"/>
                    <a:pt x="4" y="57"/>
                  </a:cubicBezTo>
                  <a:cubicBezTo>
                    <a:pt x="4" y="59"/>
                    <a:pt x="15" y="64"/>
                    <a:pt x="37" y="64"/>
                  </a:cubicBezTo>
                  <a:cubicBezTo>
                    <a:pt x="59" y="64"/>
                    <a:pt x="70" y="59"/>
                    <a:pt x="70" y="57"/>
                  </a:cubicBezTo>
                  <a:cubicBezTo>
                    <a:pt x="70" y="7"/>
                    <a:pt x="70" y="7"/>
                    <a:pt x="70" y="7"/>
                  </a:cubicBezTo>
                  <a:cubicBezTo>
                    <a:pt x="63" y="11"/>
                    <a:pt x="50" y="13"/>
                    <a:pt x="37" y="13"/>
                  </a:cubicBezTo>
                  <a:cubicBezTo>
                    <a:pt x="24" y="13"/>
                    <a:pt x="10" y="11"/>
                    <a:pt x="4"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a:solidFill>
                  <a:srgbClr val="353535"/>
                </a:solidFill>
                <a:latin typeface="Segoe UI Semilight"/>
                <a:cs typeface="+mn-cs"/>
              </a:endParaRPr>
            </a:p>
          </p:txBody>
        </p:sp>
        <p:sp>
          <p:nvSpPr>
            <p:cNvPr id="111" name="Freeform 68">
              <a:extLst>
                <a:ext uri="{FF2B5EF4-FFF2-40B4-BE49-F238E27FC236}">
                  <a16:creationId xmlns:a16="http://schemas.microsoft.com/office/drawing/2014/main" id="{403789B6-DC70-402C-AE90-7B4BCE8F96D7}"/>
                </a:ext>
              </a:extLst>
            </p:cNvPr>
            <p:cNvSpPr>
              <a:spLocks noEditPoints="1"/>
            </p:cNvSpPr>
            <p:nvPr/>
          </p:nvSpPr>
          <p:spPr bwMode="auto">
            <a:xfrm>
              <a:off x="1128" y="2036"/>
              <a:ext cx="103" cy="31"/>
            </a:xfrm>
            <a:custGeom>
              <a:avLst/>
              <a:gdLst>
                <a:gd name="T0" fmla="*/ 37 w 74"/>
                <a:gd name="T1" fmla="*/ 22 h 22"/>
                <a:gd name="T2" fmla="*/ 0 w 74"/>
                <a:gd name="T3" fmla="*/ 11 h 22"/>
                <a:gd name="T4" fmla="*/ 37 w 74"/>
                <a:gd name="T5" fmla="*/ 0 h 22"/>
                <a:gd name="T6" fmla="*/ 74 w 74"/>
                <a:gd name="T7" fmla="*/ 11 h 22"/>
                <a:gd name="T8" fmla="*/ 37 w 74"/>
                <a:gd name="T9" fmla="*/ 22 h 22"/>
                <a:gd name="T10" fmla="*/ 37 w 74"/>
                <a:gd name="T11" fmla="*/ 4 h 22"/>
                <a:gd name="T12" fmla="*/ 4 w 74"/>
                <a:gd name="T13" fmla="*/ 11 h 22"/>
                <a:gd name="T14" fmla="*/ 37 w 74"/>
                <a:gd name="T15" fmla="*/ 18 h 22"/>
                <a:gd name="T16" fmla="*/ 70 w 74"/>
                <a:gd name="T17" fmla="*/ 11 h 22"/>
                <a:gd name="T18" fmla="*/ 37 w 74"/>
                <a:gd name="T19"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4" h="22">
                  <a:moveTo>
                    <a:pt x="37" y="22"/>
                  </a:moveTo>
                  <a:cubicBezTo>
                    <a:pt x="19" y="22"/>
                    <a:pt x="0" y="18"/>
                    <a:pt x="0" y="11"/>
                  </a:cubicBezTo>
                  <a:cubicBezTo>
                    <a:pt x="0" y="3"/>
                    <a:pt x="19" y="0"/>
                    <a:pt x="37" y="0"/>
                  </a:cubicBezTo>
                  <a:cubicBezTo>
                    <a:pt x="55" y="0"/>
                    <a:pt x="74" y="3"/>
                    <a:pt x="74" y="11"/>
                  </a:cubicBezTo>
                  <a:cubicBezTo>
                    <a:pt x="74" y="18"/>
                    <a:pt x="55" y="22"/>
                    <a:pt x="37" y="22"/>
                  </a:cubicBezTo>
                  <a:close/>
                  <a:moveTo>
                    <a:pt x="37" y="4"/>
                  </a:moveTo>
                  <a:cubicBezTo>
                    <a:pt x="15" y="4"/>
                    <a:pt x="4" y="9"/>
                    <a:pt x="4" y="11"/>
                  </a:cubicBezTo>
                  <a:cubicBezTo>
                    <a:pt x="4" y="13"/>
                    <a:pt x="15" y="18"/>
                    <a:pt x="37" y="18"/>
                  </a:cubicBezTo>
                  <a:cubicBezTo>
                    <a:pt x="59" y="18"/>
                    <a:pt x="70" y="13"/>
                    <a:pt x="70" y="11"/>
                  </a:cubicBezTo>
                  <a:cubicBezTo>
                    <a:pt x="70" y="9"/>
                    <a:pt x="59" y="4"/>
                    <a:pt x="37"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a:solidFill>
                  <a:srgbClr val="353535"/>
                </a:solidFill>
                <a:latin typeface="Segoe UI Semilight"/>
                <a:cs typeface="+mn-cs"/>
              </a:endParaRPr>
            </a:p>
          </p:txBody>
        </p:sp>
        <p:sp>
          <p:nvSpPr>
            <p:cNvPr id="112" name="Freeform 69">
              <a:extLst>
                <a:ext uri="{FF2B5EF4-FFF2-40B4-BE49-F238E27FC236}">
                  <a16:creationId xmlns:a16="http://schemas.microsoft.com/office/drawing/2014/main" id="{FA8C1B16-98E2-47DA-855F-C66A04F33702}"/>
                </a:ext>
              </a:extLst>
            </p:cNvPr>
            <p:cNvSpPr>
              <a:spLocks/>
            </p:cNvSpPr>
            <p:nvPr/>
          </p:nvSpPr>
          <p:spPr bwMode="auto">
            <a:xfrm>
              <a:off x="1069" y="1970"/>
              <a:ext cx="105" cy="139"/>
            </a:xfrm>
            <a:custGeom>
              <a:avLst/>
              <a:gdLst>
                <a:gd name="T0" fmla="*/ 44 w 75"/>
                <a:gd name="T1" fmla="*/ 101 h 101"/>
                <a:gd name="T2" fmla="*/ 2 w 75"/>
                <a:gd name="T3" fmla="*/ 101 h 101"/>
                <a:gd name="T4" fmla="*/ 0 w 75"/>
                <a:gd name="T5" fmla="*/ 99 h 101"/>
                <a:gd name="T6" fmla="*/ 0 w 75"/>
                <a:gd name="T7" fmla="*/ 2 h 101"/>
                <a:gd name="T8" fmla="*/ 2 w 75"/>
                <a:gd name="T9" fmla="*/ 0 h 101"/>
                <a:gd name="T10" fmla="*/ 48 w 75"/>
                <a:gd name="T11" fmla="*/ 0 h 101"/>
                <a:gd name="T12" fmla="*/ 50 w 75"/>
                <a:gd name="T13" fmla="*/ 1 h 101"/>
                <a:gd name="T14" fmla="*/ 74 w 75"/>
                <a:gd name="T15" fmla="*/ 25 h 101"/>
                <a:gd name="T16" fmla="*/ 75 w 75"/>
                <a:gd name="T17" fmla="*/ 27 h 101"/>
                <a:gd name="T18" fmla="*/ 75 w 75"/>
                <a:gd name="T19" fmla="*/ 50 h 101"/>
                <a:gd name="T20" fmla="*/ 73 w 75"/>
                <a:gd name="T21" fmla="*/ 52 h 101"/>
                <a:gd name="T22" fmla="*/ 71 w 75"/>
                <a:gd name="T23" fmla="*/ 50 h 101"/>
                <a:gd name="T24" fmla="*/ 71 w 75"/>
                <a:gd name="T25" fmla="*/ 28 h 101"/>
                <a:gd name="T26" fmla="*/ 47 w 75"/>
                <a:gd name="T27" fmla="*/ 4 h 101"/>
                <a:gd name="T28" fmla="*/ 4 w 75"/>
                <a:gd name="T29" fmla="*/ 4 h 101"/>
                <a:gd name="T30" fmla="*/ 4 w 75"/>
                <a:gd name="T31" fmla="*/ 97 h 101"/>
                <a:gd name="T32" fmla="*/ 44 w 75"/>
                <a:gd name="T33" fmla="*/ 97 h 101"/>
                <a:gd name="T34" fmla="*/ 46 w 75"/>
                <a:gd name="T35" fmla="*/ 99 h 101"/>
                <a:gd name="T36" fmla="*/ 44 w 75"/>
                <a:gd name="T37"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5" h="101">
                  <a:moveTo>
                    <a:pt x="44" y="101"/>
                  </a:moveTo>
                  <a:cubicBezTo>
                    <a:pt x="2" y="101"/>
                    <a:pt x="2" y="101"/>
                    <a:pt x="2" y="101"/>
                  </a:cubicBezTo>
                  <a:cubicBezTo>
                    <a:pt x="1" y="101"/>
                    <a:pt x="0" y="100"/>
                    <a:pt x="0" y="99"/>
                  </a:cubicBezTo>
                  <a:cubicBezTo>
                    <a:pt x="0" y="2"/>
                    <a:pt x="0" y="2"/>
                    <a:pt x="0" y="2"/>
                  </a:cubicBezTo>
                  <a:cubicBezTo>
                    <a:pt x="0" y="1"/>
                    <a:pt x="1" y="0"/>
                    <a:pt x="2" y="0"/>
                  </a:cubicBezTo>
                  <a:cubicBezTo>
                    <a:pt x="48" y="0"/>
                    <a:pt x="48" y="0"/>
                    <a:pt x="48" y="0"/>
                  </a:cubicBezTo>
                  <a:cubicBezTo>
                    <a:pt x="49" y="0"/>
                    <a:pt x="49" y="0"/>
                    <a:pt x="50" y="1"/>
                  </a:cubicBezTo>
                  <a:cubicBezTo>
                    <a:pt x="74" y="25"/>
                    <a:pt x="74" y="25"/>
                    <a:pt x="74" y="25"/>
                  </a:cubicBezTo>
                  <a:cubicBezTo>
                    <a:pt x="75" y="26"/>
                    <a:pt x="75" y="26"/>
                    <a:pt x="75" y="27"/>
                  </a:cubicBezTo>
                  <a:cubicBezTo>
                    <a:pt x="75" y="50"/>
                    <a:pt x="75" y="50"/>
                    <a:pt x="75" y="50"/>
                  </a:cubicBezTo>
                  <a:cubicBezTo>
                    <a:pt x="75" y="51"/>
                    <a:pt x="74" y="52"/>
                    <a:pt x="73" y="52"/>
                  </a:cubicBezTo>
                  <a:cubicBezTo>
                    <a:pt x="72" y="52"/>
                    <a:pt x="71" y="51"/>
                    <a:pt x="71" y="50"/>
                  </a:cubicBezTo>
                  <a:cubicBezTo>
                    <a:pt x="71" y="28"/>
                    <a:pt x="71" y="28"/>
                    <a:pt x="71" y="28"/>
                  </a:cubicBezTo>
                  <a:cubicBezTo>
                    <a:pt x="47" y="4"/>
                    <a:pt x="47" y="4"/>
                    <a:pt x="47" y="4"/>
                  </a:cubicBezTo>
                  <a:cubicBezTo>
                    <a:pt x="4" y="4"/>
                    <a:pt x="4" y="4"/>
                    <a:pt x="4" y="4"/>
                  </a:cubicBezTo>
                  <a:cubicBezTo>
                    <a:pt x="4" y="97"/>
                    <a:pt x="4" y="97"/>
                    <a:pt x="4" y="97"/>
                  </a:cubicBezTo>
                  <a:cubicBezTo>
                    <a:pt x="44" y="97"/>
                    <a:pt x="44" y="97"/>
                    <a:pt x="44" y="97"/>
                  </a:cubicBezTo>
                  <a:cubicBezTo>
                    <a:pt x="45" y="97"/>
                    <a:pt x="46" y="98"/>
                    <a:pt x="46" y="99"/>
                  </a:cubicBezTo>
                  <a:cubicBezTo>
                    <a:pt x="46" y="100"/>
                    <a:pt x="45" y="101"/>
                    <a:pt x="44"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a:solidFill>
                  <a:srgbClr val="353535"/>
                </a:solidFill>
                <a:latin typeface="Segoe UI Semilight"/>
                <a:cs typeface="+mn-cs"/>
              </a:endParaRPr>
            </a:p>
          </p:txBody>
        </p:sp>
        <p:sp>
          <p:nvSpPr>
            <p:cNvPr id="113" name="Freeform 70">
              <a:extLst>
                <a:ext uri="{FF2B5EF4-FFF2-40B4-BE49-F238E27FC236}">
                  <a16:creationId xmlns:a16="http://schemas.microsoft.com/office/drawing/2014/main" id="{A364B755-D967-46A7-8F24-679AD3CA3619}"/>
                </a:ext>
              </a:extLst>
            </p:cNvPr>
            <p:cNvSpPr>
              <a:spLocks/>
            </p:cNvSpPr>
            <p:nvPr/>
          </p:nvSpPr>
          <p:spPr bwMode="auto">
            <a:xfrm>
              <a:off x="1085" y="2006"/>
              <a:ext cx="34" cy="5"/>
            </a:xfrm>
            <a:custGeom>
              <a:avLst/>
              <a:gdLst>
                <a:gd name="T0" fmla="*/ 23 w 25"/>
                <a:gd name="T1" fmla="*/ 4 h 4"/>
                <a:gd name="T2" fmla="*/ 2 w 25"/>
                <a:gd name="T3" fmla="*/ 4 h 4"/>
                <a:gd name="T4" fmla="*/ 0 w 25"/>
                <a:gd name="T5" fmla="*/ 2 h 4"/>
                <a:gd name="T6" fmla="*/ 2 w 25"/>
                <a:gd name="T7" fmla="*/ 0 h 4"/>
                <a:gd name="T8" fmla="*/ 23 w 25"/>
                <a:gd name="T9" fmla="*/ 0 h 4"/>
                <a:gd name="T10" fmla="*/ 25 w 25"/>
                <a:gd name="T11" fmla="*/ 2 h 4"/>
                <a:gd name="T12" fmla="*/ 23 w 25"/>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25" h="4">
                  <a:moveTo>
                    <a:pt x="23" y="4"/>
                  </a:moveTo>
                  <a:cubicBezTo>
                    <a:pt x="2" y="4"/>
                    <a:pt x="2" y="4"/>
                    <a:pt x="2" y="4"/>
                  </a:cubicBezTo>
                  <a:cubicBezTo>
                    <a:pt x="1" y="4"/>
                    <a:pt x="0" y="3"/>
                    <a:pt x="0" y="2"/>
                  </a:cubicBezTo>
                  <a:cubicBezTo>
                    <a:pt x="0" y="1"/>
                    <a:pt x="1" y="0"/>
                    <a:pt x="2" y="0"/>
                  </a:cubicBezTo>
                  <a:cubicBezTo>
                    <a:pt x="23" y="0"/>
                    <a:pt x="23" y="0"/>
                    <a:pt x="23" y="0"/>
                  </a:cubicBezTo>
                  <a:cubicBezTo>
                    <a:pt x="24" y="0"/>
                    <a:pt x="25" y="1"/>
                    <a:pt x="25" y="2"/>
                  </a:cubicBezTo>
                  <a:cubicBezTo>
                    <a:pt x="25" y="3"/>
                    <a:pt x="24" y="4"/>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a:solidFill>
                  <a:srgbClr val="353535"/>
                </a:solidFill>
                <a:latin typeface="Segoe UI Semilight"/>
                <a:cs typeface="+mn-cs"/>
              </a:endParaRPr>
            </a:p>
          </p:txBody>
        </p:sp>
        <p:sp>
          <p:nvSpPr>
            <p:cNvPr id="114" name="Freeform 71">
              <a:extLst>
                <a:ext uri="{FF2B5EF4-FFF2-40B4-BE49-F238E27FC236}">
                  <a16:creationId xmlns:a16="http://schemas.microsoft.com/office/drawing/2014/main" id="{98BE08D9-0136-4CAF-9E22-153E391028CD}"/>
                </a:ext>
              </a:extLst>
            </p:cNvPr>
            <p:cNvSpPr>
              <a:spLocks/>
            </p:cNvSpPr>
            <p:nvPr/>
          </p:nvSpPr>
          <p:spPr bwMode="auto">
            <a:xfrm>
              <a:off x="1085" y="2024"/>
              <a:ext cx="58" cy="5"/>
            </a:xfrm>
            <a:custGeom>
              <a:avLst/>
              <a:gdLst>
                <a:gd name="T0" fmla="*/ 40 w 42"/>
                <a:gd name="T1" fmla="*/ 4 h 4"/>
                <a:gd name="T2" fmla="*/ 2 w 42"/>
                <a:gd name="T3" fmla="*/ 4 h 4"/>
                <a:gd name="T4" fmla="*/ 0 w 42"/>
                <a:gd name="T5" fmla="*/ 2 h 4"/>
                <a:gd name="T6" fmla="*/ 2 w 42"/>
                <a:gd name="T7" fmla="*/ 0 h 4"/>
                <a:gd name="T8" fmla="*/ 40 w 42"/>
                <a:gd name="T9" fmla="*/ 0 h 4"/>
                <a:gd name="T10" fmla="*/ 42 w 42"/>
                <a:gd name="T11" fmla="*/ 2 h 4"/>
                <a:gd name="T12" fmla="*/ 40 w 42"/>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42" h="4">
                  <a:moveTo>
                    <a:pt x="40" y="4"/>
                  </a:moveTo>
                  <a:cubicBezTo>
                    <a:pt x="2" y="4"/>
                    <a:pt x="2" y="4"/>
                    <a:pt x="2" y="4"/>
                  </a:cubicBezTo>
                  <a:cubicBezTo>
                    <a:pt x="1" y="4"/>
                    <a:pt x="0" y="3"/>
                    <a:pt x="0" y="2"/>
                  </a:cubicBezTo>
                  <a:cubicBezTo>
                    <a:pt x="0" y="0"/>
                    <a:pt x="1" y="0"/>
                    <a:pt x="2" y="0"/>
                  </a:cubicBezTo>
                  <a:cubicBezTo>
                    <a:pt x="40" y="0"/>
                    <a:pt x="40" y="0"/>
                    <a:pt x="40" y="0"/>
                  </a:cubicBezTo>
                  <a:cubicBezTo>
                    <a:pt x="41" y="0"/>
                    <a:pt x="42" y="0"/>
                    <a:pt x="42" y="2"/>
                  </a:cubicBezTo>
                  <a:cubicBezTo>
                    <a:pt x="42" y="3"/>
                    <a:pt x="41" y="4"/>
                    <a:pt x="4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a:solidFill>
                  <a:srgbClr val="353535"/>
                </a:solidFill>
                <a:latin typeface="Segoe UI Semilight"/>
                <a:cs typeface="+mn-cs"/>
              </a:endParaRPr>
            </a:p>
          </p:txBody>
        </p:sp>
        <p:sp>
          <p:nvSpPr>
            <p:cNvPr id="115" name="Freeform 72">
              <a:extLst>
                <a:ext uri="{FF2B5EF4-FFF2-40B4-BE49-F238E27FC236}">
                  <a16:creationId xmlns:a16="http://schemas.microsoft.com/office/drawing/2014/main" id="{E74451E8-256A-4B5D-87D4-A596ECFDE9BC}"/>
                </a:ext>
              </a:extLst>
            </p:cNvPr>
            <p:cNvSpPr>
              <a:spLocks/>
            </p:cNvSpPr>
            <p:nvPr/>
          </p:nvSpPr>
          <p:spPr bwMode="auto">
            <a:xfrm>
              <a:off x="1085" y="2040"/>
              <a:ext cx="40" cy="6"/>
            </a:xfrm>
            <a:custGeom>
              <a:avLst/>
              <a:gdLst>
                <a:gd name="T0" fmla="*/ 27 w 29"/>
                <a:gd name="T1" fmla="*/ 4 h 4"/>
                <a:gd name="T2" fmla="*/ 2 w 29"/>
                <a:gd name="T3" fmla="*/ 4 h 4"/>
                <a:gd name="T4" fmla="*/ 0 w 29"/>
                <a:gd name="T5" fmla="*/ 2 h 4"/>
                <a:gd name="T6" fmla="*/ 2 w 29"/>
                <a:gd name="T7" fmla="*/ 0 h 4"/>
                <a:gd name="T8" fmla="*/ 27 w 29"/>
                <a:gd name="T9" fmla="*/ 0 h 4"/>
                <a:gd name="T10" fmla="*/ 29 w 29"/>
                <a:gd name="T11" fmla="*/ 2 h 4"/>
                <a:gd name="T12" fmla="*/ 27 w 29"/>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29" h="4">
                  <a:moveTo>
                    <a:pt x="27" y="4"/>
                  </a:moveTo>
                  <a:cubicBezTo>
                    <a:pt x="2" y="4"/>
                    <a:pt x="2" y="4"/>
                    <a:pt x="2" y="4"/>
                  </a:cubicBezTo>
                  <a:cubicBezTo>
                    <a:pt x="1" y="4"/>
                    <a:pt x="0" y="3"/>
                    <a:pt x="0" y="2"/>
                  </a:cubicBezTo>
                  <a:cubicBezTo>
                    <a:pt x="0" y="1"/>
                    <a:pt x="1" y="0"/>
                    <a:pt x="2" y="0"/>
                  </a:cubicBezTo>
                  <a:cubicBezTo>
                    <a:pt x="27" y="0"/>
                    <a:pt x="27" y="0"/>
                    <a:pt x="27" y="0"/>
                  </a:cubicBezTo>
                  <a:cubicBezTo>
                    <a:pt x="28" y="0"/>
                    <a:pt x="29" y="1"/>
                    <a:pt x="29" y="2"/>
                  </a:cubicBezTo>
                  <a:cubicBezTo>
                    <a:pt x="29" y="3"/>
                    <a:pt x="28" y="4"/>
                    <a:pt x="27"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a:solidFill>
                  <a:srgbClr val="353535"/>
                </a:solidFill>
                <a:latin typeface="Segoe UI Semilight"/>
                <a:cs typeface="+mn-cs"/>
              </a:endParaRPr>
            </a:p>
          </p:txBody>
        </p:sp>
        <p:sp>
          <p:nvSpPr>
            <p:cNvPr id="116" name="Freeform 73">
              <a:extLst>
                <a:ext uri="{FF2B5EF4-FFF2-40B4-BE49-F238E27FC236}">
                  <a16:creationId xmlns:a16="http://schemas.microsoft.com/office/drawing/2014/main" id="{F1C8D24C-50E2-4B10-AE64-80D59874A64B}"/>
                </a:ext>
              </a:extLst>
            </p:cNvPr>
            <p:cNvSpPr>
              <a:spLocks/>
            </p:cNvSpPr>
            <p:nvPr/>
          </p:nvSpPr>
          <p:spPr bwMode="auto">
            <a:xfrm>
              <a:off x="1085" y="2058"/>
              <a:ext cx="34" cy="6"/>
            </a:xfrm>
            <a:custGeom>
              <a:avLst/>
              <a:gdLst>
                <a:gd name="T0" fmla="*/ 23 w 25"/>
                <a:gd name="T1" fmla="*/ 4 h 4"/>
                <a:gd name="T2" fmla="*/ 2 w 25"/>
                <a:gd name="T3" fmla="*/ 4 h 4"/>
                <a:gd name="T4" fmla="*/ 0 w 25"/>
                <a:gd name="T5" fmla="*/ 2 h 4"/>
                <a:gd name="T6" fmla="*/ 2 w 25"/>
                <a:gd name="T7" fmla="*/ 0 h 4"/>
                <a:gd name="T8" fmla="*/ 23 w 25"/>
                <a:gd name="T9" fmla="*/ 0 h 4"/>
                <a:gd name="T10" fmla="*/ 25 w 25"/>
                <a:gd name="T11" fmla="*/ 2 h 4"/>
                <a:gd name="T12" fmla="*/ 23 w 25"/>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25" h="4">
                  <a:moveTo>
                    <a:pt x="23" y="4"/>
                  </a:moveTo>
                  <a:cubicBezTo>
                    <a:pt x="2" y="4"/>
                    <a:pt x="2" y="4"/>
                    <a:pt x="2" y="4"/>
                  </a:cubicBezTo>
                  <a:cubicBezTo>
                    <a:pt x="1" y="4"/>
                    <a:pt x="0" y="3"/>
                    <a:pt x="0" y="2"/>
                  </a:cubicBezTo>
                  <a:cubicBezTo>
                    <a:pt x="0" y="1"/>
                    <a:pt x="1" y="0"/>
                    <a:pt x="2" y="0"/>
                  </a:cubicBezTo>
                  <a:cubicBezTo>
                    <a:pt x="23" y="0"/>
                    <a:pt x="23" y="0"/>
                    <a:pt x="23" y="0"/>
                  </a:cubicBezTo>
                  <a:cubicBezTo>
                    <a:pt x="24" y="0"/>
                    <a:pt x="25" y="1"/>
                    <a:pt x="25" y="2"/>
                  </a:cubicBezTo>
                  <a:cubicBezTo>
                    <a:pt x="25" y="3"/>
                    <a:pt x="24" y="4"/>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a:solidFill>
                  <a:srgbClr val="353535"/>
                </a:solidFill>
                <a:latin typeface="Segoe UI Semilight"/>
                <a:cs typeface="+mn-cs"/>
              </a:endParaRPr>
            </a:p>
          </p:txBody>
        </p:sp>
        <p:sp>
          <p:nvSpPr>
            <p:cNvPr id="117" name="Freeform 74">
              <a:extLst>
                <a:ext uri="{FF2B5EF4-FFF2-40B4-BE49-F238E27FC236}">
                  <a16:creationId xmlns:a16="http://schemas.microsoft.com/office/drawing/2014/main" id="{8FC1FD15-1A60-476D-88DC-6F8BF4B2FA63}"/>
                </a:ext>
              </a:extLst>
            </p:cNvPr>
            <p:cNvSpPr>
              <a:spLocks/>
            </p:cNvSpPr>
            <p:nvPr/>
          </p:nvSpPr>
          <p:spPr bwMode="auto">
            <a:xfrm>
              <a:off x="1085" y="2076"/>
              <a:ext cx="34" cy="6"/>
            </a:xfrm>
            <a:custGeom>
              <a:avLst/>
              <a:gdLst>
                <a:gd name="T0" fmla="*/ 23 w 25"/>
                <a:gd name="T1" fmla="*/ 4 h 4"/>
                <a:gd name="T2" fmla="*/ 2 w 25"/>
                <a:gd name="T3" fmla="*/ 4 h 4"/>
                <a:gd name="T4" fmla="*/ 0 w 25"/>
                <a:gd name="T5" fmla="*/ 2 h 4"/>
                <a:gd name="T6" fmla="*/ 2 w 25"/>
                <a:gd name="T7" fmla="*/ 0 h 4"/>
                <a:gd name="T8" fmla="*/ 23 w 25"/>
                <a:gd name="T9" fmla="*/ 0 h 4"/>
                <a:gd name="T10" fmla="*/ 25 w 25"/>
                <a:gd name="T11" fmla="*/ 2 h 4"/>
                <a:gd name="T12" fmla="*/ 23 w 25"/>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25" h="4">
                  <a:moveTo>
                    <a:pt x="23" y="4"/>
                  </a:moveTo>
                  <a:cubicBezTo>
                    <a:pt x="2" y="4"/>
                    <a:pt x="2" y="4"/>
                    <a:pt x="2" y="4"/>
                  </a:cubicBezTo>
                  <a:cubicBezTo>
                    <a:pt x="1" y="4"/>
                    <a:pt x="0" y="3"/>
                    <a:pt x="0" y="2"/>
                  </a:cubicBezTo>
                  <a:cubicBezTo>
                    <a:pt x="0" y="1"/>
                    <a:pt x="1" y="0"/>
                    <a:pt x="2" y="0"/>
                  </a:cubicBezTo>
                  <a:cubicBezTo>
                    <a:pt x="23" y="0"/>
                    <a:pt x="23" y="0"/>
                    <a:pt x="23" y="0"/>
                  </a:cubicBezTo>
                  <a:cubicBezTo>
                    <a:pt x="24" y="0"/>
                    <a:pt x="25" y="1"/>
                    <a:pt x="25" y="2"/>
                  </a:cubicBezTo>
                  <a:cubicBezTo>
                    <a:pt x="25" y="3"/>
                    <a:pt x="24" y="4"/>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a:solidFill>
                  <a:srgbClr val="353535"/>
                </a:solidFill>
                <a:latin typeface="Segoe UI Semilight"/>
                <a:cs typeface="+mn-cs"/>
              </a:endParaRPr>
            </a:p>
          </p:txBody>
        </p:sp>
        <p:sp>
          <p:nvSpPr>
            <p:cNvPr id="118" name="Freeform 75">
              <a:extLst>
                <a:ext uri="{FF2B5EF4-FFF2-40B4-BE49-F238E27FC236}">
                  <a16:creationId xmlns:a16="http://schemas.microsoft.com/office/drawing/2014/main" id="{221AABE9-4585-4614-8953-903EC289F14E}"/>
                </a:ext>
              </a:extLst>
            </p:cNvPr>
            <p:cNvSpPr>
              <a:spLocks noEditPoints="1"/>
            </p:cNvSpPr>
            <p:nvPr/>
          </p:nvSpPr>
          <p:spPr bwMode="auto">
            <a:xfrm>
              <a:off x="1133" y="1970"/>
              <a:ext cx="41" cy="40"/>
            </a:xfrm>
            <a:custGeom>
              <a:avLst/>
              <a:gdLst>
                <a:gd name="T0" fmla="*/ 27 w 29"/>
                <a:gd name="T1" fmla="*/ 29 h 29"/>
                <a:gd name="T2" fmla="*/ 2 w 29"/>
                <a:gd name="T3" fmla="*/ 29 h 29"/>
                <a:gd name="T4" fmla="*/ 0 w 29"/>
                <a:gd name="T5" fmla="*/ 27 h 29"/>
                <a:gd name="T6" fmla="*/ 0 w 29"/>
                <a:gd name="T7" fmla="*/ 2 h 29"/>
                <a:gd name="T8" fmla="*/ 1 w 29"/>
                <a:gd name="T9" fmla="*/ 0 h 29"/>
                <a:gd name="T10" fmla="*/ 4 w 29"/>
                <a:gd name="T11" fmla="*/ 1 h 29"/>
                <a:gd name="T12" fmla="*/ 28 w 29"/>
                <a:gd name="T13" fmla="*/ 25 h 29"/>
                <a:gd name="T14" fmla="*/ 29 w 29"/>
                <a:gd name="T15" fmla="*/ 28 h 29"/>
                <a:gd name="T16" fmla="*/ 27 w 29"/>
                <a:gd name="T17" fmla="*/ 29 h 29"/>
                <a:gd name="T18" fmla="*/ 4 w 29"/>
                <a:gd name="T19" fmla="*/ 25 h 29"/>
                <a:gd name="T20" fmla="*/ 22 w 29"/>
                <a:gd name="T21" fmla="*/ 25 h 29"/>
                <a:gd name="T22" fmla="*/ 4 w 29"/>
                <a:gd name="T23" fmla="*/ 7 h 29"/>
                <a:gd name="T24" fmla="*/ 4 w 29"/>
                <a:gd name="T25" fmla="*/ 2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9" h="29">
                  <a:moveTo>
                    <a:pt x="27" y="29"/>
                  </a:moveTo>
                  <a:cubicBezTo>
                    <a:pt x="2" y="29"/>
                    <a:pt x="2" y="29"/>
                    <a:pt x="2" y="29"/>
                  </a:cubicBezTo>
                  <a:cubicBezTo>
                    <a:pt x="1" y="29"/>
                    <a:pt x="0" y="28"/>
                    <a:pt x="0" y="27"/>
                  </a:cubicBezTo>
                  <a:cubicBezTo>
                    <a:pt x="0" y="2"/>
                    <a:pt x="0" y="2"/>
                    <a:pt x="0" y="2"/>
                  </a:cubicBezTo>
                  <a:cubicBezTo>
                    <a:pt x="0" y="1"/>
                    <a:pt x="1" y="0"/>
                    <a:pt x="1" y="0"/>
                  </a:cubicBezTo>
                  <a:cubicBezTo>
                    <a:pt x="2" y="0"/>
                    <a:pt x="3" y="0"/>
                    <a:pt x="4" y="1"/>
                  </a:cubicBezTo>
                  <a:cubicBezTo>
                    <a:pt x="28" y="25"/>
                    <a:pt x="28" y="25"/>
                    <a:pt x="28" y="25"/>
                  </a:cubicBezTo>
                  <a:cubicBezTo>
                    <a:pt x="29" y="26"/>
                    <a:pt x="29" y="27"/>
                    <a:pt x="29" y="28"/>
                  </a:cubicBezTo>
                  <a:cubicBezTo>
                    <a:pt x="29" y="28"/>
                    <a:pt x="28" y="29"/>
                    <a:pt x="27" y="29"/>
                  </a:cubicBezTo>
                  <a:close/>
                  <a:moveTo>
                    <a:pt x="4" y="25"/>
                  </a:moveTo>
                  <a:cubicBezTo>
                    <a:pt x="22" y="25"/>
                    <a:pt x="22" y="25"/>
                    <a:pt x="22" y="25"/>
                  </a:cubicBezTo>
                  <a:cubicBezTo>
                    <a:pt x="4" y="7"/>
                    <a:pt x="4" y="7"/>
                    <a:pt x="4" y="7"/>
                  </a:cubicBezTo>
                  <a:lnTo>
                    <a:pt x="4" y="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a:solidFill>
                  <a:srgbClr val="353535"/>
                </a:solidFill>
                <a:latin typeface="Segoe UI Semilight"/>
                <a:cs typeface="+mn-cs"/>
              </a:endParaRPr>
            </a:p>
          </p:txBody>
        </p:sp>
      </p:grpSp>
      <p:pic>
        <p:nvPicPr>
          <p:cNvPr id="3" name="Picture 2" descr="Screen Clipping">
            <a:extLst>
              <a:ext uri="{FF2B5EF4-FFF2-40B4-BE49-F238E27FC236}">
                <a16:creationId xmlns:a16="http://schemas.microsoft.com/office/drawing/2014/main" id="{6B36BC21-03B3-424A-A9B4-239590BC13AC}"/>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2837842" y="3994804"/>
            <a:ext cx="268235" cy="332378"/>
          </a:xfrm>
          <a:prstGeom prst="rect">
            <a:avLst/>
          </a:prstGeom>
        </p:spPr>
      </p:pic>
      <p:sp>
        <p:nvSpPr>
          <p:cNvPr id="162" name="Rectangle 161">
            <a:extLst>
              <a:ext uri="{FF2B5EF4-FFF2-40B4-BE49-F238E27FC236}">
                <a16:creationId xmlns:a16="http://schemas.microsoft.com/office/drawing/2014/main" id="{0CB95A7A-CEC6-40CB-926B-41A5B41478FF}"/>
              </a:ext>
            </a:extLst>
          </p:cNvPr>
          <p:cNvSpPr/>
          <p:nvPr/>
        </p:nvSpPr>
        <p:spPr>
          <a:xfrm>
            <a:off x="3157164" y="4063131"/>
            <a:ext cx="934231" cy="124201"/>
          </a:xfrm>
          <a:prstGeom prst="rect">
            <a:avLst/>
          </a:prstGeom>
        </p:spPr>
        <p:txBody>
          <a:bodyPr wrap="square" lIns="0" tIns="0" rIns="0" bIns="0" anchor="ctr">
            <a:spAutoFit/>
          </a:bodyPr>
          <a:lstStyle/>
          <a:p>
            <a:pPr defTabSz="685594" fontAlgn="auto">
              <a:spcBef>
                <a:spcPts val="0"/>
              </a:spcBef>
              <a:spcAft>
                <a:spcPts val="0"/>
              </a:spcAft>
              <a:defRPr/>
            </a:pPr>
            <a:r>
              <a:rPr lang="en-US" sz="807" b="0" kern="0" dirty="0">
                <a:solidFill>
                  <a:srgbClr val="FFFFFF"/>
                </a:solidFill>
                <a:latin typeface="Segoe UI Semilight"/>
                <a:ea typeface="MS PGothic" panose="020B0600070205080204" pitchFamily="34" charset="-128"/>
                <a:cs typeface="Segoe UI Semilight" panose="020B0402040204020203" pitchFamily="34" charset="0"/>
              </a:rPr>
              <a:t>SQL Database</a:t>
            </a:r>
          </a:p>
        </p:txBody>
      </p:sp>
    </p:spTree>
    <p:extLst>
      <p:ext uri="{BB962C8B-B14F-4D97-AF65-F5344CB8AC3E}">
        <p14:creationId xmlns:p14="http://schemas.microsoft.com/office/powerpoint/2010/main" val="260893420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F61EC7-59F0-41E1-AA02-0306C43D2A27}"/>
              </a:ext>
            </a:extLst>
          </p:cNvPr>
          <p:cNvSpPr>
            <a:spLocks noGrp="1"/>
          </p:cNvSpPr>
          <p:nvPr>
            <p:ph type="title"/>
          </p:nvPr>
        </p:nvSpPr>
        <p:spPr/>
        <p:txBody>
          <a:bodyPr/>
          <a:lstStyle/>
          <a:p>
            <a:r>
              <a:rPr lang="en-US" dirty="0"/>
              <a:t>SQL Database</a:t>
            </a:r>
          </a:p>
        </p:txBody>
      </p:sp>
    </p:spTree>
    <p:extLst>
      <p:ext uri="{BB962C8B-B14F-4D97-AF65-F5344CB8AC3E}">
        <p14:creationId xmlns:p14="http://schemas.microsoft.com/office/powerpoint/2010/main" val="88562519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E0855DEC-AC1E-47E3-9DD4-50C22E1CB7B7}"/>
              </a:ext>
            </a:extLst>
          </p:cNvPr>
          <p:cNvSpPr/>
          <p:nvPr/>
        </p:nvSpPr>
        <p:spPr>
          <a:xfrm>
            <a:off x="512180" y="1845811"/>
            <a:ext cx="8099385" cy="3416320"/>
          </a:xfrm>
          <a:prstGeom prst="rect">
            <a:avLst/>
          </a:prstGeom>
        </p:spPr>
        <p:txBody>
          <a:bodyPr wrap="square">
            <a:spAutoFit/>
          </a:bodyPr>
          <a:lstStyle/>
          <a:p>
            <a:pPr defTabSz="685800" fontAlgn="auto">
              <a:spcBef>
                <a:spcPts val="0"/>
              </a:spcBef>
              <a:spcAft>
                <a:spcPts val="0"/>
              </a:spcAft>
            </a:pPr>
            <a:r>
              <a:rPr lang="en-US" sz="1350" b="0" dirty="0">
                <a:solidFill>
                  <a:prstClr val="black"/>
                </a:solidFill>
                <a:latin typeface="Calibri" panose="020F0502020204030204"/>
                <a:cs typeface="+mn-cs"/>
              </a:rPr>
              <a:t>Blob Storage –Standard and Premium (SSD)—Block blob (4.7 TB)- Page blob (8 TB random access files, VHD files for VM)—append blob –append operations like logging to same blob from multiple VMs</a:t>
            </a:r>
          </a:p>
          <a:p>
            <a:pPr defTabSz="685800" fontAlgn="auto">
              <a:spcBef>
                <a:spcPts val="0"/>
              </a:spcBef>
              <a:spcAft>
                <a:spcPts val="0"/>
              </a:spcAft>
            </a:pPr>
            <a:endParaRPr lang="en-US" sz="1350" b="0" dirty="0">
              <a:solidFill>
                <a:prstClr val="black"/>
              </a:solidFill>
              <a:latin typeface="Calibri" panose="020F0502020204030204"/>
              <a:cs typeface="+mn-cs"/>
            </a:endParaRPr>
          </a:p>
          <a:p>
            <a:pPr defTabSz="685800" fontAlgn="auto">
              <a:spcBef>
                <a:spcPts val="0"/>
              </a:spcBef>
              <a:spcAft>
                <a:spcPts val="0"/>
              </a:spcAft>
            </a:pPr>
            <a:r>
              <a:rPr lang="en-US" sz="1350" b="0" dirty="0">
                <a:solidFill>
                  <a:prstClr val="black"/>
                </a:solidFill>
                <a:latin typeface="Calibri" panose="020F0502020204030204"/>
                <a:cs typeface="+mn-cs"/>
              </a:rPr>
              <a:t>File Storage—HA network shared files accessed by SMB protocol (server message block) – multiple VMS can share same file for read/write. Also use REST interface. Diagnostic logs, crash dumps etc. No AD</a:t>
            </a:r>
          </a:p>
          <a:p>
            <a:pPr defTabSz="685800" fontAlgn="auto">
              <a:spcBef>
                <a:spcPts val="0"/>
              </a:spcBef>
              <a:spcAft>
                <a:spcPts val="0"/>
              </a:spcAft>
            </a:pPr>
            <a:endParaRPr lang="en-US" sz="1350" b="0" dirty="0">
              <a:solidFill>
                <a:prstClr val="black"/>
              </a:solidFill>
              <a:latin typeface="Calibri" panose="020F0502020204030204"/>
              <a:cs typeface="+mn-cs"/>
            </a:endParaRPr>
          </a:p>
          <a:p>
            <a:pPr defTabSz="685800" fontAlgn="auto">
              <a:spcBef>
                <a:spcPts val="0"/>
              </a:spcBef>
              <a:spcAft>
                <a:spcPts val="0"/>
              </a:spcAft>
            </a:pPr>
            <a:r>
              <a:rPr lang="en-US" sz="1350" b="0" dirty="0">
                <a:solidFill>
                  <a:prstClr val="black"/>
                </a:solidFill>
                <a:latin typeface="Calibri" panose="020F0502020204030204"/>
                <a:cs typeface="+mn-cs"/>
              </a:rPr>
              <a:t>Queue Storage—store and retrieve messages--millions of messages—list of messages processed </a:t>
            </a:r>
            <a:r>
              <a:rPr lang="en-US" sz="1350" b="0" dirty="0" err="1">
                <a:solidFill>
                  <a:prstClr val="black"/>
                </a:solidFill>
                <a:latin typeface="Calibri" panose="020F0502020204030204"/>
                <a:cs typeface="+mn-cs"/>
              </a:rPr>
              <a:t>asynchrounously</a:t>
            </a:r>
            <a:endParaRPr lang="en-US" sz="1350" b="0" dirty="0">
              <a:solidFill>
                <a:prstClr val="black"/>
              </a:solidFill>
              <a:latin typeface="Calibri" panose="020F0502020204030204"/>
              <a:cs typeface="+mn-cs"/>
            </a:endParaRPr>
          </a:p>
          <a:p>
            <a:pPr defTabSz="685800" fontAlgn="auto">
              <a:spcBef>
                <a:spcPts val="0"/>
              </a:spcBef>
              <a:spcAft>
                <a:spcPts val="0"/>
              </a:spcAft>
            </a:pPr>
            <a:endParaRPr lang="en-US" sz="1350" b="0" dirty="0">
              <a:solidFill>
                <a:prstClr val="black"/>
              </a:solidFill>
              <a:latin typeface="Calibri" panose="020F0502020204030204"/>
              <a:cs typeface="+mn-cs"/>
            </a:endParaRPr>
          </a:p>
          <a:p>
            <a:pPr defTabSz="685800" fontAlgn="auto">
              <a:spcBef>
                <a:spcPts val="0"/>
              </a:spcBef>
              <a:spcAft>
                <a:spcPts val="0"/>
              </a:spcAft>
            </a:pPr>
            <a:r>
              <a:rPr lang="en-US" sz="1350" b="0" dirty="0">
                <a:solidFill>
                  <a:prstClr val="black"/>
                </a:solidFill>
                <a:latin typeface="Calibri" panose="020F0502020204030204"/>
                <a:cs typeface="+mn-cs"/>
              </a:rPr>
              <a:t>Table Storage—part of </a:t>
            </a:r>
            <a:r>
              <a:rPr lang="en-US" sz="1350" b="0" dirty="0" err="1">
                <a:solidFill>
                  <a:prstClr val="black"/>
                </a:solidFill>
                <a:latin typeface="Calibri" panose="020F0502020204030204"/>
                <a:cs typeface="+mn-cs"/>
              </a:rPr>
              <a:t>CosmosDB</a:t>
            </a:r>
            <a:r>
              <a:rPr lang="en-US" sz="1350" b="0" dirty="0">
                <a:solidFill>
                  <a:prstClr val="black"/>
                </a:solidFill>
                <a:latin typeface="Calibri" panose="020F0502020204030204"/>
                <a:cs typeface="+mn-cs"/>
              </a:rPr>
              <a:t>– Store high volume of structured NoSQL data, providing key/</a:t>
            </a:r>
            <a:r>
              <a:rPr lang="en-US" sz="1350" b="0" dirty="0" err="1">
                <a:solidFill>
                  <a:prstClr val="black"/>
                </a:solidFill>
                <a:latin typeface="Calibri" panose="020F0502020204030204"/>
                <a:cs typeface="+mn-cs"/>
              </a:rPr>
              <a:t>attrib</a:t>
            </a:r>
            <a:r>
              <a:rPr lang="en-US" sz="1350" b="0" dirty="0">
                <a:solidFill>
                  <a:prstClr val="black"/>
                </a:solidFill>
                <a:latin typeface="Calibri" panose="020F0502020204030204"/>
                <a:cs typeface="+mn-cs"/>
              </a:rPr>
              <a:t> store with </a:t>
            </a:r>
            <a:r>
              <a:rPr lang="en-US" sz="1350" b="0" dirty="0" err="1">
                <a:solidFill>
                  <a:prstClr val="black"/>
                </a:solidFill>
                <a:latin typeface="Calibri" panose="020F0502020204030204"/>
                <a:cs typeface="+mn-cs"/>
              </a:rPr>
              <a:t>schemaless</a:t>
            </a:r>
            <a:r>
              <a:rPr lang="en-US" sz="1350" b="0" dirty="0">
                <a:solidFill>
                  <a:prstClr val="black"/>
                </a:solidFill>
                <a:latin typeface="Calibri" panose="020F0502020204030204"/>
                <a:cs typeface="+mn-cs"/>
              </a:rPr>
              <a:t> design. Cheaper than traditional SQL. Data for web apps, address book, device info. Unlimited number of entities and tables in storage account</a:t>
            </a:r>
          </a:p>
          <a:p>
            <a:pPr defTabSz="685800" fontAlgn="auto">
              <a:spcBef>
                <a:spcPts val="0"/>
              </a:spcBef>
              <a:spcAft>
                <a:spcPts val="0"/>
              </a:spcAft>
            </a:pPr>
            <a:endParaRPr lang="en-US" sz="1350" b="0" dirty="0">
              <a:solidFill>
                <a:prstClr val="black"/>
              </a:solidFill>
              <a:latin typeface="Calibri" panose="020F0502020204030204"/>
              <a:cs typeface="+mn-cs"/>
            </a:endParaRPr>
          </a:p>
          <a:p>
            <a:pPr defTabSz="685800" fontAlgn="auto">
              <a:spcBef>
                <a:spcPts val="0"/>
              </a:spcBef>
              <a:spcAft>
                <a:spcPts val="0"/>
              </a:spcAft>
            </a:pPr>
            <a:r>
              <a:rPr lang="en-US" sz="1350" b="0" dirty="0">
                <a:solidFill>
                  <a:prstClr val="black"/>
                </a:solidFill>
                <a:latin typeface="Calibri" panose="020F0502020204030204"/>
                <a:cs typeface="+mn-cs"/>
              </a:rPr>
              <a:t>Blob Tiers—hot (accessed </a:t>
            </a:r>
            <a:r>
              <a:rPr lang="en-US" sz="1350" b="0" dirty="0" err="1">
                <a:solidFill>
                  <a:prstClr val="black"/>
                </a:solidFill>
                <a:latin typeface="Calibri" panose="020F0502020204030204"/>
                <a:cs typeface="+mn-cs"/>
              </a:rPr>
              <a:t>frequ</a:t>
            </a:r>
            <a:r>
              <a:rPr lang="en-US" sz="1350" b="0" dirty="0">
                <a:solidFill>
                  <a:prstClr val="black"/>
                </a:solidFill>
                <a:latin typeface="Calibri" panose="020F0502020204030204"/>
                <a:cs typeface="+mn-cs"/>
              </a:rPr>
              <a:t>), cool (at least once 30 days), archive (rarely, &gt;180)--</a:t>
            </a:r>
          </a:p>
          <a:p>
            <a:pPr defTabSz="685800" fontAlgn="auto">
              <a:spcBef>
                <a:spcPts val="0"/>
              </a:spcBef>
              <a:spcAft>
                <a:spcPts val="0"/>
              </a:spcAft>
            </a:pPr>
            <a:r>
              <a:rPr lang="en-US" sz="1350" b="0" dirty="0">
                <a:solidFill>
                  <a:prstClr val="black"/>
                </a:solidFill>
                <a:latin typeface="Calibri" panose="020F0502020204030204"/>
                <a:cs typeface="+mn-cs"/>
              </a:rPr>
              <a:t>Azure Files—can be used to completely replace or supplement traditional on-</a:t>
            </a:r>
            <a:r>
              <a:rPr lang="en-US" sz="1350" b="0" dirty="0" err="1">
                <a:solidFill>
                  <a:prstClr val="black"/>
                </a:solidFill>
                <a:latin typeface="Calibri" panose="020F0502020204030204"/>
                <a:cs typeface="+mn-cs"/>
              </a:rPr>
              <a:t>prem</a:t>
            </a:r>
            <a:r>
              <a:rPr lang="en-US" sz="1350" b="0" dirty="0">
                <a:solidFill>
                  <a:prstClr val="black"/>
                </a:solidFill>
                <a:latin typeface="Calibri" panose="020F0502020204030204"/>
                <a:cs typeface="+mn-cs"/>
              </a:rPr>
              <a:t> file </a:t>
            </a:r>
            <a:r>
              <a:rPr lang="en-US" sz="1350" b="0" dirty="0" err="1">
                <a:solidFill>
                  <a:prstClr val="black"/>
                </a:solidFill>
                <a:latin typeface="Calibri" panose="020F0502020204030204"/>
                <a:cs typeface="+mn-cs"/>
              </a:rPr>
              <a:t>serversor</a:t>
            </a:r>
            <a:r>
              <a:rPr lang="en-US" sz="1350" b="0" dirty="0">
                <a:solidFill>
                  <a:prstClr val="black"/>
                </a:solidFill>
                <a:latin typeface="Calibri" panose="020F0502020204030204"/>
                <a:cs typeface="+mn-cs"/>
              </a:rPr>
              <a:t> NAS devices--</a:t>
            </a:r>
          </a:p>
          <a:p>
            <a:pPr defTabSz="685800" fontAlgn="auto">
              <a:spcBef>
                <a:spcPts val="0"/>
              </a:spcBef>
              <a:spcAft>
                <a:spcPts val="0"/>
              </a:spcAft>
            </a:pPr>
            <a:r>
              <a:rPr lang="en-US" sz="1350" b="0" dirty="0">
                <a:solidFill>
                  <a:prstClr val="black"/>
                </a:solidFill>
                <a:latin typeface="Calibri" panose="020F0502020204030204"/>
                <a:cs typeface="+mn-cs"/>
              </a:rPr>
              <a:t>Disks—managed and unmanaged—premium (256 TB per VM, 80K </a:t>
            </a:r>
            <a:r>
              <a:rPr lang="en-US" sz="1350" b="0" dirty="0" err="1">
                <a:solidFill>
                  <a:prstClr val="black"/>
                </a:solidFill>
                <a:latin typeface="Calibri" panose="020F0502020204030204"/>
                <a:cs typeface="+mn-cs"/>
              </a:rPr>
              <a:t>iops</a:t>
            </a:r>
            <a:r>
              <a:rPr lang="en-US" sz="1350" b="0" dirty="0">
                <a:solidFill>
                  <a:prstClr val="black"/>
                </a:solidFill>
                <a:latin typeface="Calibri" panose="020F0502020204030204"/>
                <a:cs typeface="+mn-cs"/>
              </a:rPr>
              <a:t>, 2k </a:t>
            </a:r>
            <a:r>
              <a:rPr lang="en-US" sz="1350" b="0" dirty="0" err="1">
                <a:solidFill>
                  <a:prstClr val="black"/>
                </a:solidFill>
                <a:latin typeface="Calibri" panose="020F0502020204030204"/>
                <a:cs typeface="+mn-cs"/>
              </a:rPr>
              <a:t>MBps</a:t>
            </a:r>
            <a:r>
              <a:rPr lang="en-US" sz="1350" b="0" dirty="0">
                <a:solidFill>
                  <a:prstClr val="black"/>
                </a:solidFill>
                <a:latin typeface="Calibri" panose="020F0502020204030204"/>
                <a:cs typeface="+mn-cs"/>
              </a:rPr>
              <a:t> throughput) and standard--</a:t>
            </a:r>
          </a:p>
          <a:p>
            <a:pPr defTabSz="685800" fontAlgn="auto">
              <a:spcBef>
                <a:spcPts val="0"/>
              </a:spcBef>
              <a:spcAft>
                <a:spcPts val="0"/>
              </a:spcAft>
            </a:pPr>
            <a:r>
              <a:rPr lang="en-US" sz="1350" b="0" dirty="0">
                <a:solidFill>
                  <a:prstClr val="black"/>
                </a:solidFill>
                <a:latin typeface="Calibri" panose="020F0502020204030204"/>
                <a:cs typeface="+mn-cs"/>
              </a:rPr>
              <a:t>StorSimple—hybrid cloud storage , consolidate storage, DR, compliance, </a:t>
            </a:r>
          </a:p>
        </p:txBody>
      </p:sp>
      <p:sp>
        <p:nvSpPr>
          <p:cNvPr id="5" name="Rectangle 4">
            <a:extLst>
              <a:ext uri="{FF2B5EF4-FFF2-40B4-BE49-F238E27FC236}">
                <a16:creationId xmlns:a16="http://schemas.microsoft.com/office/drawing/2014/main" id="{47BA06F4-7EAE-4FFF-A0DB-D99FEEE0E710}"/>
              </a:ext>
            </a:extLst>
          </p:cNvPr>
          <p:cNvSpPr/>
          <p:nvPr/>
        </p:nvSpPr>
        <p:spPr>
          <a:xfrm>
            <a:off x="0" y="857250"/>
            <a:ext cx="9144000" cy="600164"/>
          </a:xfrm>
          <a:prstGeom prst="rect">
            <a:avLst/>
          </a:prstGeom>
        </p:spPr>
        <p:txBody>
          <a:bodyPr wrap="square">
            <a:spAutoFit/>
          </a:bodyPr>
          <a:lstStyle/>
          <a:p>
            <a:pPr algn="ctr" defTabSz="685800" fontAlgn="auto">
              <a:spcBef>
                <a:spcPts val="0"/>
              </a:spcBef>
              <a:spcAft>
                <a:spcPts val="0"/>
              </a:spcAft>
            </a:pPr>
            <a:r>
              <a:rPr lang="en-US" sz="3300" b="0" dirty="0">
                <a:solidFill>
                  <a:prstClr val="black"/>
                </a:solidFill>
                <a:latin typeface="Calibri" panose="020F0502020204030204"/>
                <a:cs typeface="+mn-cs"/>
              </a:rPr>
              <a:t>Azure Storage solutions </a:t>
            </a:r>
          </a:p>
        </p:txBody>
      </p:sp>
      <p:sp>
        <p:nvSpPr>
          <p:cNvPr id="7" name="Text Placeholder 6">
            <a:extLst>
              <a:ext uri="{FF2B5EF4-FFF2-40B4-BE49-F238E27FC236}">
                <a16:creationId xmlns:a16="http://schemas.microsoft.com/office/drawing/2014/main" id="{E5708CBD-EAAF-4F9D-91E7-EDA7051C6EEA}"/>
              </a:ext>
            </a:extLst>
          </p:cNvPr>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161636856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Azure SQL Database</a:t>
            </a:r>
          </a:p>
        </p:txBody>
      </p:sp>
      <p:sp>
        <p:nvSpPr>
          <p:cNvPr id="5" name="Content Placeholder 4"/>
          <p:cNvSpPr>
            <a:spLocks noGrp="1"/>
          </p:cNvSpPr>
          <p:nvPr>
            <p:ph idx="1"/>
          </p:nvPr>
        </p:nvSpPr>
        <p:spPr>
          <a:xfrm>
            <a:off x="151194" y="1781176"/>
            <a:ext cx="4031760" cy="3897973"/>
          </a:xfrm>
        </p:spPr>
        <p:txBody>
          <a:bodyPr>
            <a:normAutofit fontScale="92500" lnSpcReduction="10000"/>
          </a:bodyPr>
          <a:lstStyle/>
          <a:p>
            <a:pPr marL="428625" indent="-428625">
              <a:buFont typeface="Arial" panose="020B0604020202020204" pitchFamily="34" charset="0"/>
              <a:buChar char="•"/>
            </a:pPr>
            <a:r>
              <a:rPr lang="en-US" dirty="0"/>
              <a:t>PaaS Offering. Database-as-a-Service</a:t>
            </a:r>
          </a:p>
          <a:p>
            <a:pPr marL="428625" indent="-428625">
              <a:buFont typeface="Arial" panose="020B0604020202020204" pitchFamily="34" charset="0"/>
              <a:buChar char="•"/>
            </a:pPr>
            <a:r>
              <a:rPr lang="en-US" dirty="0"/>
              <a:t>Relational database. </a:t>
            </a:r>
          </a:p>
          <a:p>
            <a:pPr marL="428625" indent="-428625">
              <a:buFont typeface="Arial" panose="020B0604020202020204" pitchFamily="34" charset="0"/>
              <a:buChar char="•"/>
            </a:pPr>
            <a:r>
              <a:rPr lang="en-US" dirty="0"/>
              <a:t>Service tiers:</a:t>
            </a:r>
          </a:p>
          <a:p>
            <a:pPr marL="685800" lvl="1" indent="-342900">
              <a:buFont typeface="Arial" panose="020B0604020202020204" pitchFamily="34" charset="0"/>
              <a:buChar char="•"/>
            </a:pPr>
            <a:r>
              <a:rPr lang="en-US" dirty="0"/>
              <a:t>Basic</a:t>
            </a:r>
          </a:p>
          <a:p>
            <a:pPr marL="685800" lvl="1" indent="-342900">
              <a:buFont typeface="Arial" panose="020B0604020202020204" pitchFamily="34" charset="0"/>
              <a:buChar char="•"/>
            </a:pPr>
            <a:r>
              <a:rPr lang="en-US" dirty="0"/>
              <a:t>Standard</a:t>
            </a:r>
          </a:p>
          <a:p>
            <a:pPr marL="685800" lvl="1" indent="-342900">
              <a:buFont typeface="Arial" panose="020B0604020202020204" pitchFamily="34" charset="0"/>
              <a:buChar char="•"/>
            </a:pPr>
            <a:r>
              <a:rPr lang="en-US" dirty="0"/>
              <a:t>Premium</a:t>
            </a:r>
          </a:p>
          <a:p>
            <a:pPr marL="685800" lvl="1" indent="-342900">
              <a:buFont typeface="Arial" panose="020B0604020202020204" pitchFamily="34" charset="0"/>
              <a:buChar char="•"/>
            </a:pPr>
            <a:r>
              <a:rPr lang="en-US" dirty="0"/>
              <a:t>Premium RS</a:t>
            </a:r>
          </a:p>
          <a:p>
            <a:pPr marL="342900" indent="-342900">
              <a:buFont typeface="Arial" panose="020B0604020202020204" pitchFamily="34" charset="0"/>
              <a:buChar char="•"/>
            </a:pPr>
            <a:r>
              <a:rPr lang="en-US" dirty="0"/>
              <a:t>Elastic Pools. Pooled databases delivers performance</a:t>
            </a:r>
          </a:p>
          <a:p>
            <a:endParaRPr lang="en-US" dirty="0"/>
          </a:p>
        </p:txBody>
      </p:sp>
      <p:pic>
        <p:nvPicPr>
          <p:cNvPr id="6" name="Picture 4" descr="scali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361858" y="1336775"/>
            <a:ext cx="4442792" cy="2000250"/>
          </a:xfrm>
          <a:prstGeom prst="rect">
            <a:avLst/>
          </a:prstGeom>
          <a:ln w="88900" cap="sq" cmpd="thickThin">
            <a:solidFill>
              <a:srgbClr val="000000"/>
            </a:solidFill>
            <a:prstDash val="solid"/>
            <a:miter lim="800000"/>
          </a:ln>
          <a:effectLst>
            <a:innerShdw blurRad="76200">
              <a:srgbClr val="000000"/>
            </a:innerShdw>
          </a:effectLst>
          <a:extLst>
            <a:ext uri="{909E8E84-426E-40DD-AFC4-6F175D3DCCD1}">
              <a14:hiddenFill xmlns:a14="http://schemas.microsoft.com/office/drawing/2010/main">
                <a:solidFill>
                  <a:srgbClr val="FFFFFF"/>
                </a:solidFill>
              </a14:hiddenFill>
            </a:ext>
          </a:extLst>
        </p:spPr>
      </p:pic>
      <p:pic>
        <p:nvPicPr>
          <p:cNvPr id="7" name="Picture 6" descr="elastic pools"/>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361859" y="3517033"/>
            <a:ext cx="4387837" cy="2222069"/>
          </a:xfrm>
          <a:prstGeom prst="rect">
            <a:avLst/>
          </a:prstGeom>
          <a:ln w="88900" cap="sq" cmpd="thickThin">
            <a:solidFill>
              <a:srgbClr val="000000"/>
            </a:solidFill>
            <a:prstDash val="solid"/>
            <a:miter lim="800000"/>
          </a:ln>
          <a:effectLst>
            <a:innerShdw blurRad="76200">
              <a:srgbClr val="000000"/>
            </a:innerShdw>
          </a:effectLst>
          <a:extLst>
            <a:ext uri="{909E8E84-426E-40DD-AFC4-6F175D3DCCD1}">
              <a14:hiddenFill xmlns:a14="http://schemas.microsoft.com/office/drawing/2010/main">
                <a:solidFill>
                  <a:srgbClr val="FFFFFF"/>
                </a:solidFill>
              </a14:hiddenFill>
            </a:ext>
          </a:extLst>
        </p:spPr>
      </p:pic>
      <p:sp>
        <p:nvSpPr>
          <p:cNvPr id="8" name="Rectangle 7"/>
          <p:cNvSpPr/>
          <p:nvPr/>
        </p:nvSpPr>
        <p:spPr>
          <a:xfrm>
            <a:off x="6187195" y="5782392"/>
            <a:ext cx="1684598" cy="253916"/>
          </a:xfrm>
          <a:prstGeom prst="rect">
            <a:avLst/>
          </a:prstGeom>
        </p:spPr>
        <p:txBody>
          <a:bodyPr wrap="square">
            <a:spAutoFit/>
          </a:bodyPr>
          <a:lstStyle/>
          <a:p>
            <a:pPr defTabSz="342900" fontAlgn="auto">
              <a:spcBef>
                <a:spcPts val="0"/>
              </a:spcBef>
              <a:spcAft>
                <a:spcPts val="0"/>
              </a:spcAft>
              <a:defRPr/>
            </a:pPr>
            <a:r>
              <a:rPr lang="en-US" sz="1050" b="0" dirty="0">
                <a:solidFill>
                  <a:prstClr val="black"/>
                </a:solidFill>
                <a:latin typeface="Calibri" panose="020F0502020204030204"/>
                <a:cs typeface="+mn-cs"/>
              </a:rPr>
              <a:t>Source: Microsoft</a:t>
            </a:r>
          </a:p>
        </p:txBody>
      </p:sp>
    </p:spTree>
    <p:extLst>
      <p:ext uri="{BB962C8B-B14F-4D97-AF65-F5344CB8AC3E}">
        <p14:creationId xmlns:p14="http://schemas.microsoft.com/office/powerpoint/2010/main" val="2725961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rvice Tiers</a:t>
            </a:r>
          </a:p>
        </p:txBody>
      </p:sp>
      <p:sp>
        <p:nvSpPr>
          <p:cNvPr id="3" name="Content Placeholder 2"/>
          <p:cNvSpPr>
            <a:spLocks noGrp="1"/>
          </p:cNvSpPr>
          <p:nvPr>
            <p:ph sz="half" idx="1"/>
          </p:nvPr>
        </p:nvSpPr>
        <p:spPr/>
        <p:txBody>
          <a:bodyPr>
            <a:normAutofit/>
          </a:bodyPr>
          <a:lstStyle/>
          <a:p>
            <a:r>
              <a:rPr lang="en-US" dirty="0"/>
              <a:t>Basic</a:t>
            </a:r>
          </a:p>
          <a:p>
            <a:pPr lvl="1"/>
            <a:r>
              <a:rPr lang="en-US" dirty="0"/>
              <a:t>Small size</a:t>
            </a:r>
          </a:p>
          <a:p>
            <a:pPr lvl="1"/>
            <a:r>
              <a:rPr lang="en-US" dirty="0"/>
              <a:t>Low traffic</a:t>
            </a:r>
          </a:p>
          <a:p>
            <a:pPr lvl="1"/>
            <a:r>
              <a:rPr lang="en-US" dirty="0"/>
              <a:t>Single active operation</a:t>
            </a:r>
          </a:p>
          <a:p>
            <a:endParaRPr lang="en-US" dirty="0"/>
          </a:p>
          <a:p>
            <a:r>
              <a:rPr lang="en-US" dirty="0"/>
              <a:t>Standard</a:t>
            </a:r>
          </a:p>
          <a:p>
            <a:pPr lvl="1"/>
            <a:r>
              <a:rPr lang="en-US" dirty="0"/>
              <a:t>Low to medium IO performance requirements</a:t>
            </a:r>
          </a:p>
          <a:p>
            <a:pPr lvl="1"/>
            <a:r>
              <a:rPr lang="en-US" dirty="0"/>
              <a:t>Multiple current queries</a:t>
            </a:r>
          </a:p>
          <a:p>
            <a:pPr lvl="1"/>
            <a:endParaRPr lang="en-US" dirty="0"/>
          </a:p>
        </p:txBody>
      </p:sp>
      <p:sp>
        <p:nvSpPr>
          <p:cNvPr id="4" name="Content Placeholder 3"/>
          <p:cNvSpPr>
            <a:spLocks noGrp="1"/>
          </p:cNvSpPr>
          <p:nvPr>
            <p:ph sz="half" idx="2"/>
          </p:nvPr>
        </p:nvSpPr>
        <p:spPr/>
        <p:txBody>
          <a:bodyPr>
            <a:normAutofit/>
          </a:bodyPr>
          <a:lstStyle/>
          <a:p>
            <a:r>
              <a:rPr lang="en-US" dirty="0"/>
              <a:t>Premium</a:t>
            </a:r>
          </a:p>
          <a:p>
            <a:pPr lvl="1"/>
            <a:r>
              <a:rPr lang="en-US" dirty="0"/>
              <a:t>High transaction volume</a:t>
            </a:r>
          </a:p>
          <a:p>
            <a:pPr lvl="1"/>
            <a:r>
              <a:rPr lang="en-US" dirty="0"/>
              <a:t>High IO performance requirements</a:t>
            </a:r>
          </a:p>
          <a:p>
            <a:pPr lvl="1"/>
            <a:r>
              <a:rPr lang="en-US" dirty="0"/>
              <a:t>Many concurrent users</a:t>
            </a:r>
          </a:p>
          <a:p>
            <a:pPr lvl="1"/>
            <a:r>
              <a:rPr lang="en-US" dirty="0"/>
              <a:t>High availability</a:t>
            </a:r>
          </a:p>
          <a:p>
            <a:pPr lvl="1"/>
            <a:r>
              <a:rPr lang="en-US" dirty="0"/>
              <a:t>For mission critical apps</a:t>
            </a:r>
          </a:p>
          <a:p>
            <a:endParaRPr lang="en-US" dirty="0"/>
          </a:p>
          <a:p>
            <a:r>
              <a:rPr lang="en-US" dirty="0"/>
              <a:t>Premium RS</a:t>
            </a:r>
          </a:p>
          <a:p>
            <a:pPr lvl="1"/>
            <a:r>
              <a:rPr lang="en-US" dirty="0"/>
              <a:t>IO-intensive apps</a:t>
            </a:r>
          </a:p>
          <a:p>
            <a:pPr lvl="1"/>
            <a:r>
              <a:rPr lang="en-US" dirty="0"/>
              <a:t>Does not require high availability</a:t>
            </a:r>
          </a:p>
          <a:p>
            <a:pPr lvl="1"/>
            <a:r>
              <a:rPr lang="en-US" dirty="0"/>
              <a:t>Analytical workloads</a:t>
            </a:r>
          </a:p>
        </p:txBody>
      </p:sp>
    </p:spTree>
    <p:extLst>
      <p:ext uri="{BB962C8B-B14F-4D97-AF65-F5344CB8AC3E}">
        <p14:creationId xmlns:p14="http://schemas.microsoft.com/office/powerpoint/2010/main" val="163080825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Service Tier Attributes</a:t>
            </a:r>
          </a:p>
        </p:txBody>
      </p:sp>
      <p:graphicFrame>
        <p:nvGraphicFramePr>
          <p:cNvPr id="7" name="Content Placeholder 6"/>
          <p:cNvGraphicFramePr>
            <a:graphicFrameLocks noGrp="1"/>
          </p:cNvGraphicFramePr>
          <p:nvPr>
            <p:ph idx="1"/>
            <p:extLst/>
          </p:nvPr>
        </p:nvGraphicFramePr>
        <p:xfrm>
          <a:off x="351928" y="1727428"/>
          <a:ext cx="7853179" cy="3944497"/>
        </p:xfrm>
        <a:graphic>
          <a:graphicData uri="http://schemas.openxmlformats.org/drawingml/2006/table">
            <a:tbl>
              <a:tblPr/>
              <a:tblGrid>
                <a:gridCol w="2176960">
                  <a:extLst>
                    <a:ext uri="{9D8B030D-6E8A-4147-A177-3AD203B41FA5}">
                      <a16:colId xmlns:a16="http://schemas.microsoft.com/office/drawing/2014/main" val="1773273044"/>
                    </a:ext>
                  </a:extLst>
                </a:gridCol>
                <a:gridCol w="964312">
                  <a:extLst>
                    <a:ext uri="{9D8B030D-6E8A-4147-A177-3AD203B41FA5}">
                      <a16:colId xmlns:a16="http://schemas.microsoft.com/office/drawing/2014/main" val="451249271"/>
                    </a:ext>
                  </a:extLst>
                </a:gridCol>
                <a:gridCol w="1570636">
                  <a:extLst>
                    <a:ext uri="{9D8B030D-6E8A-4147-A177-3AD203B41FA5}">
                      <a16:colId xmlns:a16="http://schemas.microsoft.com/office/drawing/2014/main" val="1598709277"/>
                    </a:ext>
                  </a:extLst>
                </a:gridCol>
                <a:gridCol w="1570636">
                  <a:extLst>
                    <a:ext uri="{9D8B030D-6E8A-4147-A177-3AD203B41FA5}">
                      <a16:colId xmlns:a16="http://schemas.microsoft.com/office/drawing/2014/main" val="3035889657"/>
                    </a:ext>
                  </a:extLst>
                </a:gridCol>
                <a:gridCol w="1570636">
                  <a:extLst>
                    <a:ext uri="{9D8B030D-6E8A-4147-A177-3AD203B41FA5}">
                      <a16:colId xmlns:a16="http://schemas.microsoft.com/office/drawing/2014/main" val="2962121328"/>
                    </a:ext>
                  </a:extLst>
                </a:gridCol>
              </a:tblGrid>
              <a:tr h="244833">
                <a:tc>
                  <a:txBody>
                    <a:bodyPr/>
                    <a:lstStyle/>
                    <a:p>
                      <a:pPr algn="l" rtl="0"/>
                      <a:r>
                        <a:rPr lang="en-US" sz="1200" b="1" dirty="0">
                          <a:effectLst/>
                        </a:rPr>
                        <a:t>Service tier features</a:t>
                      </a:r>
                      <a:endParaRPr lang="en-US" sz="1200" dirty="0">
                        <a:effectLst/>
                      </a:endParaRPr>
                    </a:p>
                  </a:txBody>
                  <a:tcPr marL="61953" marR="61953" marT="30977" marB="30977" anchor="ctr">
                    <a:lnL>
                      <a:noFill/>
                    </a:lnL>
                    <a:lnR>
                      <a:noFill/>
                    </a:lnR>
                    <a:lnT>
                      <a:noFill/>
                    </a:lnT>
                    <a:lnB>
                      <a:noFill/>
                    </a:lnB>
                  </a:tcPr>
                </a:tc>
                <a:tc>
                  <a:txBody>
                    <a:bodyPr/>
                    <a:lstStyle/>
                    <a:p>
                      <a:pPr algn="r" rtl="0"/>
                      <a:r>
                        <a:rPr lang="en-US" sz="1200" b="1">
                          <a:effectLst/>
                        </a:rPr>
                        <a:t>Basic</a:t>
                      </a:r>
                      <a:endParaRPr lang="en-US" sz="1200">
                        <a:effectLst/>
                      </a:endParaRPr>
                    </a:p>
                  </a:txBody>
                  <a:tcPr marL="61953" marR="61953" marT="30977" marB="30977" anchor="ctr">
                    <a:lnL>
                      <a:noFill/>
                    </a:lnL>
                    <a:lnR>
                      <a:noFill/>
                    </a:lnR>
                    <a:lnT>
                      <a:noFill/>
                    </a:lnT>
                    <a:lnB>
                      <a:noFill/>
                    </a:lnB>
                  </a:tcPr>
                </a:tc>
                <a:tc>
                  <a:txBody>
                    <a:bodyPr/>
                    <a:lstStyle/>
                    <a:p>
                      <a:pPr algn="r" rtl="0"/>
                      <a:r>
                        <a:rPr lang="en-US" sz="1200" b="1">
                          <a:effectLst/>
                        </a:rPr>
                        <a:t>Standard</a:t>
                      </a:r>
                      <a:endParaRPr lang="en-US" sz="1200">
                        <a:effectLst/>
                      </a:endParaRPr>
                    </a:p>
                  </a:txBody>
                  <a:tcPr marL="61953" marR="61953" marT="30977" marB="30977" anchor="ctr">
                    <a:lnL>
                      <a:noFill/>
                    </a:lnL>
                    <a:lnR>
                      <a:noFill/>
                    </a:lnR>
                    <a:lnT>
                      <a:noFill/>
                    </a:lnT>
                    <a:lnB>
                      <a:noFill/>
                    </a:lnB>
                  </a:tcPr>
                </a:tc>
                <a:tc>
                  <a:txBody>
                    <a:bodyPr/>
                    <a:lstStyle/>
                    <a:p>
                      <a:pPr algn="r" rtl="0"/>
                      <a:r>
                        <a:rPr lang="en-US" sz="1200" b="1">
                          <a:effectLst/>
                        </a:rPr>
                        <a:t>Premium</a:t>
                      </a:r>
                      <a:endParaRPr lang="en-US" sz="1200">
                        <a:effectLst/>
                      </a:endParaRPr>
                    </a:p>
                  </a:txBody>
                  <a:tcPr marL="61953" marR="61953" marT="30977" marB="30977" anchor="ctr">
                    <a:lnL>
                      <a:noFill/>
                    </a:lnL>
                    <a:lnR>
                      <a:noFill/>
                    </a:lnR>
                    <a:lnT>
                      <a:noFill/>
                    </a:lnT>
                    <a:lnB>
                      <a:noFill/>
                    </a:lnB>
                  </a:tcPr>
                </a:tc>
                <a:tc>
                  <a:txBody>
                    <a:bodyPr/>
                    <a:lstStyle/>
                    <a:p>
                      <a:pPr algn="r" rtl="0"/>
                      <a:r>
                        <a:rPr lang="en-US" sz="1200" b="1">
                          <a:effectLst/>
                        </a:rPr>
                        <a:t>Premium RS</a:t>
                      </a:r>
                      <a:endParaRPr lang="en-US" sz="1200">
                        <a:effectLst/>
                      </a:endParaRPr>
                    </a:p>
                  </a:txBody>
                  <a:tcPr marL="61953" marR="61953" marT="30977" marB="30977" anchor="ctr">
                    <a:lnL>
                      <a:noFill/>
                    </a:lnL>
                    <a:lnR>
                      <a:noFill/>
                    </a:lnR>
                    <a:lnT>
                      <a:noFill/>
                    </a:lnT>
                    <a:lnB>
                      <a:noFill/>
                    </a:lnB>
                  </a:tcPr>
                </a:tc>
                <a:extLst>
                  <a:ext uri="{0D108BD9-81ED-4DB2-BD59-A6C34878D82A}">
                    <a16:rowId xmlns:a16="http://schemas.microsoft.com/office/drawing/2014/main" val="1434106839"/>
                  </a:ext>
                </a:extLst>
              </a:tr>
              <a:tr h="412577">
                <a:tc>
                  <a:txBody>
                    <a:bodyPr/>
                    <a:lstStyle/>
                    <a:p>
                      <a:pPr algn="l" rtl="0"/>
                      <a:r>
                        <a:rPr lang="en-US" sz="1200">
                          <a:effectLst/>
                        </a:rPr>
                        <a:t>Maximum single database size</a:t>
                      </a:r>
                    </a:p>
                  </a:txBody>
                  <a:tcPr marL="61953" marR="61953" marT="30977" marB="30977" anchor="ctr">
                    <a:lnL>
                      <a:noFill/>
                    </a:lnL>
                    <a:lnR>
                      <a:noFill/>
                    </a:lnR>
                    <a:lnT>
                      <a:noFill/>
                    </a:lnT>
                    <a:lnB>
                      <a:noFill/>
                    </a:lnB>
                  </a:tcPr>
                </a:tc>
                <a:tc>
                  <a:txBody>
                    <a:bodyPr/>
                    <a:lstStyle/>
                    <a:p>
                      <a:pPr algn="r" rtl="0"/>
                      <a:r>
                        <a:rPr lang="en-US" sz="1200">
                          <a:effectLst/>
                        </a:rPr>
                        <a:t>2 GB</a:t>
                      </a:r>
                    </a:p>
                  </a:txBody>
                  <a:tcPr marL="61953" marR="61953" marT="30977" marB="30977" anchor="ctr">
                    <a:lnL>
                      <a:noFill/>
                    </a:lnL>
                    <a:lnR>
                      <a:noFill/>
                    </a:lnR>
                    <a:lnT>
                      <a:noFill/>
                    </a:lnT>
                    <a:lnB>
                      <a:noFill/>
                    </a:lnB>
                  </a:tcPr>
                </a:tc>
                <a:tc>
                  <a:txBody>
                    <a:bodyPr/>
                    <a:lstStyle/>
                    <a:p>
                      <a:pPr algn="r" rtl="0"/>
                      <a:r>
                        <a:rPr lang="en-US" sz="1200">
                          <a:effectLst/>
                        </a:rPr>
                        <a:t>250 GB</a:t>
                      </a:r>
                    </a:p>
                  </a:txBody>
                  <a:tcPr marL="61953" marR="61953" marT="30977" marB="30977" anchor="ctr">
                    <a:lnL>
                      <a:noFill/>
                    </a:lnL>
                    <a:lnR>
                      <a:noFill/>
                    </a:lnR>
                    <a:lnT>
                      <a:noFill/>
                    </a:lnT>
                    <a:lnB>
                      <a:noFill/>
                    </a:lnB>
                  </a:tcPr>
                </a:tc>
                <a:tc>
                  <a:txBody>
                    <a:bodyPr/>
                    <a:lstStyle/>
                    <a:p>
                      <a:pPr algn="r" rtl="0"/>
                      <a:r>
                        <a:rPr lang="en-US" sz="1200">
                          <a:effectLst/>
                        </a:rPr>
                        <a:t>4 TB*</a:t>
                      </a:r>
                    </a:p>
                  </a:txBody>
                  <a:tcPr marL="61953" marR="61953" marT="30977" marB="30977" anchor="ctr">
                    <a:lnL>
                      <a:noFill/>
                    </a:lnL>
                    <a:lnR>
                      <a:noFill/>
                    </a:lnR>
                    <a:lnT>
                      <a:noFill/>
                    </a:lnT>
                    <a:lnB>
                      <a:noFill/>
                    </a:lnB>
                  </a:tcPr>
                </a:tc>
                <a:tc>
                  <a:txBody>
                    <a:bodyPr/>
                    <a:lstStyle/>
                    <a:p>
                      <a:pPr algn="r" rtl="0"/>
                      <a:r>
                        <a:rPr lang="en-US" sz="1200" dirty="0">
                          <a:effectLst/>
                        </a:rPr>
                        <a:t>1</a:t>
                      </a:r>
                      <a:r>
                        <a:rPr lang="en-US" sz="1200" baseline="0" dirty="0">
                          <a:effectLst/>
                        </a:rPr>
                        <a:t> TB</a:t>
                      </a:r>
                      <a:endParaRPr lang="en-US" sz="1200" dirty="0">
                        <a:effectLst/>
                      </a:endParaRPr>
                    </a:p>
                  </a:txBody>
                  <a:tcPr marL="61953" marR="61953" marT="30977" marB="30977" anchor="ctr">
                    <a:lnL>
                      <a:noFill/>
                    </a:lnL>
                    <a:lnR>
                      <a:noFill/>
                    </a:lnR>
                    <a:lnT>
                      <a:noFill/>
                    </a:lnT>
                    <a:lnB>
                      <a:noFill/>
                    </a:lnB>
                  </a:tcPr>
                </a:tc>
                <a:extLst>
                  <a:ext uri="{0D108BD9-81ED-4DB2-BD59-A6C34878D82A}">
                    <a16:rowId xmlns:a16="http://schemas.microsoft.com/office/drawing/2014/main" val="807097564"/>
                  </a:ext>
                </a:extLst>
              </a:tr>
              <a:tr h="412577">
                <a:tc>
                  <a:txBody>
                    <a:bodyPr/>
                    <a:lstStyle/>
                    <a:p>
                      <a:pPr algn="l" rtl="0"/>
                      <a:r>
                        <a:rPr lang="en-US" sz="1200">
                          <a:effectLst/>
                        </a:rPr>
                        <a:t>Maximum elastic pool size</a:t>
                      </a:r>
                    </a:p>
                  </a:txBody>
                  <a:tcPr marL="61953" marR="61953" marT="30977" marB="30977" anchor="ctr">
                    <a:lnL>
                      <a:noFill/>
                    </a:lnL>
                    <a:lnR>
                      <a:noFill/>
                    </a:lnR>
                    <a:lnT>
                      <a:noFill/>
                    </a:lnT>
                    <a:lnB>
                      <a:noFill/>
                    </a:lnB>
                  </a:tcPr>
                </a:tc>
                <a:tc>
                  <a:txBody>
                    <a:bodyPr/>
                    <a:lstStyle/>
                    <a:p>
                      <a:pPr algn="r" rtl="0"/>
                      <a:r>
                        <a:rPr lang="en-US" sz="1200">
                          <a:effectLst/>
                        </a:rPr>
                        <a:t>156 GB</a:t>
                      </a:r>
                    </a:p>
                  </a:txBody>
                  <a:tcPr marL="61953" marR="61953" marT="30977" marB="30977" anchor="ctr">
                    <a:lnL>
                      <a:noFill/>
                    </a:lnL>
                    <a:lnR>
                      <a:noFill/>
                    </a:lnR>
                    <a:lnT>
                      <a:noFill/>
                    </a:lnT>
                    <a:lnB>
                      <a:noFill/>
                    </a:lnB>
                  </a:tcPr>
                </a:tc>
                <a:tc>
                  <a:txBody>
                    <a:bodyPr/>
                    <a:lstStyle/>
                    <a:p>
                      <a:pPr algn="r" rtl="0"/>
                      <a:r>
                        <a:rPr lang="en-US" sz="1200" dirty="0">
                          <a:effectLst/>
                        </a:rPr>
                        <a:t>4</a:t>
                      </a:r>
                      <a:r>
                        <a:rPr lang="en-US" sz="1200" baseline="0" dirty="0">
                          <a:effectLst/>
                        </a:rPr>
                        <a:t> </a:t>
                      </a:r>
                      <a:r>
                        <a:rPr lang="en-US" sz="1200" dirty="0">
                          <a:effectLst/>
                        </a:rPr>
                        <a:t>TB</a:t>
                      </a:r>
                    </a:p>
                  </a:txBody>
                  <a:tcPr marL="61953" marR="61953" marT="30977" marB="30977" anchor="ctr">
                    <a:lnL>
                      <a:noFill/>
                    </a:lnL>
                    <a:lnR>
                      <a:noFill/>
                    </a:lnR>
                    <a:lnT>
                      <a:noFill/>
                    </a:lnT>
                    <a:lnB>
                      <a:noFill/>
                    </a:lnB>
                  </a:tcPr>
                </a:tc>
                <a:tc>
                  <a:txBody>
                    <a:bodyPr/>
                    <a:lstStyle/>
                    <a:p>
                      <a:pPr algn="r" rtl="0"/>
                      <a:r>
                        <a:rPr lang="en-US" sz="1200">
                          <a:effectLst/>
                        </a:rPr>
                        <a:t>4 TB*</a:t>
                      </a:r>
                    </a:p>
                  </a:txBody>
                  <a:tcPr marL="61953" marR="61953" marT="30977" marB="30977" anchor="ctr">
                    <a:lnL>
                      <a:noFill/>
                    </a:lnL>
                    <a:lnR>
                      <a:noFill/>
                    </a:lnR>
                    <a:lnT>
                      <a:noFill/>
                    </a:lnT>
                    <a:lnB>
                      <a:noFill/>
                    </a:lnB>
                  </a:tcPr>
                </a:tc>
                <a:tc>
                  <a:txBody>
                    <a:bodyPr/>
                    <a:lstStyle/>
                    <a:p>
                      <a:pPr algn="r" rtl="0"/>
                      <a:r>
                        <a:rPr lang="en-US" sz="1200" dirty="0">
                          <a:effectLst/>
                        </a:rPr>
                        <a:t>1</a:t>
                      </a:r>
                      <a:r>
                        <a:rPr lang="en-US" sz="1200" baseline="0" dirty="0">
                          <a:effectLst/>
                        </a:rPr>
                        <a:t> TB</a:t>
                      </a:r>
                      <a:endParaRPr lang="en-US" sz="1200" dirty="0">
                        <a:effectLst/>
                      </a:endParaRPr>
                    </a:p>
                  </a:txBody>
                  <a:tcPr marL="61953" marR="61953" marT="30977" marB="30977" anchor="ctr">
                    <a:lnL>
                      <a:noFill/>
                    </a:lnL>
                    <a:lnR>
                      <a:noFill/>
                    </a:lnR>
                    <a:lnT>
                      <a:noFill/>
                    </a:lnT>
                    <a:lnB>
                      <a:noFill/>
                    </a:lnB>
                  </a:tcPr>
                </a:tc>
                <a:extLst>
                  <a:ext uri="{0D108BD9-81ED-4DB2-BD59-A6C34878D82A}">
                    <a16:rowId xmlns:a16="http://schemas.microsoft.com/office/drawing/2014/main" val="340866845"/>
                  </a:ext>
                </a:extLst>
              </a:tr>
              <a:tr h="427713">
                <a:tc>
                  <a:txBody>
                    <a:bodyPr/>
                    <a:lstStyle/>
                    <a:p>
                      <a:pPr algn="l" rtl="0"/>
                      <a:r>
                        <a:rPr lang="en-US" sz="1200">
                          <a:effectLst/>
                        </a:rPr>
                        <a:t>Maximum database size in an elastic pool</a:t>
                      </a:r>
                    </a:p>
                  </a:txBody>
                  <a:tcPr marL="61953" marR="61953" marT="30977" marB="30977" anchor="ctr">
                    <a:lnL>
                      <a:noFill/>
                    </a:lnL>
                    <a:lnR>
                      <a:noFill/>
                    </a:lnR>
                    <a:lnT>
                      <a:noFill/>
                    </a:lnT>
                    <a:lnB>
                      <a:noFill/>
                    </a:lnB>
                  </a:tcPr>
                </a:tc>
                <a:tc>
                  <a:txBody>
                    <a:bodyPr/>
                    <a:lstStyle/>
                    <a:p>
                      <a:pPr algn="r" rtl="0"/>
                      <a:r>
                        <a:rPr lang="en-US" sz="1200">
                          <a:effectLst/>
                        </a:rPr>
                        <a:t>2 GB</a:t>
                      </a:r>
                    </a:p>
                  </a:txBody>
                  <a:tcPr marL="61953" marR="61953" marT="30977" marB="30977" anchor="ctr">
                    <a:lnL>
                      <a:noFill/>
                    </a:lnL>
                    <a:lnR>
                      <a:noFill/>
                    </a:lnR>
                    <a:lnT>
                      <a:noFill/>
                    </a:lnT>
                    <a:lnB>
                      <a:noFill/>
                    </a:lnB>
                  </a:tcPr>
                </a:tc>
                <a:tc>
                  <a:txBody>
                    <a:bodyPr/>
                    <a:lstStyle/>
                    <a:p>
                      <a:pPr algn="r" rtl="0"/>
                      <a:r>
                        <a:rPr lang="en-US" sz="1200">
                          <a:effectLst/>
                        </a:rPr>
                        <a:t>250 GB</a:t>
                      </a:r>
                    </a:p>
                  </a:txBody>
                  <a:tcPr marL="61953" marR="61953" marT="30977" marB="30977" anchor="ctr">
                    <a:lnL>
                      <a:noFill/>
                    </a:lnL>
                    <a:lnR>
                      <a:noFill/>
                    </a:lnR>
                    <a:lnT>
                      <a:noFill/>
                    </a:lnT>
                    <a:lnB>
                      <a:noFill/>
                    </a:lnB>
                  </a:tcPr>
                </a:tc>
                <a:tc>
                  <a:txBody>
                    <a:bodyPr/>
                    <a:lstStyle/>
                    <a:p>
                      <a:pPr algn="r" rtl="0"/>
                      <a:r>
                        <a:rPr lang="en-US" sz="1200">
                          <a:effectLst/>
                        </a:rPr>
                        <a:t>500 GB</a:t>
                      </a:r>
                    </a:p>
                  </a:txBody>
                  <a:tcPr marL="61953" marR="61953" marT="30977" marB="30977" anchor="ctr">
                    <a:lnL>
                      <a:noFill/>
                    </a:lnL>
                    <a:lnR>
                      <a:noFill/>
                    </a:lnR>
                    <a:lnT>
                      <a:noFill/>
                    </a:lnT>
                    <a:lnB>
                      <a:noFill/>
                    </a:lnB>
                  </a:tcPr>
                </a:tc>
                <a:tc>
                  <a:txBody>
                    <a:bodyPr/>
                    <a:lstStyle/>
                    <a:p>
                      <a:pPr algn="r" rtl="0"/>
                      <a:r>
                        <a:rPr lang="en-US" sz="1200">
                          <a:effectLst/>
                        </a:rPr>
                        <a:t>500 GB</a:t>
                      </a:r>
                    </a:p>
                  </a:txBody>
                  <a:tcPr marL="61953" marR="61953" marT="30977" marB="30977" anchor="ctr">
                    <a:lnL>
                      <a:noFill/>
                    </a:lnL>
                    <a:lnR>
                      <a:noFill/>
                    </a:lnR>
                    <a:lnT>
                      <a:noFill/>
                    </a:lnT>
                    <a:lnB>
                      <a:noFill/>
                    </a:lnB>
                  </a:tcPr>
                </a:tc>
                <a:extLst>
                  <a:ext uri="{0D108BD9-81ED-4DB2-BD59-A6C34878D82A}">
                    <a16:rowId xmlns:a16="http://schemas.microsoft.com/office/drawing/2014/main" val="1203225735"/>
                  </a:ext>
                </a:extLst>
              </a:tr>
              <a:tr h="589397">
                <a:tc>
                  <a:txBody>
                    <a:bodyPr/>
                    <a:lstStyle/>
                    <a:p>
                      <a:pPr algn="l" rtl="0"/>
                      <a:r>
                        <a:rPr lang="en-US" sz="1200">
                          <a:effectLst/>
                        </a:rPr>
                        <a:t>Maximum number of databases per pool</a:t>
                      </a:r>
                    </a:p>
                  </a:txBody>
                  <a:tcPr marL="61953" marR="61953" marT="30977" marB="30977" anchor="ctr">
                    <a:lnL>
                      <a:noFill/>
                    </a:lnL>
                    <a:lnR>
                      <a:noFill/>
                    </a:lnR>
                    <a:lnT>
                      <a:noFill/>
                    </a:lnT>
                    <a:lnB>
                      <a:noFill/>
                    </a:lnB>
                  </a:tcPr>
                </a:tc>
                <a:tc>
                  <a:txBody>
                    <a:bodyPr/>
                    <a:lstStyle/>
                    <a:p>
                      <a:pPr algn="r" rtl="0"/>
                      <a:r>
                        <a:rPr lang="en-US" sz="1200">
                          <a:effectLst/>
                        </a:rPr>
                        <a:t>500</a:t>
                      </a:r>
                    </a:p>
                  </a:txBody>
                  <a:tcPr marL="61953" marR="61953" marT="30977" marB="30977" anchor="ctr">
                    <a:lnL>
                      <a:noFill/>
                    </a:lnL>
                    <a:lnR>
                      <a:noFill/>
                    </a:lnR>
                    <a:lnT>
                      <a:noFill/>
                    </a:lnT>
                    <a:lnB>
                      <a:noFill/>
                    </a:lnB>
                  </a:tcPr>
                </a:tc>
                <a:tc>
                  <a:txBody>
                    <a:bodyPr/>
                    <a:lstStyle/>
                    <a:p>
                      <a:pPr algn="r" rtl="0"/>
                      <a:r>
                        <a:rPr lang="en-US" sz="1200">
                          <a:effectLst/>
                        </a:rPr>
                        <a:t>500</a:t>
                      </a:r>
                    </a:p>
                  </a:txBody>
                  <a:tcPr marL="61953" marR="61953" marT="30977" marB="30977" anchor="ctr">
                    <a:lnL>
                      <a:noFill/>
                    </a:lnL>
                    <a:lnR>
                      <a:noFill/>
                    </a:lnR>
                    <a:lnT>
                      <a:noFill/>
                    </a:lnT>
                    <a:lnB>
                      <a:noFill/>
                    </a:lnB>
                  </a:tcPr>
                </a:tc>
                <a:tc>
                  <a:txBody>
                    <a:bodyPr/>
                    <a:lstStyle/>
                    <a:p>
                      <a:pPr algn="r" rtl="0"/>
                      <a:r>
                        <a:rPr lang="en-US" sz="1200">
                          <a:effectLst/>
                        </a:rPr>
                        <a:t>100</a:t>
                      </a:r>
                    </a:p>
                  </a:txBody>
                  <a:tcPr marL="61953" marR="61953" marT="30977" marB="30977" anchor="ctr">
                    <a:lnL>
                      <a:noFill/>
                    </a:lnL>
                    <a:lnR>
                      <a:noFill/>
                    </a:lnR>
                    <a:lnT>
                      <a:noFill/>
                    </a:lnT>
                    <a:lnB>
                      <a:noFill/>
                    </a:lnB>
                  </a:tcPr>
                </a:tc>
                <a:tc>
                  <a:txBody>
                    <a:bodyPr/>
                    <a:lstStyle/>
                    <a:p>
                      <a:pPr algn="r" rtl="0"/>
                      <a:r>
                        <a:rPr lang="en-US" sz="1200">
                          <a:effectLst/>
                        </a:rPr>
                        <a:t>100</a:t>
                      </a:r>
                    </a:p>
                  </a:txBody>
                  <a:tcPr marL="61953" marR="61953" marT="30977" marB="30977" anchor="ctr">
                    <a:lnL>
                      <a:noFill/>
                    </a:lnL>
                    <a:lnR>
                      <a:noFill/>
                    </a:lnR>
                    <a:lnT>
                      <a:noFill/>
                    </a:lnT>
                    <a:lnB>
                      <a:noFill/>
                    </a:lnB>
                  </a:tcPr>
                </a:tc>
                <a:extLst>
                  <a:ext uri="{0D108BD9-81ED-4DB2-BD59-A6C34878D82A}">
                    <a16:rowId xmlns:a16="http://schemas.microsoft.com/office/drawing/2014/main" val="2898354803"/>
                  </a:ext>
                </a:extLst>
              </a:tr>
              <a:tr h="412577">
                <a:tc>
                  <a:txBody>
                    <a:bodyPr/>
                    <a:lstStyle/>
                    <a:p>
                      <a:pPr algn="l" rtl="0"/>
                      <a:r>
                        <a:rPr lang="en-US" sz="1200">
                          <a:effectLst/>
                        </a:rPr>
                        <a:t>Maximum single database DTUs</a:t>
                      </a:r>
                    </a:p>
                  </a:txBody>
                  <a:tcPr marL="61953" marR="61953" marT="30977" marB="30977" anchor="ctr">
                    <a:lnL>
                      <a:noFill/>
                    </a:lnL>
                    <a:lnR>
                      <a:noFill/>
                    </a:lnR>
                    <a:lnT>
                      <a:noFill/>
                    </a:lnT>
                    <a:lnB>
                      <a:noFill/>
                    </a:lnB>
                  </a:tcPr>
                </a:tc>
                <a:tc>
                  <a:txBody>
                    <a:bodyPr/>
                    <a:lstStyle/>
                    <a:p>
                      <a:pPr algn="r" rtl="0"/>
                      <a:r>
                        <a:rPr lang="en-US" sz="1200">
                          <a:effectLst/>
                        </a:rPr>
                        <a:t>5</a:t>
                      </a:r>
                    </a:p>
                  </a:txBody>
                  <a:tcPr marL="61953" marR="61953" marT="30977" marB="30977" anchor="ctr">
                    <a:lnL>
                      <a:noFill/>
                    </a:lnL>
                    <a:lnR>
                      <a:noFill/>
                    </a:lnR>
                    <a:lnT>
                      <a:noFill/>
                    </a:lnT>
                    <a:lnB>
                      <a:noFill/>
                    </a:lnB>
                  </a:tcPr>
                </a:tc>
                <a:tc>
                  <a:txBody>
                    <a:bodyPr/>
                    <a:lstStyle/>
                    <a:p>
                      <a:pPr algn="r" rtl="0"/>
                      <a:r>
                        <a:rPr lang="en-US" sz="1200">
                          <a:effectLst/>
                        </a:rPr>
                        <a:t>100</a:t>
                      </a:r>
                    </a:p>
                  </a:txBody>
                  <a:tcPr marL="61953" marR="61953" marT="30977" marB="30977" anchor="ctr">
                    <a:lnL>
                      <a:noFill/>
                    </a:lnL>
                    <a:lnR>
                      <a:noFill/>
                    </a:lnR>
                    <a:lnT>
                      <a:noFill/>
                    </a:lnT>
                    <a:lnB>
                      <a:noFill/>
                    </a:lnB>
                  </a:tcPr>
                </a:tc>
                <a:tc>
                  <a:txBody>
                    <a:bodyPr/>
                    <a:lstStyle/>
                    <a:p>
                      <a:pPr algn="r" rtl="0"/>
                      <a:r>
                        <a:rPr lang="en-US" sz="1200">
                          <a:effectLst/>
                        </a:rPr>
                        <a:t>4000</a:t>
                      </a:r>
                    </a:p>
                  </a:txBody>
                  <a:tcPr marL="61953" marR="61953" marT="30977" marB="30977" anchor="ctr">
                    <a:lnL>
                      <a:noFill/>
                    </a:lnL>
                    <a:lnR>
                      <a:noFill/>
                    </a:lnR>
                    <a:lnT>
                      <a:noFill/>
                    </a:lnT>
                    <a:lnB>
                      <a:noFill/>
                    </a:lnB>
                  </a:tcPr>
                </a:tc>
                <a:tc>
                  <a:txBody>
                    <a:bodyPr/>
                    <a:lstStyle/>
                    <a:p>
                      <a:pPr algn="r" rtl="0"/>
                      <a:r>
                        <a:rPr lang="en-US" sz="1200">
                          <a:effectLst/>
                        </a:rPr>
                        <a:t>1000</a:t>
                      </a:r>
                    </a:p>
                  </a:txBody>
                  <a:tcPr marL="61953" marR="61953" marT="30977" marB="30977" anchor="ctr">
                    <a:lnL>
                      <a:noFill/>
                    </a:lnL>
                    <a:lnR>
                      <a:noFill/>
                    </a:lnR>
                    <a:lnT>
                      <a:noFill/>
                    </a:lnT>
                    <a:lnB>
                      <a:noFill/>
                    </a:lnB>
                  </a:tcPr>
                </a:tc>
                <a:extLst>
                  <a:ext uri="{0D108BD9-81ED-4DB2-BD59-A6C34878D82A}">
                    <a16:rowId xmlns:a16="http://schemas.microsoft.com/office/drawing/2014/main" val="237750747"/>
                  </a:ext>
                </a:extLst>
              </a:tr>
              <a:tr h="589397">
                <a:tc>
                  <a:txBody>
                    <a:bodyPr/>
                    <a:lstStyle/>
                    <a:p>
                      <a:pPr algn="l" rtl="0"/>
                      <a:r>
                        <a:rPr lang="en-US" sz="1200">
                          <a:effectLst/>
                        </a:rPr>
                        <a:t>Maximum DTUs per database in an elastic pool</a:t>
                      </a:r>
                    </a:p>
                  </a:txBody>
                  <a:tcPr marL="61953" marR="61953" marT="30977" marB="30977" anchor="ctr">
                    <a:lnL>
                      <a:noFill/>
                    </a:lnL>
                    <a:lnR>
                      <a:noFill/>
                    </a:lnR>
                    <a:lnT>
                      <a:noFill/>
                    </a:lnT>
                    <a:lnB>
                      <a:noFill/>
                    </a:lnB>
                  </a:tcPr>
                </a:tc>
                <a:tc>
                  <a:txBody>
                    <a:bodyPr/>
                    <a:lstStyle/>
                    <a:p>
                      <a:pPr algn="r" rtl="0"/>
                      <a:r>
                        <a:rPr lang="en-US" sz="1200" dirty="0">
                          <a:effectLst/>
                        </a:rPr>
                        <a:t>5</a:t>
                      </a:r>
                    </a:p>
                  </a:txBody>
                  <a:tcPr marL="61953" marR="61953" marT="30977" marB="30977" anchor="ctr">
                    <a:lnL>
                      <a:noFill/>
                    </a:lnL>
                    <a:lnR>
                      <a:noFill/>
                    </a:lnR>
                    <a:lnT>
                      <a:noFill/>
                    </a:lnT>
                    <a:lnB>
                      <a:noFill/>
                    </a:lnB>
                  </a:tcPr>
                </a:tc>
                <a:tc>
                  <a:txBody>
                    <a:bodyPr/>
                    <a:lstStyle/>
                    <a:p>
                      <a:pPr algn="r" rtl="0"/>
                      <a:r>
                        <a:rPr lang="en-US" sz="1200">
                          <a:effectLst/>
                        </a:rPr>
                        <a:t>3000</a:t>
                      </a:r>
                    </a:p>
                  </a:txBody>
                  <a:tcPr marL="61953" marR="61953" marT="30977" marB="30977" anchor="ctr">
                    <a:lnL>
                      <a:noFill/>
                    </a:lnL>
                    <a:lnR>
                      <a:noFill/>
                    </a:lnR>
                    <a:lnT>
                      <a:noFill/>
                    </a:lnT>
                    <a:lnB>
                      <a:noFill/>
                    </a:lnB>
                  </a:tcPr>
                </a:tc>
                <a:tc>
                  <a:txBody>
                    <a:bodyPr/>
                    <a:lstStyle/>
                    <a:p>
                      <a:pPr algn="r" rtl="0"/>
                      <a:r>
                        <a:rPr lang="en-US" sz="1200">
                          <a:effectLst/>
                        </a:rPr>
                        <a:t>4000</a:t>
                      </a:r>
                    </a:p>
                  </a:txBody>
                  <a:tcPr marL="61953" marR="61953" marT="30977" marB="30977" anchor="ctr">
                    <a:lnL>
                      <a:noFill/>
                    </a:lnL>
                    <a:lnR>
                      <a:noFill/>
                    </a:lnR>
                    <a:lnT>
                      <a:noFill/>
                    </a:lnT>
                    <a:lnB>
                      <a:noFill/>
                    </a:lnB>
                  </a:tcPr>
                </a:tc>
                <a:tc>
                  <a:txBody>
                    <a:bodyPr/>
                    <a:lstStyle/>
                    <a:p>
                      <a:pPr algn="r" rtl="0"/>
                      <a:r>
                        <a:rPr lang="en-US" sz="1200">
                          <a:effectLst/>
                        </a:rPr>
                        <a:t>1000</a:t>
                      </a:r>
                    </a:p>
                  </a:txBody>
                  <a:tcPr marL="61953" marR="61953" marT="30977" marB="30977" anchor="ctr">
                    <a:lnL>
                      <a:noFill/>
                    </a:lnL>
                    <a:lnR>
                      <a:noFill/>
                    </a:lnR>
                    <a:lnT>
                      <a:noFill/>
                    </a:lnT>
                    <a:lnB>
                      <a:noFill/>
                    </a:lnB>
                  </a:tcPr>
                </a:tc>
                <a:extLst>
                  <a:ext uri="{0D108BD9-81ED-4DB2-BD59-A6C34878D82A}">
                    <a16:rowId xmlns:a16="http://schemas.microsoft.com/office/drawing/2014/main" val="88765514"/>
                  </a:ext>
                </a:extLst>
              </a:tr>
              <a:tr h="427713">
                <a:tc>
                  <a:txBody>
                    <a:bodyPr/>
                    <a:lstStyle/>
                    <a:p>
                      <a:pPr algn="l" rtl="0"/>
                      <a:r>
                        <a:rPr lang="en-US" sz="1200">
                          <a:effectLst/>
                        </a:rPr>
                        <a:t>Database backup retention period</a:t>
                      </a:r>
                    </a:p>
                  </a:txBody>
                  <a:tcPr marL="61953" marR="61953" marT="30977" marB="30977" anchor="ctr">
                    <a:lnL>
                      <a:noFill/>
                    </a:lnL>
                    <a:lnR>
                      <a:noFill/>
                    </a:lnR>
                    <a:lnT>
                      <a:noFill/>
                    </a:lnT>
                    <a:lnB>
                      <a:noFill/>
                    </a:lnB>
                  </a:tcPr>
                </a:tc>
                <a:tc>
                  <a:txBody>
                    <a:bodyPr/>
                    <a:lstStyle/>
                    <a:p>
                      <a:pPr algn="r" rtl="0"/>
                      <a:r>
                        <a:rPr lang="en-US" sz="1200">
                          <a:effectLst/>
                        </a:rPr>
                        <a:t>7 days</a:t>
                      </a:r>
                    </a:p>
                  </a:txBody>
                  <a:tcPr marL="61953" marR="61953" marT="30977" marB="30977" anchor="ctr">
                    <a:lnL>
                      <a:noFill/>
                    </a:lnL>
                    <a:lnR>
                      <a:noFill/>
                    </a:lnR>
                    <a:lnT>
                      <a:noFill/>
                    </a:lnT>
                    <a:lnB>
                      <a:noFill/>
                    </a:lnB>
                  </a:tcPr>
                </a:tc>
                <a:tc>
                  <a:txBody>
                    <a:bodyPr/>
                    <a:lstStyle/>
                    <a:p>
                      <a:pPr algn="r" rtl="0"/>
                      <a:r>
                        <a:rPr lang="en-US" sz="1200">
                          <a:effectLst/>
                        </a:rPr>
                        <a:t>35 days</a:t>
                      </a:r>
                    </a:p>
                  </a:txBody>
                  <a:tcPr marL="61953" marR="61953" marT="30977" marB="30977" anchor="ctr">
                    <a:lnL>
                      <a:noFill/>
                    </a:lnL>
                    <a:lnR>
                      <a:noFill/>
                    </a:lnR>
                    <a:lnT>
                      <a:noFill/>
                    </a:lnT>
                    <a:lnB>
                      <a:noFill/>
                    </a:lnB>
                  </a:tcPr>
                </a:tc>
                <a:tc>
                  <a:txBody>
                    <a:bodyPr/>
                    <a:lstStyle/>
                    <a:p>
                      <a:pPr algn="r" rtl="0"/>
                      <a:r>
                        <a:rPr lang="en-US" sz="1200">
                          <a:effectLst/>
                        </a:rPr>
                        <a:t>35 days</a:t>
                      </a:r>
                    </a:p>
                  </a:txBody>
                  <a:tcPr marL="61953" marR="61953" marT="30977" marB="30977" anchor="ctr">
                    <a:lnL>
                      <a:noFill/>
                    </a:lnL>
                    <a:lnR>
                      <a:noFill/>
                    </a:lnR>
                    <a:lnT>
                      <a:noFill/>
                    </a:lnT>
                    <a:lnB>
                      <a:noFill/>
                    </a:lnB>
                  </a:tcPr>
                </a:tc>
                <a:tc>
                  <a:txBody>
                    <a:bodyPr/>
                    <a:lstStyle/>
                    <a:p>
                      <a:pPr algn="r" rtl="0"/>
                      <a:r>
                        <a:rPr lang="en-US" sz="1200" dirty="0">
                          <a:effectLst/>
                        </a:rPr>
                        <a:t>35 days</a:t>
                      </a:r>
                    </a:p>
                  </a:txBody>
                  <a:tcPr marL="61953" marR="61953" marT="30977" marB="30977" anchor="ctr">
                    <a:lnL>
                      <a:noFill/>
                    </a:lnL>
                    <a:lnR>
                      <a:noFill/>
                    </a:lnR>
                    <a:lnT>
                      <a:noFill/>
                    </a:lnT>
                    <a:lnB>
                      <a:noFill/>
                    </a:lnB>
                  </a:tcPr>
                </a:tc>
                <a:extLst>
                  <a:ext uri="{0D108BD9-81ED-4DB2-BD59-A6C34878D82A}">
                    <a16:rowId xmlns:a16="http://schemas.microsoft.com/office/drawing/2014/main" val="937902585"/>
                  </a:ext>
                </a:extLst>
              </a:tr>
              <a:tr h="427713">
                <a:tc>
                  <a:txBody>
                    <a:bodyPr/>
                    <a:lstStyle/>
                    <a:p>
                      <a:pPr algn="l" rtl="0"/>
                      <a:r>
                        <a:rPr lang="en-US" sz="1200" dirty="0">
                          <a:effectLst/>
                        </a:rPr>
                        <a:t>SKUs</a:t>
                      </a:r>
                    </a:p>
                  </a:txBody>
                  <a:tcPr marL="61953" marR="61953" marT="30977" marB="30977" anchor="ctr">
                    <a:lnL>
                      <a:noFill/>
                    </a:lnL>
                    <a:lnR>
                      <a:noFill/>
                    </a:lnR>
                    <a:lnT>
                      <a:noFill/>
                    </a:lnT>
                    <a:lnB>
                      <a:noFill/>
                    </a:lnB>
                  </a:tcPr>
                </a:tc>
                <a:tc>
                  <a:txBody>
                    <a:bodyPr/>
                    <a:lstStyle/>
                    <a:p>
                      <a:pPr algn="r" rtl="0"/>
                      <a:r>
                        <a:rPr lang="en-US" sz="1200" dirty="0">
                          <a:effectLst/>
                        </a:rPr>
                        <a:t>Basic</a:t>
                      </a:r>
                    </a:p>
                  </a:txBody>
                  <a:tcPr marL="61953" marR="61953" marT="30977" marB="30977" anchor="ctr">
                    <a:lnL>
                      <a:noFill/>
                    </a:lnL>
                    <a:lnR>
                      <a:noFill/>
                    </a:lnR>
                    <a:lnT>
                      <a:noFill/>
                    </a:lnT>
                    <a:lnB>
                      <a:noFill/>
                    </a:lnB>
                  </a:tcPr>
                </a:tc>
                <a:tc>
                  <a:txBody>
                    <a:bodyPr/>
                    <a:lstStyle/>
                    <a:p>
                      <a:pPr algn="r" rtl="0"/>
                      <a:r>
                        <a:rPr lang="en-US" sz="1200" dirty="0">
                          <a:effectLst/>
                        </a:rPr>
                        <a:t>S0-S12</a:t>
                      </a:r>
                    </a:p>
                  </a:txBody>
                  <a:tcPr marL="61953" marR="61953" marT="30977" marB="30977" anchor="ctr">
                    <a:lnL>
                      <a:noFill/>
                    </a:lnL>
                    <a:lnR>
                      <a:noFill/>
                    </a:lnR>
                    <a:lnT>
                      <a:noFill/>
                    </a:lnT>
                    <a:lnB>
                      <a:noFill/>
                    </a:lnB>
                  </a:tcPr>
                </a:tc>
                <a:tc>
                  <a:txBody>
                    <a:bodyPr/>
                    <a:lstStyle/>
                    <a:p>
                      <a:pPr algn="r" rtl="0"/>
                      <a:r>
                        <a:rPr lang="en-US" sz="1200" dirty="0">
                          <a:effectLst/>
                        </a:rPr>
                        <a:t>P1-P6, P11, P15</a:t>
                      </a:r>
                    </a:p>
                  </a:txBody>
                  <a:tcPr marL="61953" marR="61953" marT="30977" marB="30977" anchor="ctr">
                    <a:lnL>
                      <a:noFill/>
                    </a:lnL>
                    <a:lnR>
                      <a:noFill/>
                    </a:lnR>
                    <a:lnT>
                      <a:noFill/>
                    </a:lnT>
                    <a:lnB>
                      <a:noFill/>
                    </a:lnB>
                  </a:tcPr>
                </a:tc>
                <a:tc>
                  <a:txBody>
                    <a:bodyPr/>
                    <a:lstStyle/>
                    <a:p>
                      <a:pPr algn="r" rtl="0"/>
                      <a:r>
                        <a:rPr lang="en-US" sz="1200" dirty="0">
                          <a:effectLst/>
                        </a:rPr>
                        <a:t>PRS1, PRS2, PRS4, PRS6</a:t>
                      </a:r>
                    </a:p>
                  </a:txBody>
                  <a:tcPr marL="61953" marR="61953" marT="30977" marB="30977" anchor="ctr">
                    <a:lnL>
                      <a:noFill/>
                    </a:lnL>
                    <a:lnR>
                      <a:noFill/>
                    </a:lnR>
                    <a:lnT>
                      <a:noFill/>
                    </a:lnT>
                    <a:lnB>
                      <a:noFill/>
                    </a:lnB>
                  </a:tcPr>
                </a:tc>
                <a:extLst>
                  <a:ext uri="{0D108BD9-81ED-4DB2-BD59-A6C34878D82A}">
                    <a16:rowId xmlns:a16="http://schemas.microsoft.com/office/drawing/2014/main" val="10008"/>
                  </a:ext>
                </a:extLst>
              </a:tr>
            </a:tbl>
          </a:graphicData>
        </a:graphic>
      </p:graphicFrame>
      <p:sp>
        <p:nvSpPr>
          <p:cNvPr id="8" name="Rectangle 7"/>
          <p:cNvSpPr/>
          <p:nvPr/>
        </p:nvSpPr>
        <p:spPr>
          <a:xfrm>
            <a:off x="487813" y="5617443"/>
            <a:ext cx="8311551" cy="300082"/>
          </a:xfrm>
          <a:prstGeom prst="rect">
            <a:avLst/>
          </a:prstGeom>
        </p:spPr>
        <p:txBody>
          <a:bodyPr wrap="square">
            <a:spAutoFit/>
          </a:bodyPr>
          <a:lstStyle/>
          <a:p>
            <a:pPr defTabSz="342900" fontAlgn="auto">
              <a:spcBef>
                <a:spcPts val="0"/>
              </a:spcBef>
              <a:spcAft>
                <a:spcPts val="0"/>
              </a:spcAft>
              <a:defRPr/>
            </a:pPr>
            <a:r>
              <a:rPr lang="en-US" sz="1350" b="0" dirty="0">
                <a:solidFill>
                  <a:prstClr val="black"/>
                </a:solidFill>
                <a:latin typeface="Calibri" panose="020F0502020204030204"/>
                <a:cs typeface="+mn-cs"/>
                <a:hlinkClick r:id="rId3"/>
              </a:rPr>
              <a:t>https://docs.microsoft.com/en-us/azure/sql-database/sql-database-service-tiers</a:t>
            </a:r>
            <a:r>
              <a:rPr lang="en-US" sz="1350" b="0" dirty="0">
                <a:solidFill>
                  <a:prstClr val="black"/>
                </a:solidFill>
                <a:latin typeface="Calibri" panose="020F0502020204030204"/>
                <a:cs typeface="+mn-cs"/>
              </a:rPr>
              <a:t> </a:t>
            </a:r>
          </a:p>
        </p:txBody>
      </p:sp>
    </p:spTree>
    <p:extLst>
      <p:ext uri="{BB962C8B-B14F-4D97-AF65-F5344CB8AC3E}">
        <p14:creationId xmlns:p14="http://schemas.microsoft.com/office/powerpoint/2010/main" val="877118013"/>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QL Database Security</a:t>
            </a:r>
          </a:p>
        </p:txBody>
      </p:sp>
      <p:sp>
        <p:nvSpPr>
          <p:cNvPr id="3" name="Content Placeholder 2"/>
          <p:cNvSpPr>
            <a:spLocks noGrp="1"/>
          </p:cNvSpPr>
          <p:nvPr>
            <p:ph idx="1"/>
          </p:nvPr>
        </p:nvSpPr>
        <p:spPr>
          <a:xfrm>
            <a:off x="151193" y="1781177"/>
            <a:ext cx="8218974" cy="3972732"/>
          </a:xfrm>
        </p:spPr>
        <p:txBody>
          <a:bodyPr>
            <a:normAutofit fontScale="77500" lnSpcReduction="20000"/>
          </a:bodyPr>
          <a:lstStyle/>
          <a:p>
            <a:pPr marL="428625" indent="-428625">
              <a:buFont typeface="Arial" panose="020B0604020202020204" pitchFamily="34" charset="0"/>
              <a:buChar char="•"/>
            </a:pPr>
            <a:r>
              <a:rPr lang="en-US" dirty="0"/>
              <a:t>Firewall &amp; Firewall Rules</a:t>
            </a:r>
          </a:p>
          <a:p>
            <a:pPr marL="428625" indent="-428625">
              <a:buFont typeface="Arial" panose="020B0604020202020204" pitchFamily="34" charset="0"/>
              <a:buChar char="•"/>
            </a:pPr>
            <a:r>
              <a:rPr lang="en-US" b="1" dirty="0">
                <a:solidFill>
                  <a:srgbClr val="00B050"/>
                </a:solidFill>
              </a:rPr>
              <a:t>Service Endpoints</a:t>
            </a:r>
          </a:p>
          <a:p>
            <a:pPr marL="428625" lvl="1" indent="-428625">
              <a:spcBef>
                <a:spcPts val="750"/>
              </a:spcBef>
              <a:buFont typeface="Arial" panose="020B0604020202020204" pitchFamily="34" charset="0"/>
              <a:buChar char="•"/>
            </a:pPr>
            <a:r>
              <a:rPr lang="en-US" dirty="0"/>
              <a:t>Auditing for compliance and security</a:t>
            </a:r>
          </a:p>
          <a:p>
            <a:pPr marL="428625" indent="-428625">
              <a:buFont typeface="Arial" panose="020B0604020202020204" pitchFamily="34" charset="0"/>
              <a:buChar char="•"/>
            </a:pPr>
            <a:r>
              <a:rPr lang="en-US" dirty="0"/>
              <a:t>Encryption</a:t>
            </a:r>
          </a:p>
          <a:p>
            <a:pPr marL="771525" lvl="1" indent="-428625">
              <a:buFont typeface="Arial" panose="020B0604020202020204" pitchFamily="34" charset="0"/>
              <a:buChar char="•"/>
            </a:pPr>
            <a:r>
              <a:rPr lang="en-US" dirty="0"/>
              <a:t>TDE( Now supports BYOK, in public Preview)</a:t>
            </a:r>
          </a:p>
          <a:p>
            <a:pPr marL="771525" lvl="1" indent="-428625">
              <a:buFont typeface="Arial" panose="020B0604020202020204" pitchFamily="34" charset="0"/>
              <a:buChar char="•"/>
            </a:pPr>
            <a:r>
              <a:rPr lang="en-US" dirty="0"/>
              <a:t>Always Encrypt</a:t>
            </a:r>
          </a:p>
          <a:p>
            <a:pPr marL="428625" indent="-428625">
              <a:buFont typeface="Arial" panose="020B0604020202020204" pitchFamily="34" charset="0"/>
              <a:buChar char="•"/>
            </a:pPr>
            <a:r>
              <a:rPr lang="en-US" dirty="0"/>
              <a:t>Authentication: “Who are you?”</a:t>
            </a:r>
          </a:p>
          <a:p>
            <a:pPr marL="771525" lvl="1" indent="-428625">
              <a:buFont typeface="Arial" panose="020B0604020202020204" pitchFamily="34" charset="0"/>
              <a:buChar char="•"/>
            </a:pPr>
            <a:r>
              <a:rPr lang="en-US" dirty="0"/>
              <a:t>SQL Authentication</a:t>
            </a:r>
          </a:p>
          <a:p>
            <a:pPr marL="771525" lvl="1" indent="-428625">
              <a:buFont typeface="Arial" panose="020B0604020202020204" pitchFamily="34" charset="0"/>
              <a:buChar char="•"/>
            </a:pPr>
            <a:r>
              <a:rPr lang="en-US" dirty="0"/>
              <a:t>Azure Active Directory (AAD) Authentication (supports Federated identities and MFA)</a:t>
            </a:r>
          </a:p>
          <a:p>
            <a:pPr marL="428625" indent="-428625">
              <a:buFont typeface="Arial" panose="020B0604020202020204" pitchFamily="34" charset="0"/>
              <a:buChar char="•"/>
            </a:pPr>
            <a:r>
              <a:rPr lang="en-US" dirty="0"/>
              <a:t>Authorization</a:t>
            </a:r>
          </a:p>
          <a:p>
            <a:pPr marL="771525" lvl="1" indent="-428625">
              <a:buFont typeface="Arial" panose="020B0604020202020204" pitchFamily="34" charset="0"/>
              <a:buChar char="•"/>
            </a:pPr>
            <a:r>
              <a:rPr lang="en-US" dirty="0"/>
              <a:t>“What can you do?”</a:t>
            </a:r>
          </a:p>
          <a:p>
            <a:pPr marL="685800" lvl="1" indent="-342900">
              <a:buFont typeface="Arial" panose="020B0604020202020204" pitchFamily="34" charset="0"/>
              <a:buChar char="•"/>
            </a:pPr>
            <a:r>
              <a:rPr lang="en-US" dirty="0"/>
              <a:t>Dynamic data masking: Hide sensitive data from non-privileged users</a:t>
            </a:r>
          </a:p>
          <a:p>
            <a:pPr marL="685800" lvl="1" indent="-342900">
              <a:buFont typeface="Arial" panose="020B0604020202020204" pitchFamily="34" charset="0"/>
              <a:buChar char="•"/>
            </a:pPr>
            <a:r>
              <a:rPr lang="en-US" dirty="0"/>
              <a:t>Row-level security</a:t>
            </a:r>
          </a:p>
          <a:p>
            <a:pPr marL="771525" lvl="1" indent="-428625">
              <a:buFont typeface="Arial" panose="020B0604020202020204" pitchFamily="34" charset="0"/>
              <a:buChar char="•"/>
            </a:pPr>
            <a:endParaRPr lang="en-US" dirty="0"/>
          </a:p>
          <a:p>
            <a:pPr lvl="1"/>
            <a:endParaRPr lang="en-US" dirty="0"/>
          </a:p>
        </p:txBody>
      </p:sp>
      <p:pic>
        <p:nvPicPr>
          <p:cNvPr id="2050" name="Picture 2" descr="C:\Users\kumarni\AppData\Local\Temp\SNAGHTML708d4bbc.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6682" y="1122413"/>
            <a:ext cx="8868166" cy="47211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643194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2050"/>
                                        </p:tgtEl>
                                        <p:attrNameLst>
                                          <p:attrName>style.visibility</p:attrName>
                                        </p:attrNameLst>
                                      </p:cBhvr>
                                      <p:to>
                                        <p:strVal val="visible"/>
                                      </p:to>
                                    </p:set>
                                    <p:anim calcmode="lin" valueType="num">
                                      <p:cBhvr additive="base">
                                        <p:cTn id="7" dur="500" fill="hold"/>
                                        <p:tgtEl>
                                          <p:spTgt spid="2050"/>
                                        </p:tgtEl>
                                        <p:attrNameLst>
                                          <p:attrName>ppt_x</p:attrName>
                                        </p:attrNameLst>
                                      </p:cBhvr>
                                      <p:tavLst>
                                        <p:tav tm="0">
                                          <p:val>
                                            <p:strVal val="#ppt_x"/>
                                          </p:val>
                                        </p:tav>
                                        <p:tav tm="100000">
                                          <p:val>
                                            <p:strVal val="#ppt_x"/>
                                          </p:val>
                                        </p:tav>
                                      </p:tavLst>
                                    </p:anim>
                                    <p:anim calcmode="lin" valueType="num">
                                      <p:cBhvr additive="base">
                                        <p:cTn id="8" dur="500" fill="hold"/>
                                        <p:tgtEl>
                                          <p:spTgt spid="205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zure SQL </a:t>
            </a:r>
            <a:r>
              <a:rPr lang="en-US" dirty="0" err="1"/>
              <a:t>KeyWords</a:t>
            </a:r>
            <a:endParaRPr lang="en-US" dirty="0"/>
          </a:p>
        </p:txBody>
      </p:sp>
      <p:sp>
        <p:nvSpPr>
          <p:cNvPr id="3" name="Content Placeholder 2"/>
          <p:cNvSpPr>
            <a:spLocks noGrp="1"/>
          </p:cNvSpPr>
          <p:nvPr>
            <p:ph idx="1"/>
          </p:nvPr>
        </p:nvSpPr>
        <p:spPr>
          <a:xfrm>
            <a:off x="151193" y="1781177"/>
            <a:ext cx="4061579" cy="3972732"/>
          </a:xfrm>
        </p:spPr>
        <p:txBody>
          <a:bodyPr>
            <a:normAutofit fontScale="85000" lnSpcReduction="20000"/>
          </a:bodyPr>
          <a:lstStyle/>
          <a:p>
            <a:pPr marL="428625" indent="-428625">
              <a:buFont typeface="Arial" panose="020B0604020202020204" pitchFamily="34" charset="0"/>
              <a:buChar char="•"/>
            </a:pPr>
            <a:r>
              <a:rPr lang="en-US" dirty="0"/>
              <a:t>TDE</a:t>
            </a:r>
          </a:p>
          <a:p>
            <a:pPr marL="428625" indent="-428625">
              <a:buFont typeface="Arial" panose="020B0604020202020204" pitchFamily="34" charset="0"/>
              <a:buChar char="•"/>
            </a:pPr>
            <a:r>
              <a:rPr lang="en-US" dirty="0"/>
              <a:t>SQL Firewall</a:t>
            </a:r>
          </a:p>
          <a:p>
            <a:pPr marL="428625" indent="-428625">
              <a:buFont typeface="Arial" panose="020B0604020202020204" pitchFamily="34" charset="0"/>
              <a:buChar char="•"/>
            </a:pPr>
            <a:r>
              <a:rPr lang="en-US" dirty="0"/>
              <a:t>DTU(Database Transaction Unit)</a:t>
            </a:r>
          </a:p>
          <a:p>
            <a:pPr marL="428625" indent="-428625">
              <a:buFont typeface="Arial" panose="020B0604020202020204" pitchFamily="34" charset="0"/>
              <a:buChar char="•"/>
            </a:pPr>
            <a:r>
              <a:rPr lang="en-US" dirty="0" err="1"/>
              <a:t>eDTU</a:t>
            </a:r>
            <a:r>
              <a:rPr lang="en-US" dirty="0"/>
              <a:t>(Elastic DTU)</a:t>
            </a:r>
          </a:p>
          <a:p>
            <a:pPr marL="428625" indent="-428625">
              <a:buFont typeface="Arial" panose="020B0604020202020204" pitchFamily="34" charset="0"/>
              <a:buChar char="•"/>
            </a:pPr>
            <a:r>
              <a:rPr lang="en-US" dirty="0"/>
              <a:t>Always Encrypt</a:t>
            </a:r>
          </a:p>
          <a:p>
            <a:pPr marL="428625" indent="-428625">
              <a:buFont typeface="Arial" panose="020B0604020202020204" pitchFamily="34" charset="0"/>
              <a:buChar char="•"/>
            </a:pPr>
            <a:r>
              <a:rPr lang="en-US" dirty="0"/>
              <a:t>Azure AD integrated Authentication</a:t>
            </a:r>
          </a:p>
          <a:p>
            <a:pPr marL="428625" indent="-428625">
              <a:buFont typeface="Arial" panose="020B0604020202020204" pitchFamily="34" charset="0"/>
              <a:buChar char="•"/>
            </a:pPr>
            <a:r>
              <a:rPr lang="en-US" dirty="0"/>
              <a:t>Dynamic data masking</a:t>
            </a:r>
          </a:p>
          <a:p>
            <a:pPr marL="428625" indent="-428625">
              <a:buFont typeface="Arial" panose="020B0604020202020204" pitchFamily="34" charset="0"/>
              <a:buChar char="•"/>
            </a:pPr>
            <a:r>
              <a:rPr lang="en-US" dirty="0"/>
              <a:t>Long term backup retention</a:t>
            </a:r>
          </a:p>
          <a:p>
            <a:pPr marL="428625" indent="-428625">
              <a:buFont typeface="Arial" panose="020B0604020202020204" pitchFamily="34" charset="0"/>
              <a:buChar char="•"/>
            </a:pPr>
            <a:r>
              <a:rPr lang="en-US" dirty="0"/>
              <a:t>Row Level Security</a:t>
            </a:r>
          </a:p>
          <a:p>
            <a:pPr lvl="1"/>
            <a:endParaRPr lang="en-US" dirty="0"/>
          </a:p>
        </p:txBody>
      </p:sp>
      <p:sp>
        <p:nvSpPr>
          <p:cNvPr id="4" name="Content Placeholder 2"/>
          <p:cNvSpPr txBox="1">
            <a:spLocks/>
          </p:cNvSpPr>
          <p:nvPr/>
        </p:nvSpPr>
        <p:spPr>
          <a:xfrm>
            <a:off x="4212772" y="1781177"/>
            <a:ext cx="4061579" cy="2958192"/>
          </a:xfrm>
          <a:prstGeom prst="rect">
            <a:avLst/>
          </a:prstGeom>
        </p:spPr>
        <p:txBody>
          <a:bodyPr vert="horz" lIns="68580" tIns="34290" rIns="68580" bIns="34290" rtlCol="0">
            <a:normAutofit fontScale="92500" lnSpcReduction="10000"/>
          </a:bodyPr>
          <a:lstStyle>
            <a:lvl1pPr marL="0" indent="0" algn="l" defTabSz="914400" rtl="0" eaLnBrk="1" latinLnBrk="0" hangingPunct="1">
              <a:lnSpc>
                <a:spcPct val="90000"/>
              </a:lnSpc>
              <a:spcBef>
                <a:spcPts val="1000"/>
              </a:spcBef>
              <a:buFontTx/>
              <a:buNone/>
              <a:defRPr sz="3600" kern="1200">
                <a:solidFill>
                  <a:schemeClr val="tx1"/>
                </a:solidFill>
                <a:latin typeface="+mn-lt"/>
                <a:ea typeface="+mn-ea"/>
                <a:cs typeface="+mn-cs"/>
              </a:defRPr>
            </a:lvl1pPr>
            <a:lvl2pPr marL="457200" indent="0" algn="l" defTabSz="914400" rtl="0" eaLnBrk="1" latinLnBrk="0" hangingPunct="1">
              <a:lnSpc>
                <a:spcPct val="90000"/>
              </a:lnSpc>
              <a:spcBef>
                <a:spcPts val="500"/>
              </a:spcBef>
              <a:buFontTx/>
              <a:buNone/>
              <a:defRPr sz="32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Tx/>
              <a:buNone/>
              <a:defRPr sz="28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Tx/>
              <a:buNone/>
              <a:defRPr sz="24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Tx/>
              <a:buNone/>
              <a:defRPr sz="2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28625" indent="-428625" defTabSz="685800" fontAlgn="auto">
              <a:spcBef>
                <a:spcPts val="750"/>
              </a:spcBef>
              <a:spcAft>
                <a:spcPts val="0"/>
              </a:spcAft>
              <a:buFont typeface="Arial" panose="020B0604020202020204" pitchFamily="34" charset="0"/>
              <a:buChar char="•"/>
              <a:defRPr/>
            </a:pPr>
            <a:r>
              <a:rPr lang="en-US" sz="2700" b="0" dirty="0">
                <a:solidFill>
                  <a:prstClr val="black"/>
                </a:solidFill>
                <a:latin typeface="Calibri" panose="020F0502020204030204"/>
              </a:rPr>
              <a:t>Failover Groups</a:t>
            </a:r>
          </a:p>
          <a:p>
            <a:pPr marL="428625" indent="-428625" defTabSz="685800" fontAlgn="auto">
              <a:spcBef>
                <a:spcPts val="750"/>
              </a:spcBef>
              <a:spcAft>
                <a:spcPts val="0"/>
              </a:spcAft>
              <a:buFont typeface="Arial" panose="020B0604020202020204" pitchFamily="34" charset="0"/>
              <a:buChar char="•"/>
              <a:defRPr/>
            </a:pPr>
            <a:r>
              <a:rPr lang="en-US" sz="2700" b="0" dirty="0">
                <a:solidFill>
                  <a:prstClr val="black"/>
                </a:solidFill>
                <a:latin typeface="Calibri" panose="020F0502020204030204"/>
              </a:rPr>
              <a:t>Audit and threat detection</a:t>
            </a:r>
          </a:p>
          <a:p>
            <a:pPr marL="428625" indent="-428625" defTabSz="685800" fontAlgn="auto">
              <a:spcBef>
                <a:spcPts val="750"/>
              </a:spcBef>
              <a:spcAft>
                <a:spcPts val="0"/>
              </a:spcAft>
              <a:buFont typeface="Arial" panose="020B0604020202020204" pitchFamily="34" charset="0"/>
              <a:buChar char="•"/>
              <a:defRPr/>
            </a:pPr>
            <a:r>
              <a:rPr lang="en-US" sz="2700" b="0" dirty="0">
                <a:solidFill>
                  <a:prstClr val="black"/>
                </a:solidFill>
                <a:latin typeface="Calibri" panose="020F0502020204030204"/>
              </a:rPr>
              <a:t>Active directory admin</a:t>
            </a:r>
          </a:p>
          <a:p>
            <a:pPr marL="428625" indent="-428625" defTabSz="685800" fontAlgn="auto">
              <a:spcBef>
                <a:spcPts val="750"/>
              </a:spcBef>
              <a:spcAft>
                <a:spcPts val="0"/>
              </a:spcAft>
              <a:buFont typeface="Arial" panose="020B0604020202020204" pitchFamily="34" charset="0"/>
              <a:buChar char="•"/>
              <a:defRPr/>
            </a:pPr>
            <a:r>
              <a:rPr lang="en-US" sz="2700" b="0" dirty="0">
                <a:solidFill>
                  <a:prstClr val="black"/>
                </a:solidFill>
                <a:latin typeface="Calibri" panose="020F0502020204030204"/>
              </a:rPr>
              <a:t>Elastic pool</a:t>
            </a:r>
          </a:p>
          <a:p>
            <a:pPr marL="428625" indent="-428625" defTabSz="685800" fontAlgn="auto">
              <a:spcBef>
                <a:spcPts val="750"/>
              </a:spcBef>
              <a:spcAft>
                <a:spcPts val="0"/>
              </a:spcAft>
              <a:buFont typeface="Arial" panose="020B0604020202020204" pitchFamily="34" charset="0"/>
              <a:buChar char="•"/>
              <a:defRPr/>
            </a:pPr>
            <a:r>
              <a:rPr lang="en-US" sz="2700" b="0" dirty="0">
                <a:solidFill>
                  <a:prstClr val="black"/>
                </a:solidFill>
                <a:latin typeface="Calibri" panose="020F0502020204030204"/>
              </a:rPr>
              <a:t>Geo Replication</a:t>
            </a:r>
          </a:p>
          <a:p>
            <a:pPr marL="428625" indent="-428625" defTabSz="685800" fontAlgn="auto">
              <a:spcBef>
                <a:spcPts val="750"/>
              </a:spcBef>
              <a:spcAft>
                <a:spcPts val="0"/>
              </a:spcAft>
              <a:buFont typeface="Arial" panose="020B0604020202020204" pitchFamily="34" charset="0"/>
              <a:buChar char="•"/>
              <a:defRPr/>
            </a:pPr>
            <a:r>
              <a:rPr lang="en-US" sz="2700" b="0" dirty="0">
                <a:solidFill>
                  <a:prstClr val="black"/>
                </a:solidFill>
                <a:latin typeface="Calibri" panose="020F0502020204030204"/>
              </a:rPr>
              <a:t>Vulnerability Assessment</a:t>
            </a:r>
          </a:p>
          <a:p>
            <a:pPr marL="428625" indent="-428625" defTabSz="685800" fontAlgn="auto">
              <a:spcBef>
                <a:spcPts val="750"/>
              </a:spcBef>
              <a:spcAft>
                <a:spcPts val="0"/>
              </a:spcAft>
              <a:buFont typeface="Arial" panose="020B0604020202020204" pitchFamily="34" charset="0"/>
              <a:buChar char="•"/>
              <a:defRPr/>
            </a:pPr>
            <a:r>
              <a:rPr lang="en-US" sz="2700" b="0" dirty="0">
                <a:solidFill>
                  <a:prstClr val="black"/>
                </a:solidFill>
                <a:latin typeface="Calibri" panose="020F0502020204030204"/>
              </a:rPr>
              <a:t>Data Sync</a:t>
            </a:r>
          </a:p>
          <a:p>
            <a:pPr marL="342900" lvl="1" defTabSz="685800" fontAlgn="auto">
              <a:spcBef>
                <a:spcPts val="375"/>
              </a:spcBef>
              <a:spcAft>
                <a:spcPts val="0"/>
              </a:spcAft>
              <a:defRPr/>
            </a:pPr>
            <a:endParaRPr lang="en-US" sz="2400" b="0" dirty="0">
              <a:solidFill>
                <a:prstClr val="black"/>
              </a:solidFill>
              <a:latin typeface="Calibri" panose="020F0502020204030204"/>
            </a:endParaRPr>
          </a:p>
        </p:txBody>
      </p:sp>
    </p:spTree>
    <p:extLst>
      <p:ext uri="{BB962C8B-B14F-4D97-AF65-F5344CB8AC3E}">
        <p14:creationId xmlns:p14="http://schemas.microsoft.com/office/powerpoint/2010/main" val="741423853"/>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bwMode="auto">
          <a:xfrm>
            <a:off x="285094" y="1936738"/>
            <a:ext cx="5134512" cy="3454316"/>
          </a:xfrm>
          <a:prstGeom prst="rect">
            <a:avLst/>
          </a:prstGeom>
          <a:solidFill>
            <a:schemeClr val="bg1">
              <a:lumMod val="95000"/>
            </a:schemeClr>
          </a:solidFill>
          <a:ln w="63500">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05711" tIns="137121" rIns="137121" bIns="34280" numCol="1" spcCol="0" rtlCol="0" fromWordArt="0" anchor="t" anchorCtr="0" forceAA="0" compatLnSpc="1">
            <a:prstTxWarp prst="textNoShape">
              <a:avLst/>
            </a:prstTxWarp>
            <a:noAutofit/>
          </a:bodyPr>
          <a:lstStyle/>
          <a:p>
            <a:pPr defTabSz="698831" fontAlgn="auto">
              <a:spcBef>
                <a:spcPts val="0"/>
              </a:spcBef>
              <a:spcAft>
                <a:spcPts val="0"/>
              </a:spcAft>
              <a:defRPr/>
            </a:pPr>
            <a:endParaRPr lang="en-US" b="0" kern="0" dirty="0">
              <a:solidFill>
                <a:srgbClr val="2C2C2C"/>
              </a:solidFill>
              <a:latin typeface="Segoe UI Semilight" panose="020B0402040204020203" pitchFamily="34" charset="0"/>
              <a:ea typeface="Segoe UI" pitchFamily="34" charset="0"/>
              <a:cs typeface="Segoe UI Semilight" panose="020B0402040204020203" pitchFamily="34" charset="0"/>
            </a:endParaRPr>
          </a:p>
        </p:txBody>
      </p:sp>
      <p:sp>
        <p:nvSpPr>
          <p:cNvPr id="8" name="Title 7"/>
          <p:cNvSpPr>
            <a:spLocks noGrp="1"/>
          </p:cNvSpPr>
          <p:nvPr>
            <p:ph type="title"/>
          </p:nvPr>
        </p:nvSpPr>
        <p:spPr>
          <a:xfrm>
            <a:off x="197962" y="1036283"/>
            <a:ext cx="8741309" cy="788670"/>
          </a:xfrm>
        </p:spPr>
        <p:txBody>
          <a:bodyPr/>
          <a:lstStyle/>
          <a:p>
            <a:r>
              <a:rPr lang="en-US" dirty="0"/>
              <a:t>Stretch Database architecture</a:t>
            </a:r>
          </a:p>
        </p:txBody>
      </p:sp>
      <p:sp>
        <p:nvSpPr>
          <p:cNvPr id="9" name="Text Placeholder 8"/>
          <p:cNvSpPr>
            <a:spLocks noGrp="1"/>
          </p:cNvSpPr>
          <p:nvPr>
            <p:ph type="body" sz="quarter" idx="4294967295"/>
          </p:nvPr>
        </p:nvSpPr>
        <p:spPr>
          <a:xfrm>
            <a:off x="5593080" y="1775460"/>
            <a:ext cx="3354163" cy="3574019"/>
          </a:xfrm>
        </p:spPr>
        <p:txBody>
          <a:bodyPr>
            <a:normAutofit/>
          </a:bodyPr>
          <a:lstStyle/>
          <a:p>
            <a:r>
              <a:rPr lang="en-US" sz="2100" dirty="0">
                <a:cs typeface="Segoe UI Semilight" panose="020B0402040204020203" pitchFamily="34" charset="0"/>
              </a:rPr>
              <a:t>How it works</a:t>
            </a:r>
          </a:p>
          <a:p>
            <a:pPr marL="466421" lvl="1" indent="-214313">
              <a:buFont typeface="Arial" panose="020B0604020202020204" pitchFamily="34" charset="0"/>
              <a:buChar char="•"/>
            </a:pPr>
            <a:r>
              <a:rPr lang="en-US" sz="1324" dirty="0"/>
              <a:t>Creates a secure linked server definition in the on-premises SQL Server</a:t>
            </a:r>
          </a:p>
          <a:p>
            <a:pPr marL="466421" lvl="1" indent="-214313">
              <a:buFont typeface="Arial" panose="020B0604020202020204" pitchFamily="34" charset="0"/>
              <a:buChar char="•"/>
            </a:pPr>
            <a:r>
              <a:rPr lang="en-US" sz="1324" dirty="0"/>
              <a:t>Targets remote endpoint with linked server definition</a:t>
            </a:r>
          </a:p>
          <a:p>
            <a:pPr marL="466421" lvl="1" indent="-214313">
              <a:buFont typeface="Arial" panose="020B0604020202020204" pitchFamily="34" charset="0"/>
              <a:buChar char="•"/>
            </a:pPr>
            <a:r>
              <a:rPr lang="en-US" sz="1324" dirty="0"/>
              <a:t>Provisions remote resources and begins to migrate eligible data, if migration is enabled</a:t>
            </a:r>
          </a:p>
          <a:p>
            <a:pPr marL="466421" lvl="1" indent="-214313">
              <a:buFont typeface="Arial" panose="020B0604020202020204" pitchFamily="34" charset="0"/>
              <a:buChar char="•"/>
            </a:pPr>
            <a:r>
              <a:rPr lang="en-US" sz="1324" dirty="0"/>
              <a:t>Queries against tables run against both local database and remote endpoint</a:t>
            </a:r>
          </a:p>
        </p:txBody>
      </p:sp>
      <p:grpSp>
        <p:nvGrpSpPr>
          <p:cNvPr id="56" name="Group 55"/>
          <p:cNvGrpSpPr/>
          <p:nvPr/>
        </p:nvGrpSpPr>
        <p:grpSpPr>
          <a:xfrm>
            <a:off x="2968933" y="2960369"/>
            <a:ext cx="2337506" cy="2005998"/>
            <a:chOff x="3938514" y="2696615"/>
            <a:chExt cx="3117116" cy="2675044"/>
          </a:xfrm>
        </p:grpSpPr>
        <p:grpSp>
          <p:nvGrpSpPr>
            <p:cNvPr id="48" name="Group 47"/>
            <p:cNvGrpSpPr/>
            <p:nvPr/>
          </p:nvGrpSpPr>
          <p:grpSpPr>
            <a:xfrm>
              <a:off x="3938514" y="3411007"/>
              <a:ext cx="3117116" cy="1960652"/>
              <a:chOff x="2909727" y="3342096"/>
              <a:chExt cx="3661690" cy="2303188"/>
            </a:xfrm>
          </p:grpSpPr>
          <p:sp>
            <p:nvSpPr>
              <p:cNvPr id="35" name="Freeform 23"/>
              <p:cNvSpPr>
                <a:spLocks/>
              </p:cNvSpPr>
              <p:nvPr/>
            </p:nvSpPr>
            <p:spPr bwMode="auto">
              <a:xfrm flipH="1">
                <a:off x="2909727" y="3669647"/>
                <a:ext cx="3661690" cy="1975637"/>
              </a:xfrm>
              <a:custGeom>
                <a:avLst/>
                <a:gdLst>
                  <a:gd name="T0" fmla="*/ 210 w 242"/>
                  <a:gd name="T1" fmla="*/ 64 h 129"/>
                  <a:gd name="T2" fmla="*/ 209 w 242"/>
                  <a:gd name="T3" fmla="*/ 64 h 129"/>
                  <a:gd name="T4" fmla="*/ 144 w 242"/>
                  <a:gd name="T5" fmla="*/ 0 h 129"/>
                  <a:gd name="T6" fmla="*/ 80 w 242"/>
                  <a:gd name="T7" fmla="*/ 56 h 129"/>
                  <a:gd name="T8" fmla="*/ 45 w 242"/>
                  <a:gd name="T9" fmla="*/ 39 h 129"/>
                  <a:gd name="T10" fmla="*/ 0 w 242"/>
                  <a:gd name="T11" fmla="*/ 84 h 129"/>
                  <a:gd name="T12" fmla="*/ 45 w 242"/>
                  <a:gd name="T13" fmla="*/ 129 h 129"/>
                  <a:gd name="T14" fmla="*/ 210 w 242"/>
                  <a:gd name="T15" fmla="*/ 129 h 129"/>
                  <a:gd name="T16" fmla="*/ 242 w 242"/>
                  <a:gd name="T17" fmla="*/ 96 h 129"/>
                  <a:gd name="T18" fmla="*/ 210 w 242"/>
                  <a:gd name="T19" fmla="*/ 64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2" h="129">
                    <a:moveTo>
                      <a:pt x="210" y="64"/>
                    </a:moveTo>
                    <a:cubicBezTo>
                      <a:pt x="210" y="64"/>
                      <a:pt x="209" y="64"/>
                      <a:pt x="209" y="64"/>
                    </a:cubicBezTo>
                    <a:cubicBezTo>
                      <a:pt x="209" y="28"/>
                      <a:pt x="180" y="0"/>
                      <a:pt x="144" y="0"/>
                    </a:cubicBezTo>
                    <a:cubicBezTo>
                      <a:pt x="111" y="0"/>
                      <a:pt x="84" y="24"/>
                      <a:pt x="80" y="56"/>
                    </a:cubicBezTo>
                    <a:cubicBezTo>
                      <a:pt x="72" y="46"/>
                      <a:pt x="59" y="39"/>
                      <a:pt x="45" y="39"/>
                    </a:cubicBezTo>
                    <a:cubicBezTo>
                      <a:pt x="20" y="39"/>
                      <a:pt x="0" y="59"/>
                      <a:pt x="0" y="84"/>
                    </a:cubicBezTo>
                    <a:cubicBezTo>
                      <a:pt x="0" y="109"/>
                      <a:pt x="20" y="129"/>
                      <a:pt x="45" y="129"/>
                    </a:cubicBezTo>
                    <a:cubicBezTo>
                      <a:pt x="210" y="129"/>
                      <a:pt x="210" y="129"/>
                      <a:pt x="210" y="129"/>
                    </a:cubicBezTo>
                    <a:cubicBezTo>
                      <a:pt x="228" y="129"/>
                      <a:pt x="242" y="114"/>
                      <a:pt x="242" y="96"/>
                    </a:cubicBezTo>
                    <a:cubicBezTo>
                      <a:pt x="242" y="78"/>
                      <a:pt x="228" y="64"/>
                      <a:pt x="210" y="64"/>
                    </a:cubicBezTo>
                    <a:close/>
                  </a:path>
                </a:pathLst>
              </a:custGeom>
              <a:solidFill>
                <a:schemeClr val="accent1"/>
              </a:solidFill>
              <a:ln>
                <a:noFill/>
              </a:ln>
              <a:extLst/>
            </p:spPr>
            <p:txBody>
              <a:bodyPr vert="horz" wrap="square" lIns="68570" tIns="34285" rIns="68570" bIns="34285" numCol="1" anchor="t" anchorCtr="0" compatLnSpc="1">
                <a:prstTxWarp prst="textNoShape">
                  <a:avLst/>
                </a:prstTxWarp>
              </a:bodyPr>
              <a:lstStyle/>
              <a:p>
                <a:pPr defTabSz="672290" fontAlgn="auto">
                  <a:spcBef>
                    <a:spcPts val="0"/>
                  </a:spcBef>
                  <a:spcAft>
                    <a:spcPts val="0"/>
                  </a:spcAft>
                  <a:defRPr/>
                </a:pPr>
                <a:endParaRPr lang="en-US" b="0" kern="0" dirty="0">
                  <a:solidFill>
                    <a:sysClr val="windowText" lastClr="000000"/>
                  </a:solidFill>
                  <a:latin typeface="Segoe UI" charset="0"/>
                  <a:ea typeface="MS PGothic" charset="0"/>
                  <a:cs typeface="+mn-cs"/>
                </a:endParaRPr>
              </a:p>
            </p:txBody>
          </p:sp>
          <p:sp>
            <p:nvSpPr>
              <p:cNvPr id="42" name="Freeform 15"/>
              <p:cNvSpPr>
                <a:spLocks/>
              </p:cNvSpPr>
              <p:nvPr/>
            </p:nvSpPr>
            <p:spPr bwMode="auto">
              <a:xfrm>
                <a:off x="3556080" y="3342096"/>
                <a:ext cx="2883805" cy="1249729"/>
              </a:xfrm>
              <a:custGeom>
                <a:avLst/>
                <a:gdLst>
                  <a:gd name="T0" fmla="*/ 349 w 391"/>
                  <a:gd name="T1" fmla="*/ 75 h 159"/>
                  <a:gd name="T2" fmla="*/ 342 w 391"/>
                  <a:gd name="T3" fmla="*/ 76 h 159"/>
                  <a:gd name="T4" fmla="*/ 263 w 391"/>
                  <a:gd name="T5" fmla="*/ 0 h 159"/>
                  <a:gd name="T6" fmla="*/ 187 w 391"/>
                  <a:gd name="T7" fmla="*/ 59 h 159"/>
                  <a:gd name="T8" fmla="*/ 145 w 391"/>
                  <a:gd name="T9" fmla="*/ 42 h 159"/>
                  <a:gd name="T10" fmla="*/ 87 w 391"/>
                  <a:gd name="T11" fmla="*/ 94 h 159"/>
                  <a:gd name="T12" fmla="*/ 59 w 391"/>
                  <a:gd name="T13" fmla="*/ 107 h 159"/>
                  <a:gd name="T14" fmla="*/ 32 w 391"/>
                  <a:gd name="T15" fmla="*/ 94 h 159"/>
                  <a:gd name="T16" fmla="*/ 0 w 391"/>
                  <a:gd name="T17" fmla="*/ 126 h 159"/>
                  <a:gd name="T18" fmla="*/ 32 w 391"/>
                  <a:gd name="T19" fmla="*/ 159 h 159"/>
                  <a:gd name="T20" fmla="*/ 41 w 391"/>
                  <a:gd name="T21" fmla="*/ 159 h 159"/>
                  <a:gd name="T22" fmla="*/ 148 w 391"/>
                  <a:gd name="T23" fmla="*/ 159 h 159"/>
                  <a:gd name="T24" fmla="*/ 208 w 391"/>
                  <a:gd name="T25" fmla="*/ 159 h 159"/>
                  <a:gd name="T26" fmla="*/ 352 w 391"/>
                  <a:gd name="T27" fmla="*/ 159 h 159"/>
                  <a:gd name="T28" fmla="*/ 352 w 391"/>
                  <a:gd name="T29" fmla="*/ 159 h 159"/>
                  <a:gd name="T30" fmla="*/ 391 w 391"/>
                  <a:gd name="T31" fmla="*/ 117 h 159"/>
                  <a:gd name="T32" fmla="*/ 349 w 391"/>
                  <a:gd name="T33" fmla="*/ 75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1" h="159">
                    <a:moveTo>
                      <a:pt x="349" y="75"/>
                    </a:moveTo>
                    <a:cubicBezTo>
                      <a:pt x="347" y="75"/>
                      <a:pt x="345" y="75"/>
                      <a:pt x="342" y="76"/>
                    </a:cubicBezTo>
                    <a:cubicBezTo>
                      <a:pt x="340" y="34"/>
                      <a:pt x="306" y="0"/>
                      <a:pt x="263" y="0"/>
                    </a:cubicBezTo>
                    <a:cubicBezTo>
                      <a:pt x="227" y="0"/>
                      <a:pt x="196" y="25"/>
                      <a:pt x="187" y="59"/>
                    </a:cubicBezTo>
                    <a:cubicBezTo>
                      <a:pt x="176" y="48"/>
                      <a:pt x="161" y="42"/>
                      <a:pt x="145" y="42"/>
                    </a:cubicBezTo>
                    <a:cubicBezTo>
                      <a:pt x="115" y="42"/>
                      <a:pt x="90" y="65"/>
                      <a:pt x="87" y="94"/>
                    </a:cubicBezTo>
                    <a:cubicBezTo>
                      <a:pt x="76" y="96"/>
                      <a:pt x="66" y="101"/>
                      <a:pt x="59" y="107"/>
                    </a:cubicBezTo>
                    <a:cubicBezTo>
                      <a:pt x="53" y="99"/>
                      <a:pt x="43" y="94"/>
                      <a:pt x="32" y="94"/>
                    </a:cubicBezTo>
                    <a:cubicBezTo>
                      <a:pt x="14" y="94"/>
                      <a:pt x="0" y="108"/>
                      <a:pt x="0" y="126"/>
                    </a:cubicBezTo>
                    <a:cubicBezTo>
                      <a:pt x="0" y="144"/>
                      <a:pt x="14" y="159"/>
                      <a:pt x="32" y="159"/>
                    </a:cubicBezTo>
                    <a:cubicBezTo>
                      <a:pt x="41" y="159"/>
                      <a:pt x="41" y="159"/>
                      <a:pt x="41" y="159"/>
                    </a:cubicBezTo>
                    <a:cubicBezTo>
                      <a:pt x="148" y="159"/>
                      <a:pt x="148" y="159"/>
                      <a:pt x="148" y="159"/>
                    </a:cubicBezTo>
                    <a:cubicBezTo>
                      <a:pt x="208" y="159"/>
                      <a:pt x="208" y="159"/>
                      <a:pt x="208" y="159"/>
                    </a:cubicBezTo>
                    <a:cubicBezTo>
                      <a:pt x="352" y="159"/>
                      <a:pt x="352" y="159"/>
                      <a:pt x="352" y="159"/>
                    </a:cubicBezTo>
                    <a:cubicBezTo>
                      <a:pt x="352" y="159"/>
                      <a:pt x="352" y="159"/>
                      <a:pt x="352" y="159"/>
                    </a:cubicBezTo>
                    <a:cubicBezTo>
                      <a:pt x="374" y="158"/>
                      <a:pt x="391" y="139"/>
                      <a:pt x="391" y="117"/>
                    </a:cubicBezTo>
                    <a:cubicBezTo>
                      <a:pt x="391" y="94"/>
                      <a:pt x="372" y="75"/>
                      <a:pt x="349" y="75"/>
                    </a:cubicBezTo>
                    <a:close/>
                  </a:path>
                </a:pathLst>
              </a:custGeom>
              <a:solidFill>
                <a:schemeClr val="accent1"/>
              </a:solidFill>
              <a:ln>
                <a:noFill/>
              </a:ln>
              <a:extLst/>
            </p:spPr>
            <p:txBody>
              <a:bodyPr vert="horz" wrap="square" lIns="68570" tIns="34285" rIns="68570" bIns="34285" numCol="1" anchor="t" anchorCtr="0" compatLnSpc="1">
                <a:prstTxWarp prst="textNoShape">
                  <a:avLst/>
                </a:prstTxWarp>
              </a:bodyPr>
              <a:lstStyle/>
              <a:p>
                <a:pPr defTabSz="672290" fontAlgn="auto">
                  <a:spcBef>
                    <a:spcPts val="0"/>
                  </a:spcBef>
                  <a:spcAft>
                    <a:spcPts val="0"/>
                  </a:spcAft>
                  <a:defRPr/>
                </a:pPr>
                <a:endParaRPr lang="en-US" b="0" kern="0" dirty="0">
                  <a:solidFill>
                    <a:sysClr val="windowText" lastClr="000000"/>
                  </a:solidFill>
                  <a:latin typeface="Segoe UI" charset="0"/>
                  <a:ea typeface="MS PGothic" charset="0"/>
                  <a:cs typeface="+mn-cs"/>
                </a:endParaRPr>
              </a:p>
            </p:txBody>
          </p:sp>
        </p:grpSp>
        <p:grpSp>
          <p:nvGrpSpPr>
            <p:cNvPr id="43" name="Group 42"/>
            <p:cNvGrpSpPr/>
            <p:nvPr/>
          </p:nvGrpSpPr>
          <p:grpSpPr>
            <a:xfrm>
              <a:off x="4675920" y="2696615"/>
              <a:ext cx="1730568" cy="2015562"/>
              <a:chOff x="4373646" y="2806193"/>
              <a:chExt cx="2104019" cy="2450514"/>
            </a:xfrm>
          </p:grpSpPr>
          <p:sp>
            <p:nvSpPr>
              <p:cNvPr id="44" name="Oval 43"/>
              <p:cNvSpPr/>
              <p:nvPr/>
            </p:nvSpPr>
            <p:spPr bwMode="auto">
              <a:xfrm>
                <a:off x="4570870" y="3005976"/>
                <a:ext cx="1634042" cy="464208"/>
              </a:xfrm>
              <a:prstGeom prst="ellipse">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1" tIns="109713" rIns="137141" bIns="109713" numCol="1" spcCol="0" rtlCol="0" fromWordArt="0" anchor="t" anchorCtr="0" forceAA="0" compatLnSpc="1">
                <a:prstTxWarp prst="textNoShape">
                  <a:avLst/>
                </a:prstTxWarp>
                <a:noAutofit/>
              </a:bodyPr>
              <a:lstStyle/>
              <a:p>
                <a:pPr marL="257126" indent="-257126" algn="ctr" defTabSz="699220" fontAlgn="auto">
                  <a:lnSpc>
                    <a:spcPct val="90000"/>
                  </a:lnSpc>
                  <a:spcBef>
                    <a:spcPts val="0"/>
                  </a:spcBef>
                  <a:spcAft>
                    <a:spcPts val="0"/>
                  </a:spcAft>
                  <a:buFont typeface="Wingdings 3" panose="05040102010807070707" pitchFamily="18" charset="2"/>
                  <a:buChar char="Æ"/>
                  <a:defRPr/>
                </a:pPr>
                <a:endParaRPr lang="en-US" sz="1500" kern="0" dirty="0">
                  <a:solidFill>
                    <a:srgbClr val="FFFFFF"/>
                  </a:solidFill>
                  <a:latin typeface="Segoe UI Light"/>
                  <a:ea typeface="Segoe UI" pitchFamily="34" charset="0"/>
                  <a:cs typeface="Segoe UI" pitchFamily="34" charset="0"/>
                </a:endParaRPr>
              </a:p>
            </p:txBody>
          </p:sp>
          <p:grpSp>
            <p:nvGrpSpPr>
              <p:cNvPr id="45" name="Group 44"/>
              <p:cNvGrpSpPr/>
              <p:nvPr/>
            </p:nvGrpSpPr>
            <p:grpSpPr>
              <a:xfrm>
                <a:off x="4373646" y="2806193"/>
                <a:ext cx="2104019" cy="2450514"/>
                <a:chOff x="716047" y="2201955"/>
                <a:chExt cx="2622820" cy="3054752"/>
              </a:xfrm>
            </p:grpSpPr>
            <p:sp>
              <p:nvSpPr>
                <p:cNvPr id="46" name="Freeform 5"/>
                <p:cNvSpPr>
                  <a:spLocks noEditPoints="1"/>
                </p:cNvSpPr>
                <p:nvPr/>
              </p:nvSpPr>
              <p:spPr bwMode="auto">
                <a:xfrm>
                  <a:off x="716047" y="2201955"/>
                  <a:ext cx="2622820" cy="3054752"/>
                </a:xfrm>
                <a:custGeom>
                  <a:avLst/>
                  <a:gdLst>
                    <a:gd name="T0" fmla="*/ 184 w 184"/>
                    <a:gd name="T1" fmla="*/ 38 h 244"/>
                    <a:gd name="T2" fmla="*/ 184 w 184"/>
                    <a:gd name="T3" fmla="*/ 36 h 244"/>
                    <a:gd name="T4" fmla="*/ 178 w 184"/>
                    <a:gd name="T5" fmla="*/ 24 h 244"/>
                    <a:gd name="T6" fmla="*/ 156 w 184"/>
                    <a:gd name="T7" fmla="*/ 11 h 244"/>
                    <a:gd name="T8" fmla="*/ 105 w 184"/>
                    <a:gd name="T9" fmla="*/ 0 h 244"/>
                    <a:gd name="T10" fmla="*/ 103 w 184"/>
                    <a:gd name="T11" fmla="*/ 0 h 244"/>
                    <a:gd name="T12" fmla="*/ 80 w 184"/>
                    <a:gd name="T13" fmla="*/ 0 h 244"/>
                    <a:gd name="T14" fmla="*/ 78 w 184"/>
                    <a:gd name="T15" fmla="*/ 0 h 244"/>
                    <a:gd name="T16" fmla="*/ 23 w 184"/>
                    <a:gd name="T17" fmla="*/ 13 h 244"/>
                    <a:gd name="T18" fmla="*/ 5 w 184"/>
                    <a:gd name="T19" fmla="*/ 24 h 244"/>
                    <a:gd name="T20" fmla="*/ 0 w 184"/>
                    <a:gd name="T21" fmla="*/ 37 h 244"/>
                    <a:gd name="T22" fmla="*/ 0 w 184"/>
                    <a:gd name="T23" fmla="*/ 205 h 244"/>
                    <a:gd name="T24" fmla="*/ 8 w 184"/>
                    <a:gd name="T25" fmla="*/ 222 h 244"/>
                    <a:gd name="T26" fmla="*/ 37 w 184"/>
                    <a:gd name="T27" fmla="*/ 237 h 244"/>
                    <a:gd name="T28" fmla="*/ 77 w 184"/>
                    <a:gd name="T29" fmla="*/ 244 h 244"/>
                    <a:gd name="T30" fmla="*/ 79 w 184"/>
                    <a:gd name="T31" fmla="*/ 244 h 244"/>
                    <a:gd name="T32" fmla="*/ 105 w 184"/>
                    <a:gd name="T33" fmla="*/ 244 h 244"/>
                    <a:gd name="T34" fmla="*/ 113 w 184"/>
                    <a:gd name="T35" fmla="*/ 243 h 244"/>
                    <a:gd name="T36" fmla="*/ 161 w 184"/>
                    <a:gd name="T37" fmla="*/ 231 h 244"/>
                    <a:gd name="T38" fmla="*/ 181 w 184"/>
                    <a:gd name="T39" fmla="*/ 217 h 244"/>
                    <a:gd name="T40" fmla="*/ 184 w 184"/>
                    <a:gd name="T41" fmla="*/ 209 h 244"/>
                    <a:gd name="T42" fmla="*/ 184 w 184"/>
                    <a:gd name="T43" fmla="*/ 207 h 244"/>
                    <a:gd name="T44" fmla="*/ 184 w 184"/>
                    <a:gd name="T45" fmla="*/ 38 h 244"/>
                    <a:gd name="T46" fmla="*/ 154 w 184"/>
                    <a:gd name="T47" fmla="*/ 39 h 244"/>
                    <a:gd name="T48" fmla="*/ 138 w 184"/>
                    <a:gd name="T49" fmla="*/ 47 h 244"/>
                    <a:gd name="T50" fmla="*/ 92 w 184"/>
                    <a:gd name="T51" fmla="*/ 53 h 244"/>
                    <a:gd name="T52" fmla="*/ 43 w 184"/>
                    <a:gd name="T53" fmla="*/ 46 h 244"/>
                    <a:gd name="T54" fmla="*/ 30 w 184"/>
                    <a:gd name="T55" fmla="*/ 39 h 244"/>
                    <a:gd name="T56" fmla="*/ 30 w 184"/>
                    <a:gd name="T57" fmla="*/ 26 h 244"/>
                    <a:gd name="T58" fmla="*/ 50 w 184"/>
                    <a:gd name="T59" fmla="*/ 17 h 244"/>
                    <a:gd name="T60" fmla="*/ 106 w 184"/>
                    <a:gd name="T61" fmla="*/ 13 h 244"/>
                    <a:gd name="T62" fmla="*/ 141 w 184"/>
                    <a:gd name="T63" fmla="*/ 20 h 244"/>
                    <a:gd name="T64" fmla="*/ 154 w 184"/>
                    <a:gd name="T65" fmla="*/ 26 h 244"/>
                    <a:gd name="T66" fmla="*/ 154 w 184"/>
                    <a:gd name="T67" fmla="*/ 39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4" h="244">
                      <a:moveTo>
                        <a:pt x="184" y="38"/>
                      </a:moveTo>
                      <a:cubicBezTo>
                        <a:pt x="184" y="38"/>
                        <a:pt x="184" y="37"/>
                        <a:pt x="184" y="36"/>
                      </a:cubicBezTo>
                      <a:cubicBezTo>
                        <a:pt x="183" y="31"/>
                        <a:pt x="181" y="27"/>
                        <a:pt x="178" y="24"/>
                      </a:cubicBezTo>
                      <a:cubicBezTo>
                        <a:pt x="171" y="18"/>
                        <a:pt x="164" y="14"/>
                        <a:pt x="156" y="11"/>
                      </a:cubicBezTo>
                      <a:cubicBezTo>
                        <a:pt x="139" y="4"/>
                        <a:pt x="122" y="1"/>
                        <a:pt x="105" y="0"/>
                      </a:cubicBezTo>
                      <a:cubicBezTo>
                        <a:pt x="104" y="0"/>
                        <a:pt x="104" y="0"/>
                        <a:pt x="103" y="0"/>
                      </a:cubicBezTo>
                      <a:cubicBezTo>
                        <a:pt x="95" y="0"/>
                        <a:pt x="88" y="0"/>
                        <a:pt x="80" y="0"/>
                      </a:cubicBezTo>
                      <a:cubicBezTo>
                        <a:pt x="80" y="0"/>
                        <a:pt x="79" y="0"/>
                        <a:pt x="78" y="0"/>
                      </a:cubicBezTo>
                      <a:cubicBezTo>
                        <a:pt x="59" y="1"/>
                        <a:pt x="40" y="5"/>
                        <a:pt x="23" y="13"/>
                      </a:cubicBezTo>
                      <a:cubicBezTo>
                        <a:pt x="16" y="15"/>
                        <a:pt x="10" y="19"/>
                        <a:pt x="5" y="24"/>
                      </a:cubicBezTo>
                      <a:cubicBezTo>
                        <a:pt x="2" y="28"/>
                        <a:pt x="0" y="32"/>
                        <a:pt x="0" y="37"/>
                      </a:cubicBezTo>
                      <a:cubicBezTo>
                        <a:pt x="0" y="93"/>
                        <a:pt x="0" y="149"/>
                        <a:pt x="0" y="205"/>
                      </a:cubicBezTo>
                      <a:cubicBezTo>
                        <a:pt x="0" y="212"/>
                        <a:pt x="3" y="217"/>
                        <a:pt x="8" y="222"/>
                      </a:cubicBezTo>
                      <a:cubicBezTo>
                        <a:pt x="16" y="229"/>
                        <a:pt x="27" y="233"/>
                        <a:pt x="37" y="237"/>
                      </a:cubicBezTo>
                      <a:cubicBezTo>
                        <a:pt x="50" y="241"/>
                        <a:pt x="63" y="243"/>
                        <a:pt x="77" y="244"/>
                      </a:cubicBezTo>
                      <a:cubicBezTo>
                        <a:pt x="77" y="244"/>
                        <a:pt x="78" y="244"/>
                        <a:pt x="79" y="244"/>
                      </a:cubicBezTo>
                      <a:cubicBezTo>
                        <a:pt x="87" y="244"/>
                        <a:pt x="96" y="244"/>
                        <a:pt x="105" y="244"/>
                      </a:cubicBezTo>
                      <a:cubicBezTo>
                        <a:pt x="107" y="243"/>
                        <a:pt x="110" y="244"/>
                        <a:pt x="113" y="243"/>
                      </a:cubicBezTo>
                      <a:cubicBezTo>
                        <a:pt x="129" y="242"/>
                        <a:pt x="146" y="239"/>
                        <a:pt x="161" y="231"/>
                      </a:cubicBezTo>
                      <a:cubicBezTo>
                        <a:pt x="169" y="228"/>
                        <a:pt x="176" y="224"/>
                        <a:pt x="181" y="217"/>
                      </a:cubicBezTo>
                      <a:cubicBezTo>
                        <a:pt x="182" y="215"/>
                        <a:pt x="183" y="212"/>
                        <a:pt x="184" y="209"/>
                      </a:cubicBezTo>
                      <a:cubicBezTo>
                        <a:pt x="184" y="209"/>
                        <a:pt x="184" y="208"/>
                        <a:pt x="184" y="207"/>
                      </a:cubicBezTo>
                      <a:cubicBezTo>
                        <a:pt x="184" y="151"/>
                        <a:pt x="184" y="95"/>
                        <a:pt x="184" y="38"/>
                      </a:cubicBezTo>
                      <a:close/>
                      <a:moveTo>
                        <a:pt x="154" y="39"/>
                      </a:moveTo>
                      <a:cubicBezTo>
                        <a:pt x="149" y="43"/>
                        <a:pt x="143" y="45"/>
                        <a:pt x="138" y="47"/>
                      </a:cubicBezTo>
                      <a:cubicBezTo>
                        <a:pt x="123" y="51"/>
                        <a:pt x="107" y="53"/>
                        <a:pt x="92" y="53"/>
                      </a:cubicBezTo>
                      <a:cubicBezTo>
                        <a:pt x="75" y="53"/>
                        <a:pt x="59" y="51"/>
                        <a:pt x="43" y="46"/>
                      </a:cubicBezTo>
                      <a:cubicBezTo>
                        <a:pt x="38" y="44"/>
                        <a:pt x="34" y="43"/>
                        <a:pt x="30" y="39"/>
                      </a:cubicBezTo>
                      <a:cubicBezTo>
                        <a:pt x="25" y="35"/>
                        <a:pt x="25" y="30"/>
                        <a:pt x="30" y="26"/>
                      </a:cubicBezTo>
                      <a:cubicBezTo>
                        <a:pt x="36" y="21"/>
                        <a:pt x="43" y="19"/>
                        <a:pt x="50" y="17"/>
                      </a:cubicBezTo>
                      <a:cubicBezTo>
                        <a:pt x="69" y="13"/>
                        <a:pt x="87" y="12"/>
                        <a:pt x="106" y="13"/>
                      </a:cubicBezTo>
                      <a:cubicBezTo>
                        <a:pt x="118" y="14"/>
                        <a:pt x="130" y="16"/>
                        <a:pt x="141" y="20"/>
                      </a:cubicBezTo>
                      <a:cubicBezTo>
                        <a:pt x="146" y="21"/>
                        <a:pt x="150" y="23"/>
                        <a:pt x="154" y="26"/>
                      </a:cubicBezTo>
                      <a:cubicBezTo>
                        <a:pt x="158" y="30"/>
                        <a:pt x="158" y="35"/>
                        <a:pt x="154" y="39"/>
                      </a:cubicBezTo>
                      <a:close/>
                    </a:path>
                  </a:pathLst>
                </a:custGeom>
                <a:solidFill>
                  <a:srgbClr val="003963"/>
                </a:solidFill>
                <a:ln>
                  <a:noFill/>
                </a:ln>
              </p:spPr>
              <p:txBody>
                <a:bodyPr vert="horz" wrap="square" lIns="0" tIns="82284" rIns="0" bIns="0" numCol="1" anchor="t" anchorCtr="0" compatLnSpc="1">
                  <a:prstTxWarp prst="textNoShape">
                    <a:avLst/>
                  </a:prstTxWarp>
                </a:bodyPr>
                <a:lstStyle/>
                <a:p>
                  <a:pPr algn="ctr" defTabSz="672290" fontAlgn="auto">
                    <a:spcBef>
                      <a:spcPts val="0"/>
                    </a:spcBef>
                    <a:spcAft>
                      <a:spcPts val="0"/>
                    </a:spcAft>
                    <a:defRPr/>
                  </a:pPr>
                  <a:r>
                    <a:rPr lang="en-US" sz="750" b="0" kern="0" dirty="0">
                      <a:solidFill>
                        <a:srgbClr val="505050"/>
                      </a:solidFill>
                      <a:latin typeface="Segoe UI Light" panose="020B0502040204020203" pitchFamily="34" charset="0"/>
                      <a:ea typeface="MS PGothic" charset="0"/>
                      <a:cs typeface="Segoe UI Light" panose="020B0502040204020203" pitchFamily="34" charset="0"/>
                    </a:rPr>
                    <a:t>Remote </a:t>
                  </a:r>
                </a:p>
                <a:p>
                  <a:pPr algn="ctr" defTabSz="672290" fontAlgn="auto">
                    <a:spcBef>
                      <a:spcPts val="0"/>
                    </a:spcBef>
                    <a:spcAft>
                      <a:spcPts val="0"/>
                    </a:spcAft>
                    <a:defRPr/>
                  </a:pPr>
                  <a:r>
                    <a:rPr lang="en-US" sz="750" b="0" kern="0" dirty="0">
                      <a:solidFill>
                        <a:srgbClr val="505050"/>
                      </a:solidFill>
                      <a:latin typeface="Segoe UI Light" panose="020B0502040204020203" pitchFamily="34" charset="0"/>
                      <a:ea typeface="MS PGothic" charset="0"/>
                      <a:cs typeface="Segoe UI Light" panose="020B0502040204020203" pitchFamily="34" charset="0"/>
                    </a:rPr>
                    <a:t>endpoint</a:t>
                  </a:r>
                </a:p>
              </p:txBody>
            </p:sp>
            <p:sp>
              <p:nvSpPr>
                <p:cNvPr id="47" name="Rectangle 46"/>
                <p:cNvSpPr/>
                <p:nvPr/>
              </p:nvSpPr>
              <p:spPr bwMode="auto">
                <a:xfrm>
                  <a:off x="961903" y="3131978"/>
                  <a:ext cx="2036958" cy="168573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1" tIns="109713" rIns="137141" bIns="109713" numCol="1" spcCol="0" rtlCol="0" fromWordArt="0" anchor="ctr" anchorCtr="0" forceAA="0" compatLnSpc="1">
                  <a:prstTxWarp prst="textNoShape">
                    <a:avLst/>
                  </a:prstTxWarp>
                  <a:noAutofit/>
                </a:bodyPr>
                <a:lstStyle/>
                <a:p>
                  <a:pPr algn="ctr" defTabSz="699220" fontAlgn="auto">
                    <a:lnSpc>
                      <a:spcPct val="90000"/>
                    </a:lnSpc>
                    <a:spcBef>
                      <a:spcPts val="0"/>
                    </a:spcBef>
                    <a:spcAft>
                      <a:spcPts val="0"/>
                    </a:spcAft>
                    <a:defRPr/>
                  </a:pPr>
                  <a:r>
                    <a:rPr lang="en-US" sz="1050" b="0" kern="0" dirty="0">
                      <a:solidFill>
                        <a:srgbClr val="003963"/>
                      </a:solidFill>
                      <a:latin typeface="Segoe UI Light" panose="020B0502040204020203" pitchFamily="34" charset="0"/>
                      <a:ea typeface="Segoe UI" panose="020B0502040204020203" pitchFamily="34" charset="0"/>
                      <a:cs typeface="Segoe UI Light" panose="020B0502040204020203" pitchFamily="34" charset="0"/>
                    </a:rPr>
                    <a:t>Remote data</a:t>
                  </a:r>
                </a:p>
              </p:txBody>
            </p:sp>
          </p:grpSp>
        </p:grpSp>
      </p:grpSp>
      <p:sp>
        <p:nvSpPr>
          <p:cNvPr id="53" name="TextBox 52"/>
          <p:cNvSpPr txBox="1"/>
          <p:nvPr/>
        </p:nvSpPr>
        <p:spPr>
          <a:xfrm>
            <a:off x="285093" y="4472464"/>
            <a:ext cx="2567256" cy="447612"/>
          </a:xfrm>
          <a:prstGeom prst="rect">
            <a:avLst/>
          </a:prstGeom>
          <a:noFill/>
        </p:spPr>
        <p:txBody>
          <a:bodyPr wrap="square" lIns="137141" tIns="109713" rIns="137141" bIns="109713" rtlCol="0">
            <a:noAutofit/>
          </a:bodyPr>
          <a:lstStyle/>
          <a:p>
            <a:pPr algn="ctr" defTabSz="672290" fontAlgn="auto">
              <a:lnSpc>
                <a:spcPct val="90000"/>
              </a:lnSpc>
              <a:spcBef>
                <a:spcPts val="0"/>
              </a:spcBef>
              <a:spcAft>
                <a:spcPts val="450"/>
              </a:spcAft>
              <a:defRPr/>
            </a:pPr>
            <a:r>
              <a:rPr lang="en-US" sz="1763" b="0" kern="0" dirty="0">
                <a:gradFill>
                  <a:gsLst>
                    <a:gs pos="2917">
                      <a:srgbClr val="2C2C2C"/>
                    </a:gs>
                    <a:gs pos="30000">
                      <a:srgbClr val="2C2C2C"/>
                    </a:gs>
                  </a:gsLst>
                  <a:lin ang="5400000" scaled="0"/>
                </a:gradFill>
                <a:latin typeface="Segoe UI Light" panose="020B0502040204020203" pitchFamily="34" charset="0"/>
                <a:ea typeface="MS PGothic" charset="0"/>
                <a:cs typeface="Segoe UI Light" panose="020B0502040204020203" pitchFamily="34" charset="0"/>
              </a:rPr>
              <a:t>On-premises instance</a:t>
            </a:r>
          </a:p>
        </p:txBody>
      </p:sp>
      <p:sp>
        <p:nvSpPr>
          <p:cNvPr id="54" name="TextBox 53"/>
          <p:cNvSpPr txBox="1"/>
          <p:nvPr/>
        </p:nvSpPr>
        <p:spPr>
          <a:xfrm>
            <a:off x="2852349" y="4472464"/>
            <a:ext cx="2567256" cy="447612"/>
          </a:xfrm>
          <a:prstGeom prst="rect">
            <a:avLst/>
          </a:prstGeom>
          <a:noFill/>
        </p:spPr>
        <p:txBody>
          <a:bodyPr wrap="square" lIns="137141" tIns="109713" rIns="137141" bIns="109713" rtlCol="0">
            <a:noAutofit/>
          </a:bodyPr>
          <a:lstStyle/>
          <a:p>
            <a:pPr algn="ctr" defTabSz="672290" fontAlgn="auto">
              <a:lnSpc>
                <a:spcPct val="90000"/>
              </a:lnSpc>
              <a:spcBef>
                <a:spcPts val="0"/>
              </a:spcBef>
              <a:spcAft>
                <a:spcPts val="450"/>
              </a:spcAft>
              <a:defRPr/>
            </a:pPr>
            <a:r>
              <a:rPr lang="en-US" b="0" kern="0" dirty="0">
                <a:solidFill>
                  <a:srgbClr val="FFFFFF"/>
                </a:solidFill>
                <a:latin typeface="Segoe UI Light" panose="020B0502040204020203" pitchFamily="34" charset="0"/>
                <a:ea typeface="MS PGothic" charset="0"/>
                <a:cs typeface="Segoe UI Light" panose="020B0502040204020203" pitchFamily="34" charset="0"/>
              </a:rPr>
              <a:t>Azure</a:t>
            </a:r>
          </a:p>
        </p:txBody>
      </p:sp>
      <p:grpSp>
        <p:nvGrpSpPr>
          <p:cNvPr id="60" name="Group 59"/>
          <p:cNvGrpSpPr/>
          <p:nvPr/>
        </p:nvGrpSpPr>
        <p:grpSpPr>
          <a:xfrm>
            <a:off x="2521925" y="1936738"/>
            <a:ext cx="376683" cy="3314411"/>
            <a:chOff x="3362178" y="1439034"/>
            <a:chExt cx="502315" cy="4419841"/>
          </a:xfrm>
        </p:grpSpPr>
        <p:sp>
          <p:nvSpPr>
            <p:cNvPr id="51" name="TextBox 50"/>
            <p:cNvSpPr txBox="1"/>
            <p:nvPr/>
          </p:nvSpPr>
          <p:spPr>
            <a:xfrm rot="5400000">
              <a:off x="2284646" y="2516566"/>
              <a:ext cx="2657379" cy="502315"/>
            </a:xfrm>
            <a:prstGeom prst="rect">
              <a:avLst/>
            </a:prstGeom>
            <a:noFill/>
          </p:spPr>
          <p:txBody>
            <a:bodyPr wrap="square" lIns="137141" tIns="109713" rIns="137141" bIns="109713" rtlCol="0">
              <a:noAutofit/>
            </a:bodyPr>
            <a:lstStyle/>
            <a:p>
              <a:pPr defTabSz="672290" fontAlgn="auto">
                <a:lnSpc>
                  <a:spcPct val="90000"/>
                </a:lnSpc>
                <a:spcBef>
                  <a:spcPts val="0"/>
                </a:spcBef>
                <a:spcAft>
                  <a:spcPts val="450"/>
                </a:spcAft>
                <a:defRPr/>
              </a:pPr>
              <a:r>
                <a:rPr lang="en-US" sz="1050" b="0" kern="0" dirty="0">
                  <a:solidFill>
                    <a:srgbClr val="2C2C2C">
                      <a:lumMod val="50000"/>
                      <a:lumOff val="50000"/>
                    </a:srgbClr>
                  </a:solidFill>
                  <a:latin typeface="Segoe UI Light" panose="020B0502040204020203" pitchFamily="34" charset="0"/>
                  <a:ea typeface="MS PGothic" charset="0"/>
                  <a:cs typeface="Segoe UI Light" panose="020B0502040204020203" pitchFamily="34" charset="0"/>
                </a:rPr>
                <a:t>Internet boundary</a:t>
              </a:r>
            </a:p>
          </p:txBody>
        </p:sp>
        <p:cxnSp>
          <p:nvCxnSpPr>
            <p:cNvPr id="55" name="Straight Connector 54"/>
            <p:cNvCxnSpPr/>
            <p:nvPr/>
          </p:nvCxnSpPr>
          <p:spPr>
            <a:xfrm>
              <a:off x="3802806" y="1617075"/>
              <a:ext cx="0" cy="4241800"/>
            </a:xfrm>
            <a:prstGeom prst="line">
              <a:avLst/>
            </a:prstGeom>
            <a:ln w="31750">
              <a:solidFill>
                <a:schemeClr val="bg2">
                  <a:lumMod val="50000"/>
                  <a:alpha val="5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p:cNvSpPr txBox="1"/>
          <p:nvPr/>
        </p:nvSpPr>
        <p:spPr>
          <a:xfrm>
            <a:off x="2240526" y="3405894"/>
            <a:ext cx="1159736" cy="385738"/>
          </a:xfrm>
          <a:prstGeom prst="rect">
            <a:avLst/>
          </a:prstGeom>
          <a:solidFill>
            <a:srgbClr val="F2F2F2"/>
          </a:solidFill>
        </p:spPr>
        <p:txBody>
          <a:bodyPr wrap="square" lIns="134464" tIns="107571" rIns="134464" bIns="107571" rtlCol="0">
            <a:noAutofit/>
          </a:bodyPr>
          <a:lstStyle/>
          <a:p>
            <a:pPr algn="ctr" defTabSz="672290" fontAlgn="auto">
              <a:lnSpc>
                <a:spcPct val="90000"/>
              </a:lnSpc>
              <a:spcBef>
                <a:spcPts val="0"/>
              </a:spcBef>
              <a:spcAft>
                <a:spcPts val="450"/>
              </a:spcAft>
              <a:defRPr/>
            </a:pPr>
            <a:r>
              <a:rPr lang="en-US" sz="1050" b="0" kern="0" dirty="0">
                <a:solidFill>
                  <a:srgbClr val="2C2C2C">
                    <a:lumMod val="50000"/>
                    <a:lumOff val="50000"/>
                  </a:srgbClr>
                </a:solidFill>
                <a:latin typeface="Segoe UI Light" panose="020B0502040204020203" pitchFamily="34" charset="0"/>
                <a:ea typeface="MS PGothic" charset="0"/>
                <a:cs typeface="Segoe UI Light" panose="020B0502040204020203" pitchFamily="34" charset="0"/>
              </a:rPr>
              <a:t>Linked servers</a:t>
            </a:r>
          </a:p>
        </p:txBody>
      </p:sp>
      <p:cxnSp>
        <p:nvCxnSpPr>
          <p:cNvPr id="58" name="Straight Arrow Connector 57"/>
          <p:cNvCxnSpPr/>
          <p:nvPr/>
        </p:nvCxnSpPr>
        <p:spPr>
          <a:xfrm>
            <a:off x="2123410" y="3745789"/>
            <a:ext cx="1390526" cy="0"/>
          </a:xfrm>
          <a:prstGeom prst="straightConnector1">
            <a:avLst/>
          </a:prstGeom>
          <a:ln w="31750">
            <a:solidFill>
              <a:schemeClr val="tx1"/>
            </a:solidFill>
            <a:prstDash val="dash"/>
            <a:headEnd type="none"/>
            <a:tailEnd type="triangle" w="lg" len="med"/>
          </a:ln>
        </p:spPr>
        <p:style>
          <a:lnRef idx="1">
            <a:schemeClr val="accent1"/>
          </a:lnRef>
          <a:fillRef idx="0">
            <a:schemeClr val="accent1"/>
          </a:fillRef>
          <a:effectRef idx="0">
            <a:schemeClr val="accent1"/>
          </a:effectRef>
          <a:fontRef idx="minor">
            <a:schemeClr val="tx1"/>
          </a:fontRef>
        </p:style>
      </p:cxnSp>
      <p:grpSp>
        <p:nvGrpSpPr>
          <p:cNvPr id="61" name="Group 60"/>
          <p:cNvGrpSpPr/>
          <p:nvPr/>
        </p:nvGrpSpPr>
        <p:grpSpPr>
          <a:xfrm>
            <a:off x="1047255" y="3027465"/>
            <a:ext cx="1089192" cy="1436650"/>
            <a:chOff x="716045" y="2353147"/>
            <a:chExt cx="2201326" cy="2903560"/>
          </a:xfrm>
        </p:grpSpPr>
        <p:sp>
          <p:nvSpPr>
            <p:cNvPr id="62" name="Freeform 5"/>
            <p:cNvSpPr>
              <a:spLocks noEditPoints="1"/>
            </p:cNvSpPr>
            <p:nvPr/>
          </p:nvSpPr>
          <p:spPr bwMode="auto">
            <a:xfrm>
              <a:off x="716045" y="2353147"/>
              <a:ext cx="2201326" cy="2903560"/>
            </a:xfrm>
            <a:custGeom>
              <a:avLst/>
              <a:gdLst>
                <a:gd name="T0" fmla="*/ 184 w 184"/>
                <a:gd name="T1" fmla="*/ 38 h 244"/>
                <a:gd name="T2" fmla="*/ 184 w 184"/>
                <a:gd name="T3" fmla="*/ 36 h 244"/>
                <a:gd name="T4" fmla="*/ 178 w 184"/>
                <a:gd name="T5" fmla="*/ 24 h 244"/>
                <a:gd name="T6" fmla="*/ 156 w 184"/>
                <a:gd name="T7" fmla="*/ 11 h 244"/>
                <a:gd name="T8" fmla="*/ 105 w 184"/>
                <a:gd name="T9" fmla="*/ 0 h 244"/>
                <a:gd name="T10" fmla="*/ 103 w 184"/>
                <a:gd name="T11" fmla="*/ 0 h 244"/>
                <a:gd name="T12" fmla="*/ 80 w 184"/>
                <a:gd name="T13" fmla="*/ 0 h 244"/>
                <a:gd name="T14" fmla="*/ 78 w 184"/>
                <a:gd name="T15" fmla="*/ 0 h 244"/>
                <a:gd name="T16" fmla="*/ 23 w 184"/>
                <a:gd name="T17" fmla="*/ 13 h 244"/>
                <a:gd name="T18" fmla="*/ 5 w 184"/>
                <a:gd name="T19" fmla="*/ 24 h 244"/>
                <a:gd name="T20" fmla="*/ 0 w 184"/>
                <a:gd name="T21" fmla="*/ 37 h 244"/>
                <a:gd name="T22" fmla="*/ 0 w 184"/>
                <a:gd name="T23" fmla="*/ 205 h 244"/>
                <a:gd name="T24" fmla="*/ 8 w 184"/>
                <a:gd name="T25" fmla="*/ 222 h 244"/>
                <a:gd name="T26" fmla="*/ 37 w 184"/>
                <a:gd name="T27" fmla="*/ 237 h 244"/>
                <a:gd name="T28" fmla="*/ 77 w 184"/>
                <a:gd name="T29" fmla="*/ 244 h 244"/>
                <a:gd name="T30" fmla="*/ 79 w 184"/>
                <a:gd name="T31" fmla="*/ 244 h 244"/>
                <a:gd name="T32" fmla="*/ 105 w 184"/>
                <a:gd name="T33" fmla="*/ 244 h 244"/>
                <a:gd name="T34" fmla="*/ 113 w 184"/>
                <a:gd name="T35" fmla="*/ 243 h 244"/>
                <a:gd name="T36" fmla="*/ 161 w 184"/>
                <a:gd name="T37" fmla="*/ 231 h 244"/>
                <a:gd name="T38" fmla="*/ 181 w 184"/>
                <a:gd name="T39" fmla="*/ 217 h 244"/>
                <a:gd name="T40" fmla="*/ 184 w 184"/>
                <a:gd name="T41" fmla="*/ 209 h 244"/>
                <a:gd name="T42" fmla="*/ 184 w 184"/>
                <a:gd name="T43" fmla="*/ 207 h 244"/>
                <a:gd name="T44" fmla="*/ 184 w 184"/>
                <a:gd name="T45" fmla="*/ 38 h 244"/>
                <a:gd name="T46" fmla="*/ 154 w 184"/>
                <a:gd name="T47" fmla="*/ 39 h 244"/>
                <a:gd name="T48" fmla="*/ 138 w 184"/>
                <a:gd name="T49" fmla="*/ 47 h 244"/>
                <a:gd name="T50" fmla="*/ 92 w 184"/>
                <a:gd name="T51" fmla="*/ 53 h 244"/>
                <a:gd name="T52" fmla="*/ 43 w 184"/>
                <a:gd name="T53" fmla="*/ 46 h 244"/>
                <a:gd name="T54" fmla="*/ 30 w 184"/>
                <a:gd name="T55" fmla="*/ 39 h 244"/>
                <a:gd name="T56" fmla="*/ 30 w 184"/>
                <a:gd name="T57" fmla="*/ 26 h 244"/>
                <a:gd name="T58" fmla="*/ 50 w 184"/>
                <a:gd name="T59" fmla="*/ 17 h 244"/>
                <a:gd name="T60" fmla="*/ 106 w 184"/>
                <a:gd name="T61" fmla="*/ 13 h 244"/>
                <a:gd name="T62" fmla="*/ 141 w 184"/>
                <a:gd name="T63" fmla="*/ 20 h 244"/>
                <a:gd name="T64" fmla="*/ 154 w 184"/>
                <a:gd name="T65" fmla="*/ 26 h 244"/>
                <a:gd name="T66" fmla="*/ 154 w 184"/>
                <a:gd name="T67" fmla="*/ 39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4" h="244">
                  <a:moveTo>
                    <a:pt x="184" y="38"/>
                  </a:moveTo>
                  <a:cubicBezTo>
                    <a:pt x="184" y="38"/>
                    <a:pt x="184" y="37"/>
                    <a:pt x="184" y="36"/>
                  </a:cubicBezTo>
                  <a:cubicBezTo>
                    <a:pt x="183" y="31"/>
                    <a:pt x="181" y="27"/>
                    <a:pt x="178" y="24"/>
                  </a:cubicBezTo>
                  <a:cubicBezTo>
                    <a:pt x="171" y="18"/>
                    <a:pt x="164" y="14"/>
                    <a:pt x="156" y="11"/>
                  </a:cubicBezTo>
                  <a:cubicBezTo>
                    <a:pt x="139" y="4"/>
                    <a:pt x="122" y="1"/>
                    <a:pt x="105" y="0"/>
                  </a:cubicBezTo>
                  <a:cubicBezTo>
                    <a:pt x="104" y="0"/>
                    <a:pt x="104" y="0"/>
                    <a:pt x="103" y="0"/>
                  </a:cubicBezTo>
                  <a:cubicBezTo>
                    <a:pt x="95" y="0"/>
                    <a:pt x="88" y="0"/>
                    <a:pt x="80" y="0"/>
                  </a:cubicBezTo>
                  <a:cubicBezTo>
                    <a:pt x="80" y="0"/>
                    <a:pt x="79" y="0"/>
                    <a:pt x="78" y="0"/>
                  </a:cubicBezTo>
                  <a:cubicBezTo>
                    <a:pt x="59" y="1"/>
                    <a:pt x="40" y="5"/>
                    <a:pt x="23" y="13"/>
                  </a:cubicBezTo>
                  <a:cubicBezTo>
                    <a:pt x="16" y="15"/>
                    <a:pt x="10" y="19"/>
                    <a:pt x="5" y="24"/>
                  </a:cubicBezTo>
                  <a:cubicBezTo>
                    <a:pt x="2" y="28"/>
                    <a:pt x="0" y="32"/>
                    <a:pt x="0" y="37"/>
                  </a:cubicBezTo>
                  <a:cubicBezTo>
                    <a:pt x="0" y="93"/>
                    <a:pt x="0" y="149"/>
                    <a:pt x="0" y="205"/>
                  </a:cubicBezTo>
                  <a:cubicBezTo>
                    <a:pt x="0" y="212"/>
                    <a:pt x="3" y="217"/>
                    <a:pt x="8" y="222"/>
                  </a:cubicBezTo>
                  <a:cubicBezTo>
                    <a:pt x="16" y="229"/>
                    <a:pt x="27" y="233"/>
                    <a:pt x="37" y="237"/>
                  </a:cubicBezTo>
                  <a:cubicBezTo>
                    <a:pt x="50" y="241"/>
                    <a:pt x="63" y="243"/>
                    <a:pt x="77" y="244"/>
                  </a:cubicBezTo>
                  <a:cubicBezTo>
                    <a:pt x="77" y="244"/>
                    <a:pt x="78" y="244"/>
                    <a:pt x="79" y="244"/>
                  </a:cubicBezTo>
                  <a:cubicBezTo>
                    <a:pt x="87" y="244"/>
                    <a:pt x="96" y="244"/>
                    <a:pt x="105" y="244"/>
                  </a:cubicBezTo>
                  <a:cubicBezTo>
                    <a:pt x="107" y="243"/>
                    <a:pt x="110" y="244"/>
                    <a:pt x="113" y="243"/>
                  </a:cubicBezTo>
                  <a:cubicBezTo>
                    <a:pt x="129" y="242"/>
                    <a:pt x="146" y="239"/>
                    <a:pt x="161" y="231"/>
                  </a:cubicBezTo>
                  <a:cubicBezTo>
                    <a:pt x="169" y="228"/>
                    <a:pt x="176" y="224"/>
                    <a:pt x="181" y="217"/>
                  </a:cubicBezTo>
                  <a:cubicBezTo>
                    <a:pt x="182" y="215"/>
                    <a:pt x="183" y="212"/>
                    <a:pt x="184" y="209"/>
                  </a:cubicBezTo>
                  <a:cubicBezTo>
                    <a:pt x="184" y="209"/>
                    <a:pt x="184" y="208"/>
                    <a:pt x="184" y="207"/>
                  </a:cubicBezTo>
                  <a:cubicBezTo>
                    <a:pt x="184" y="151"/>
                    <a:pt x="184" y="95"/>
                    <a:pt x="184" y="38"/>
                  </a:cubicBezTo>
                  <a:close/>
                  <a:moveTo>
                    <a:pt x="154" y="39"/>
                  </a:moveTo>
                  <a:cubicBezTo>
                    <a:pt x="149" y="43"/>
                    <a:pt x="143" y="45"/>
                    <a:pt x="138" y="47"/>
                  </a:cubicBezTo>
                  <a:cubicBezTo>
                    <a:pt x="123" y="51"/>
                    <a:pt x="107" y="53"/>
                    <a:pt x="92" y="53"/>
                  </a:cubicBezTo>
                  <a:cubicBezTo>
                    <a:pt x="75" y="53"/>
                    <a:pt x="59" y="51"/>
                    <a:pt x="43" y="46"/>
                  </a:cubicBezTo>
                  <a:cubicBezTo>
                    <a:pt x="38" y="44"/>
                    <a:pt x="34" y="43"/>
                    <a:pt x="30" y="39"/>
                  </a:cubicBezTo>
                  <a:cubicBezTo>
                    <a:pt x="25" y="35"/>
                    <a:pt x="25" y="30"/>
                    <a:pt x="30" y="26"/>
                  </a:cubicBezTo>
                  <a:cubicBezTo>
                    <a:pt x="36" y="21"/>
                    <a:pt x="43" y="19"/>
                    <a:pt x="50" y="17"/>
                  </a:cubicBezTo>
                  <a:cubicBezTo>
                    <a:pt x="69" y="13"/>
                    <a:pt x="87" y="12"/>
                    <a:pt x="106" y="13"/>
                  </a:cubicBezTo>
                  <a:cubicBezTo>
                    <a:pt x="118" y="14"/>
                    <a:pt x="130" y="16"/>
                    <a:pt x="141" y="20"/>
                  </a:cubicBezTo>
                  <a:cubicBezTo>
                    <a:pt x="146" y="21"/>
                    <a:pt x="150" y="23"/>
                    <a:pt x="154" y="26"/>
                  </a:cubicBezTo>
                  <a:cubicBezTo>
                    <a:pt x="158" y="30"/>
                    <a:pt x="158" y="35"/>
                    <a:pt x="154" y="39"/>
                  </a:cubicBezTo>
                  <a:close/>
                </a:path>
              </a:pathLst>
            </a:custGeom>
            <a:solidFill>
              <a:schemeClr val="accent1"/>
            </a:solidFill>
            <a:ln>
              <a:noFill/>
            </a:ln>
          </p:spPr>
          <p:txBody>
            <a:bodyPr vert="horz" wrap="square" lIns="0" tIns="82284" rIns="0" bIns="0" numCol="1" anchor="t" anchorCtr="0" compatLnSpc="1">
              <a:prstTxWarp prst="textNoShape">
                <a:avLst/>
              </a:prstTxWarp>
            </a:bodyPr>
            <a:lstStyle/>
            <a:p>
              <a:pPr algn="ctr" defTabSz="672290" fontAlgn="auto">
                <a:spcBef>
                  <a:spcPts val="0"/>
                </a:spcBef>
                <a:spcAft>
                  <a:spcPts val="0"/>
                </a:spcAft>
                <a:defRPr/>
              </a:pPr>
              <a:r>
                <a:rPr lang="en-US" sz="750" b="0" kern="0" dirty="0">
                  <a:solidFill>
                    <a:srgbClr val="505050"/>
                  </a:solidFill>
                  <a:latin typeface="Segoe UI Light" panose="020B0502040204020203" pitchFamily="34" charset="0"/>
                  <a:ea typeface="MS PGothic" charset="0"/>
                  <a:cs typeface="Segoe UI Light" panose="020B0502040204020203" pitchFamily="34" charset="0"/>
                </a:rPr>
                <a:t>Local </a:t>
              </a:r>
            </a:p>
            <a:p>
              <a:pPr algn="ctr" defTabSz="672290" fontAlgn="auto">
                <a:spcBef>
                  <a:spcPts val="0"/>
                </a:spcBef>
                <a:spcAft>
                  <a:spcPts val="0"/>
                </a:spcAft>
                <a:defRPr/>
              </a:pPr>
              <a:r>
                <a:rPr lang="en-US" sz="750" b="0" kern="0" dirty="0">
                  <a:solidFill>
                    <a:srgbClr val="505050"/>
                  </a:solidFill>
                  <a:latin typeface="Segoe UI Light" panose="020B0502040204020203" pitchFamily="34" charset="0"/>
                  <a:ea typeface="MS PGothic" charset="0"/>
                  <a:cs typeface="Segoe UI Light" panose="020B0502040204020203" pitchFamily="34" charset="0"/>
                </a:rPr>
                <a:t>database </a:t>
              </a:r>
            </a:p>
          </p:txBody>
        </p:sp>
        <p:grpSp>
          <p:nvGrpSpPr>
            <p:cNvPr id="63" name="Group 62"/>
            <p:cNvGrpSpPr/>
            <p:nvPr/>
          </p:nvGrpSpPr>
          <p:grpSpPr>
            <a:xfrm>
              <a:off x="961901" y="3215409"/>
              <a:ext cx="1709615" cy="1602300"/>
              <a:chOff x="994833" y="3215409"/>
              <a:chExt cx="1709615" cy="1602300"/>
            </a:xfrm>
          </p:grpSpPr>
          <p:sp>
            <p:nvSpPr>
              <p:cNvPr id="64" name="Rectangle 63"/>
              <p:cNvSpPr/>
              <p:nvPr/>
            </p:nvSpPr>
            <p:spPr bwMode="auto">
              <a:xfrm>
                <a:off x="994833" y="3215409"/>
                <a:ext cx="1709615" cy="77382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1" tIns="109713" rIns="137141" bIns="109713" numCol="1" spcCol="0" rtlCol="0" fromWordArt="0" anchor="ctr" anchorCtr="0" forceAA="0" compatLnSpc="1">
                <a:prstTxWarp prst="textNoShape">
                  <a:avLst/>
                </a:prstTxWarp>
                <a:noAutofit/>
              </a:bodyPr>
              <a:lstStyle/>
              <a:p>
                <a:pPr algn="ctr" defTabSz="699220" fontAlgn="auto">
                  <a:lnSpc>
                    <a:spcPct val="90000"/>
                  </a:lnSpc>
                  <a:spcBef>
                    <a:spcPts val="0"/>
                  </a:spcBef>
                  <a:spcAft>
                    <a:spcPts val="0"/>
                  </a:spcAft>
                  <a:defRPr/>
                </a:pPr>
                <a:r>
                  <a:rPr lang="en-US" sz="1050" b="0" kern="0" dirty="0">
                    <a:solidFill>
                      <a:srgbClr val="003963"/>
                    </a:solidFill>
                    <a:latin typeface="Segoe UI Light" panose="020B0502040204020203" pitchFamily="34" charset="0"/>
                    <a:ea typeface="Segoe UI" panose="020B0502040204020203" pitchFamily="34" charset="0"/>
                    <a:cs typeface="Segoe UI Light" panose="020B0502040204020203" pitchFamily="34" charset="0"/>
                  </a:rPr>
                  <a:t>Local data</a:t>
                </a:r>
              </a:p>
            </p:txBody>
          </p:sp>
          <p:sp>
            <p:nvSpPr>
              <p:cNvPr id="65" name="Rectangle 64"/>
              <p:cNvSpPr/>
              <p:nvPr/>
            </p:nvSpPr>
            <p:spPr bwMode="auto">
              <a:xfrm>
                <a:off x="994833" y="4043883"/>
                <a:ext cx="1709615" cy="77382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70" tIns="68570" rIns="68570" bIns="68570" numCol="1" spcCol="0" rtlCol="0" fromWordArt="0" anchor="ctr" anchorCtr="0" forceAA="0" compatLnSpc="1">
                <a:prstTxWarp prst="textNoShape">
                  <a:avLst/>
                </a:prstTxWarp>
                <a:noAutofit/>
              </a:bodyPr>
              <a:lstStyle/>
              <a:p>
                <a:pPr algn="ctr" defTabSz="699220" fontAlgn="auto">
                  <a:lnSpc>
                    <a:spcPct val="90000"/>
                  </a:lnSpc>
                  <a:spcBef>
                    <a:spcPts val="0"/>
                  </a:spcBef>
                  <a:spcAft>
                    <a:spcPts val="0"/>
                  </a:spcAft>
                  <a:defRPr/>
                </a:pPr>
                <a:r>
                  <a:rPr lang="en-US" sz="1050" b="0" kern="0" dirty="0">
                    <a:solidFill>
                      <a:srgbClr val="003963"/>
                    </a:solidFill>
                    <a:latin typeface="Segoe UI Light" panose="020B0502040204020203" pitchFamily="34" charset="0"/>
                    <a:ea typeface="Segoe UI" panose="020B0502040204020203" pitchFamily="34" charset="0"/>
                    <a:cs typeface="Segoe UI Light" panose="020B0502040204020203" pitchFamily="34" charset="0"/>
                  </a:rPr>
                  <a:t>Eligible data</a:t>
                </a:r>
              </a:p>
            </p:txBody>
          </p:sp>
        </p:grpSp>
      </p:grpSp>
    </p:spTree>
    <p:extLst>
      <p:ext uri="{BB962C8B-B14F-4D97-AF65-F5344CB8AC3E}">
        <p14:creationId xmlns:p14="http://schemas.microsoft.com/office/powerpoint/2010/main" val="1459034938"/>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Screen Clipping">
            <a:extLst>
              <a:ext uri="{FF2B5EF4-FFF2-40B4-BE49-F238E27FC236}">
                <a16:creationId xmlns:a16="http://schemas.microsoft.com/office/drawing/2014/main" id="{3D2AAA65-B707-4F05-BA05-DA271753AA6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01412" y="1532335"/>
            <a:ext cx="7806583" cy="3729038"/>
          </a:xfrm>
          <a:prstGeom prst="rect">
            <a:avLst/>
          </a:prstGeom>
        </p:spPr>
      </p:pic>
    </p:spTree>
    <p:extLst>
      <p:ext uri="{BB962C8B-B14F-4D97-AF65-F5344CB8AC3E}">
        <p14:creationId xmlns:p14="http://schemas.microsoft.com/office/powerpoint/2010/main" val="2356729062"/>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QL Database Videos</a:t>
            </a:r>
          </a:p>
        </p:txBody>
      </p:sp>
      <p:sp>
        <p:nvSpPr>
          <p:cNvPr id="3" name="Content Placeholder 2"/>
          <p:cNvSpPr>
            <a:spLocks noGrp="1"/>
          </p:cNvSpPr>
          <p:nvPr>
            <p:ph type="body" idx="1"/>
          </p:nvPr>
        </p:nvSpPr>
        <p:spPr/>
        <p:txBody>
          <a:bodyPr/>
          <a:lstStyle/>
          <a:p>
            <a:r>
              <a:rPr lang="en-US" dirty="0">
                <a:hlinkClick r:id="rId3"/>
              </a:rPr>
              <a:t>https://azure.microsoft.com/en-us/resources/videos/index/?services=sql-database</a:t>
            </a:r>
            <a:endParaRPr lang="en-US" dirty="0"/>
          </a:p>
          <a:p>
            <a:endParaRPr lang="en-US" dirty="0"/>
          </a:p>
        </p:txBody>
      </p:sp>
    </p:spTree>
    <p:extLst>
      <p:ext uri="{BB962C8B-B14F-4D97-AF65-F5344CB8AC3E}">
        <p14:creationId xmlns:p14="http://schemas.microsoft.com/office/powerpoint/2010/main" val="347927595"/>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p:txBody>
          <a:bodyPr/>
          <a:lstStyle/>
          <a:p>
            <a:r>
              <a:rPr lang="en-GB" dirty="0"/>
              <a:t>Azure might update to change feature availability. The exam is updated over time, as well, to reflect these changes. However, because of the way Azure is steadily being updated, the newest features might not be on the exams.</a:t>
            </a:r>
          </a:p>
          <a:p>
            <a:endParaRPr lang="en-GB" dirty="0"/>
          </a:p>
        </p:txBody>
      </p:sp>
    </p:spTree>
    <p:extLst>
      <p:ext uri="{BB962C8B-B14F-4D97-AF65-F5344CB8AC3E}">
        <p14:creationId xmlns:p14="http://schemas.microsoft.com/office/powerpoint/2010/main" val="1546605735"/>
      </p:ext>
    </p:extLst>
  </p:cSld>
  <p:clrMapOvr>
    <a:masterClrMapping/>
  </p:clrMapOvr>
  <p:transition>
    <p:fade/>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p:txBody>
          <a:bodyPr/>
          <a:lstStyle/>
          <a:p>
            <a:r>
              <a:rPr lang="en-US" dirty="0"/>
              <a:t>Performance levels of the database are important to a company, and the ability to change this at times is equally important. For example, the limits of each level of SQL Database can help the architect to determine the minimum level needed to satisfy those needs.</a:t>
            </a:r>
            <a:endParaRPr lang="en-GB" dirty="0"/>
          </a:p>
        </p:txBody>
      </p:sp>
    </p:spTree>
    <p:extLst>
      <p:ext uri="{BB962C8B-B14F-4D97-AF65-F5344CB8AC3E}">
        <p14:creationId xmlns:p14="http://schemas.microsoft.com/office/powerpoint/2010/main" val="98981622"/>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p:txBody>
          <a:bodyPr/>
          <a:lstStyle/>
          <a:p>
            <a:r>
              <a:rPr lang="en-GB" dirty="0"/>
              <a:t>Know the various storage types and their uses. For example, many times you can use Queues to decouple components of a system.</a:t>
            </a:r>
          </a:p>
          <a:p>
            <a:endParaRPr lang="en-GB" dirty="0"/>
          </a:p>
          <a:p>
            <a:r>
              <a:rPr lang="en-US" dirty="0">
                <a:hlinkClick r:id="rId3"/>
              </a:rPr>
              <a:t>aka.ms/azure/storage</a:t>
            </a:r>
            <a:r>
              <a:rPr lang="en-US" dirty="0"/>
              <a:t>, how they are alike &amp; how they are different</a:t>
            </a:r>
          </a:p>
          <a:p>
            <a:endParaRPr lang="en-GB" dirty="0"/>
          </a:p>
        </p:txBody>
      </p:sp>
    </p:spTree>
    <p:extLst>
      <p:ext uri="{BB962C8B-B14F-4D97-AF65-F5344CB8AC3E}">
        <p14:creationId xmlns:p14="http://schemas.microsoft.com/office/powerpoint/2010/main" val="3392812382"/>
      </p:ext>
    </p:extLst>
  </p:cSld>
  <p:clrMapOvr>
    <a:masterClrMapping/>
  </p:clrMapOvr>
  <p:transition>
    <p:fade/>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18F32A68-F35F-4F12-8FB0-5AC4BD0ACDC2}"/>
              </a:ext>
            </a:extLst>
          </p:cNvPr>
          <p:cNvSpPr txBox="1"/>
          <p:nvPr/>
        </p:nvSpPr>
        <p:spPr>
          <a:xfrm>
            <a:off x="362415" y="1350169"/>
            <a:ext cx="8452625" cy="3901068"/>
          </a:xfrm>
          <a:prstGeom prst="rect">
            <a:avLst/>
          </a:prstGeom>
          <a:noFill/>
        </p:spPr>
        <p:txBody>
          <a:bodyPr wrap="square" rtlCol="0">
            <a:spAutoFit/>
          </a:bodyPr>
          <a:lstStyle/>
          <a:p>
            <a:pPr defTabSz="685800" fontAlgn="auto">
              <a:spcBef>
                <a:spcPts val="0"/>
              </a:spcBef>
              <a:spcAft>
                <a:spcPts val="0"/>
              </a:spcAft>
            </a:pPr>
            <a:r>
              <a:rPr lang="en-US" sz="2700" dirty="0">
                <a:solidFill>
                  <a:prstClr val="black"/>
                </a:solidFill>
                <a:latin typeface="Calibri" panose="020F0502020204030204"/>
                <a:cs typeface="+mn-cs"/>
              </a:rPr>
              <a:t>Azure Database for MySQL</a:t>
            </a:r>
          </a:p>
          <a:p>
            <a:pPr defTabSz="685800" fontAlgn="auto">
              <a:spcBef>
                <a:spcPts val="0"/>
              </a:spcBef>
              <a:spcAft>
                <a:spcPts val="0"/>
              </a:spcAft>
            </a:pPr>
            <a:endParaRPr lang="en-US" sz="1350" dirty="0">
              <a:solidFill>
                <a:prstClr val="black"/>
              </a:solidFill>
              <a:latin typeface="Calibri" panose="020F0502020204030204"/>
              <a:cs typeface="+mn-cs"/>
            </a:endParaRPr>
          </a:p>
          <a:p>
            <a:pPr defTabSz="685800" fontAlgn="auto">
              <a:spcBef>
                <a:spcPts val="0"/>
              </a:spcBef>
              <a:spcAft>
                <a:spcPts val="0"/>
              </a:spcAft>
            </a:pPr>
            <a:r>
              <a:rPr lang="en-US" b="0" dirty="0">
                <a:solidFill>
                  <a:prstClr val="black"/>
                </a:solidFill>
                <a:latin typeface="Calibri" panose="020F0502020204030204"/>
                <a:cs typeface="+mn-cs"/>
              </a:rPr>
              <a:t>A fully managed MySQL database service for app developers</a:t>
            </a:r>
          </a:p>
          <a:p>
            <a:pPr defTabSz="685800" fontAlgn="auto">
              <a:spcBef>
                <a:spcPts val="0"/>
              </a:spcBef>
              <a:spcAft>
                <a:spcPts val="0"/>
              </a:spcAft>
            </a:pPr>
            <a:r>
              <a:rPr lang="en-US" b="0" dirty="0">
                <a:solidFill>
                  <a:prstClr val="black"/>
                </a:solidFill>
                <a:latin typeface="Calibri" panose="020F0502020204030204"/>
                <a:cs typeface="+mn-cs"/>
              </a:rPr>
              <a:t>Integrate the MySQL community edition with Azure for scalability, high availability, and your choice of languages and frameworks</a:t>
            </a:r>
          </a:p>
          <a:p>
            <a:pPr defTabSz="685800" fontAlgn="auto">
              <a:spcBef>
                <a:spcPts val="0"/>
              </a:spcBef>
              <a:spcAft>
                <a:spcPts val="0"/>
              </a:spcAft>
            </a:pPr>
            <a:endParaRPr lang="en-US" b="0" dirty="0">
              <a:solidFill>
                <a:prstClr val="black"/>
              </a:solidFill>
              <a:latin typeface="Calibri" panose="020F0502020204030204"/>
              <a:cs typeface="+mn-cs"/>
            </a:endParaRPr>
          </a:p>
          <a:p>
            <a:pPr marL="257175" indent="-257175" defTabSz="685800" fontAlgn="auto">
              <a:spcBef>
                <a:spcPts val="0"/>
              </a:spcBef>
              <a:spcAft>
                <a:spcPts val="0"/>
              </a:spcAft>
              <a:buFont typeface="+mj-lt"/>
              <a:buAutoNum type="arabicPeriod"/>
            </a:pPr>
            <a:r>
              <a:rPr lang="en-US" b="0" dirty="0">
                <a:solidFill>
                  <a:prstClr val="black"/>
                </a:solidFill>
                <a:latin typeface="Calibri" panose="020F0502020204030204"/>
                <a:cs typeface="+mn-cs"/>
              </a:rPr>
              <a:t>Native MySQL that’s fully managed</a:t>
            </a:r>
          </a:p>
          <a:p>
            <a:pPr marL="257175" indent="-257175" defTabSz="685800" fontAlgn="auto">
              <a:spcBef>
                <a:spcPts val="0"/>
              </a:spcBef>
              <a:spcAft>
                <a:spcPts val="0"/>
              </a:spcAft>
              <a:buFont typeface="+mj-lt"/>
              <a:buAutoNum type="arabicPeriod"/>
            </a:pPr>
            <a:r>
              <a:rPr lang="en-US" b="0" dirty="0">
                <a:solidFill>
                  <a:prstClr val="black"/>
                </a:solidFill>
                <a:latin typeface="Calibri" panose="020F0502020204030204"/>
                <a:cs typeface="+mn-cs"/>
              </a:rPr>
              <a:t>Languages and frameworks of your choice</a:t>
            </a:r>
          </a:p>
          <a:p>
            <a:pPr marL="257175" indent="-257175" defTabSz="685800" fontAlgn="auto">
              <a:spcBef>
                <a:spcPts val="0"/>
              </a:spcBef>
              <a:spcAft>
                <a:spcPts val="0"/>
              </a:spcAft>
              <a:buFont typeface="+mj-lt"/>
              <a:buAutoNum type="arabicPeriod"/>
            </a:pPr>
            <a:r>
              <a:rPr lang="en-US" b="0" dirty="0">
                <a:solidFill>
                  <a:prstClr val="black"/>
                </a:solidFill>
                <a:latin typeface="Calibri" panose="020F0502020204030204"/>
                <a:cs typeface="+mn-cs"/>
              </a:rPr>
              <a:t>Built-in high availability</a:t>
            </a:r>
          </a:p>
          <a:p>
            <a:pPr marL="257175" indent="-257175" defTabSz="685800" fontAlgn="auto">
              <a:spcBef>
                <a:spcPts val="0"/>
              </a:spcBef>
              <a:spcAft>
                <a:spcPts val="0"/>
              </a:spcAft>
              <a:buFont typeface="+mj-lt"/>
              <a:buAutoNum type="arabicPeriod"/>
            </a:pPr>
            <a:r>
              <a:rPr lang="en-US" b="0" dirty="0">
                <a:solidFill>
                  <a:prstClr val="black"/>
                </a:solidFill>
                <a:latin typeface="Calibri" panose="020F0502020204030204"/>
                <a:cs typeface="+mn-cs"/>
              </a:rPr>
              <a:t>Scale within seconds</a:t>
            </a:r>
          </a:p>
          <a:p>
            <a:pPr marL="257175" indent="-257175" defTabSz="685800" fontAlgn="auto">
              <a:spcBef>
                <a:spcPts val="0"/>
              </a:spcBef>
              <a:spcAft>
                <a:spcPts val="0"/>
              </a:spcAft>
              <a:buFont typeface="+mj-lt"/>
              <a:buAutoNum type="arabicPeriod"/>
            </a:pPr>
            <a:r>
              <a:rPr lang="en-US" b="0" dirty="0">
                <a:solidFill>
                  <a:prstClr val="black"/>
                </a:solidFill>
                <a:latin typeface="Calibri" panose="020F0502020204030204"/>
                <a:cs typeface="+mn-cs"/>
              </a:rPr>
              <a:t>Simple and Flexible pricing</a:t>
            </a:r>
          </a:p>
          <a:p>
            <a:pPr marL="257175" indent="-257175" defTabSz="685800" fontAlgn="auto">
              <a:spcBef>
                <a:spcPts val="0"/>
              </a:spcBef>
              <a:spcAft>
                <a:spcPts val="0"/>
              </a:spcAft>
              <a:buFont typeface="+mj-lt"/>
              <a:buAutoNum type="arabicPeriod"/>
            </a:pPr>
            <a:r>
              <a:rPr lang="en-US" b="0" dirty="0">
                <a:solidFill>
                  <a:prstClr val="black"/>
                </a:solidFill>
                <a:latin typeface="Calibri" panose="020F0502020204030204"/>
                <a:cs typeface="+mn-cs"/>
              </a:rPr>
              <a:t>Unparalleled security and reach</a:t>
            </a:r>
          </a:p>
          <a:p>
            <a:pPr marL="257175" indent="-257175" defTabSz="685800" fontAlgn="auto">
              <a:spcBef>
                <a:spcPts val="0"/>
              </a:spcBef>
              <a:spcAft>
                <a:spcPts val="0"/>
              </a:spcAft>
              <a:buFont typeface="+mj-lt"/>
              <a:buAutoNum type="arabicPeriod"/>
            </a:pPr>
            <a:endParaRPr lang="en-US" sz="1350" b="0" dirty="0">
              <a:solidFill>
                <a:prstClr val="black"/>
              </a:solidFill>
              <a:latin typeface="Calibri" panose="020F0502020204030204"/>
              <a:cs typeface="+mn-cs"/>
            </a:endParaRPr>
          </a:p>
          <a:p>
            <a:pPr defTabSz="685800" fontAlgn="auto">
              <a:spcBef>
                <a:spcPts val="0"/>
              </a:spcBef>
              <a:spcAft>
                <a:spcPts val="0"/>
              </a:spcAft>
            </a:pPr>
            <a:endParaRPr lang="en-US" sz="1350" b="0" dirty="0">
              <a:solidFill>
                <a:prstClr val="black"/>
              </a:solidFill>
              <a:latin typeface="Calibri" panose="020F0502020204030204"/>
              <a:cs typeface="+mn-cs"/>
            </a:endParaRPr>
          </a:p>
        </p:txBody>
      </p:sp>
    </p:spTree>
    <p:extLst>
      <p:ext uri="{BB962C8B-B14F-4D97-AF65-F5344CB8AC3E}">
        <p14:creationId xmlns:p14="http://schemas.microsoft.com/office/powerpoint/2010/main" val="676537541"/>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2FA020-C3BB-2C46-A0AD-195E96933E29}"/>
              </a:ext>
            </a:extLst>
          </p:cNvPr>
          <p:cNvSpPr>
            <a:spLocks noGrp="1"/>
          </p:cNvSpPr>
          <p:nvPr>
            <p:ph type="title"/>
          </p:nvPr>
        </p:nvSpPr>
        <p:spPr/>
        <p:txBody>
          <a:bodyPr>
            <a:normAutofit fontScale="90000"/>
          </a:bodyPr>
          <a:lstStyle/>
          <a:p>
            <a:r>
              <a:rPr lang="en-US" b="1" dirty="0"/>
              <a:t>Azure Database for PostgreSQL</a:t>
            </a:r>
            <a:br>
              <a:rPr lang="en-US" b="1" dirty="0"/>
            </a:br>
            <a:endParaRPr lang="en-US" dirty="0"/>
          </a:p>
        </p:txBody>
      </p:sp>
      <p:sp>
        <p:nvSpPr>
          <p:cNvPr id="3" name="Content Placeholder 2">
            <a:extLst>
              <a:ext uri="{FF2B5EF4-FFF2-40B4-BE49-F238E27FC236}">
                <a16:creationId xmlns:a16="http://schemas.microsoft.com/office/drawing/2014/main" id="{39EFB785-DD4D-C147-8528-33442EF54140}"/>
              </a:ext>
            </a:extLst>
          </p:cNvPr>
          <p:cNvSpPr>
            <a:spLocks noGrp="1"/>
          </p:cNvSpPr>
          <p:nvPr>
            <p:ph idx="1"/>
          </p:nvPr>
        </p:nvSpPr>
        <p:spPr/>
        <p:txBody>
          <a:bodyPr>
            <a:normAutofit lnSpcReduction="10000"/>
          </a:bodyPr>
          <a:lstStyle/>
          <a:p>
            <a:r>
              <a:rPr lang="en-US" dirty="0"/>
              <a:t>Managed PostgreSQL database service for app developers</a:t>
            </a:r>
          </a:p>
          <a:p>
            <a:r>
              <a:rPr lang="en-US" dirty="0"/>
              <a:t>Integrate the PostgreSQL community edition with Azure for scalability, high-availability, and your choice of languages and frameworks.</a:t>
            </a:r>
          </a:p>
          <a:p>
            <a:endParaRPr lang="en-US" dirty="0"/>
          </a:p>
          <a:p>
            <a:pPr marL="257175" indent="-257175">
              <a:buFont typeface="+mj-lt"/>
              <a:buAutoNum type="arabicPeriod"/>
            </a:pPr>
            <a:r>
              <a:rPr lang="en-US" dirty="0"/>
              <a:t>Use native PostgreSQL that’s fully managed</a:t>
            </a:r>
          </a:p>
          <a:p>
            <a:pPr marL="257175" indent="-257175">
              <a:buFont typeface="+mj-lt"/>
              <a:buAutoNum type="arabicPeriod"/>
            </a:pPr>
            <a:r>
              <a:rPr lang="en-US" dirty="0"/>
              <a:t>Choose your languages and frameworks</a:t>
            </a:r>
          </a:p>
          <a:p>
            <a:pPr marL="257175" indent="-257175">
              <a:buFont typeface="+mj-lt"/>
              <a:buAutoNum type="arabicPeriod"/>
            </a:pPr>
            <a:r>
              <a:rPr lang="en-US" dirty="0"/>
              <a:t>Built-in high availability</a:t>
            </a:r>
          </a:p>
          <a:p>
            <a:pPr marL="257175" indent="-257175">
              <a:buFont typeface="+mj-lt"/>
              <a:buAutoNum type="arabicPeriod"/>
            </a:pPr>
            <a:r>
              <a:rPr lang="en-US" dirty="0"/>
              <a:t>Scale within seconds</a:t>
            </a:r>
          </a:p>
          <a:p>
            <a:pPr marL="257175" indent="-257175">
              <a:buFont typeface="+mj-lt"/>
              <a:buAutoNum type="arabicPeriod"/>
            </a:pPr>
            <a:r>
              <a:rPr lang="en-US" dirty="0"/>
              <a:t>Simple and Flexible pricing</a:t>
            </a:r>
          </a:p>
          <a:p>
            <a:pPr marL="257175" indent="-257175">
              <a:buFont typeface="+mj-lt"/>
              <a:buAutoNum type="arabicPeriod"/>
            </a:pPr>
            <a:r>
              <a:rPr lang="en-US" dirty="0"/>
              <a:t>Unparalleled security and reach</a:t>
            </a:r>
          </a:p>
          <a:p>
            <a:endParaRPr lang="en-US" dirty="0"/>
          </a:p>
        </p:txBody>
      </p:sp>
    </p:spTree>
    <p:extLst>
      <p:ext uri="{BB962C8B-B14F-4D97-AF65-F5344CB8AC3E}">
        <p14:creationId xmlns:p14="http://schemas.microsoft.com/office/powerpoint/2010/main" val="3230399443"/>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8" name="Picture 107">
            <a:extLst>
              <a:ext uri="{FF2B5EF4-FFF2-40B4-BE49-F238E27FC236}">
                <a16:creationId xmlns:a16="http://schemas.microsoft.com/office/drawing/2014/main" id="{2FDA1DCC-D7CB-4A4F-9CDC-F58E4B933521}"/>
              </a:ext>
            </a:extLst>
          </p:cNvPr>
          <p:cNvPicPr>
            <a:picLocks noChangeAspect="1"/>
          </p:cNvPicPr>
          <p:nvPr/>
        </p:nvPicPr>
        <p:blipFill>
          <a:blip r:embed="rId3"/>
          <a:srcRect l="20357" t="7601" r="16283" b="12969"/>
          <a:stretch>
            <a:fillRect/>
          </a:stretch>
        </p:blipFill>
        <p:spPr>
          <a:xfrm>
            <a:off x="4932903" y="2563624"/>
            <a:ext cx="389620" cy="528722"/>
          </a:xfrm>
          <a:custGeom>
            <a:avLst/>
            <a:gdLst>
              <a:gd name="connsiteX0" fmla="*/ 217012 w 434024"/>
              <a:gd name="connsiteY0" fmla="*/ 0 h 588979"/>
              <a:gd name="connsiteX1" fmla="*/ 434024 w 434024"/>
              <a:gd name="connsiteY1" fmla="*/ 96622 h 588979"/>
              <a:gd name="connsiteX2" fmla="*/ 432320 w 434024"/>
              <a:gd name="connsiteY2" fmla="*/ 104151 h 588979"/>
              <a:gd name="connsiteX3" fmla="*/ 434024 w 434024"/>
              <a:gd name="connsiteY3" fmla="*/ 112965 h 588979"/>
              <a:gd name="connsiteX4" fmla="*/ 434024 w 434024"/>
              <a:gd name="connsiteY4" fmla="*/ 473344 h 588979"/>
              <a:gd name="connsiteX5" fmla="*/ 432041 w 434024"/>
              <a:gd name="connsiteY5" fmla="*/ 483598 h 588979"/>
              <a:gd name="connsiteX6" fmla="*/ 434024 w 434024"/>
              <a:gd name="connsiteY6" fmla="*/ 492357 h 588979"/>
              <a:gd name="connsiteX7" fmla="*/ 217012 w 434024"/>
              <a:gd name="connsiteY7" fmla="*/ 588979 h 588979"/>
              <a:gd name="connsiteX8" fmla="*/ 0 w 434024"/>
              <a:gd name="connsiteY8" fmla="*/ 492357 h 588979"/>
              <a:gd name="connsiteX9" fmla="*/ 1984 w 434024"/>
              <a:gd name="connsiteY9" fmla="*/ 483596 h 588979"/>
              <a:gd name="connsiteX10" fmla="*/ 1 w 434024"/>
              <a:gd name="connsiteY10" fmla="*/ 473344 h 588979"/>
              <a:gd name="connsiteX11" fmla="*/ 1 w 434024"/>
              <a:gd name="connsiteY11" fmla="*/ 112965 h 588979"/>
              <a:gd name="connsiteX12" fmla="*/ 1705 w 434024"/>
              <a:gd name="connsiteY12" fmla="*/ 104154 h 588979"/>
              <a:gd name="connsiteX13" fmla="*/ 0 w 434024"/>
              <a:gd name="connsiteY13" fmla="*/ 96622 h 588979"/>
              <a:gd name="connsiteX14" fmla="*/ 217012 w 434024"/>
              <a:gd name="connsiteY14" fmla="*/ 0 h 5889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4024" h="588979">
                <a:moveTo>
                  <a:pt x="217012" y="0"/>
                </a:moveTo>
                <a:cubicBezTo>
                  <a:pt x="336864" y="0"/>
                  <a:pt x="434024" y="43259"/>
                  <a:pt x="434024" y="96622"/>
                </a:cubicBezTo>
                <a:lnTo>
                  <a:pt x="432320" y="104151"/>
                </a:lnTo>
                <a:lnTo>
                  <a:pt x="434024" y="112965"/>
                </a:lnTo>
                <a:lnTo>
                  <a:pt x="434024" y="473344"/>
                </a:lnTo>
                <a:lnTo>
                  <a:pt x="432041" y="483598"/>
                </a:lnTo>
                <a:lnTo>
                  <a:pt x="434024" y="492357"/>
                </a:lnTo>
                <a:cubicBezTo>
                  <a:pt x="434024" y="545720"/>
                  <a:pt x="336864" y="588979"/>
                  <a:pt x="217012" y="588979"/>
                </a:cubicBezTo>
                <a:cubicBezTo>
                  <a:pt x="97160" y="588979"/>
                  <a:pt x="0" y="545720"/>
                  <a:pt x="0" y="492357"/>
                </a:cubicBezTo>
                <a:lnTo>
                  <a:pt x="1984" y="483596"/>
                </a:lnTo>
                <a:lnTo>
                  <a:pt x="1" y="473344"/>
                </a:lnTo>
                <a:lnTo>
                  <a:pt x="1" y="112965"/>
                </a:lnTo>
                <a:lnTo>
                  <a:pt x="1705" y="104154"/>
                </a:lnTo>
                <a:lnTo>
                  <a:pt x="0" y="96622"/>
                </a:lnTo>
                <a:cubicBezTo>
                  <a:pt x="0" y="43259"/>
                  <a:pt x="97160" y="0"/>
                  <a:pt x="217012" y="0"/>
                </a:cubicBezTo>
                <a:close/>
              </a:path>
            </a:pathLst>
          </a:custGeom>
        </p:spPr>
      </p:pic>
      <p:pic>
        <p:nvPicPr>
          <p:cNvPr id="839" name="Picture 838" descr="https://upload.wikimedia.org/wikipedia/en/thumb/5/54/Gremlin_%28programming_language%29.png/383px-Gremlin_%28programming_language%29.png"/>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6797333" y="2802802"/>
            <a:ext cx="1169691" cy="455051"/>
          </a:xfrm>
          <a:prstGeom prst="rect">
            <a:avLst/>
          </a:prstGeom>
          <a:extLst>
            <a:ext uri="{909E8E84-426E-40DD-AFC4-6F175D3DCCD1}">
              <a14:hiddenFill xmlns:a14="http://schemas.microsoft.com/office/drawing/2010/main">
                <a:solidFill>
                  <a:srgbClr val="FFFFFF"/>
                </a:solidFill>
              </a14:hiddenFill>
            </a:ext>
          </a:extLst>
        </p:spPr>
      </p:pic>
      <p:grpSp>
        <p:nvGrpSpPr>
          <p:cNvPr id="865" name="Group 864"/>
          <p:cNvGrpSpPr/>
          <p:nvPr/>
        </p:nvGrpSpPr>
        <p:grpSpPr>
          <a:xfrm>
            <a:off x="6573138" y="3588505"/>
            <a:ext cx="439603" cy="282791"/>
            <a:chOff x="7117181" y="5146654"/>
            <a:chExt cx="663064" cy="426544"/>
          </a:xfrm>
          <a:solidFill>
            <a:srgbClr val="59B4D9"/>
          </a:solidFill>
        </p:grpSpPr>
        <p:sp>
          <p:nvSpPr>
            <p:cNvPr id="866" name="Oval 865"/>
            <p:cNvSpPr/>
            <p:nvPr/>
          </p:nvSpPr>
          <p:spPr bwMode="auto">
            <a:xfrm rot="715722">
              <a:off x="7117181" y="5146654"/>
              <a:ext cx="124646" cy="124646"/>
            </a:xfrm>
            <a:prstGeom prst="ellipse">
              <a:avLst/>
            </a:prstGeom>
            <a:solidFill>
              <a:schemeClr val="accent1"/>
            </a:solidFill>
            <a:ln w="3175" cap="flat" cmpd="sng" algn="ctr">
              <a:noFill/>
              <a:prstDash val="solid"/>
              <a:miter lim="800000"/>
              <a:headEnd type="none" w="med" len="med"/>
              <a:tailEnd type="none" w="med" len="med"/>
            </a:ln>
            <a:effectLst/>
          </p:spPr>
          <p:txBody>
            <a:bodyPr vert="horz" wrap="square" lIns="0" tIns="34280" rIns="0" bIns="34280" numCol="1" rtlCol="0" anchor="ctr" anchorCtr="0" compatLnSpc="1">
              <a:prstTxWarp prst="textNoShape">
                <a:avLst/>
              </a:prstTxWarp>
            </a:bodyPr>
            <a:lstStyle/>
            <a:p>
              <a:pPr algn="ctr" defTabSz="685313">
                <a:defRPr/>
              </a:pPr>
              <a:endParaRPr lang="en-US" sz="1471" b="0" kern="0" dirty="0">
                <a:gradFill>
                  <a:gsLst>
                    <a:gs pos="0">
                      <a:srgbClr val="FFFFFF"/>
                    </a:gs>
                    <a:gs pos="100000">
                      <a:srgbClr val="FFFFFF"/>
                    </a:gs>
                  </a:gsLst>
                  <a:lin ang="5400000" scaled="0"/>
                </a:gradFill>
                <a:latin typeface="Segoe UI"/>
                <a:cs typeface="+mn-cs"/>
              </a:endParaRPr>
            </a:p>
          </p:txBody>
        </p:sp>
        <p:sp>
          <p:nvSpPr>
            <p:cNvPr id="867" name="Oval 866"/>
            <p:cNvSpPr/>
            <p:nvPr/>
          </p:nvSpPr>
          <p:spPr bwMode="auto">
            <a:xfrm>
              <a:off x="7476127" y="5224668"/>
              <a:ext cx="124646" cy="124646"/>
            </a:xfrm>
            <a:prstGeom prst="ellipse">
              <a:avLst/>
            </a:prstGeom>
            <a:solidFill>
              <a:schemeClr val="accent1"/>
            </a:solidFill>
            <a:ln w="3175" cap="flat" cmpd="sng" algn="ctr">
              <a:noFill/>
              <a:prstDash val="solid"/>
              <a:miter lim="800000"/>
              <a:headEnd type="none" w="med" len="med"/>
              <a:tailEnd type="none" w="med" len="med"/>
            </a:ln>
            <a:effectLst/>
          </p:spPr>
          <p:txBody>
            <a:bodyPr vert="horz" wrap="square" lIns="0" tIns="34280" rIns="0" bIns="34280" numCol="1" rtlCol="0" anchor="ctr" anchorCtr="0" compatLnSpc="1">
              <a:prstTxWarp prst="textNoShape">
                <a:avLst/>
              </a:prstTxWarp>
            </a:bodyPr>
            <a:lstStyle/>
            <a:p>
              <a:pPr algn="ctr" defTabSz="685313">
                <a:defRPr/>
              </a:pPr>
              <a:endParaRPr lang="en-US" sz="1471" b="0" kern="0" dirty="0">
                <a:gradFill>
                  <a:gsLst>
                    <a:gs pos="0">
                      <a:srgbClr val="FFFFFF"/>
                    </a:gs>
                    <a:gs pos="100000">
                      <a:srgbClr val="FFFFFF"/>
                    </a:gs>
                  </a:gsLst>
                  <a:lin ang="5400000" scaled="0"/>
                </a:gradFill>
                <a:latin typeface="Segoe UI"/>
                <a:cs typeface="+mn-cs"/>
              </a:endParaRPr>
            </a:p>
          </p:txBody>
        </p:sp>
        <p:sp>
          <p:nvSpPr>
            <p:cNvPr id="868" name="Oval 867"/>
            <p:cNvSpPr/>
            <p:nvPr/>
          </p:nvSpPr>
          <p:spPr bwMode="auto">
            <a:xfrm>
              <a:off x="7296654" y="5448552"/>
              <a:ext cx="124646" cy="124646"/>
            </a:xfrm>
            <a:prstGeom prst="ellipse">
              <a:avLst/>
            </a:prstGeom>
            <a:solidFill>
              <a:schemeClr val="accent1"/>
            </a:solidFill>
            <a:ln w="3175" cap="flat" cmpd="sng" algn="ctr">
              <a:noFill/>
              <a:prstDash val="solid"/>
              <a:miter lim="800000"/>
              <a:headEnd type="none" w="med" len="med"/>
              <a:tailEnd type="none" w="med" len="med"/>
            </a:ln>
            <a:effectLst/>
          </p:spPr>
          <p:txBody>
            <a:bodyPr vert="horz" wrap="square" lIns="0" tIns="34280" rIns="0" bIns="34280" numCol="1" rtlCol="0" anchor="ctr" anchorCtr="0" compatLnSpc="1">
              <a:prstTxWarp prst="textNoShape">
                <a:avLst/>
              </a:prstTxWarp>
            </a:bodyPr>
            <a:lstStyle/>
            <a:p>
              <a:pPr algn="ctr" defTabSz="685313">
                <a:defRPr/>
              </a:pPr>
              <a:endParaRPr lang="en-US" sz="1471" b="0" kern="0" dirty="0">
                <a:gradFill>
                  <a:gsLst>
                    <a:gs pos="0">
                      <a:srgbClr val="FFFFFF"/>
                    </a:gs>
                    <a:gs pos="100000">
                      <a:srgbClr val="FFFFFF"/>
                    </a:gs>
                  </a:gsLst>
                  <a:lin ang="5400000" scaled="0"/>
                </a:gradFill>
                <a:latin typeface="Segoe UI"/>
                <a:cs typeface="+mn-cs"/>
              </a:endParaRPr>
            </a:p>
          </p:txBody>
        </p:sp>
        <p:sp>
          <p:nvSpPr>
            <p:cNvPr id="869" name="Oval 868"/>
            <p:cNvSpPr/>
            <p:nvPr/>
          </p:nvSpPr>
          <p:spPr bwMode="auto">
            <a:xfrm>
              <a:off x="7655599" y="5448552"/>
              <a:ext cx="124646" cy="124646"/>
            </a:xfrm>
            <a:prstGeom prst="ellipse">
              <a:avLst/>
            </a:prstGeom>
            <a:solidFill>
              <a:schemeClr val="accent1"/>
            </a:solidFill>
            <a:ln w="3175" cap="flat" cmpd="sng" algn="ctr">
              <a:noFill/>
              <a:prstDash val="solid"/>
              <a:miter lim="800000"/>
              <a:headEnd type="none" w="med" len="med"/>
              <a:tailEnd type="none" w="med" len="med"/>
            </a:ln>
            <a:effectLst/>
          </p:spPr>
          <p:txBody>
            <a:bodyPr vert="horz" wrap="square" lIns="0" tIns="34280" rIns="0" bIns="34280" numCol="1" rtlCol="0" anchor="ctr" anchorCtr="0" compatLnSpc="1">
              <a:prstTxWarp prst="textNoShape">
                <a:avLst/>
              </a:prstTxWarp>
            </a:bodyPr>
            <a:lstStyle/>
            <a:p>
              <a:pPr algn="ctr" defTabSz="685313">
                <a:defRPr/>
              </a:pPr>
              <a:endParaRPr lang="en-US" sz="1471" b="0" kern="0" dirty="0">
                <a:gradFill>
                  <a:gsLst>
                    <a:gs pos="0">
                      <a:srgbClr val="FFFFFF"/>
                    </a:gs>
                    <a:gs pos="100000">
                      <a:srgbClr val="FFFFFF"/>
                    </a:gs>
                  </a:gsLst>
                  <a:lin ang="5400000" scaled="0"/>
                </a:gradFill>
                <a:latin typeface="Segoe UI"/>
                <a:cs typeface="+mn-cs"/>
              </a:endParaRPr>
            </a:p>
          </p:txBody>
        </p:sp>
        <p:cxnSp>
          <p:nvCxnSpPr>
            <p:cNvPr id="870" name="Straight Connector 869"/>
            <p:cNvCxnSpPr>
              <a:cxnSpLocks/>
            </p:cNvCxnSpPr>
            <p:nvPr/>
          </p:nvCxnSpPr>
          <p:spPr>
            <a:xfrm>
              <a:off x="7240481" y="5221859"/>
              <a:ext cx="235646" cy="65132"/>
            </a:xfrm>
            <a:prstGeom prst="line">
              <a:avLst/>
            </a:prstGeom>
            <a:grpFill/>
            <a:ln w="12700" cap="flat" cmpd="sng" algn="ctr">
              <a:solidFill>
                <a:schemeClr val="tx2"/>
              </a:solidFill>
              <a:prstDash val="sysDot"/>
              <a:miter lim="800000"/>
              <a:headEnd type="none"/>
              <a:tailEnd type="none"/>
            </a:ln>
            <a:effectLst/>
          </p:spPr>
        </p:cxnSp>
        <p:cxnSp>
          <p:nvCxnSpPr>
            <p:cNvPr id="871" name="Straight Connector 870"/>
            <p:cNvCxnSpPr>
              <a:cxnSpLocks/>
            </p:cNvCxnSpPr>
            <p:nvPr/>
          </p:nvCxnSpPr>
          <p:spPr>
            <a:xfrm>
              <a:off x="7421300" y="5510875"/>
              <a:ext cx="234299" cy="0"/>
            </a:xfrm>
            <a:prstGeom prst="line">
              <a:avLst/>
            </a:prstGeom>
            <a:grpFill/>
            <a:ln w="12700" cap="flat" cmpd="sng" algn="ctr">
              <a:solidFill>
                <a:schemeClr val="tx2"/>
              </a:solidFill>
              <a:prstDash val="sysDot"/>
              <a:miter lim="800000"/>
              <a:headEnd type="none"/>
              <a:tailEnd type="none"/>
            </a:ln>
            <a:effectLst/>
          </p:spPr>
        </p:cxnSp>
        <p:cxnSp>
          <p:nvCxnSpPr>
            <p:cNvPr id="872" name="Straight Connector 871"/>
            <p:cNvCxnSpPr>
              <a:cxnSpLocks/>
            </p:cNvCxnSpPr>
            <p:nvPr/>
          </p:nvCxnSpPr>
          <p:spPr>
            <a:xfrm>
              <a:off x="7582519" y="5331060"/>
              <a:ext cx="91334" cy="135746"/>
            </a:xfrm>
            <a:prstGeom prst="line">
              <a:avLst/>
            </a:prstGeom>
            <a:grpFill/>
            <a:ln w="12700" cap="flat" cmpd="sng" algn="ctr">
              <a:solidFill>
                <a:schemeClr val="tx2"/>
              </a:solidFill>
              <a:prstDash val="sysDot"/>
              <a:miter lim="800000"/>
              <a:headEnd type="none"/>
              <a:tailEnd type="none"/>
            </a:ln>
            <a:effectLst/>
          </p:spPr>
        </p:cxnSp>
        <p:cxnSp>
          <p:nvCxnSpPr>
            <p:cNvPr id="873" name="Straight Connector 872"/>
            <p:cNvCxnSpPr>
              <a:cxnSpLocks/>
            </p:cNvCxnSpPr>
            <p:nvPr/>
          </p:nvCxnSpPr>
          <p:spPr>
            <a:xfrm flipV="1">
              <a:off x="7403046" y="5331060"/>
              <a:ext cx="91335" cy="135746"/>
            </a:xfrm>
            <a:prstGeom prst="line">
              <a:avLst/>
            </a:prstGeom>
            <a:grpFill/>
            <a:ln w="12700" cap="flat" cmpd="sng" algn="ctr">
              <a:solidFill>
                <a:schemeClr val="tx2"/>
              </a:solidFill>
              <a:prstDash val="sysDot"/>
              <a:miter lim="800000"/>
              <a:headEnd type="none"/>
              <a:tailEnd type="none"/>
            </a:ln>
            <a:effectLst/>
          </p:spPr>
        </p:cxnSp>
      </p:grpSp>
      <p:grpSp>
        <p:nvGrpSpPr>
          <p:cNvPr id="874" name="Group 873"/>
          <p:cNvGrpSpPr/>
          <p:nvPr/>
        </p:nvGrpSpPr>
        <p:grpSpPr>
          <a:xfrm>
            <a:off x="5156845" y="3368421"/>
            <a:ext cx="374300" cy="354892"/>
            <a:chOff x="7128988" y="4166153"/>
            <a:chExt cx="604908" cy="573541"/>
          </a:xfrm>
        </p:grpSpPr>
        <p:cxnSp>
          <p:nvCxnSpPr>
            <p:cNvPr id="875" name="Straight Connector 874"/>
            <p:cNvCxnSpPr>
              <a:cxnSpLocks/>
            </p:cNvCxnSpPr>
            <p:nvPr/>
          </p:nvCxnSpPr>
          <p:spPr>
            <a:xfrm>
              <a:off x="7128988" y="4451736"/>
              <a:ext cx="238107" cy="72556"/>
            </a:xfrm>
            <a:prstGeom prst="line">
              <a:avLst/>
            </a:prstGeom>
            <a:solidFill>
              <a:srgbClr val="B8D432"/>
            </a:solidFill>
            <a:ln w="12700" cap="flat" cmpd="sng" algn="ctr">
              <a:solidFill>
                <a:schemeClr val="tx2"/>
              </a:solidFill>
              <a:prstDash val="sysDot"/>
              <a:miter lim="800000"/>
              <a:headEnd type="none"/>
              <a:tailEnd type="none"/>
            </a:ln>
            <a:effectLst/>
          </p:spPr>
        </p:cxnSp>
        <p:cxnSp>
          <p:nvCxnSpPr>
            <p:cNvPr id="876" name="Straight Connector 875"/>
            <p:cNvCxnSpPr>
              <a:cxnSpLocks/>
            </p:cNvCxnSpPr>
            <p:nvPr/>
          </p:nvCxnSpPr>
          <p:spPr>
            <a:xfrm flipV="1">
              <a:off x="7128988" y="4379180"/>
              <a:ext cx="233873" cy="72556"/>
            </a:xfrm>
            <a:prstGeom prst="line">
              <a:avLst/>
            </a:prstGeom>
            <a:solidFill>
              <a:srgbClr val="B8D432"/>
            </a:solidFill>
            <a:ln w="12700" cap="flat" cmpd="sng" algn="ctr">
              <a:solidFill>
                <a:schemeClr val="tx2"/>
              </a:solidFill>
              <a:prstDash val="sysDot"/>
              <a:miter lim="800000"/>
              <a:headEnd type="none"/>
              <a:tailEnd type="none"/>
            </a:ln>
            <a:effectLst/>
          </p:spPr>
        </p:cxnSp>
        <p:sp>
          <p:nvSpPr>
            <p:cNvPr id="877" name="Oval 876"/>
            <p:cNvSpPr/>
            <p:nvPr/>
          </p:nvSpPr>
          <p:spPr bwMode="auto">
            <a:xfrm>
              <a:off x="7128988" y="4383154"/>
              <a:ext cx="137163" cy="137163"/>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34280" rIns="0" bIns="34280" numCol="1" rtlCol="0" anchor="ctr" anchorCtr="0" compatLnSpc="1">
              <a:prstTxWarp prst="textNoShape">
                <a:avLst/>
              </a:prstTxWarp>
            </a:bodyPr>
            <a:lstStyle/>
            <a:p>
              <a:pPr algn="ctr" defTabSz="685313">
                <a:defRPr/>
              </a:pPr>
              <a:endParaRPr lang="en-US" sz="1471" b="0" kern="0" dirty="0">
                <a:solidFill>
                  <a:srgbClr val="FFFFFF"/>
                </a:solidFill>
                <a:latin typeface="Segoe UI"/>
                <a:cs typeface="+mn-cs"/>
              </a:endParaRPr>
            </a:p>
          </p:txBody>
        </p:sp>
        <p:cxnSp>
          <p:nvCxnSpPr>
            <p:cNvPr id="878" name="Straight Connector 877"/>
            <p:cNvCxnSpPr>
              <a:cxnSpLocks/>
            </p:cNvCxnSpPr>
            <p:nvPr/>
          </p:nvCxnSpPr>
          <p:spPr>
            <a:xfrm>
              <a:off x="7367095" y="4524292"/>
              <a:ext cx="241432" cy="108368"/>
            </a:xfrm>
            <a:prstGeom prst="line">
              <a:avLst/>
            </a:prstGeom>
            <a:solidFill>
              <a:srgbClr val="B8D432"/>
            </a:solidFill>
            <a:ln w="12700" cap="flat" cmpd="sng" algn="ctr">
              <a:solidFill>
                <a:schemeClr val="tx2"/>
              </a:solidFill>
              <a:prstDash val="sysDot"/>
              <a:miter lim="800000"/>
              <a:headEnd type="none"/>
              <a:tailEnd type="none"/>
            </a:ln>
            <a:effectLst/>
          </p:spPr>
        </p:cxnSp>
        <p:cxnSp>
          <p:nvCxnSpPr>
            <p:cNvPr id="879" name="Straight Connector 878"/>
            <p:cNvCxnSpPr>
              <a:cxnSpLocks/>
            </p:cNvCxnSpPr>
            <p:nvPr/>
          </p:nvCxnSpPr>
          <p:spPr>
            <a:xfrm>
              <a:off x="7367095" y="4524292"/>
              <a:ext cx="229638" cy="1361"/>
            </a:xfrm>
            <a:prstGeom prst="line">
              <a:avLst/>
            </a:prstGeom>
            <a:solidFill>
              <a:srgbClr val="B8D432"/>
            </a:solidFill>
            <a:ln w="12700" cap="flat" cmpd="sng" algn="ctr">
              <a:solidFill>
                <a:schemeClr val="tx2"/>
              </a:solidFill>
              <a:prstDash val="sysDot"/>
              <a:miter lim="800000"/>
              <a:headEnd type="none"/>
              <a:tailEnd type="none"/>
            </a:ln>
            <a:effectLst/>
          </p:spPr>
        </p:cxnSp>
        <p:sp>
          <p:nvSpPr>
            <p:cNvPr id="880" name="Oval 879"/>
            <p:cNvSpPr/>
            <p:nvPr/>
          </p:nvSpPr>
          <p:spPr bwMode="auto">
            <a:xfrm rot="20946206">
              <a:off x="7596733" y="4602531"/>
              <a:ext cx="137163" cy="137163"/>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34280" rIns="0" bIns="34280" numCol="1" rtlCol="0" anchor="ctr" anchorCtr="0" compatLnSpc="1">
              <a:prstTxWarp prst="textNoShape">
                <a:avLst/>
              </a:prstTxWarp>
            </a:bodyPr>
            <a:lstStyle/>
            <a:p>
              <a:pPr algn="ctr" defTabSz="685313">
                <a:defRPr/>
              </a:pPr>
              <a:endParaRPr lang="en-US" sz="1471" b="0" kern="0" dirty="0">
                <a:solidFill>
                  <a:srgbClr val="FFFFFF"/>
                </a:solidFill>
                <a:latin typeface="Segoe UI"/>
                <a:cs typeface="+mn-cs"/>
              </a:endParaRPr>
            </a:p>
          </p:txBody>
        </p:sp>
        <p:sp>
          <p:nvSpPr>
            <p:cNvPr id="881" name="Oval 880"/>
            <p:cNvSpPr/>
            <p:nvPr/>
          </p:nvSpPr>
          <p:spPr bwMode="auto">
            <a:xfrm>
              <a:off x="7596733" y="4457071"/>
              <a:ext cx="137163" cy="137163"/>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34280" rIns="0" bIns="34280" numCol="1" rtlCol="0" anchor="ctr" anchorCtr="0" compatLnSpc="1">
              <a:prstTxWarp prst="textNoShape">
                <a:avLst/>
              </a:prstTxWarp>
            </a:bodyPr>
            <a:lstStyle/>
            <a:p>
              <a:pPr algn="ctr" defTabSz="685313">
                <a:defRPr/>
              </a:pPr>
              <a:endParaRPr lang="en-US" sz="1471" b="0" kern="0" dirty="0">
                <a:solidFill>
                  <a:srgbClr val="FFFFFF"/>
                </a:solidFill>
                <a:latin typeface="Segoe UI"/>
                <a:cs typeface="+mn-cs"/>
              </a:endParaRPr>
            </a:p>
          </p:txBody>
        </p:sp>
        <p:cxnSp>
          <p:nvCxnSpPr>
            <p:cNvPr id="882" name="Straight Connector 881"/>
            <p:cNvCxnSpPr>
              <a:cxnSpLocks/>
            </p:cNvCxnSpPr>
            <p:nvPr/>
          </p:nvCxnSpPr>
          <p:spPr>
            <a:xfrm>
              <a:off x="7362861" y="4379181"/>
              <a:ext cx="233872" cy="1013"/>
            </a:xfrm>
            <a:prstGeom prst="line">
              <a:avLst/>
            </a:prstGeom>
            <a:solidFill>
              <a:srgbClr val="B8D432"/>
            </a:solidFill>
            <a:ln w="12700" cap="flat" cmpd="sng" algn="ctr">
              <a:solidFill>
                <a:schemeClr val="tx2"/>
              </a:solidFill>
              <a:prstDash val="sysDot"/>
              <a:miter lim="800000"/>
              <a:headEnd type="none"/>
              <a:tailEnd type="none"/>
            </a:ln>
            <a:effectLst/>
          </p:spPr>
        </p:cxnSp>
        <p:sp>
          <p:nvSpPr>
            <p:cNvPr id="883" name="Oval 882"/>
            <p:cNvSpPr/>
            <p:nvPr/>
          </p:nvSpPr>
          <p:spPr bwMode="auto">
            <a:xfrm>
              <a:off x="7367095" y="4455710"/>
              <a:ext cx="137163" cy="137163"/>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34280" rIns="0" bIns="34280" numCol="1" rtlCol="0" anchor="ctr" anchorCtr="0" compatLnSpc="1">
              <a:prstTxWarp prst="textNoShape">
                <a:avLst/>
              </a:prstTxWarp>
            </a:bodyPr>
            <a:lstStyle/>
            <a:p>
              <a:pPr algn="ctr" defTabSz="685313">
                <a:defRPr/>
              </a:pPr>
              <a:endParaRPr lang="en-US" sz="1471" b="0" kern="0" dirty="0">
                <a:solidFill>
                  <a:srgbClr val="FFFFFF"/>
                </a:solidFill>
                <a:latin typeface="Segoe UI"/>
                <a:cs typeface="+mn-cs"/>
              </a:endParaRPr>
            </a:p>
          </p:txBody>
        </p:sp>
        <p:cxnSp>
          <p:nvCxnSpPr>
            <p:cNvPr id="884" name="Straight Connector 883"/>
            <p:cNvCxnSpPr>
              <a:cxnSpLocks/>
            </p:cNvCxnSpPr>
            <p:nvPr/>
          </p:nvCxnSpPr>
          <p:spPr>
            <a:xfrm flipV="1">
              <a:off x="7362861" y="4277619"/>
              <a:ext cx="248934" cy="101562"/>
            </a:xfrm>
            <a:prstGeom prst="line">
              <a:avLst/>
            </a:prstGeom>
            <a:solidFill>
              <a:srgbClr val="B8D432"/>
            </a:solidFill>
            <a:ln w="12700" cap="flat" cmpd="sng" algn="ctr">
              <a:solidFill>
                <a:schemeClr val="tx2"/>
              </a:solidFill>
              <a:prstDash val="sysDot"/>
              <a:miter lim="800000"/>
              <a:headEnd type="none"/>
              <a:tailEnd type="none"/>
            </a:ln>
            <a:effectLst/>
          </p:spPr>
        </p:cxnSp>
        <p:sp>
          <p:nvSpPr>
            <p:cNvPr id="885" name="Oval 884"/>
            <p:cNvSpPr/>
            <p:nvPr/>
          </p:nvSpPr>
          <p:spPr bwMode="auto">
            <a:xfrm>
              <a:off x="7362861" y="4310599"/>
              <a:ext cx="137163" cy="137163"/>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34280" rIns="0" bIns="34280" numCol="1" rtlCol="0" anchor="ctr" anchorCtr="0" compatLnSpc="1">
              <a:prstTxWarp prst="textNoShape">
                <a:avLst/>
              </a:prstTxWarp>
            </a:bodyPr>
            <a:lstStyle/>
            <a:p>
              <a:pPr algn="ctr" defTabSz="685313">
                <a:defRPr/>
              </a:pPr>
              <a:endParaRPr lang="en-US" sz="1471" b="0" kern="0" dirty="0">
                <a:solidFill>
                  <a:srgbClr val="FFFFFF"/>
                </a:solidFill>
                <a:latin typeface="Segoe UI"/>
                <a:cs typeface="+mn-cs"/>
              </a:endParaRPr>
            </a:p>
          </p:txBody>
        </p:sp>
        <p:sp>
          <p:nvSpPr>
            <p:cNvPr id="886" name="Oval 885"/>
            <p:cNvSpPr/>
            <p:nvPr/>
          </p:nvSpPr>
          <p:spPr bwMode="auto">
            <a:xfrm>
              <a:off x="7596733" y="4311612"/>
              <a:ext cx="137163" cy="137163"/>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34280" rIns="0" bIns="34280" numCol="1" rtlCol="0" anchor="ctr" anchorCtr="0" compatLnSpc="1">
              <a:prstTxWarp prst="textNoShape">
                <a:avLst/>
              </a:prstTxWarp>
            </a:bodyPr>
            <a:lstStyle/>
            <a:p>
              <a:pPr algn="ctr" defTabSz="685313">
                <a:defRPr/>
              </a:pPr>
              <a:endParaRPr lang="en-US" sz="1471" b="0" kern="0" dirty="0">
                <a:solidFill>
                  <a:srgbClr val="FFFFFF"/>
                </a:solidFill>
                <a:latin typeface="Segoe UI"/>
                <a:cs typeface="+mn-cs"/>
              </a:endParaRPr>
            </a:p>
          </p:txBody>
        </p:sp>
        <p:sp>
          <p:nvSpPr>
            <p:cNvPr id="887" name="Oval 886"/>
            <p:cNvSpPr/>
            <p:nvPr/>
          </p:nvSpPr>
          <p:spPr bwMode="auto">
            <a:xfrm rot="377738">
              <a:off x="7596733" y="4166153"/>
              <a:ext cx="137163" cy="137163"/>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34280" rIns="0" bIns="34280" numCol="1" rtlCol="0" anchor="ctr" anchorCtr="0" compatLnSpc="1">
              <a:prstTxWarp prst="textNoShape">
                <a:avLst/>
              </a:prstTxWarp>
            </a:bodyPr>
            <a:lstStyle/>
            <a:p>
              <a:pPr algn="ctr" defTabSz="685313">
                <a:defRPr/>
              </a:pPr>
              <a:endParaRPr lang="en-US" sz="1471" b="0" kern="0" dirty="0">
                <a:solidFill>
                  <a:srgbClr val="FFFFFF"/>
                </a:solidFill>
                <a:latin typeface="Segoe UI"/>
                <a:cs typeface="+mn-cs"/>
              </a:endParaRPr>
            </a:p>
          </p:txBody>
        </p:sp>
      </p:grpSp>
      <p:sp>
        <p:nvSpPr>
          <p:cNvPr id="889" name="TextBox 888"/>
          <p:cNvSpPr txBox="1"/>
          <p:nvPr/>
        </p:nvSpPr>
        <p:spPr>
          <a:xfrm>
            <a:off x="3234929" y="3711033"/>
            <a:ext cx="828753" cy="158377"/>
          </a:xfrm>
          <a:prstGeom prst="rect">
            <a:avLst/>
          </a:prstGeom>
          <a:noFill/>
        </p:spPr>
        <p:txBody>
          <a:bodyPr wrap="none" lIns="0" tIns="0" rIns="0" bIns="0" rtlCol="0">
            <a:spAutoFit/>
          </a:bodyPr>
          <a:lstStyle/>
          <a:p>
            <a:pPr algn="ctr" defTabSz="685537" fontAlgn="auto">
              <a:spcBef>
                <a:spcPts val="0"/>
              </a:spcBef>
              <a:spcAft>
                <a:spcPts val="0"/>
              </a:spcAft>
              <a:defRPr/>
            </a:pPr>
            <a:r>
              <a:rPr lang="en-US" sz="1029" b="0" dirty="0">
                <a:solidFill>
                  <a:srgbClr val="0078D7"/>
                </a:solidFill>
                <a:latin typeface="Segoe UI Semilight"/>
                <a:cs typeface="Segoe UI Semibold" panose="020B0702040204020203" pitchFamily="34" charset="0"/>
              </a:rPr>
              <a:t>Column-family</a:t>
            </a:r>
          </a:p>
        </p:txBody>
      </p:sp>
      <p:sp>
        <p:nvSpPr>
          <p:cNvPr id="890" name="TextBox 889"/>
          <p:cNvSpPr txBox="1"/>
          <p:nvPr/>
        </p:nvSpPr>
        <p:spPr>
          <a:xfrm>
            <a:off x="5101702" y="3779506"/>
            <a:ext cx="589906" cy="158377"/>
          </a:xfrm>
          <a:prstGeom prst="rect">
            <a:avLst/>
          </a:prstGeom>
          <a:noFill/>
        </p:spPr>
        <p:txBody>
          <a:bodyPr wrap="none" lIns="0" tIns="0" rIns="0" bIns="0" rtlCol="0">
            <a:spAutoFit/>
          </a:bodyPr>
          <a:lstStyle/>
          <a:p>
            <a:pPr algn="ctr" defTabSz="685537" fontAlgn="auto">
              <a:spcBef>
                <a:spcPts val="0"/>
              </a:spcBef>
              <a:spcAft>
                <a:spcPts val="0"/>
              </a:spcAft>
              <a:defRPr/>
            </a:pPr>
            <a:r>
              <a:rPr lang="en-US" sz="1029" b="0" dirty="0">
                <a:solidFill>
                  <a:srgbClr val="0078D7"/>
                </a:solidFill>
                <a:latin typeface="Segoe UI Semilight"/>
                <a:cs typeface="Segoe UI Semibold" panose="020B0702040204020203" pitchFamily="34" charset="0"/>
              </a:rPr>
              <a:t>Document</a:t>
            </a:r>
          </a:p>
        </p:txBody>
      </p:sp>
      <p:sp>
        <p:nvSpPr>
          <p:cNvPr id="891" name="TextBox 890"/>
          <p:cNvSpPr txBox="1"/>
          <p:nvPr/>
        </p:nvSpPr>
        <p:spPr>
          <a:xfrm>
            <a:off x="6699033" y="3946069"/>
            <a:ext cx="347852" cy="158377"/>
          </a:xfrm>
          <a:prstGeom prst="rect">
            <a:avLst/>
          </a:prstGeom>
          <a:noFill/>
        </p:spPr>
        <p:txBody>
          <a:bodyPr wrap="none" lIns="0" tIns="0" rIns="0" bIns="0" rtlCol="0">
            <a:spAutoFit/>
          </a:bodyPr>
          <a:lstStyle/>
          <a:p>
            <a:pPr algn="ctr" defTabSz="685537" fontAlgn="auto">
              <a:spcBef>
                <a:spcPts val="0"/>
              </a:spcBef>
              <a:spcAft>
                <a:spcPts val="0"/>
              </a:spcAft>
              <a:defRPr/>
            </a:pPr>
            <a:r>
              <a:rPr lang="en-US" sz="1029" b="0" dirty="0">
                <a:solidFill>
                  <a:srgbClr val="0078D7"/>
                </a:solidFill>
                <a:latin typeface="Segoe UI Semilight"/>
                <a:cs typeface="Segoe UI Semibold" panose="020B0702040204020203" pitchFamily="34" charset="0"/>
              </a:rPr>
              <a:t>Graph</a:t>
            </a:r>
          </a:p>
        </p:txBody>
      </p:sp>
      <p:sp>
        <p:nvSpPr>
          <p:cNvPr id="893" name="TextBox 892"/>
          <p:cNvSpPr txBox="1"/>
          <p:nvPr/>
        </p:nvSpPr>
        <p:spPr>
          <a:xfrm>
            <a:off x="552925" y="4762707"/>
            <a:ext cx="1520418" cy="158377"/>
          </a:xfrm>
          <a:prstGeom prst="rect">
            <a:avLst/>
          </a:prstGeom>
          <a:noFill/>
        </p:spPr>
        <p:txBody>
          <a:bodyPr wrap="square" lIns="0" tIns="0" rIns="0" bIns="0" rtlCol="0">
            <a:spAutoFit/>
          </a:bodyPr>
          <a:lstStyle/>
          <a:p>
            <a:pPr algn="ctr" defTabSz="642597" fontAlgn="auto">
              <a:spcBef>
                <a:spcPts val="0"/>
              </a:spcBef>
              <a:spcAft>
                <a:spcPts val="0"/>
              </a:spcAft>
              <a:defRPr/>
            </a:pPr>
            <a:r>
              <a:rPr lang="en-US" sz="1029" b="0" kern="0" dirty="0">
                <a:solidFill>
                  <a:srgbClr val="353535"/>
                </a:solidFill>
                <a:latin typeface="Segoe UI Semilight"/>
                <a:cs typeface="Segoe UI Light" panose="020B0502040204020203" pitchFamily="34" charset="0"/>
              </a:rPr>
              <a:t>Turnkey global distribution</a:t>
            </a:r>
          </a:p>
        </p:txBody>
      </p:sp>
      <p:sp>
        <p:nvSpPr>
          <p:cNvPr id="894" name="TextBox 893"/>
          <p:cNvSpPr txBox="1"/>
          <p:nvPr/>
        </p:nvSpPr>
        <p:spPr>
          <a:xfrm>
            <a:off x="2000537" y="4356129"/>
            <a:ext cx="1391948" cy="316753"/>
          </a:xfrm>
          <a:prstGeom prst="rect">
            <a:avLst/>
          </a:prstGeom>
          <a:noFill/>
        </p:spPr>
        <p:txBody>
          <a:bodyPr wrap="square" lIns="0" tIns="0" rIns="0" bIns="0" rtlCol="0">
            <a:spAutoFit/>
          </a:bodyPr>
          <a:lstStyle/>
          <a:p>
            <a:pPr algn="ctr" defTabSz="642597" fontAlgn="auto">
              <a:spcBef>
                <a:spcPts val="0"/>
              </a:spcBef>
              <a:spcAft>
                <a:spcPts val="0"/>
              </a:spcAft>
              <a:defRPr/>
            </a:pPr>
            <a:r>
              <a:rPr lang="en-US" sz="1029" b="0" kern="0" dirty="0">
                <a:solidFill>
                  <a:srgbClr val="353535"/>
                </a:solidFill>
                <a:latin typeface="Segoe UI Semilight"/>
                <a:cs typeface="Segoe UI Light" panose="020B0502040204020203" pitchFamily="34" charset="0"/>
              </a:rPr>
              <a:t>Elastic scale out </a:t>
            </a:r>
          </a:p>
          <a:p>
            <a:pPr algn="ctr" defTabSz="642597" fontAlgn="auto">
              <a:spcBef>
                <a:spcPts val="0"/>
              </a:spcBef>
              <a:spcAft>
                <a:spcPts val="0"/>
              </a:spcAft>
              <a:defRPr/>
            </a:pPr>
            <a:r>
              <a:rPr lang="en-US" sz="1029" b="0" kern="0" dirty="0">
                <a:solidFill>
                  <a:srgbClr val="353535"/>
                </a:solidFill>
                <a:latin typeface="Segoe UI Semilight"/>
                <a:cs typeface="Segoe UI Light" panose="020B0502040204020203" pitchFamily="34" charset="0"/>
              </a:rPr>
              <a:t>of storage &amp; throughput</a:t>
            </a:r>
          </a:p>
        </p:txBody>
      </p:sp>
      <p:sp>
        <p:nvSpPr>
          <p:cNvPr id="895" name="TextBox 894"/>
          <p:cNvSpPr txBox="1"/>
          <p:nvPr/>
        </p:nvSpPr>
        <p:spPr>
          <a:xfrm>
            <a:off x="3229130" y="4258854"/>
            <a:ext cx="2551709" cy="316753"/>
          </a:xfrm>
          <a:prstGeom prst="rect">
            <a:avLst/>
          </a:prstGeom>
          <a:noFill/>
        </p:spPr>
        <p:txBody>
          <a:bodyPr wrap="square" lIns="0" tIns="0" rIns="0" bIns="0" rtlCol="0">
            <a:spAutoFit/>
          </a:bodyPr>
          <a:lstStyle/>
          <a:p>
            <a:pPr algn="ctr" defTabSz="642597" fontAlgn="auto">
              <a:spcBef>
                <a:spcPts val="0"/>
              </a:spcBef>
              <a:spcAft>
                <a:spcPts val="0"/>
              </a:spcAft>
              <a:defRPr/>
            </a:pPr>
            <a:r>
              <a:rPr lang="en-US" sz="1029" b="0" kern="0" dirty="0">
                <a:solidFill>
                  <a:srgbClr val="353535"/>
                </a:solidFill>
                <a:latin typeface="Segoe UI Semilight"/>
                <a:cs typeface="Segoe UI Light" panose="020B0502040204020203" pitchFamily="34" charset="0"/>
              </a:rPr>
              <a:t>Guaranteed low latency</a:t>
            </a:r>
            <a:br>
              <a:rPr lang="en-US" sz="1029" b="0" kern="0" dirty="0">
                <a:solidFill>
                  <a:srgbClr val="353535"/>
                </a:solidFill>
                <a:latin typeface="Segoe UI Semilight"/>
                <a:cs typeface="Segoe UI Light" panose="020B0502040204020203" pitchFamily="34" charset="0"/>
              </a:rPr>
            </a:br>
            <a:r>
              <a:rPr lang="en-US" sz="1029" b="0" kern="0" dirty="0">
                <a:solidFill>
                  <a:srgbClr val="353535"/>
                </a:solidFill>
                <a:latin typeface="Segoe UI Semilight"/>
                <a:cs typeface="Segoe UI Light" panose="020B0502040204020203" pitchFamily="34" charset="0"/>
              </a:rPr>
              <a:t>at the 99</a:t>
            </a:r>
            <a:r>
              <a:rPr lang="en-US" sz="1029" b="0" kern="0" baseline="30000" dirty="0">
                <a:solidFill>
                  <a:srgbClr val="353535"/>
                </a:solidFill>
                <a:latin typeface="Segoe UI Semilight"/>
                <a:cs typeface="Segoe UI Light" panose="020B0502040204020203" pitchFamily="34" charset="0"/>
              </a:rPr>
              <a:t>th</a:t>
            </a:r>
            <a:r>
              <a:rPr lang="en-US" sz="1029" b="0" kern="0" dirty="0">
                <a:solidFill>
                  <a:srgbClr val="353535"/>
                </a:solidFill>
                <a:latin typeface="Segoe UI Semilight"/>
                <a:cs typeface="Segoe UI Light" panose="020B0502040204020203" pitchFamily="34" charset="0"/>
              </a:rPr>
              <a:t> percentile</a:t>
            </a:r>
          </a:p>
        </p:txBody>
      </p:sp>
      <p:sp>
        <p:nvSpPr>
          <p:cNvPr id="896" name="TextBox 895"/>
          <p:cNvSpPr txBox="1"/>
          <p:nvPr/>
        </p:nvSpPr>
        <p:spPr>
          <a:xfrm>
            <a:off x="7341583" y="4685556"/>
            <a:ext cx="1188047" cy="158377"/>
          </a:xfrm>
          <a:prstGeom prst="rect">
            <a:avLst/>
          </a:prstGeom>
          <a:noFill/>
        </p:spPr>
        <p:txBody>
          <a:bodyPr wrap="square" lIns="0" tIns="0" rIns="0" bIns="0" rtlCol="0">
            <a:spAutoFit/>
          </a:bodyPr>
          <a:lstStyle/>
          <a:p>
            <a:pPr algn="ctr" defTabSz="642597" fontAlgn="auto">
              <a:spcBef>
                <a:spcPts val="0"/>
              </a:spcBef>
              <a:spcAft>
                <a:spcPts val="0"/>
              </a:spcAft>
              <a:defRPr/>
            </a:pPr>
            <a:r>
              <a:rPr lang="en-US" sz="1029" b="0" kern="0" dirty="0">
                <a:solidFill>
                  <a:srgbClr val="353535"/>
                </a:solidFill>
                <a:latin typeface="Segoe UI Semilight"/>
                <a:cs typeface="Segoe UI Light" panose="020B0502040204020203" pitchFamily="34" charset="0"/>
              </a:rPr>
              <a:t>Comprehensive SLAs</a:t>
            </a:r>
          </a:p>
        </p:txBody>
      </p:sp>
      <p:sp>
        <p:nvSpPr>
          <p:cNvPr id="897" name="TextBox 896"/>
          <p:cNvSpPr txBox="1"/>
          <p:nvPr/>
        </p:nvSpPr>
        <p:spPr>
          <a:xfrm>
            <a:off x="5730130" y="4300134"/>
            <a:ext cx="1417390" cy="316753"/>
          </a:xfrm>
          <a:prstGeom prst="rect">
            <a:avLst/>
          </a:prstGeom>
          <a:noFill/>
        </p:spPr>
        <p:txBody>
          <a:bodyPr wrap="square" lIns="0" tIns="0" rIns="0" bIns="0" rtlCol="0">
            <a:spAutoFit/>
          </a:bodyPr>
          <a:lstStyle/>
          <a:p>
            <a:pPr algn="ctr" defTabSz="642597" fontAlgn="auto">
              <a:spcBef>
                <a:spcPts val="0"/>
              </a:spcBef>
              <a:spcAft>
                <a:spcPts val="0"/>
              </a:spcAft>
              <a:defRPr/>
            </a:pPr>
            <a:r>
              <a:rPr lang="en-US" sz="1029" b="0" kern="0" dirty="0">
                <a:solidFill>
                  <a:srgbClr val="353535"/>
                </a:solidFill>
                <a:latin typeface="Segoe UI Semilight"/>
                <a:cs typeface="Segoe UI Light" panose="020B0502040204020203" pitchFamily="34" charset="0"/>
              </a:rPr>
              <a:t>Five well-defined</a:t>
            </a:r>
            <a:br>
              <a:rPr lang="en-US" sz="1029" b="0" kern="0" dirty="0">
                <a:solidFill>
                  <a:srgbClr val="353535"/>
                </a:solidFill>
                <a:latin typeface="Segoe UI Semilight"/>
                <a:cs typeface="Segoe UI Light" panose="020B0502040204020203" pitchFamily="34" charset="0"/>
              </a:rPr>
            </a:br>
            <a:r>
              <a:rPr lang="en-US" sz="1029" b="0" kern="0" dirty="0">
                <a:solidFill>
                  <a:srgbClr val="353535"/>
                </a:solidFill>
                <a:latin typeface="Segoe UI Semilight"/>
                <a:cs typeface="Segoe UI Light" panose="020B0502040204020203" pitchFamily="34" charset="0"/>
              </a:rPr>
              <a:t>consistency models</a:t>
            </a:r>
          </a:p>
        </p:txBody>
      </p:sp>
      <p:sp>
        <p:nvSpPr>
          <p:cNvPr id="3" name="TextBox 2"/>
          <p:cNvSpPr txBox="1"/>
          <p:nvPr/>
        </p:nvSpPr>
        <p:spPr>
          <a:xfrm>
            <a:off x="2015664" y="2894551"/>
            <a:ext cx="586635" cy="296107"/>
          </a:xfrm>
          <a:prstGeom prst="rect">
            <a:avLst/>
          </a:prstGeom>
          <a:noFill/>
        </p:spPr>
        <p:txBody>
          <a:bodyPr wrap="none" rtlCol="0">
            <a:spAutoFit/>
          </a:bodyPr>
          <a:lstStyle/>
          <a:p>
            <a:pPr defTabSz="685537" fontAlgn="auto">
              <a:spcBef>
                <a:spcPts val="0"/>
              </a:spcBef>
              <a:spcAft>
                <a:spcPts val="0"/>
              </a:spcAft>
              <a:defRPr/>
            </a:pPr>
            <a:r>
              <a:rPr lang="en-US" sz="1324" b="0" dirty="0">
                <a:solidFill>
                  <a:srgbClr val="0078D7"/>
                </a:solidFill>
                <a:latin typeface="Segoe UI Semibold" panose="020B0702040204020203" pitchFamily="34" charset="0"/>
                <a:cs typeface="Segoe UI Semibold" panose="020B0702040204020203" pitchFamily="34" charset="0"/>
              </a:rPr>
              <a:t>Table</a:t>
            </a:r>
          </a:p>
        </p:txBody>
      </p:sp>
      <p:grpSp>
        <p:nvGrpSpPr>
          <p:cNvPr id="93" name="Group 92"/>
          <p:cNvGrpSpPr/>
          <p:nvPr/>
        </p:nvGrpSpPr>
        <p:grpSpPr>
          <a:xfrm>
            <a:off x="3351820" y="3535754"/>
            <a:ext cx="522491" cy="93458"/>
            <a:chOff x="4937947" y="5178778"/>
            <a:chExt cx="733930" cy="124646"/>
          </a:xfrm>
        </p:grpSpPr>
        <p:cxnSp>
          <p:nvCxnSpPr>
            <p:cNvPr id="94" name="Straight Connector 93"/>
            <p:cNvCxnSpPr>
              <a:cxnSpLocks/>
            </p:cNvCxnSpPr>
            <p:nvPr/>
          </p:nvCxnSpPr>
          <p:spPr>
            <a:xfrm>
              <a:off x="5062593" y="5241101"/>
              <a:ext cx="187117" cy="0"/>
            </a:xfrm>
            <a:prstGeom prst="line">
              <a:avLst/>
            </a:prstGeom>
            <a:noFill/>
            <a:ln w="12700" cap="flat" cmpd="sng" algn="ctr">
              <a:solidFill>
                <a:schemeClr val="accent1">
                  <a:lumMod val="60000"/>
                  <a:lumOff val="40000"/>
                </a:schemeClr>
              </a:solidFill>
              <a:prstDash val="sysDot"/>
              <a:miter lim="800000"/>
              <a:headEnd type="none"/>
              <a:tailEnd type="none"/>
            </a:ln>
            <a:effectLst/>
          </p:spPr>
        </p:cxnSp>
        <p:sp>
          <p:nvSpPr>
            <p:cNvPr id="95" name="Oval 94"/>
            <p:cNvSpPr/>
            <p:nvPr/>
          </p:nvSpPr>
          <p:spPr bwMode="auto">
            <a:xfrm>
              <a:off x="4937947" y="5178778"/>
              <a:ext cx="124646" cy="124646"/>
            </a:xfrm>
            <a:prstGeom prst="ellipse">
              <a:avLst/>
            </a:prstGeom>
            <a:solidFill>
              <a:schemeClr val="accent1">
                <a:lumMod val="60000"/>
                <a:lumOff val="40000"/>
              </a:schemeClr>
            </a:solidFill>
            <a:ln w="3175" cap="flat" cmpd="sng" algn="ctr">
              <a:noFill/>
              <a:prstDash val="solid"/>
              <a:miter lim="800000"/>
              <a:headEnd type="none" w="med" len="med"/>
              <a:tailEnd type="none" w="med" len="med"/>
            </a:ln>
            <a:effectLst/>
          </p:spPr>
          <p:txBody>
            <a:bodyPr vert="horz" wrap="square" lIns="0" tIns="34280" rIns="0" bIns="34280" numCol="1" rtlCol="0" anchor="ctr" anchorCtr="0" compatLnSpc="1">
              <a:prstTxWarp prst="textNoShape">
                <a:avLst/>
              </a:prstTxWarp>
            </a:bodyPr>
            <a:lstStyle/>
            <a:p>
              <a:pPr algn="ctr" defTabSz="685313">
                <a:defRPr/>
              </a:pPr>
              <a:endParaRPr lang="en-US" sz="1471" b="0" kern="0" dirty="0">
                <a:gradFill>
                  <a:gsLst>
                    <a:gs pos="0">
                      <a:srgbClr val="FFFFFF"/>
                    </a:gs>
                    <a:gs pos="100000">
                      <a:srgbClr val="FFFFFF"/>
                    </a:gs>
                  </a:gsLst>
                  <a:lin ang="5400000" scaled="0"/>
                </a:gradFill>
                <a:latin typeface="Segoe UI"/>
                <a:cs typeface="+mn-cs"/>
              </a:endParaRPr>
            </a:p>
          </p:txBody>
        </p:sp>
        <p:sp>
          <p:nvSpPr>
            <p:cNvPr id="96" name="Oval 95"/>
            <p:cNvSpPr/>
            <p:nvPr/>
          </p:nvSpPr>
          <p:spPr bwMode="auto">
            <a:xfrm>
              <a:off x="5249710" y="5184430"/>
              <a:ext cx="113342" cy="113342"/>
            </a:xfrm>
            <a:prstGeom prst="ellipse">
              <a:avLst/>
            </a:prstGeom>
            <a:noFill/>
            <a:ln w="38100" cap="flat" cmpd="sng" algn="ctr">
              <a:solidFill>
                <a:schemeClr val="accent1"/>
              </a:solidFill>
              <a:prstDash val="solid"/>
              <a:miter lim="800000"/>
              <a:headEnd type="none" w="med" len="med"/>
              <a:tailEnd type="none" w="med" len="med"/>
            </a:ln>
            <a:effectLst/>
          </p:spPr>
          <p:txBody>
            <a:bodyPr vert="horz" wrap="square" lIns="0" tIns="34280" rIns="0" bIns="34280" numCol="1" rtlCol="0" anchor="ctr" anchorCtr="0" compatLnSpc="1">
              <a:prstTxWarp prst="textNoShape">
                <a:avLst/>
              </a:prstTxWarp>
            </a:bodyPr>
            <a:lstStyle/>
            <a:p>
              <a:pPr algn="ctr" defTabSz="685313">
                <a:defRPr/>
              </a:pPr>
              <a:endParaRPr lang="en-US" sz="1471" b="0" kern="0" dirty="0">
                <a:gradFill>
                  <a:gsLst>
                    <a:gs pos="0">
                      <a:srgbClr val="FFFFFF"/>
                    </a:gs>
                    <a:gs pos="100000">
                      <a:srgbClr val="FFFFFF"/>
                    </a:gs>
                  </a:gsLst>
                  <a:lin ang="5400000" scaled="0"/>
                </a:gradFill>
                <a:latin typeface="Segoe UI"/>
                <a:cs typeface="+mn-cs"/>
              </a:endParaRPr>
            </a:p>
          </p:txBody>
        </p:sp>
        <p:sp>
          <p:nvSpPr>
            <p:cNvPr id="97" name="Oval 96"/>
            <p:cNvSpPr/>
            <p:nvPr/>
          </p:nvSpPr>
          <p:spPr bwMode="auto">
            <a:xfrm>
              <a:off x="5404122" y="5184430"/>
              <a:ext cx="113342" cy="113342"/>
            </a:xfrm>
            <a:prstGeom prst="ellipse">
              <a:avLst/>
            </a:prstGeom>
            <a:noFill/>
            <a:ln w="38100" cap="flat" cmpd="sng" algn="ctr">
              <a:solidFill>
                <a:schemeClr val="accent1"/>
              </a:solidFill>
              <a:prstDash val="solid"/>
              <a:miter lim="800000"/>
              <a:headEnd type="none" w="med" len="med"/>
              <a:tailEnd type="none" w="med" len="med"/>
            </a:ln>
            <a:effectLst/>
          </p:spPr>
          <p:txBody>
            <a:bodyPr vert="horz" wrap="square" lIns="0" tIns="34280" rIns="0" bIns="34280" numCol="1" rtlCol="0" anchor="ctr" anchorCtr="0" compatLnSpc="1">
              <a:prstTxWarp prst="textNoShape">
                <a:avLst/>
              </a:prstTxWarp>
            </a:bodyPr>
            <a:lstStyle/>
            <a:p>
              <a:pPr algn="ctr" defTabSz="685313">
                <a:defRPr/>
              </a:pPr>
              <a:endParaRPr lang="en-US" sz="1471" b="0" kern="0" dirty="0">
                <a:gradFill>
                  <a:gsLst>
                    <a:gs pos="0">
                      <a:srgbClr val="FFFFFF"/>
                    </a:gs>
                    <a:gs pos="100000">
                      <a:srgbClr val="FFFFFF"/>
                    </a:gs>
                  </a:gsLst>
                  <a:lin ang="5400000" scaled="0"/>
                </a:gradFill>
                <a:latin typeface="Segoe UI"/>
                <a:cs typeface="+mn-cs"/>
              </a:endParaRPr>
            </a:p>
          </p:txBody>
        </p:sp>
        <p:sp>
          <p:nvSpPr>
            <p:cNvPr id="98" name="Oval 97"/>
            <p:cNvSpPr/>
            <p:nvPr/>
          </p:nvSpPr>
          <p:spPr bwMode="auto">
            <a:xfrm>
              <a:off x="5558535" y="5184430"/>
              <a:ext cx="113342" cy="113342"/>
            </a:xfrm>
            <a:prstGeom prst="ellipse">
              <a:avLst/>
            </a:prstGeom>
            <a:noFill/>
            <a:ln w="38100" cap="flat" cmpd="sng" algn="ctr">
              <a:solidFill>
                <a:schemeClr val="accent1"/>
              </a:solidFill>
              <a:prstDash val="solid"/>
              <a:miter lim="800000"/>
              <a:headEnd type="none" w="med" len="med"/>
              <a:tailEnd type="none" w="med" len="med"/>
            </a:ln>
            <a:effectLst/>
          </p:spPr>
          <p:txBody>
            <a:bodyPr vert="horz" wrap="square" lIns="0" tIns="34280" rIns="0" bIns="34280" numCol="1" rtlCol="0" anchor="ctr" anchorCtr="0" compatLnSpc="1">
              <a:prstTxWarp prst="textNoShape">
                <a:avLst/>
              </a:prstTxWarp>
            </a:bodyPr>
            <a:lstStyle/>
            <a:p>
              <a:pPr algn="ctr" defTabSz="685313">
                <a:defRPr/>
              </a:pPr>
              <a:endParaRPr lang="en-US" sz="1471" b="0" kern="0" dirty="0">
                <a:gradFill>
                  <a:gsLst>
                    <a:gs pos="0">
                      <a:srgbClr val="FFFFFF"/>
                    </a:gs>
                    <a:gs pos="100000">
                      <a:srgbClr val="FFFFFF"/>
                    </a:gs>
                  </a:gsLst>
                  <a:lin ang="5400000" scaled="0"/>
                </a:gradFill>
                <a:latin typeface="Segoe UI"/>
                <a:cs typeface="+mn-cs"/>
              </a:endParaRPr>
            </a:p>
          </p:txBody>
        </p:sp>
      </p:grpSp>
      <p:grpSp>
        <p:nvGrpSpPr>
          <p:cNvPr id="119" name="Group 118"/>
          <p:cNvGrpSpPr/>
          <p:nvPr/>
        </p:nvGrpSpPr>
        <p:grpSpPr>
          <a:xfrm>
            <a:off x="1892417" y="3564945"/>
            <a:ext cx="501452" cy="322039"/>
            <a:chOff x="4066672" y="5178804"/>
            <a:chExt cx="1357898" cy="892959"/>
          </a:xfrm>
        </p:grpSpPr>
        <p:cxnSp>
          <p:nvCxnSpPr>
            <p:cNvPr id="121" name="Straight Connector 120"/>
            <p:cNvCxnSpPr>
              <a:cxnSpLocks/>
            </p:cNvCxnSpPr>
            <p:nvPr/>
          </p:nvCxnSpPr>
          <p:spPr>
            <a:xfrm>
              <a:off x="4308968" y="5299952"/>
              <a:ext cx="895279" cy="0"/>
            </a:xfrm>
            <a:prstGeom prst="line">
              <a:avLst/>
            </a:prstGeom>
            <a:noFill/>
            <a:ln w="12700" cap="flat" cmpd="sng" algn="ctr">
              <a:solidFill>
                <a:schemeClr val="accent1">
                  <a:lumMod val="60000"/>
                  <a:lumOff val="40000"/>
                </a:schemeClr>
              </a:solidFill>
              <a:prstDash val="sysDot"/>
              <a:miter lim="800000"/>
              <a:headEnd type="none"/>
              <a:tailEnd type="none"/>
            </a:ln>
            <a:effectLst/>
          </p:spPr>
        </p:cxnSp>
        <p:sp>
          <p:nvSpPr>
            <p:cNvPr id="122" name="Oval 121"/>
            <p:cNvSpPr/>
            <p:nvPr/>
          </p:nvSpPr>
          <p:spPr bwMode="auto">
            <a:xfrm>
              <a:off x="4066672" y="5178804"/>
              <a:ext cx="242296" cy="242298"/>
            </a:xfrm>
            <a:prstGeom prst="ellipse">
              <a:avLst/>
            </a:prstGeom>
            <a:solidFill>
              <a:schemeClr val="accent1">
                <a:lumMod val="60000"/>
                <a:lumOff val="40000"/>
              </a:schemeClr>
            </a:solidFill>
            <a:ln w="3175" cap="flat" cmpd="sng" algn="ctr">
              <a:noFill/>
              <a:prstDash val="solid"/>
              <a:miter lim="800000"/>
              <a:headEnd type="none" w="med" len="med"/>
              <a:tailEnd type="none" w="med" len="med"/>
            </a:ln>
            <a:effectLst/>
          </p:spPr>
          <p:txBody>
            <a:bodyPr vert="horz" wrap="square" lIns="0" tIns="34280" rIns="0" bIns="34280" numCol="1" rtlCol="0" anchor="ctr" anchorCtr="0" compatLnSpc="1">
              <a:prstTxWarp prst="textNoShape">
                <a:avLst/>
              </a:prstTxWarp>
            </a:bodyPr>
            <a:lstStyle/>
            <a:p>
              <a:pPr algn="ctr" defTabSz="685313">
                <a:defRPr/>
              </a:pPr>
              <a:endParaRPr lang="en-US" sz="1029" b="0" kern="0" dirty="0">
                <a:gradFill>
                  <a:gsLst>
                    <a:gs pos="0">
                      <a:srgbClr val="FFFFFF"/>
                    </a:gs>
                    <a:gs pos="100000">
                      <a:srgbClr val="FFFFFF"/>
                    </a:gs>
                  </a:gsLst>
                  <a:lin ang="5400000" scaled="0"/>
                </a:gradFill>
                <a:latin typeface="Segoe UI Semilight"/>
                <a:cs typeface="+mn-cs"/>
              </a:endParaRPr>
            </a:p>
          </p:txBody>
        </p:sp>
        <p:sp>
          <p:nvSpPr>
            <p:cNvPr id="123" name="Oval 122"/>
            <p:cNvSpPr/>
            <p:nvPr/>
          </p:nvSpPr>
          <p:spPr bwMode="auto">
            <a:xfrm>
              <a:off x="5204247" y="5189787"/>
              <a:ext cx="220323" cy="220323"/>
            </a:xfrm>
            <a:prstGeom prst="ellipse">
              <a:avLst/>
            </a:prstGeom>
            <a:noFill/>
            <a:ln w="38100" cap="flat" cmpd="sng" algn="ctr">
              <a:solidFill>
                <a:schemeClr val="accent1"/>
              </a:solidFill>
              <a:prstDash val="solid"/>
              <a:miter lim="800000"/>
              <a:headEnd type="none" w="med" len="med"/>
              <a:tailEnd type="none" w="med" len="med"/>
            </a:ln>
            <a:effectLst/>
          </p:spPr>
          <p:txBody>
            <a:bodyPr vert="horz" wrap="square" lIns="0" tIns="34280" rIns="0" bIns="34280" numCol="1" rtlCol="0" anchor="ctr" anchorCtr="0" compatLnSpc="1">
              <a:prstTxWarp prst="textNoShape">
                <a:avLst/>
              </a:prstTxWarp>
            </a:bodyPr>
            <a:lstStyle/>
            <a:p>
              <a:pPr algn="ctr" defTabSz="685313">
                <a:defRPr/>
              </a:pPr>
              <a:endParaRPr lang="en-US" sz="1029" b="0" kern="0" dirty="0">
                <a:gradFill>
                  <a:gsLst>
                    <a:gs pos="0">
                      <a:srgbClr val="FFFFFF"/>
                    </a:gs>
                    <a:gs pos="100000">
                      <a:srgbClr val="FFFFFF"/>
                    </a:gs>
                  </a:gsLst>
                  <a:lin ang="5400000" scaled="0"/>
                </a:gradFill>
                <a:latin typeface="Segoe UI Semilight"/>
                <a:cs typeface="+mn-cs"/>
              </a:endParaRPr>
            </a:p>
          </p:txBody>
        </p:sp>
        <p:cxnSp>
          <p:nvCxnSpPr>
            <p:cNvPr id="124" name="Straight Connector 123"/>
            <p:cNvCxnSpPr>
              <a:cxnSpLocks/>
            </p:cNvCxnSpPr>
            <p:nvPr/>
          </p:nvCxnSpPr>
          <p:spPr>
            <a:xfrm>
              <a:off x="4308968" y="5620465"/>
              <a:ext cx="895279" cy="0"/>
            </a:xfrm>
            <a:prstGeom prst="line">
              <a:avLst/>
            </a:prstGeom>
            <a:noFill/>
            <a:ln w="12700" cap="flat" cmpd="sng" algn="ctr">
              <a:solidFill>
                <a:schemeClr val="accent1">
                  <a:lumMod val="60000"/>
                  <a:lumOff val="40000"/>
                </a:schemeClr>
              </a:solidFill>
              <a:prstDash val="sysDot"/>
              <a:miter lim="800000"/>
              <a:headEnd type="none"/>
              <a:tailEnd type="none"/>
            </a:ln>
            <a:effectLst/>
          </p:spPr>
        </p:cxnSp>
        <p:sp>
          <p:nvSpPr>
            <p:cNvPr id="125" name="Oval 124"/>
            <p:cNvSpPr/>
            <p:nvPr/>
          </p:nvSpPr>
          <p:spPr bwMode="auto">
            <a:xfrm>
              <a:off x="4066672" y="5499313"/>
              <a:ext cx="242296" cy="242298"/>
            </a:xfrm>
            <a:prstGeom prst="ellipse">
              <a:avLst/>
            </a:prstGeom>
            <a:solidFill>
              <a:schemeClr val="accent1">
                <a:lumMod val="60000"/>
                <a:lumOff val="40000"/>
              </a:schemeClr>
            </a:solidFill>
            <a:ln w="3175" cap="flat" cmpd="sng" algn="ctr">
              <a:noFill/>
              <a:prstDash val="solid"/>
              <a:miter lim="800000"/>
              <a:headEnd type="none" w="med" len="med"/>
              <a:tailEnd type="none" w="med" len="med"/>
            </a:ln>
            <a:effectLst/>
          </p:spPr>
          <p:txBody>
            <a:bodyPr vert="horz" wrap="square" lIns="0" tIns="34280" rIns="0" bIns="34280" numCol="1" rtlCol="0" anchor="ctr" anchorCtr="0" compatLnSpc="1">
              <a:prstTxWarp prst="textNoShape">
                <a:avLst/>
              </a:prstTxWarp>
            </a:bodyPr>
            <a:lstStyle/>
            <a:p>
              <a:pPr algn="ctr" defTabSz="685313">
                <a:defRPr/>
              </a:pPr>
              <a:endParaRPr lang="en-US" sz="1029" b="0" kern="0" dirty="0">
                <a:gradFill>
                  <a:gsLst>
                    <a:gs pos="0">
                      <a:srgbClr val="FFFFFF"/>
                    </a:gs>
                    <a:gs pos="100000">
                      <a:srgbClr val="FFFFFF"/>
                    </a:gs>
                  </a:gsLst>
                  <a:lin ang="5400000" scaled="0"/>
                </a:gradFill>
                <a:latin typeface="Segoe UI Semilight"/>
                <a:cs typeface="+mn-cs"/>
              </a:endParaRPr>
            </a:p>
          </p:txBody>
        </p:sp>
        <p:sp>
          <p:nvSpPr>
            <p:cNvPr id="126" name="Oval 125"/>
            <p:cNvSpPr/>
            <p:nvPr/>
          </p:nvSpPr>
          <p:spPr bwMode="auto">
            <a:xfrm>
              <a:off x="5204247" y="5510296"/>
              <a:ext cx="220323" cy="220322"/>
            </a:xfrm>
            <a:prstGeom prst="ellipse">
              <a:avLst/>
            </a:prstGeom>
            <a:noFill/>
            <a:ln w="38100" cap="flat" cmpd="sng" algn="ctr">
              <a:solidFill>
                <a:schemeClr val="accent1"/>
              </a:solidFill>
              <a:prstDash val="solid"/>
              <a:miter lim="800000"/>
              <a:headEnd type="none" w="med" len="med"/>
              <a:tailEnd type="none" w="med" len="med"/>
            </a:ln>
            <a:effectLst/>
          </p:spPr>
          <p:txBody>
            <a:bodyPr vert="horz" wrap="square" lIns="0" tIns="34280" rIns="0" bIns="34280" numCol="1" rtlCol="0" anchor="ctr" anchorCtr="0" compatLnSpc="1">
              <a:prstTxWarp prst="textNoShape">
                <a:avLst/>
              </a:prstTxWarp>
            </a:bodyPr>
            <a:lstStyle/>
            <a:p>
              <a:pPr algn="ctr" defTabSz="685313">
                <a:defRPr/>
              </a:pPr>
              <a:endParaRPr lang="en-US" sz="1029" b="0" kern="0" dirty="0">
                <a:gradFill>
                  <a:gsLst>
                    <a:gs pos="0">
                      <a:srgbClr val="FFFFFF"/>
                    </a:gs>
                    <a:gs pos="100000">
                      <a:srgbClr val="FFFFFF"/>
                    </a:gs>
                  </a:gsLst>
                  <a:lin ang="5400000" scaled="0"/>
                </a:gradFill>
                <a:latin typeface="Segoe UI Semilight"/>
                <a:cs typeface="+mn-cs"/>
              </a:endParaRPr>
            </a:p>
          </p:txBody>
        </p:sp>
        <p:cxnSp>
          <p:nvCxnSpPr>
            <p:cNvPr id="127" name="Straight Connector 126"/>
            <p:cNvCxnSpPr>
              <a:cxnSpLocks/>
            </p:cNvCxnSpPr>
            <p:nvPr/>
          </p:nvCxnSpPr>
          <p:spPr>
            <a:xfrm>
              <a:off x="4308968" y="5950625"/>
              <a:ext cx="895279" cy="0"/>
            </a:xfrm>
            <a:prstGeom prst="line">
              <a:avLst/>
            </a:prstGeom>
            <a:noFill/>
            <a:ln w="12700" cap="flat" cmpd="sng" algn="ctr">
              <a:solidFill>
                <a:schemeClr val="accent1">
                  <a:lumMod val="60000"/>
                  <a:lumOff val="40000"/>
                </a:schemeClr>
              </a:solidFill>
              <a:prstDash val="sysDot"/>
              <a:miter lim="800000"/>
              <a:headEnd type="none"/>
              <a:tailEnd type="none"/>
            </a:ln>
            <a:effectLst/>
          </p:spPr>
        </p:cxnSp>
        <p:sp>
          <p:nvSpPr>
            <p:cNvPr id="128" name="Oval 127"/>
            <p:cNvSpPr/>
            <p:nvPr/>
          </p:nvSpPr>
          <p:spPr bwMode="auto">
            <a:xfrm>
              <a:off x="4066672" y="5829465"/>
              <a:ext cx="242296" cy="242298"/>
            </a:xfrm>
            <a:prstGeom prst="ellipse">
              <a:avLst/>
            </a:prstGeom>
            <a:solidFill>
              <a:schemeClr val="accent1">
                <a:lumMod val="60000"/>
                <a:lumOff val="40000"/>
              </a:schemeClr>
            </a:solidFill>
            <a:ln w="3175" cap="flat" cmpd="sng" algn="ctr">
              <a:noFill/>
              <a:prstDash val="solid"/>
              <a:miter lim="800000"/>
              <a:headEnd type="none" w="med" len="med"/>
              <a:tailEnd type="none" w="med" len="med"/>
            </a:ln>
            <a:effectLst/>
          </p:spPr>
          <p:txBody>
            <a:bodyPr vert="horz" wrap="square" lIns="0" tIns="34280" rIns="0" bIns="34280" numCol="1" rtlCol="0" anchor="ctr" anchorCtr="0" compatLnSpc="1">
              <a:prstTxWarp prst="textNoShape">
                <a:avLst/>
              </a:prstTxWarp>
            </a:bodyPr>
            <a:lstStyle/>
            <a:p>
              <a:pPr algn="ctr" defTabSz="685313">
                <a:defRPr/>
              </a:pPr>
              <a:endParaRPr lang="en-US" sz="1029" b="0" kern="0" dirty="0">
                <a:gradFill>
                  <a:gsLst>
                    <a:gs pos="0">
                      <a:srgbClr val="FFFFFF"/>
                    </a:gs>
                    <a:gs pos="100000">
                      <a:srgbClr val="FFFFFF"/>
                    </a:gs>
                  </a:gsLst>
                  <a:lin ang="5400000" scaled="0"/>
                </a:gradFill>
                <a:latin typeface="Segoe UI Semilight"/>
                <a:cs typeface="+mn-cs"/>
              </a:endParaRPr>
            </a:p>
          </p:txBody>
        </p:sp>
        <p:sp>
          <p:nvSpPr>
            <p:cNvPr id="129" name="Oval 128"/>
            <p:cNvSpPr/>
            <p:nvPr/>
          </p:nvSpPr>
          <p:spPr bwMode="auto">
            <a:xfrm>
              <a:off x="5204243" y="5840446"/>
              <a:ext cx="220323" cy="220322"/>
            </a:xfrm>
            <a:prstGeom prst="ellipse">
              <a:avLst/>
            </a:prstGeom>
            <a:noFill/>
            <a:ln w="38100" cap="flat" cmpd="sng" algn="ctr">
              <a:solidFill>
                <a:schemeClr val="accent1"/>
              </a:solidFill>
              <a:prstDash val="solid"/>
              <a:miter lim="800000"/>
              <a:headEnd type="none" w="med" len="med"/>
              <a:tailEnd type="none" w="med" len="med"/>
            </a:ln>
            <a:effectLst/>
          </p:spPr>
          <p:txBody>
            <a:bodyPr vert="horz" wrap="square" lIns="0" tIns="34280" rIns="0" bIns="34280" numCol="1" rtlCol="0" anchor="ctr" anchorCtr="0" compatLnSpc="1">
              <a:prstTxWarp prst="textNoShape">
                <a:avLst/>
              </a:prstTxWarp>
            </a:bodyPr>
            <a:lstStyle/>
            <a:p>
              <a:pPr algn="ctr" defTabSz="685313">
                <a:defRPr/>
              </a:pPr>
              <a:endParaRPr lang="en-US" sz="1029" b="0" kern="0" dirty="0">
                <a:gradFill>
                  <a:gsLst>
                    <a:gs pos="0">
                      <a:srgbClr val="FFFFFF"/>
                    </a:gs>
                    <a:gs pos="100000">
                      <a:srgbClr val="FFFFFF"/>
                    </a:gs>
                  </a:gsLst>
                  <a:lin ang="5400000" scaled="0"/>
                </a:gradFill>
                <a:latin typeface="Segoe UI Semilight"/>
                <a:cs typeface="+mn-cs"/>
              </a:endParaRPr>
            </a:p>
          </p:txBody>
        </p:sp>
      </p:grpSp>
      <p:sp>
        <p:nvSpPr>
          <p:cNvPr id="120" name="TextBox 119"/>
          <p:cNvSpPr txBox="1"/>
          <p:nvPr/>
        </p:nvSpPr>
        <p:spPr>
          <a:xfrm>
            <a:off x="1860262" y="3955401"/>
            <a:ext cx="551433" cy="158377"/>
          </a:xfrm>
          <a:prstGeom prst="rect">
            <a:avLst/>
          </a:prstGeom>
          <a:noFill/>
        </p:spPr>
        <p:txBody>
          <a:bodyPr wrap="none" lIns="0" tIns="0" rIns="0" bIns="0" rtlCol="0">
            <a:spAutoFit/>
          </a:bodyPr>
          <a:lstStyle/>
          <a:p>
            <a:pPr algn="ctr" defTabSz="685537" fontAlgn="auto">
              <a:spcBef>
                <a:spcPts val="0"/>
              </a:spcBef>
              <a:spcAft>
                <a:spcPts val="0"/>
              </a:spcAft>
              <a:defRPr/>
            </a:pPr>
            <a:r>
              <a:rPr lang="en-US" sz="1029" b="0" dirty="0">
                <a:solidFill>
                  <a:srgbClr val="0078D7"/>
                </a:solidFill>
                <a:latin typeface="Segoe UI Semilight"/>
                <a:cs typeface="Segoe UI Semibold" panose="020B0702040204020203" pitchFamily="34" charset="0"/>
              </a:rPr>
              <a:t>Key-value</a:t>
            </a:r>
          </a:p>
        </p:txBody>
      </p:sp>
      <p:sp>
        <p:nvSpPr>
          <p:cNvPr id="8" name="TextBox 7">
            <a:extLst>
              <a:ext uri="{FF2B5EF4-FFF2-40B4-BE49-F238E27FC236}">
                <a16:creationId xmlns:a16="http://schemas.microsoft.com/office/drawing/2014/main" id="{A6B89208-A96E-4A35-BE63-255117D626E9}"/>
              </a:ext>
            </a:extLst>
          </p:cNvPr>
          <p:cNvSpPr txBox="1"/>
          <p:nvPr/>
        </p:nvSpPr>
        <p:spPr>
          <a:xfrm>
            <a:off x="5303582" y="2694628"/>
            <a:ext cx="970137" cy="296107"/>
          </a:xfrm>
          <a:prstGeom prst="rect">
            <a:avLst/>
          </a:prstGeom>
          <a:noFill/>
        </p:spPr>
        <p:txBody>
          <a:bodyPr wrap="none" rtlCol="0">
            <a:spAutoFit/>
          </a:bodyPr>
          <a:lstStyle/>
          <a:p>
            <a:pPr defTabSz="685537" fontAlgn="auto">
              <a:spcBef>
                <a:spcPts val="0"/>
              </a:spcBef>
              <a:spcAft>
                <a:spcPts val="0"/>
              </a:spcAft>
              <a:defRPr/>
            </a:pPr>
            <a:r>
              <a:rPr lang="en-US" sz="1324" b="0" dirty="0">
                <a:solidFill>
                  <a:srgbClr val="0078D7"/>
                </a:solidFill>
                <a:latin typeface="Segoe UI Semibold" panose="020B0702040204020203" pitchFamily="34" charset="0"/>
                <a:cs typeface="Segoe UI Semibold" panose="020B0702040204020203" pitchFamily="34" charset="0"/>
              </a:rPr>
              <a:t>MongoDB</a:t>
            </a:r>
          </a:p>
        </p:txBody>
      </p:sp>
      <p:pic>
        <p:nvPicPr>
          <p:cNvPr id="103" name="Picture 102">
            <a:extLst>
              <a:ext uri="{FF2B5EF4-FFF2-40B4-BE49-F238E27FC236}">
                <a16:creationId xmlns:a16="http://schemas.microsoft.com/office/drawing/2014/main" id="{91C3404C-C690-433A-88CE-0E70516388A8}"/>
              </a:ext>
            </a:extLst>
          </p:cNvPr>
          <p:cNvPicPr>
            <a:picLocks noChangeAspect="1"/>
          </p:cNvPicPr>
          <p:nvPr/>
        </p:nvPicPr>
        <p:blipFill>
          <a:blip r:embed="rId5"/>
          <a:srcRect l="6075" t="7366" r="6317" b="10100"/>
          <a:stretch>
            <a:fillRect/>
          </a:stretch>
        </p:blipFill>
        <p:spPr>
          <a:xfrm>
            <a:off x="1551937" y="2844741"/>
            <a:ext cx="439808" cy="371176"/>
          </a:xfrm>
          <a:custGeom>
            <a:avLst/>
            <a:gdLst>
              <a:gd name="connsiteX0" fmla="*/ 23177 w 598170"/>
              <a:gd name="connsiteY0" fmla="*/ 0 h 504825"/>
              <a:gd name="connsiteX1" fmla="*/ 574993 w 598170"/>
              <a:gd name="connsiteY1" fmla="*/ 0 h 504825"/>
              <a:gd name="connsiteX2" fmla="*/ 598170 w 598170"/>
              <a:gd name="connsiteY2" fmla="*/ 23177 h 504825"/>
              <a:gd name="connsiteX3" fmla="*/ 598170 w 598170"/>
              <a:gd name="connsiteY3" fmla="*/ 481648 h 504825"/>
              <a:gd name="connsiteX4" fmla="*/ 574993 w 598170"/>
              <a:gd name="connsiteY4" fmla="*/ 504825 h 504825"/>
              <a:gd name="connsiteX5" fmla="*/ 23177 w 598170"/>
              <a:gd name="connsiteY5" fmla="*/ 504825 h 504825"/>
              <a:gd name="connsiteX6" fmla="*/ 0 w 598170"/>
              <a:gd name="connsiteY6" fmla="*/ 481648 h 504825"/>
              <a:gd name="connsiteX7" fmla="*/ 0 w 598170"/>
              <a:gd name="connsiteY7" fmla="*/ 23177 h 504825"/>
              <a:gd name="connsiteX8" fmla="*/ 23177 w 598170"/>
              <a:gd name="connsiteY8" fmla="*/ 0 h 504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98170" h="504825">
                <a:moveTo>
                  <a:pt x="23177" y="0"/>
                </a:moveTo>
                <a:lnTo>
                  <a:pt x="574993" y="0"/>
                </a:lnTo>
                <a:cubicBezTo>
                  <a:pt x="587793" y="0"/>
                  <a:pt x="598170" y="10377"/>
                  <a:pt x="598170" y="23177"/>
                </a:cubicBezTo>
                <a:lnTo>
                  <a:pt x="598170" y="481648"/>
                </a:lnTo>
                <a:cubicBezTo>
                  <a:pt x="598170" y="494448"/>
                  <a:pt x="587793" y="504825"/>
                  <a:pt x="574993" y="504825"/>
                </a:cubicBezTo>
                <a:lnTo>
                  <a:pt x="23177" y="504825"/>
                </a:lnTo>
                <a:cubicBezTo>
                  <a:pt x="10377" y="504825"/>
                  <a:pt x="0" y="494448"/>
                  <a:pt x="0" y="481648"/>
                </a:cubicBezTo>
                <a:lnTo>
                  <a:pt x="0" y="23177"/>
                </a:lnTo>
                <a:cubicBezTo>
                  <a:pt x="0" y="10377"/>
                  <a:pt x="10377" y="0"/>
                  <a:pt x="23177" y="0"/>
                </a:cubicBezTo>
                <a:close/>
              </a:path>
            </a:pathLst>
          </a:custGeom>
        </p:spPr>
      </p:pic>
      <p:sp>
        <p:nvSpPr>
          <p:cNvPr id="2" name="Title 1">
            <a:extLst>
              <a:ext uri="{FF2B5EF4-FFF2-40B4-BE49-F238E27FC236}">
                <a16:creationId xmlns:a16="http://schemas.microsoft.com/office/drawing/2014/main" id="{B77B7E23-C78D-4EAF-8251-32CDC6252698}"/>
              </a:ext>
            </a:extLst>
          </p:cNvPr>
          <p:cNvSpPr>
            <a:spLocks noGrp="1"/>
          </p:cNvSpPr>
          <p:nvPr>
            <p:ph type="title"/>
          </p:nvPr>
        </p:nvSpPr>
        <p:spPr/>
        <p:txBody>
          <a:bodyPr/>
          <a:lstStyle/>
          <a:p>
            <a:pPr defTabSz="685537">
              <a:lnSpc>
                <a:spcPct val="100000"/>
              </a:lnSpc>
              <a:spcBef>
                <a:spcPts val="0"/>
              </a:spcBef>
              <a:defRPr/>
            </a:pPr>
            <a:r>
              <a:rPr lang="en-US" dirty="0"/>
              <a:t>Azure Cosmos DB</a:t>
            </a:r>
            <a:br>
              <a:rPr lang="en-US" dirty="0"/>
            </a:br>
            <a:r>
              <a:rPr lang="en-US" sz="2353" dirty="0">
                <a:gradFill>
                  <a:gsLst>
                    <a:gs pos="21538">
                      <a:srgbClr val="353535"/>
                    </a:gs>
                    <a:gs pos="33000">
                      <a:srgbClr val="353535"/>
                    </a:gs>
                  </a:gsLst>
                  <a:lin ang="5400000" scaled="0"/>
                </a:gradFill>
              </a:rPr>
              <a:t>A globally distributed, massively scalable, multi-model database service</a:t>
            </a:r>
            <a:endParaRPr lang="en-US" dirty="0"/>
          </a:p>
        </p:txBody>
      </p:sp>
      <p:pic>
        <p:nvPicPr>
          <p:cNvPr id="99" name="Picture 98">
            <a:extLst>
              <a:ext uri="{FF2B5EF4-FFF2-40B4-BE49-F238E27FC236}">
                <a16:creationId xmlns:a16="http://schemas.microsoft.com/office/drawing/2014/main" id="{5E1A59E1-BDCF-429B-84F0-30FEBE2A303C}"/>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195246" y="1014919"/>
            <a:ext cx="597188" cy="597188"/>
          </a:xfrm>
          <a:prstGeom prst="rect">
            <a:avLst/>
          </a:prstGeom>
        </p:spPr>
      </p:pic>
      <p:pic>
        <p:nvPicPr>
          <p:cNvPr id="101" name="Picture 100">
            <a:extLst>
              <a:ext uri="{FF2B5EF4-FFF2-40B4-BE49-F238E27FC236}">
                <a16:creationId xmlns:a16="http://schemas.microsoft.com/office/drawing/2014/main" id="{47C08BC2-4EDB-4D8A-B572-2F84A1CD60EB}"/>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500126" y="2548750"/>
            <a:ext cx="518847" cy="518846"/>
          </a:xfrm>
          <a:prstGeom prst="rect">
            <a:avLst/>
          </a:prstGeom>
        </p:spPr>
      </p:pic>
      <p:grpSp>
        <p:nvGrpSpPr>
          <p:cNvPr id="2122" name="Group 2121">
            <a:extLst>
              <a:ext uri="{FF2B5EF4-FFF2-40B4-BE49-F238E27FC236}">
                <a16:creationId xmlns:a16="http://schemas.microsoft.com/office/drawing/2014/main" id="{D84B3A50-0623-4020-97E9-DAAC602D1DB3}"/>
              </a:ext>
            </a:extLst>
          </p:cNvPr>
          <p:cNvGrpSpPr/>
          <p:nvPr/>
        </p:nvGrpSpPr>
        <p:grpSpPr>
          <a:xfrm>
            <a:off x="0" y="4659951"/>
            <a:ext cx="9144000" cy="1340437"/>
            <a:chOff x="-1" y="5171440"/>
            <a:chExt cx="12436475" cy="1823087"/>
          </a:xfrm>
        </p:grpSpPr>
        <p:sp>
          <p:nvSpPr>
            <p:cNvPr id="100" name="Freeform: Shape 99"/>
            <p:cNvSpPr/>
            <p:nvPr/>
          </p:nvSpPr>
          <p:spPr>
            <a:xfrm>
              <a:off x="-1" y="5171440"/>
              <a:ext cx="12436475" cy="1822589"/>
            </a:xfrm>
            <a:custGeom>
              <a:avLst/>
              <a:gdLst>
                <a:gd name="connsiteX0" fmla="*/ 5907680 w 11815361"/>
                <a:gd name="connsiteY0" fmla="*/ 0 h 1745574"/>
                <a:gd name="connsiteX1" fmla="*/ 11747164 w 11815361"/>
                <a:gd name="connsiteY1" fmla="*/ 1675322 h 1745574"/>
                <a:gd name="connsiteX2" fmla="*/ 11815361 w 11815361"/>
                <a:gd name="connsiteY2" fmla="*/ 1745574 h 1745574"/>
                <a:gd name="connsiteX3" fmla="*/ 0 w 11815361"/>
                <a:gd name="connsiteY3" fmla="*/ 1745574 h 1745574"/>
                <a:gd name="connsiteX4" fmla="*/ 68197 w 11815361"/>
                <a:gd name="connsiteY4" fmla="*/ 1675322 h 1745574"/>
                <a:gd name="connsiteX5" fmla="*/ 5907680 w 11815361"/>
                <a:gd name="connsiteY5" fmla="*/ 0 h 17455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15361" h="1745574">
                  <a:moveTo>
                    <a:pt x="5907680" y="0"/>
                  </a:moveTo>
                  <a:cubicBezTo>
                    <a:pt x="8502236" y="0"/>
                    <a:pt x="10736988" y="686989"/>
                    <a:pt x="11747164" y="1675322"/>
                  </a:cubicBezTo>
                  <a:lnTo>
                    <a:pt x="11815361" y="1745574"/>
                  </a:lnTo>
                  <a:lnTo>
                    <a:pt x="0" y="1745574"/>
                  </a:lnTo>
                  <a:lnTo>
                    <a:pt x="68197" y="1675322"/>
                  </a:lnTo>
                  <a:cubicBezTo>
                    <a:pt x="1078372" y="686989"/>
                    <a:pt x="3313125" y="0"/>
                    <a:pt x="5907680" y="0"/>
                  </a:cubicBezTo>
                  <a:close/>
                </a:path>
              </a:pathLst>
            </a:custGeom>
            <a:solidFill>
              <a:schemeClr val="bg1">
                <a:lumMod val="65000"/>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537" fontAlgn="auto">
                <a:spcBef>
                  <a:spcPts val="0"/>
                </a:spcBef>
                <a:spcAft>
                  <a:spcPts val="0"/>
                </a:spcAft>
                <a:defRPr/>
              </a:pPr>
              <a:endParaRPr lang="en-US" sz="1350" b="0" dirty="0">
                <a:solidFill>
                  <a:srgbClr val="FFFFFF"/>
                </a:solidFill>
                <a:latin typeface="Segoe UI"/>
              </a:endParaRPr>
            </a:p>
          </p:txBody>
        </p:sp>
        <p:sp>
          <p:nvSpPr>
            <p:cNvPr id="2121" name="Freeform: Shape 2120">
              <a:extLst>
                <a:ext uri="{FF2B5EF4-FFF2-40B4-BE49-F238E27FC236}">
                  <a16:creationId xmlns:a16="http://schemas.microsoft.com/office/drawing/2014/main" id="{A1293392-E6A1-41E2-BA4E-F0AECEB2ACBF}"/>
                </a:ext>
              </a:extLst>
            </p:cNvPr>
            <p:cNvSpPr>
              <a:spLocks noChangeArrowheads="1"/>
            </p:cNvSpPr>
            <p:nvPr/>
          </p:nvSpPr>
          <p:spPr bwMode="auto">
            <a:xfrm>
              <a:off x="1419342" y="5232400"/>
              <a:ext cx="9759834" cy="1762127"/>
            </a:xfrm>
            <a:custGeom>
              <a:avLst/>
              <a:gdLst>
                <a:gd name="connsiteX0" fmla="*/ 9389152 w 9759834"/>
                <a:gd name="connsiteY0" fmla="*/ 1693863 h 1762127"/>
                <a:gd name="connsiteX1" fmla="*/ 9423284 w 9759834"/>
                <a:gd name="connsiteY1" fmla="*/ 1727995 h 1762127"/>
                <a:gd name="connsiteX2" fmla="*/ 9389152 w 9759834"/>
                <a:gd name="connsiteY2" fmla="*/ 1762127 h 1762127"/>
                <a:gd name="connsiteX3" fmla="*/ 9355020 w 9759834"/>
                <a:gd name="connsiteY3" fmla="*/ 1727995 h 1762127"/>
                <a:gd name="connsiteX4" fmla="*/ 9389152 w 9759834"/>
                <a:gd name="connsiteY4" fmla="*/ 1693863 h 1762127"/>
                <a:gd name="connsiteX5" fmla="*/ 8966877 w 9759834"/>
                <a:gd name="connsiteY5" fmla="*/ 1693863 h 1762127"/>
                <a:gd name="connsiteX6" fmla="*/ 9001009 w 9759834"/>
                <a:gd name="connsiteY6" fmla="*/ 1727995 h 1762127"/>
                <a:gd name="connsiteX7" fmla="*/ 8966877 w 9759834"/>
                <a:gd name="connsiteY7" fmla="*/ 1762127 h 1762127"/>
                <a:gd name="connsiteX8" fmla="*/ 8932745 w 9759834"/>
                <a:gd name="connsiteY8" fmla="*/ 1727995 h 1762127"/>
                <a:gd name="connsiteX9" fmla="*/ 8966877 w 9759834"/>
                <a:gd name="connsiteY9" fmla="*/ 1693863 h 1762127"/>
                <a:gd name="connsiteX10" fmla="*/ 8884327 w 9759834"/>
                <a:gd name="connsiteY10" fmla="*/ 1693863 h 1762127"/>
                <a:gd name="connsiteX11" fmla="*/ 8921634 w 9759834"/>
                <a:gd name="connsiteY11" fmla="*/ 1727995 h 1762127"/>
                <a:gd name="connsiteX12" fmla="*/ 8884327 w 9759834"/>
                <a:gd name="connsiteY12" fmla="*/ 1762127 h 1762127"/>
                <a:gd name="connsiteX13" fmla="*/ 8847020 w 9759834"/>
                <a:gd name="connsiteY13" fmla="*/ 1727995 h 1762127"/>
                <a:gd name="connsiteX14" fmla="*/ 8884327 w 9759834"/>
                <a:gd name="connsiteY14" fmla="*/ 1693863 h 1762127"/>
                <a:gd name="connsiteX15" fmla="*/ 8801777 w 9759834"/>
                <a:gd name="connsiteY15" fmla="*/ 1693863 h 1762127"/>
                <a:gd name="connsiteX16" fmla="*/ 8835909 w 9759834"/>
                <a:gd name="connsiteY16" fmla="*/ 1727995 h 1762127"/>
                <a:gd name="connsiteX17" fmla="*/ 8801777 w 9759834"/>
                <a:gd name="connsiteY17" fmla="*/ 1762127 h 1762127"/>
                <a:gd name="connsiteX18" fmla="*/ 8767645 w 9759834"/>
                <a:gd name="connsiteY18" fmla="*/ 1727995 h 1762127"/>
                <a:gd name="connsiteX19" fmla="*/ 8801777 w 9759834"/>
                <a:gd name="connsiteY19" fmla="*/ 1693863 h 1762127"/>
                <a:gd name="connsiteX20" fmla="*/ 8716052 w 9759834"/>
                <a:gd name="connsiteY20" fmla="*/ 1693863 h 1762127"/>
                <a:gd name="connsiteX21" fmla="*/ 8750184 w 9759834"/>
                <a:gd name="connsiteY21" fmla="*/ 1727995 h 1762127"/>
                <a:gd name="connsiteX22" fmla="*/ 8716052 w 9759834"/>
                <a:gd name="connsiteY22" fmla="*/ 1762127 h 1762127"/>
                <a:gd name="connsiteX23" fmla="*/ 8681920 w 9759834"/>
                <a:gd name="connsiteY23" fmla="*/ 1727995 h 1762127"/>
                <a:gd name="connsiteX24" fmla="*/ 8716052 w 9759834"/>
                <a:gd name="connsiteY24" fmla="*/ 1693863 h 1762127"/>
                <a:gd name="connsiteX25" fmla="*/ 8630327 w 9759834"/>
                <a:gd name="connsiteY25" fmla="*/ 1693863 h 1762127"/>
                <a:gd name="connsiteX26" fmla="*/ 8664459 w 9759834"/>
                <a:gd name="connsiteY26" fmla="*/ 1727995 h 1762127"/>
                <a:gd name="connsiteX27" fmla="*/ 8630327 w 9759834"/>
                <a:gd name="connsiteY27" fmla="*/ 1762127 h 1762127"/>
                <a:gd name="connsiteX28" fmla="*/ 8596195 w 9759834"/>
                <a:gd name="connsiteY28" fmla="*/ 1727995 h 1762127"/>
                <a:gd name="connsiteX29" fmla="*/ 8630327 w 9759834"/>
                <a:gd name="connsiteY29" fmla="*/ 1693863 h 1762127"/>
                <a:gd name="connsiteX30" fmla="*/ 8544602 w 9759834"/>
                <a:gd name="connsiteY30" fmla="*/ 1693863 h 1762127"/>
                <a:gd name="connsiteX31" fmla="*/ 8578734 w 9759834"/>
                <a:gd name="connsiteY31" fmla="*/ 1727995 h 1762127"/>
                <a:gd name="connsiteX32" fmla="*/ 8544602 w 9759834"/>
                <a:gd name="connsiteY32" fmla="*/ 1762127 h 1762127"/>
                <a:gd name="connsiteX33" fmla="*/ 8510470 w 9759834"/>
                <a:gd name="connsiteY33" fmla="*/ 1727995 h 1762127"/>
                <a:gd name="connsiteX34" fmla="*/ 8544602 w 9759834"/>
                <a:gd name="connsiteY34" fmla="*/ 1693863 h 1762127"/>
                <a:gd name="connsiteX35" fmla="*/ 8465227 w 9759834"/>
                <a:gd name="connsiteY35" fmla="*/ 1693863 h 1762127"/>
                <a:gd name="connsiteX36" fmla="*/ 8499359 w 9759834"/>
                <a:gd name="connsiteY36" fmla="*/ 1727995 h 1762127"/>
                <a:gd name="connsiteX37" fmla="*/ 8465227 w 9759834"/>
                <a:gd name="connsiteY37" fmla="*/ 1762127 h 1762127"/>
                <a:gd name="connsiteX38" fmla="*/ 8431095 w 9759834"/>
                <a:gd name="connsiteY38" fmla="*/ 1727995 h 1762127"/>
                <a:gd name="connsiteX39" fmla="*/ 8465227 w 9759834"/>
                <a:gd name="connsiteY39" fmla="*/ 1693863 h 1762127"/>
                <a:gd name="connsiteX40" fmla="*/ 8379502 w 9759834"/>
                <a:gd name="connsiteY40" fmla="*/ 1693863 h 1762127"/>
                <a:gd name="connsiteX41" fmla="*/ 8413634 w 9759834"/>
                <a:gd name="connsiteY41" fmla="*/ 1727995 h 1762127"/>
                <a:gd name="connsiteX42" fmla="*/ 8379502 w 9759834"/>
                <a:gd name="connsiteY42" fmla="*/ 1762127 h 1762127"/>
                <a:gd name="connsiteX43" fmla="*/ 8345370 w 9759834"/>
                <a:gd name="connsiteY43" fmla="*/ 1727995 h 1762127"/>
                <a:gd name="connsiteX44" fmla="*/ 8379502 w 9759834"/>
                <a:gd name="connsiteY44" fmla="*/ 1693863 h 1762127"/>
                <a:gd name="connsiteX45" fmla="*/ 8293777 w 9759834"/>
                <a:gd name="connsiteY45" fmla="*/ 1693863 h 1762127"/>
                <a:gd name="connsiteX46" fmla="*/ 8327909 w 9759834"/>
                <a:gd name="connsiteY46" fmla="*/ 1727995 h 1762127"/>
                <a:gd name="connsiteX47" fmla="*/ 8293777 w 9759834"/>
                <a:gd name="connsiteY47" fmla="*/ 1762127 h 1762127"/>
                <a:gd name="connsiteX48" fmla="*/ 8259645 w 9759834"/>
                <a:gd name="connsiteY48" fmla="*/ 1727995 h 1762127"/>
                <a:gd name="connsiteX49" fmla="*/ 8293777 w 9759834"/>
                <a:gd name="connsiteY49" fmla="*/ 1693863 h 1762127"/>
                <a:gd name="connsiteX50" fmla="*/ 8208052 w 9759834"/>
                <a:gd name="connsiteY50" fmla="*/ 1693863 h 1762127"/>
                <a:gd name="connsiteX51" fmla="*/ 8242184 w 9759834"/>
                <a:gd name="connsiteY51" fmla="*/ 1727995 h 1762127"/>
                <a:gd name="connsiteX52" fmla="*/ 8208052 w 9759834"/>
                <a:gd name="connsiteY52" fmla="*/ 1762127 h 1762127"/>
                <a:gd name="connsiteX53" fmla="*/ 8173920 w 9759834"/>
                <a:gd name="connsiteY53" fmla="*/ 1727995 h 1762127"/>
                <a:gd name="connsiteX54" fmla="*/ 8208052 w 9759834"/>
                <a:gd name="connsiteY54" fmla="*/ 1693863 h 1762127"/>
                <a:gd name="connsiteX55" fmla="*/ 8125502 w 9759834"/>
                <a:gd name="connsiteY55" fmla="*/ 1693863 h 1762127"/>
                <a:gd name="connsiteX56" fmla="*/ 8162809 w 9759834"/>
                <a:gd name="connsiteY56" fmla="*/ 1727995 h 1762127"/>
                <a:gd name="connsiteX57" fmla="*/ 8125502 w 9759834"/>
                <a:gd name="connsiteY57" fmla="*/ 1762127 h 1762127"/>
                <a:gd name="connsiteX58" fmla="*/ 8088195 w 9759834"/>
                <a:gd name="connsiteY58" fmla="*/ 1727995 h 1762127"/>
                <a:gd name="connsiteX59" fmla="*/ 8125502 w 9759834"/>
                <a:gd name="connsiteY59" fmla="*/ 1693863 h 1762127"/>
                <a:gd name="connsiteX60" fmla="*/ 8042952 w 9759834"/>
                <a:gd name="connsiteY60" fmla="*/ 1693863 h 1762127"/>
                <a:gd name="connsiteX61" fmla="*/ 8077084 w 9759834"/>
                <a:gd name="connsiteY61" fmla="*/ 1727995 h 1762127"/>
                <a:gd name="connsiteX62" fmla="*/ 8042952 w 9759834"/>
                <a:gd name="connsiteY62" fmla="*/ 1762127 h 1762127"/>
                <a:gd name="connsiteX63" fmla="*/ 8008820 w 9759834"/>
                <a:gd name="connsiteY63" fmla="*/ 1727995 h 1762127"/>
                <a:gd name="connsiteX64" fmla="*/ 8042952 w 9759834"/>
                <a:gd name="connsiteY64" fmla="*/ 1693863 h 1762127"/>
                <a:gd name="connsiteX65" fmla="*/ 7957227 w 9759834"/>
                <a:gd name="connsiteY65" fmla="*/ 1693863 h 1762127"/>
                <a:gd name="connsiteX66" fmla="*/ 7991359 w 9759834"/>
                <a:gd name="connsiteY66" fmla="*/ 1727995 h 1762127"/>
                <a:gd name="connsiteX67" fmla="*/ 7957227 w 9759834"/>
                <a:gd name="connsiteY67" fmla="*/ 1762127 h 1762127"/>
                <a:gd name="connsiteX68" fmla="*/ 7923095 w 9759834"/>
                <a:gd name="connsiteY68" fmla="*/ 1727995 h 1762127"/>
                <a:gd name="connsiteX69" fmla="*/ 7957227 w 9759834"/>
                <a:gd name="connsiteY69" fmla="*/ 1693863 h 1762127"/>
                <a:gd name="connsiteX70" fmla="*/ 7871502 w 9759834"/>
                <a:gd name="connsiteY70" fmla="*/ 1693863 h 1762127"/>
                <a:gd name="connsiteX71" fmla="*/ 7905634 w 9759834"/>
                <a:gd name="connsiteY71" fmla="*/ 1727995 h 1762127"/>
                <a:gd name="connsiteX72" fmla="*/ 7871502 w 9759834"/>
                <a:gd name="connsiteY72" fmla="*/ 1762127 h 1762127"/>
                <a:gd name="connsiteX73" fmla="*/ 7837370 w 9759834"/>
                <a:gd name="connsiteY73" fmla="*/ 1727995 h 1762127"/>
                <a:gd name="connsiteX74" fmla="*/ 7871502 w 9759834"/>
                <a:gd name="connsiteY74" fmla="*/ 1693863 h 1762127"/>
                <a:gd name="connsiteX75" fmla="*/ 7785777 w 9759834"/>
                <a:gd name="connsiteY75" fmla="*/ 1693863 h 1762127"/>
                <a:gd name="connsiteX76" fmla="*/ 7819909 w 9759834"/>
                <a:gd name="connsiteY76" fmla="*/ 1727995 h 1762127"/>
                <a:gd name="connsiteX77" fmla="*/ 7785777 w 9759834"/>
                <a:gd name="connsiteY77" fmla="*/ 1762127 h 1762127"/>
                <a:gd name="connsiteX78" fmla="*/ 7751645 w 9759834"/>
                <a:gd name="connsiteY78" fmla="*/ 1727995 h 1762127"/>
                <a:gd name="connsiteX79" fmla="*/ 7785777 w 9759834"/>
                <a:gd name="connsiteY79" fmla="*/ 1693863 h 1762127"/>
                <a:gd name="connsiteX80" fmla="*/ 7706402 w 9759834"/>
                <a:gd name="connsiteY80" fmla="*/ 1693863 h 1762127"/>
                <a:gd name="connsiteX81" fmla="*/ 7740534 w 9759834"/>
                <a:gd name="connsiteY81" fmla="*/ 1727995 h 1762127"/>
                <a:gd name="connsiteX82" fmla="*/ 7706402 w 9759834"/>
                <a:gd name="connsiteY82" fmla="*/ 1762127 h 1762127"/>
                <a:gd name="connsiteX83" fmla="*/ 7672270 w 9759834"/>
                <a:gd name="connsiteY83" fmla="*/ 1727995 h 1762127"/>
                <a:gd name="connsiteX84" fmla="*/ 7706402 w 9759834"/>
                <a:gd name="connsiteY84" fmla="*/ 1693863 h 1762127"/>
                <a:gd name="connsiteX85" fmla="*/ 7620677 w 9759834"/>
                <a:gd name="connsiteY85" fmla="*/ 1693863 h 1762127"/>
                <a:gd name="connsiteX86" fmla="*/ 7654809 w 9759834"/>
                <a:gd name="connsiteY86" fmla="*/ 1727995 h 1762127"/>
                <a:gd name="connsiteX87" fmla="*/ 7620677 w 9759834"/>
                <a:gd name="connsiteY87" fmla="*/ 1762127 h 1762127"/>
                <a:gd name="connsiteX88" fmla="*/ 7586545 w 9759834"/>
                <a:gd name="connsiteY88" fmla="*/ 1727995 h 1762127"/>
                <a:gd name="connsiteX89" fmla="*/ 7620677 w 9759834"/>
                <a:gd name="connsiteY89" fmla="*/ 1693863 h 1762127"/>
                <a:gd name="connsiteX90" fmla="*/ 7534952 w 9759834"/>
                <a:gd name="connsiteY90" fmla="*/ 1693863 h 1762127"/>
                <a:gd name="connsiteX91" fmla="*/ 7569084 w 9759834"/>
                <a:gd name="connsiteY91" fmla="*/ 1727995 h 1762127"/>
                <a:gd name="connsiteX92" fmla="*/ 7534952 w 9759834"/>
                <a:gd name="connsiteY92" fmla="*/ 1762127 h 1762127"/>
                <a:gd name="connsiteX93" fmla="*/ 7500820 w 9759834"/>
                <a:gd name="connsiteY93" fmla="*/ 1727995 h 1762127"/>
                <a:gd name="connsiteX94" fmla="*/ 7534952 w 9759834"/>
                <a:gd name="connsiteY94" fmla="*/ 1693863 h 1762127"/>
                <a:gd name="connsiteX95" fmla="*/ 7449227 w 9759834"/>
                <a:gd name="connsiteY95" fmla="*/ 1693863 h 1762127"/>
                <a:gd name="connsiteX96" fmla="*/ 7483359 w 9759834"/>
                <a:gd name="connsiteY96" fmla="*/ 1727995 h 1762127"/>
                <a:gd name="connsiteX97" fmla="*/ 7449227 w 9759834"/>
                <a:gd name="connsiteY97" fmla="*/ 1762127 h 1762127"/>
                <a:gd name="connsiteX98" fmla="*/ 7415095 w 9759834"/>
                <a:gd name="connsiteY98" fmla="*/ 1727995 h 1762127"/>
                <a:gd name="connsiteX99" fmla="*/ 7449227 w 9759834"/>
                <a:gd name="connsiteY99" fmla="*/ 1693863 h 1762127"/>
                <a:gd name="connsiteX100" fmla="*/ 7366677 w 9759834"/>
                <a:gd name="connsiteY100" fmla="*/ 1693863 h 1762127"/>
                <a:gd name="connsiteX101" fmla="*/ 7403984 w 9759834"/>
                <a:gd name="connsiteY101" fmla="*/ 1727995 h 1762127"/>
                <a:gd name="connsiteX102" fmla="*/ 7366677 w 9759834"/>
                <a:gd name="connsiteY102" fmla="*/ 1762127 h 1762127"/>
                <a:gd name="connsiteX103" fmla="*/ 7329370 w 9759834"/>
                <a:gd name="connsiteY103" fmla="*/ 1727995 h 1762127"/>
                <a:gd name="connsiteX104" fmla="*/ 7366677 w 9759834"/>
                <a:gd name="connsiteY104" fmla="*/ 1693863 h 1762127"/>
                <a:gd name="connsiteX105" fmla="*/ 7284127 w 9759834"/>
                <a:gd name="connsiteY105" fmla="*/ 1693863 h 1762127"/>
                <a:gd name="connsiteX106" fmla="*/ 7318259 w 9759834"/>
                <a:gd name="connsiteY106" fmla="*/ 1727995 h 1762127"/>
                <a:gd name="connsiteX107" fmla="*/ 7284127 w 9759834"/>
                <a:gd name="connsiteY107" fmla="*/ 1762127 h 1762127"/>
                <a:gd name="connsiteX108" fmla="*/ 7249995 w 9759834"/>
                <a:gd name="connsiteY108" fmla="*/ 1727995 h 1762127"/>
                <a:gd name="connsiteX109" fmla="*/ 7284127 w 9759834"/>
                <a:gd name="connsiteY109" fmla="*/ 1693863 h 1762127"/>
                <a:gd name="connsiteX110" fmla="*/ 7198402 w 9759834"/>
                <a:gd name="connsiteY110" fmla="*/ 1693863 h 1762127"/>
                <a:gd name="connsiteX111" fmla="*/ 7232534 w 9759834"/>
                <a:gd name="connsiteY111" fmla="*/ 1727995 h 1762127"/>
                <a:gd name="connsiteX112" fmla="*/ 7198402 w 9759834"/>
                <a:gd name="connsiteY112" fmla="*/ 1762127 h 1762127"/>
                <a:gd name="connsiteX113" fmla="*/ 7164270 w 9759834"/>
                <a:gd name="connsiteY113" fmla="*/ 1727995 h 1762127"/>
                <a:gd name="connsiteX114" fmla="*/ 7198402 w 9759834"/>
                <a:gd name="connsiteY114" fmla="*/ 1693863 h 1762127"/>
                <a:gd name="connsiteX115" fmla="*/ 7112677 w 9759834"/>
                <a:gd name="connsiteY115" fmla="*/ 1693863 h 1762127"/>
                <a:gd name="connsiteX116" fmla="*/ 7146809 w 9759834"/>
                <a:gd name="connsiteY116" fmla="*/ 1727995 h 1762127"/>
                <a:gd name="connsiteX117" fmla="*/ 7112677 w 9759834"/>
                <a:gd name="connsiteY117" fmla="*/ 1762127 h 1762127"/>
                <a:gd name="connsiteX118" fmla="*/ 7078545 w 9759834"/>
                <a:gd name="connsiteY118" fmla="*/ 1727995 h 1762127"/>
                <a:gd name="connsiteX119" fmla="*/ 7112677 w 9759834"/>
                <a:gd name="connsiteY119" fmla="*/ 1693863 h 1762127"/>
                <a:gd name="connsiteX120" fmla="*/ 7027745 w 9759834"/>
                <a:gd name="connsiteY120" fmla="*/ 1693863 h 1762127"/>
                <a:gd name="connsiteX121" fmla="*/ 7062670 w 9759834"/>
                <a:gd name="connsiteY121" fmla="*/ 1727995 h 1762127"/>
                <a:gd name="connsiteX122" fmla="*/ 7027745 w 9759834"/>
                <a:gd name="connsiteY122" fmla="*/ 1762127 h 1762127"/>
                <a:gd name="connsiteX123" fmla="*/ 6992820 w 9759834"/>
                <a:gd name="connsiteY123" fmla="*/ 1727995 h 1762127"/>
                <a:gd name="connsiteX124" fmla="*/ 7027745 w 9759834"/>
                <a:gd name="connsiteY124" fmla="*/ 1693863 h 1762127"/>
                <a:gd name="connsiteX125" fmla="*/ 6947577 w 9759834"/>
                <a:gd name="connsiteY125" fmla="*/ 1693863 h 1762127"/>
                <a:gd name="connsiteX126" fmla="*/ 6981709 w 9759834"/>
                <a:gd name="connsiteY126" fmla="*/ 1727995 h 1762127"/>
                <a:gd name="connsiteX127" fmla="*/ 6947577 w 9759834"/>
                <a:gd name="connsiteY127" fmla="*/ 1762127 h 1762127"/>
                <a:gd name="connsiteX128" fmla="*/ 6913445 w 9759834"/>
                <a:gd name="connsiteY128" fmla="*/ 1727995 h 1762127"/>
                <a:gd name="connsiteX129" fmla="*/ 6947577 w 9759834"/>
                <a:gd name="connsiteY129" fmla="*/ 1693863 h 1762127"/>
                <a:gd name="connsiteX130" fmla="*/ 6861852 w 9759834"/>
                <a:gd name="connsiteY130" fmla="*/ 1693863 h 1762127"/>
                <a:gd name="connsiteX131" fmla="*/ 6895984 w 9759834"/>
                <a:gd name="connsiteY131" fmla="*/ 1727995 h 1762127"/>
                <a:gd name="connsiteX132" fmla="*/ 6861852 w 9759834"/>
                <a:gd name="connsiteY132" fmla="*/ 1762127 h 1762127"/>
                <a:gd name="connsiteX133" fmla="*/ 6827720 w 9759834"/>
                <a:gd name="connsiteY133" fmla="*/ 1727995 h 1762127"/>
                <a:gd name="connsiteX134" fmla="*/ 6861852 w 9759834"/>
                <a:gd name="connsiteY134" fmla="*/ 1693863 h 1762127"/>
                <a:gd name="connsiteX135" fmla="*/ 6776127 w 9759834"/>
                <a:gd name="connsiteY135" fmla="*/ 1693863 h 1762127"/>
                <a:gd name="connsiteX136" fmla="*/ 6810259 w 9759834"/>
                <a:gd name="connsiteY136" fmla="*/ 1727995 h 1762127"/>
                <a:gd name="connsiteX137" fmla="*/ 6776127 w 9759834"/>
                <a:gd name="connsiteY137" fmla="*/ 1762127 h 1762127"/>
                <a:gd name="connsiteX138" fmla="*/ 6741995 w 9759834"/>
                <a:gd name="connsiteY138" fmla="*/ 1727995 h 1762127"/>
                <a:gd name="connsiteX139" fmla="*/ 6776127 w 9759834"/>
                <a:gd name="connsiteY139" fmla="*/ 1693863 h 1762127"/>
                <a:gd name="connsiteX140" fmla="*/ 6691195 w 9759834"/>
                <a:gd name="connsiteY140" fmla="*/ 1693863 h 1762127"/>
                <a:gd name="connsiteX141" fmla="*/ 6726120 w 9759834"/>
                <a:gd name="connsiteY141" fmla="*/ 1727995 h 1762127"/>
                <a:gd name="connsiteX142" fmla="*/ 6691195 w 9759834"/>
                <a:gd name="connsiteY142" fmla="*/ 1762127 h 1762127"/>
                <a:gd name="connsiteX143" fmla="*/ 6656270 w 9759834"/>
                <a:gd name="connsiteY143" fmla="*/ 1727995 h 1762127"/>
                <a:gd name="connsiteX144" fmla="*/ 6691195 w 9759834"/>
                <a:gd name="connsiteY144" fmla="*/ 1693863 h 1762127"/>
                <a:gd name="connsiteX145" fmla="*/ 6607852 w 9759834"/>
                <a:gd name="connsiteY145" fmla="*/ 1693863 h 1762127"/>
                <a:gd name="connsiteX146" fmla="*/ 6645159 w 9759834"/>
                <a:gd name="connsiteY146" fmla="*/ 1727995 h 1762127"/>
                <a:gd name="connsiteX147" fmla="*/ 6607852 w 9759834"/>
                <a:gd name="connsiteY147" fmla="*/ 1762127 h 1762127"/>
                <a:gd name="connsiteX148" fmla="*/ 6570545 w 9759834"/>
                <a:gd name="connsiteY148" fmla="*/ 1727995 h 1762127"/>
                <a:gd name="connsiteX149" fmla="*/ 6607852 w 9759834"/>
                <a:gd name="connsiteY149" fmla="*/ 1693863 h 1762127"/>
                <a:gd name="connsiteX150" fmla="*/ 6525302 w 9759834"/>
                <a:gd name="connsiteY150" fmla="*/ 1693863 h 1762127"/>
                <a:gd name="connsiteX151" fmla="*/ 6559434 w 9759834"/>
                <a:gd name="connsiteY151" fmla="*/ 1727995 h 1762127"/>
                <a:gd name="connsiteX152" fmla="*/ 6525302 w 9759834"/>
                <a:gd name="connsiteY152" fmla="*/ 1762127 h 1762127"/>
                <a:gd name="connsiteX153" fmla="*/ 6491170 w 9759834"/>
                <a:gd name="connsiteY153" fmla="*/ 1727995 h 1762127"/>
                <a:gd name="connsiteX154" fmla="*/ 6525302 w 9759834"/>
                <a:gd name="connsiteY154" fmla="*/ 1693863 h 1762127"/>
                <a:gd name="connsiteX155" fmla="*/ 6439577 w 9759834"/>
                <a:gd name="connsiteY155" fmla="*/ 1693863 h 1762127"/>
                <a:gd name="connsiteX156" fmla="*/ 6473709 w 9759834"/>
                <a:gd name="connsiteY156" fmla="*/ 1727995 h 1762127"/>
                <a:gd name="connsiteX157" fmla="*/ 6439577 w 9759834"/>
                <a:gd name="connsiteY157" fmla="*/ 1762127 h 1762127"/>
                <a:gd name="connsiteX158" fmla="*/ 6405445 w 9759834"/>
                <a:gd name="connsiteY158" fmla="*/ 1727995 h 1762127"/>
                <a:gd name="connsiteX159" fmla="*/ 6439577 w 9759834"/>
                <a:gd name="connsiteY159" fmla="*/ 1693863 h 1762127"/>
                <a:gd name="connsiteX160" fmla="*/ 6353852 w 9759834"/>
                <a:gd name="connsiteY160" fmla="*/ 1693863 h 1762127"/>
                <a:gd name="connsiteX161" fmla="*/ 6387984 w 9759834"/>
                <a:gd name="connsiteY161" fmla="*/ 1727995 h 1762127"/>
                <a:gd name="connsiteX162" fmla="*/ 6353852 w 9759834"/>
                <a:gd name="connsiteY162" fmla="*/ 1762127 h 1762127"/>
                <a:gd name="connsiteX163" fmla="*/ 6319720 w 9759834"/>
                <a:gd name="connsiteY163" fmla="*/ 1727995 h 1762127"/>
                <a:gd name="connsiteX164" fmla="*/ 6353852 w 9759834"/>
                <a:gd name="connsiteY164" fmla="*/ 1693863 h 1762127"/>
                <a:gd name="connsiteX165" fmla="*/ 6268920 w 9759834"/>
                <a:gd name="connsiteY165" fmla="*/ 1693863 h 1762127"/>
                <a:gd name="connsiteX166" fmla="*/ 6303845 w 9759834"/>
                <a:gd name="connsiteY166" fmla="*/ 1727995 h 1762127"/>
                <a:gd name="connsiteX167" fmla="*/ 6268920 w 9759834"/>
                <a:gd name="connsiteY167" fmla="*/ 1762127 h 1762127"/>
                <a:gd name="connsiteX168" fmla="*/ 6233995 w 9759834"/>
                <a:gd name="connsiteY168" fmla="*/ 1727995 h 1762127"/>
                <a:gd name="connsiteX169" fmla="*/ 6268920 w 9759834"/>
                <a:gd name="connsiteY169" fmla="*/ 1693863 h 1762127"/>
                <a:gd name="connsiteX170" fmla="*/ 6188752 w 9759834"/>
                <a:gd name="connsiteY170" fmla="*/ 1693863 h 1762127"/>
                <a:gd name="connsiteX171" fmla="*/ 6222884 w 9759834"/>
                <a:gd name="connsiteY171" fmla="*/ 1727995 h 1762127"/>
                <a:gd name="connsiteX172" fmla="*/ 6188752 w 9759834"/>
                <a:gd name="connsiteY172" fmla="*/ 1762127 h 1762127"/>
                <a:gd name="connsiteX173" fmla="*/ 6154620 w 9759834"/>
                <a:gd name="connsiteY173" fmla="*/ 1727995 h 1762127"/>
                <a:gd name="connsiteX174" fmla="*/ 6188752 w 9759834"/>
                <a:gd name="connsiteY174" fmla="*/ 1693863 h 1762127"/>
                <a:gd name="connsiteX175" fmla="*/ 6103027 w 9759834"/>
                <a:gd name="connsiteY175" fmla="*/ 1693863 h 1762127"/>
                <a:gd name="connsiteX176" fmla="*/ 6137159 w 9759834"/>
                <a:gd name="connsiteY176" fmla="*/ 1727995 h 1762127"/>
                <a:gd name="connsiteX177" fmla="*/ 6103027 w 9759834"/>
                <a:gd name="connsiteY177" fmla="*/ 1762127 h 1762127"/>
                <a:gd name="connsiteX178" fmla="*/ 6068895 w 9759834"/>
                <a:gd name="connsiteY178" fmla="*/ 1727995 h 1762127"/>
                <a:gd name="connsiteX179" fmla="*/ 6103027 w 9759834"/>
                <a:gd name="connsiteY179" fmla="*/ 1693863 h 1762127"/>
                <a:gd name="connsiteX180" fmla="*/ 6017302 w 9759834"/>
                <a:gd name="connsiteY180" fmla="*/ 1693863 h 1762127"/>
                <a:gd name="connsiteX181" fmla="*/ 6051434 w 9759834"/>
                <a:gd name="connsiteY181" fmla="*/ 1727995 h 1762127"/>
                <a:gd name="connsiteX182" fmla="*/ 6017302 w 9759834"/>
                <a:gd name="connsiteY182" fmla="*/ 1762127 h 1762127"/>
                <a:gd name="connsiteX183" fmla="*/ 5983170 w 9759834"/>
                <a:gd name="connsiteY183" fmla="*/ 1727995 h 1762127"/>
                <a:gd name="connsiteX184" fmla="*/ 6017302 w 9759834"/>
                <a:gd name="connsiteY184" fmla="*/ 1693863 h 1762127"/>
                <a:gd name="connsiteX185" fmla="*/ 5932370 w 9759834"/>
                <a:gd name="connsiteY185" fmla="*/ 1693863 h 1762127"/>
                <a:gd name="connsiteX186" fmla="*/ 5967295 w 9759834"/>
                <a:gd name="connsiteY186" fmla="*/ 1727995 h 1762127"/>
                <a:gd name="connsiteX187" fmla="*/ 5932370 w 9759834"/>
                <a:gd name="connsiteY187" fmla="*/ 1762127 h 1762127"/>
                <a:gd name="connsiteX188" fmla="*/ 5897445 w 9759834"/>
                <a:gd name="connsiteY188" fmla="*/ 1727995 h 1762127"/>
                <a:gd name="connsiteX189" fmla="*/ 5932370 w 9759834"/>
                <a:gd name="connsiteY189" fmla="*/ 1693863 h 1762127"/>
                <a:gd name="connsiteX190" fmla="*/ 5849821 w 9759834"/>
                <a:gd name="connsiteY190" fmla="*/ 1693863 h 1762127"/>
                <a:gd name="connsiteX191" fmla="*/ 5886334 w 9759834"/>
                <a:gd name="connsiteY191" fmla="*/ 1727995 h 1762127"/>
                <a:gd name="connsiteX192" fmla="*/ 5849821 w 9759834"/>
                <a:gd name="connsiteY192" fmla="*/ 1762127 h 1762127"/>
                <a:gd name="connsiteX193" fmla="*/ 5813308 w 9759834"/>
                <a:gd name="connsiteY193" fmla="*/ 1727995 h 1762127"/>
                <a:gd name="connsiteX194" fmla="*/ 5849821 w 9759834"/>
                <a:gd name="connsiteY194" fmla="*/ 1693863 h 1762127"/>
                <a:gd name="connsiteX195" fmla="*/ 5766477 w 9759834"/>
                <a:gd name="connsiteY195" fmla="*/ 1693863 h 1762127"/>
                <a:gd name="connsiteX196" fmla="*/ 5800609 w 9759834"/>
                <a:gd name="connsiteY196" fmla="*/ 1727995 h 1762127"/>
                <a:gd name="connsiteX197" fmla="*/ 5766477 w 9759834"/>
                <a:gd name="connsiteY197" fmla="*/ 1762127 h 1762127"/>
                <a:gd name="connsiteX198" fmla="*/ 5732345 w 9759834"/>
                <a:gd name="connsiteY198" fmla="*/ 1727995 h 1762127"/>
                <a:gd name="connsiteX199" fmla="*/ 5766477 w 9759834"/>
                <a:gd name="connsiteY199" fmla="*/ 1693863 h 1762127"/>
                <a:gd name="connsiteX200" fmla="*/ 5680752 w 9759834"/>
                <a:gd name="connsiteY200" fmla="*/ 1693863 h 1762127"/>
                <a:gd name="connsiteX201" fmla="*/ 5714884 w 9759834"/>
                <a:gd name="connsiteY201" fmla="*/ 1727995 h 1762127"/>
                <a:gd name="connsiteX202" fmla="*/ 5680752 w 9759834"/>
                <a:gd name="connsiteY202" fmla="*/ 1762127 h 1762127"/>
                <a:gd name="connsiteX203" fmla="*/ 5646620 w 9759834"/>
                <a:gd name="connsiteY203" fmla="*/ 1727995 h 1762127"/>
                <a:gd name="connsiteX204" fmla="*/ 5680752 w 9759834"/>
                <a:gd name="connsiteY204" fmla="*/ 1693863 h 1762127"/>
                <a:gd name="connsiteX205" fmla="*/ 5595820 w 9759834"/>
                <a:gd name="connsiteY205" fmla="*/ 1693863 h 1762127"/>
                <a:gd name="connsiteX206" fmla="*/ 5630745 w 9759834"/>
                <a:gd name="connsiteY206" fmla="*/ 1727995 h 1762127"/>
                <a:gd name="connsiteX207" fmla="*/ 5595820 w 9759834"/>
                <a:gd name="connsiteY207" fmla="*/ 1762127 h 1762127"/>
                <a:gd name="connsiteX208" fmla="*/ 5560895 w 9759834"/>
                <a:gd name="connsiteY208" fmla="*/ 1727995 h 1762127"/>
                <a:gd name="connsiteX209" fmla="*/ 5595820 w 9759834"/>
                <a:gd name="connsiteY209" fmla="*/ 1693863 h 1762127"/>
                <a:gd name="connsiteX210" fmla="*/ 5510095 w 9759834"/>
                <a:gd name="connsiteY210" fmla="*/ 1693863 h 1762127"/>
                <a:gd name="connsiteX211" fmla="*/ 5545020 w 9759834"/>
                <a:gd name="connsiteY211" fmla="*/ 1727995 h 1762127"/>
                <a:gd name="connsiteX212" fmla="*/ 5510095 w 9759834"/>
                <a:gd name="connsiteY212" fmla="*/ 1762127 h 1762127"/>
                <a:gd name="connsiteX213" fmla="*/ 5475170 w 9759834"/>
                <a:gd name="connsiteY213" fmla="*/ 1727995 h 1762127"/>
                <a:gd name="connsiteX214" fmla="*/ 5510095 w 9759834"/>
                <a:gd name="connsiteY214" fmla="*/ 1693863 h 1762127"/>
                <a:gd name="connsiteX215" fmla="*/ 5429927 w 9759834"/>
                <a:gd name="connsiteY215" fmla="*/ 1693863 h 1762127"/>
                <a:gd name="connsiteX216" fmla="*/ 5464059 w 9759834"/>
                <a:gd name="connsiteY216" fmla="*/ 1727995 h 1762127"/>
                <a:gd name="connsiteX217" fmla="*/ 5429927 w 9759834"/>
                <a:gd name="connsiteY217" fmla="*/ 1762127 h 1762127"/>
                <a:gd name="connsiteX218" fmla="*/ 5395795 w 9759834"/>
                <a:gd name="connsiteY218" fmla="*/ 1727995 h 1762127"/>
                <a:gd name="connsiteX219" fmla="*/ 5429927 w 9759834"/>
                <a:gd name="connsiteY219" fmla="*/ 1693863 h 1762127"/>
                <a:gd name="connsiteX220" fmla="*/ 5344202 w 9759834"/>
                <a:gd name="connsiteY220" fmla="*/ 1693863 h 1762127"/>
                <a:gd name="connsiteX221" fmla="*/ 5378334 w 9759834"/>
                <a:gd name="connsiteY221" fmla="*/ 1727995 h 1762127"/>
                <a:gd name="connsiteX222" fmla="*/ 5344202 w 9759834"/>
                <a:gd name="connsiteY222" fmla="*/ 1762127 h 1762127"/>
                <a:gd name="connsiteX223" fmla="*/ 5310070 w 9759834"/>
                <a:gd name="connsiteY223" fmla="*/ 1727995 h 1762127"/>
                <a:gd name="connsiteX224" fmla="*/ 5344202 w 9759834"/>
                <a:gd name="connsiteY224" fmla="*/ 1693863 h 1762127"/>
                <a:gd name="connsiteX225" fmla="*/ 5258477 w 9759834"/>
                <a:gd name="connsiteY225" fmla="*/ 1693863 h 1762127"/>
                <a:gd name="connsiteX226" fmla="*/ 5292609 w 9759834"/>
                <a:gd name="connsiteY226" fmla="*/ 1727995 h 1762127"/>
                <a:gd name="connsiteX227" fmla="*/ 5258477 w 9759834"/>
                <a:gd name="connsiteY227" fmla="*/ 1762127 h 1762127"/>
                <a:gd name="connsiteX228" fmla="*/ 5224345 w 9759834"/>
                <a:gd name="connsiteY228" fmla="*/ 1727995 h 1762127"/>
                <a:gd name="connsiteX229" fmla="*/ 5258477 w 9759834"/>
                <a:gd name="connsiteY229" fmla="*/ 1693863 h 1762127"/>
                <a:gd name="connsiteX230" fmla="*/ 5173545 w 9759834"/>
                <a:gd name="connsiteY230" fmla="*/ 1693863 h 1762127"/>
                <a:gd name="connsiteX231" fmla="*/ 5208470 w 9759834"/>
                <a:gd name="connsiteY231" fmla="*/ 1727995 h 1762127"/>
                <a:gd name="connsiteX232" fmla="*/ 5173545 w 9759834"/>
                <a:gd name="connsiteY232" fmla="*/ 1762127 h 1762127"/>
                <a:gd name="connsiteX233" fmla="*/ 5138620 w 9759834"/>
                <a:gd name="connsiteY233" fmla="*/ 1727995 h 1762127"/>
                <a:gd name="connsiteX234" fmla="*/ 5173545 w 9759834"/>
                <a:gd name="connsiteY234" fmla="*/ 1693863 h 1762127"/>
                <a:gd name="connsiteX235" fmla="*/ 5007652 w 9759834"/>
                <a:gd name="connsiteY235" fmla="*/ 1693863 h 1762127"/>
                <a:gd name="connsiteX236" fmla="*/ 5041784 w 9759834"/>
                <a:gd name="connsiteY236" fmla="*/ 1727995 h 1762127"/>
                <a:gd name="connsiteX237" fmla="*/ 5007652 w 9759834"/>
                <a:gd name="connsiteY237" fmla="*/ 1762127 h 1762127"/>
                <a:gd name="connsiteX238" fmla="*/ 4973520 w 9759834"/>
                <a:gd name="connsiteY238" fmla="*/ 1727995 h 1762127"/>
                <a:gd name="connsiteX239" fmla="*/ 5007652 w 9759834"/>
                <a:gd name="connsiteY239" fmla="*/ 1693863 h 1762127"/>
                <a:gd name="connsiteX240" fmla="*/ 4921927 w 9759834"/>
                <a:gd name="connsiteY240" fmla="*/ 1693863 h 1762127"/>
                <a:gd name="connsiteX241" fmla="*/ 4956059 w 9759834"/>
                <a:gd name="connsiteY241" fmla="*/ 1727995 h 1762127"/>
                <a:gd name="connsiteX242" fmla="*/ 4921927 w 9759834"/>
                <a:gd name="connsiteY242" fmla="*/ 1762127 h 1762127"/>
                <a:gd name="connsiteX243" fmla="*/ 4887795 w 9759834"/>
                <a:gd name="connsiteY243" fmla="*/ 1727995 h 1762127"/>
                <a:gd name="connsiteX244" fmla="*/ 4921927 w 9759834"/>
                <a:gd name="connsiteY244" fmla="*/ 1693863 h 1762127"/>
                <a:gd name="connsiteX245" fmla="*/ 3068520 w 9759834"/>
                <a:gd name="connsiteY245" fmla="*/ 1693863 h 1762127"/>
                <a:gd name="connsiteX246" fmla="*/ 3103445 w 9759834"/>
                <a:gd name="connsiteY246" fmla="*/ 1727995 h 1762127"/>
                <a:gd name="connsiteX247" fmla="*/ 3068520 w 9759834"/>
                <a:gd name="connsiteY247" fmla="*/ 1762127 h 1762127"/>
                <a:gd name="connsiteX248" fmla="*/ 3033595 w 9759834"/>
                <a:gd name="connsiteY248" fmla="*/ 1727995 h 1762127"/>
                <a:gd name="connsiteX249" fmla="*/ 3068520 w 9759834"/>
                <a:gd name="connsiteY249" fmla="*/ 1693863 h 1762127"/>
                <a:gd name="connsiteX250" fmla="*/ 2983589 w 9759834"/>
                <a:gd name="connsiteY250" fmla="*/ 1693863 h 1762127"/>
                <a:gd name="connsiteX251" fmla="*/ 3017721 w 9759834"/>
                <a:gd name="connsiteY251" fmla="*/ 1727995 h 1762127"/>
                <a:gd name="connsiteX252" fmla="*/ 2983589 w 9759834"/>
                <a:gd name="connsiteY252" fmla="*/ 1762127 h 1762127"/>
                <a:gd name="connsiteX253" fmla="*/ 2949457 w 9759834"/>
                <a:gd name="connsiteY253" fmla="*/ 1727995 h 1762127"/>
                <a:gd name="connsiteX254" fmla="*/ 2983589 w 9759834"/>
                <a:gd name="connsiteY254" fmla="*/ 1693863 h 1762127"/>
                <a:gd name="connsiteX255" fmla="*/ 2897864 w 9759834"/>
                <a:gd name="connsiteY255" fmla="*/ 1693863 h 1762127"/>
                <a:gd name="connsiteX256" fmla="*/ 2931996 w 9759834"/>
                <a:gd name="connsiteY256" fmla="*/ 1727995 h 1762127"/>
                <a:gd name="connsiteX257" fmla="*/ 2897864 w 9759834"/>
                <a:gd name="connsiteY257" fmla="*/ 1762127 h 1762127"/>
                <a:gd name="connsiteX258" fmla="*/ 2863732 w 9759834"/>
                <a:gd name="connsiteY258" fmla="*/ 1727995 h 1762127"/>
                <a:gd name="connsiteX259" fmla="*/ 2897864 w 9759834"/>
                <a:gd name="connsiteY259" fmla="*/ 1693863 h 1762127"/>
                <a:gd name="connsiteX260" fmla="*/ 2814520 w 9759834"/>
                <a:gd name="connsiteY260" fmla="*/ 1693863 h 1762127"/>
                <a:gd name="connsiteX261" fmla="*/ 2851033 w 9759834"/>
                <a:gd name="connsiteY261" fmla="*/ 1727995 h 1762127"/>
                <a:gd name="connsiteX262" fmla="*/ 2814520 w 9759834"/>
                <a:gd name="connsiteY262" fmla="*/ 1762127 h 1762127"/>
                <a:gd name="connsiteX263" fmla="*/ 2778007 w 9759834"/>
                <a:gd name="connsiteY263" fmla="*/ 1727995 h 1762127"/>
                <a:gd name="connsiteX264" fmla="*/ 2814520 w 9759834"/>
                <a:gd name="connsiteY264" fmla="*/ 1693863 h 1762127"/>
                <a:gd name="connsiteX265" fmla="*/ 2732134 w 9759834"/>
                <a:gd name="connsiteY265" fmla="*/ 1693863 h 1762127"/>
                <a:gd name="connsiteX266" fmla="*/ 2767057 w 9759834"/>
                <a:gd name="connsiteY266" fmla="*/ 1727995 h 1762127"/>
                <a:gd name="connsiteX267" fmla="*/ 2732134 w 9759834"/>
                <a:gd name="connsiteY267" fmla="*/ 1762127 h 1762127"/>
                <a:gd name="connsiteX268" fmla="*/ 2697208 w 9759834"/>
                <a:gd name="connsiteY268" fmla="*/ 1727995 h 1762127"/>
                <a:gd name="connsiteX269" fmla="*/ 2732134 w 9759834"/>
                <a:gd name="connsiteY269" fmla="*/ 1693863 h 1762127"/>
                <a:gd name="connsiteX270" fmla="*/ 2646410 w 9759834"/>
                <a:gd name="connsiteY270" fmla="*/ 1693863 h 1762127"/>
                <a:gd name="connsiteX271" fmla="*/ 2681334 w 9759834"/>
                <a:gd name="connsiteY271" fmla="*/ 1727995 h 1762127"/>
                <a:gd name="connsiteX272" fmla="*/ 2646410 w 9759834"/>
                <a:gd name="connsiteY272" fmla="*/ 1762127 h 1762127"/>
                <a:gd name="connsiteX273" fmla="*/ 2611483 w 9759834"/>
                <a:gd name="connsiteY273" fmla="*/ 1727995 h 1762127"/>
                <a:gd name="connsiteX274" fmla="*/ 2646410 w 9759834"/>
                <a:gd name="connsiteY274" fmla="*/ 1693863 h 1762127"/>
                <a:gd name="connsiteX275" fmla="*/ 2561479 w 9759834"/>
                <a:gd name="connsiteY275" fmla="*/ 1693863 h 1762127"/>
                <a:gd name="connsiteX276" fmla="*/ 2595609 w 9759834"/>
                <a:gd name="connsiteY276" fmla="*/ 1727995 h 1762127"/>
                <a:gd name="connsiteX277" fmla="*/ 2561479 w 9759834"/>
                <a:gd name="connsiteY277" fmla="*/ 1762127 h 1762127"/>
                <a:gd name="connsiteX278" fmla="*/ 2527342 w 9759834"/>
                <a:gd name="connsiteY278" fmla="*/ 1727995 h 1762127"/>
                <a:gd name="connsiteX279" fmla="*/ 2561479 w 9759834"/>
                <a:gd name="connsiteY279" fmla="*/ 1693863 h 1762127"/>
                <a:gd name="connsiteX280" fmla="*/ 2475754 w 9759834"/>
                <a:gd name="connsiteY280" fmla="*/ 1693863 h 1762127"/>
                <a:gd name="connsiteX281" fmla="*/ 2509883 w 9759834"/>
                <a:gd name="connsiteY281" fmla="*/ 1727995 h 1762127"/>
                <a:gd name="connsiteX282" fmla="*/ 2475754 w 9759834"/>
                <a:gd name="connsiteY282" fmla="*/ 1762127 h 1762127"/>
                <a:gd name="connsiteX283" fmla="*/ 2441619 w 9759834"/>
                <a:gd name="connsiteY283" fmla="*/ 1727995 h 1762127"/>
                <a:gd name="connsiteX284" fmla="*/ 2475754 w 9759834"/>
                <a:gd name="connsiteY284" fmla="*/ 1693863 h 1762127"/>
                <a:gd name="connsiteX285" fmla="*/ 2394790 w 9759834"/>
                <a:gd name="connsiteY285" fmla="*/ 1693863 h 1762127"/>
                <a:gd name="connsiteX286" fmla="*/ 2428919 w 9759834"/>
                <a:gd name="connsiteY286" fmla="*/ 1727995 h 1762127"/>
                <a:gd name="connsiteX287" fmla="*/ 2394790 w 9759834"/>
                <a:gd name="connsiteY287" fmla="*/ 1762127 h 1762127"/>
                <a:gd name="connsiteX288" fmla="*/ 2360656 w 9759834"/>
                <a:gd name="connsiteY288" fmla="*/ 1727995 h 1762127"/>
                <a:gd name="connsiteX289" fmla="*/ 2394790 w 9759834"/>
                <a:gd name="connsiteY289" fmla="*/ 1693863 h 1762127"/>
                <a:gd name="connsiteX290" fmla="*/ 2309856 w 9759834"/>
                <a:gd name="connsiteY290" fmla="*/ 1693863 h 1762127"/>
                <a:gd name="connsiteX291" fmla="*/ 2344781 w 9759834"/>
                <a:gd name="connsiteY291" fmla="*/ 1727995 h 1762127"/>
                <a:gd name="connsiteX292" fmla="*/ 2309856 w 9759834"/>
                <a:gd name="connsiteY292" fmla="*/ 1762127 h 1762127"/>
                <a:gd name="connsiteX293" fmla="*/ 2274920 w 9759834"/>
                <a:gd name="connsiteY293" fmla="*/ 1727995 h 1762127"/>
                <a:gd name="connsiteX294" fmla="*/ 2309856 w 9759834"/>
                <a:gd name="connsiteY294" fmla="*/ 1693863 h 1762127"/>
                <a:gd name="connsiteX295" fmla="*/ 2224919 w 9759834"/>
                <a:gd name="connsiteY295" fmla="*/ 1693863 h 1762127"/>
                <a:gd name="connsiteX296" fmla="*/ 2259040 w 9759834"/>
                <a:gd name="connsiteY296" fmla="*/ 1727995 h 1762127"/>
                <a:gd name="connsiteX297" fmla="*/ 2224919 w 9759834"/>
                <a:gd name="connsiteY297" fmla="*/ 1762127 h 1762127"/>
                <a:gd name="connsiteX298" fmla="*/ 2190786 w 9759834"/>
                <a:gd name="connsiteY298" fmla="*/ 1727995 h 1762127"/>
                <a:gd name="connsiteX299" fmla="*/ 2224919 w 9759834"/>
                <a:gd name="connsiteY299" fmla="*/ 1693863 h 1762127"/>
                <a:gd name="connsiteX300" fmla="*/ 2139203 w 9759834"/>
                <a:gd name="connsiteY300" fmla="*/ 1693863 h 1762127"/>
                <a:gd name="connsiteX301" fmla="*/ 2173331 w 9759834"/>
                <a:gd name="connsiteY301" fmla="*/ 1727995 h 1762127"/>
                <a:gd name="connsiteX302" fmla="*/ 2139203 w 9759834"/>
                <a:gd name="connsiteY302" fmla="*/ 1762127 h 1762127"/>
                <a:gd name="connsiteX303" fmla="*/ 2105064 w 9759834"/>
                <a:gd name="connsiteY303" fmla="*/ 1727995 h 1762127"/>
                <a:gd name="connsiteX304" fmla="*/ 2139203 w 9759834"/>
                <a:gd name="connsiteY304" fmla="*/ 1693863 h 1762127"/>
                <a:gd name="connsiteX305" fmla="*/ 2055855 w 9759834"/>
                <a:gd name="connsiteY305" fmla="*/ 1693863 h 1762127"/>
                <a:gd name="connsiteX306" fmla="*/ 2092362 w 9759834"/>
                <a:gd name="connsiteY306" fmla="*/ 1727995 h 1762127"/>
                <a:gd name="connsiteX307" fmla="*/ 2055855 w 9759834"/>
                <a:gd name="connsiteY307" fmla="*/ 1762127 h 1762127"/>
                <a:gd name="connsiteX308" fmla="*/ 2019341 w 9759834"/>
                <a:gd name="connsiteY308" fmla="*/ 1727995 h 1762127"/>
                <a:gd name="connsiteX309" fmla="*/ 2055855 w 9759834"/>
                <a:gd name="connsiteY309" fmla="*/ 1693863 h 1762127"/>
                <a:gd name="connsiteX310" fmla="*/ 1973301 w 9759834"/>
                <a:gd name="connsiteY310" fmla="*/ 1693863 h 1762127"/>
                <a:gd name="connsiteX311" fmla="*/ 2008227 w 9759834"/>
                <a:gd name="connsiteY311" fmla="*/ 1727995 h 1762127"/>
                <a:gd name="connsiteX312" fmla="*/ 1973301 w 9759834"/>
                <a:gd name="connsiteY312" fmla="*/ 1762127 h 1762127"/>
                <a:gd name="connsiteX313" fmla="*/ 1938380 w 9759834"/>
                <a:gd name="connsiteY313" fmla="*/ 1727995 h 1762127"/>
                <a:gd name="connsiteX314" fmla="*/ 1973301 w 9759834"/>
                <a:gd name="connsiteY314" fmla="*/ 1693863 h 1762127"/>
                <a:gd name="connsiteX315" fmla="*/ 1888373 w 9759834"/>
                <a:gd name="connsiteY315" fmla="*/ 1693863 h 1762127"/>
                <a:gd name="connsiteX316" fmla="*/ 1922503 w 9759834"/>
                <a:gd name="connsiteY316" fmla="*/ 1727995 h 1762127"/>
                <a:gd name="connsiteX317" fmla="*/ 1888373 w 9759834"/>
                <a:gd name="connsiteY317" fmla="*/ 1762127 h 1762127"/>
                <a:gd name="connsiteX318" fmla="*/ 1854243 w 9759834"/>
                <a:gd name="connsiteY318" fmla="*/ 1727995 h 1762127"/>
                <a:gd name="connsiteX319" fmla="*/ 1888373 w 9759834"/>
                <a:gd name="connsiteY319" fmla="*/ 1693863 h 1762127"/>
                <a:gd name="connsiteX320" fmla="*/ 1802656 w 9759834"/>
                <a:gd name="connsiteY320" fmla="*/ 1693863 h 1762127"/>
                <a:gd name="connsiteX321" fmla="*/ 1836784 w 9759834"/>
                <a:gd name="connsiteY321" fmla="*/ 1727995 h 1762127"/>
                <a:gd name="connsiteX322" fmla="*/ 1802656 w 9759834"/>
                <a:gd name="connsiteY322" fmla="*/ 1762127 h 1762127"/>
                <a:gd name="connsiteX323" fmla="*/ 1768524 w 9759834"/>
                <a:gd name="connsiteY323" fmla="*/ 1727995 h 1762127"/>
                <a:gd name="connsiteX324" fmla="*/ 1802656 w 9759834"/>
                <a:gd name="connsiteY324" fmla="*/ 1693863 h 1762127"/>
                <a:gd name="connsiteX325" fmla="*/ 1719314 w 9759834"/>
                <a:gd name="connsiteY325" fmla="*/ 1693863 h 1762127"/>
                <a:gd name="connsiteX326" fmla="*/ 1755825 w 9759834"/>
                <a:gd name="connsiteY326" fmla="*/ 1727995 h 1762127"/>
                <a:gd name="connsiteX327" fmla="*/ 1719314 w 9759834"/>
                <a:gd name="connsiteY327" fmla="*/ 1762127 h 1762127"/>
                <a:gd name="connsiteX328" fmla="*/ 1682803 w 9759834"/>
                <a:gd name="connsiteY328" fmla="*/ 1727995 h 1762127"/>
                <a:gd name="connsiteX329" fmla="*/ 1719314 w 9759834"/>
                <a:gd name="connsiteY329" fmla="*/ 1693863 h 1762127"/>
                <a:gd name="connsiteX330" fmla="*/ 1636768 w 9759834"/>
                <a:gd name="connsiteY330" fmla="*/ 1693863 h 1762127"/>
                <a:gd name="connsiteX331" fmla="*/ 1671691 w 9759834"/>
                <a:gd name="connsiteY331" fmla="*/ 1727995 h 1762127"/>
                <a:gd name="connsiteX332" fmla="*/ 1636768 w 9759834"/>
                <a:gd name="connsiteY332" fmla="*/ 1762127 h 1762127"/>
                <a:gd name="connsiteX333" fmla="*/ 1601843 w 9759834"/>
                <a:gd name="connsiteY333" fmla="*/ 1727995 h 1762127"/>
                <a:gd name="connsiteX334" fmla="*/ 1636768 w 9759834"/>
                <a:gd name="connsiteY334" fmla="*/ 1693863 h 1762127"/>
                <a:gd name="connsiteX335" fmla="*/ 1551838 w 9759834"/>
                <a:gd name="connsiteY335" fmla="*/ 1693863 h 1762127"/>
                <a:gd name="connsiteX336" fmla="*/ 1585970 w 9759834"/>
                <a:gd name="connsiteY336" fmla="*/ 1727995 h 1762127"/>
                <a:gd name="connsiteX337" fmla="*/ 1551838 w 9759834"/>
                <a:gd name="connsiteY337" fmla="*/ 1762127 h 1762127"/>
                <a:gd name="connsiteX338" fmla="*/ 1517707 w 9759834"/>
                <a:gd name="connsiteY338" fmla="*/ 1727995 h 1762127"/>
                <a:gd name="connsiteX339" fmla="*/ 1551838 w 9759834"/>
                <a:gd name="connsiteY339" fmla="*/ 1693863 h 1762127"/>
                <a:gd name="connsiteX340" fmla="*/ 1466114 w 9759834"/>
                <a:gd name="connsiteY340" fmla="*/ 1693863 h 1762127"/>
                <a:gd name="connsiteX341" fmla="*/ 1500247 w 9759834"/>
                <a:gd name="connsiteY341" fmla="*/ 1727995 h 1762127"/>
                <a:gd name="connsiteX342" fmla="*/ 1466114 w 9759834"/>
                <a:gd name="connsiteY342" fmla="*/ 1762127 h 1762127"/>
                <a:gd name="connsiteX343" fmla="*/ 1431983 w 9759834"/>
                <a:gd name="connsiteY343" fmla="*/ 1727995 h 1762127"/>
                <a:gd name="connsiteX344" fmla="*/ 1466114 w 9759834"/>
                <a:gd name="connsiteY344" fmla="*/ 1693863 h 1762127"/>
                <a:gd name="connsiteX345" fmla="*/ 9138327 w 9759834"/>
                <a:gd name="connsiteY345" fmla="*/ 1606550 h 1762127"/>
                <a:gd name="connsiteX346" fmla="*/ 9172459 w 9759834"/>
                <a:gd name="connsiteY346" fmla="*/ 1643857 h 1762127"/>
                <a:gd name="connsiteX347" fmla="*/ 9138327 w 9759834"/>
                <a:gd name="connsiteY347" fmla="*/ 1681164 h 1762127"/>
                <a:gd name="connsiteX348" fmla="*/ 9104195 w 9759834"/>
                <a:gd name="connsiteY348" fmla="*/ 1643857 h 1762127"/>
                <a:gd name="connsiteX349" fmla="*/ 9138327 w 9759834"/>
                <a:gd name="connsiteY349" fmla="*/ 1606550 h 1762127"/>
                <a:gd name="connsiteX350" fmla="*/ 8966877 w 9759834"/>
                <a:gd name="connsiteY350" fmla="*/ 1606550 h 1762127"/>
                <a:gd name="connsiteX351" fmla="*/ 9001009 w 9759834"/>
                <a:gd name="connsiteY351" fmla="*/ 1643857 h 1762127"/>
                <a:gd name="connsiteX352" fmla="*/ 8966877 w 9759834"/>
                <a:gd name="connsiteY352" fmla="*/ 1681164 h 1762127"/>
                <a:gd name="connsiteX353" fmla="*/ 8932745 w 9759834"/>
                <a:gd name="connsiteY353" fmla="*/ 1643857 h 1762127"/>
                <a:gd name="connsiteX354" fmla="*/ 8966877 w 9759834"/>
                <a:gd name="connsiteY354" fmla="*/ 1606550 h 1762127"/>
                <a:gd name="connsiteX355" fmla="*/ 8884327 w 9759834"/>
                <a:gd name="connsiteY355" fmla="*/ 1606550 h 1762127"/>
                <a:gd name="connsiteX356" fmla="*/ 8921634 w 9759834"/>
                <a:gd name="connsiteY356" fmla="*/ 1643857 h 1762127"/>
                <a:gd name="connsiteX357" fmla="*/ 8884327 w 9759834"/>
                <a:gd name="connsiteY357" fmla="*/ 1681164 h 1762127"/>
                <a:gd name="connsiteX358" fmla="*/ 8847020 w 9759834"/>
                <a:gd name="connsiteY358" fmla="*/ 1643857 h 1762127"/>
                <a:gd name="connsiteX359" fmla="*/ 8884327 w 9759834"/>
                <a:gd name="connsiteY359" fmla="*/ 1606550 h 1762127"/>
                <a:gd name="connsiteX360" fmla="*/ 8801777 w 9759834"/>
                <a:gd name="connsiteY360" fmla="*/ 1606550 h 1762127"/>
                <a:gd name="connsiteX361" fmla="*/ 8835909 w 9759834"/>
                <a:gd name="connsiteY361" fmla="*/ 1643857 h 1762127"/>
                <a:gd name="connsiteX362" fmla="*/ 8801777 w 9759834"/>
                <a:gd name="connsiteY362" fmla="*/ 1681164 h 1762127"/>
                <a:gd name="connsiteX363" fmla="*/ 8767645 w 9759834"/>
                <a:gd name="connsiteY363" fmla="*/ 1643857 h 1762127"/>
                <a:gd name="connsiteX364" fmla="*/ 8801777 w 9759834"/>
                <a:gd name="connsiteY364" fmla="*/ 1606550 h 1762127"/>
                <a:gd name="connsiteX365" fmla="*/ 8716052 w 9759834"/>
                <a:gd name="connsiteY365" fmla="*/ 1606550 h 1762127"/>
                <a:gd name="connsiteX366" fmla="*/ 8750184 w 9759834"/>
                <a:gd name="connsiteY366" fmla="*/ 1643857 h 1762127"/>
                <a:gd name="connsiteX367" fmla="*/ 8716052 w 9759834"/>
                <a:gd name="connsiteY367" fmla="*/ 1681164 h 1762127"/>
                <a:gd name="connsiteX368" fmla="*/ 8681920 w 9759834"/>
                <a:gd name="connsiteY368" fmla="*/ 1643857 h 1762127"/>
                <a:gd name="connsiteX369" fmla="*/ 8716052 w 9759834"/>
                <a:gd name="connsiteY369" fmla="*/ 1606550 h 1762127"/>
                <a:gd name="connsiteX370" fmla="*/ 8630327 w 9759834"/>
                <a:gd name="connsiteY370" fmla="*/ 1606550 h 1762127"/>
                <a:gd name="connsiteX371" fmla="*/ 8664459 w 9759834"/>
                <a:gd name="connsiteY371" fmla="*/ 1643857 h 1762127"/>
                <a:gd name="connsiteX372" fmla="*/ 8630327 w 9759834"/>
                <a:gd name="connsiteY372" fmla="*/ 1681164 h 1762127"/>
                <a:gd name="connsiteX373" fmla="*/ 8596195 w 9759834"/>
                <a:gd name="connsiteY373" fmla="*/ 1643857 h 1762127"/>
                <a:gd name="connsiteX374" fmla="*/ 8630327 w 9759834"/>
                <a:gd name="connsiteY374" fmla="*/ 1606550 h 1762127"/>
                <a:gd name="connsiteX375" fmla="*/ 8544602 w 9759834"/>
                <a:gd name="connsiteY375" fmla="*/ 1606550 h 1762127"/>
                <a:gd name="connsiteX376" fmla="*/ 8578734 w 9759834"/>
                <a:gd name="connsiteY376" fmla="*/ 1643857 h 1762127"/>
                <a:gd name="connsiteX377" fmla="*/ 8544602 w 9759834"/>
                <a:gd name="connsiteY377" fmla="*/ 1681164 h 1762127"/>
                <a:gd name="connsiteX378" fmla="*/ 8510470 w 9759834"/>
                <a:gd name="connsiteY378" fmla="*/ 1643857 h 1762127"/>
                <a:gd name="connsiteX379" fmla="*/ 8544602 w 9759834"/>
                <a:gd name="connsiteY379" fmla="*/ 1606550 h 1762127"/>
                <a:gd name="connsiteX380" fmla="*/ 8465227 w 9759834"/>
                <a:gd name="connsiteY380" fmla="*/ 1606550 h 1762127"/>
                <a:gd name="connsiteX381" fmla="*/ 8499359 w 9759834"/>
                <a:gd name="connsiteY381" fmla="*/ 1643857 h 1762127"/>
                <a:gd name="connsiteX382" fmla="*/ 8465227 w 9759834"/>
                <a:gd name="connsiteY382" fmla="*/ 1681164 h 1762127"/>
                <a:gd name="connsiteX383" fmla="*/ 8431095 w 9759834"/>
                <a:gd name="connsiteY383" fmla="*/ 1643857 h 1762127"/>
                <a:gd name="connsiteX384" fmla="*/ 8465227 w 9759834"/>
                <a:gd name="connsiteY384" fmla="*/ 1606550 h 1762127"/>
                <a:gd name="connsiteX385" fmla="*/ 8379502 w 9759834"/>
                <a:gd name="connsiteY385" fmla="*/ 1606550 h 1762127"/>
                <a:gd name="connsiteX386" fmla="*/ 8413634 w 9759834"/>
                <a:gd name="connsiteY386" fmla="*/ 1643857 h 1762127"/>
                <a:gd name="connsiteX387" fmla="*/ 8379502 w 9759834"/>
                <a:gd name="connsiteY387" fmla="*/ 1681164 h 1762127"/>
                <a:gd name="connsiteX388" fmla="*/ 8345370 w 9759834"/>
                <a:gd name="connsiteY388" fmla="*/ 1643857 h 1762127"/>
                <a:gd name="connsiteX389" fmla="*/ 8379502 w 9759834"/>
                <a:gd name="connsiteY389" fmla="*/ 1606550 h 1762127"/>
                <a:gd name="connsiteX390" fmla="*/ 8293777 w 9759834"/>
                <a:gd name="connsiteY390" fmla="*/ 1606550 h 1762127"/>
                <a:gd name="connsiteX391" fmla="*/ 8327909 w 9759834"/>
                <a:gd name="connsiteY391" fmla="*/ 1643857 h 1762127"/>
                <a:gd name="connsiteX392" fmla="*/ 8293777 w 9759834"/>
                <a:gd name="connsiteY392" fmla="*/ 1681164 h 1762127"/>
                <a:gd name="connsiteX393" fmla="*/ 8259645 w 9759834"/>
                <a:gd name="connsiteY393" fmla="*/ 1643857 h 1762127"/>
                <a:gd name="connsiteX394" fmla="*/ 8293777 w 9759834"/>
                <a:gd name="connsiteY394" fmla="*/ 1606550 h 1762127"/>
                <a:gd name="connsiteX395" fmla="*/ 8208052 w 9759834"/>
                <a:gd name="connsiteY395" fmla="*/ 1606550 h 1762127"/>
                <a:gd name="connsiteX396" fmla="*/ 8242184 w 9759834"/>
                <a:gd name="connsiteY396" fmla="*/ 1643857 h 1762127"/>
                <a:gd name="connsiteX397" fmla="*/ 8208052 w 9759834"/>
                <a:gd name="connsiteY397" fmla="*/ 1681164 h 1762127"/>
                <a:gd name="connsiteX398" fmla="*/ 8173920 w 9759834"/>
                <a:gd name="connsiteY398" fmla="*/ 1643857 h 1762127"/>
                <a:gd name="connsiteX399" fmla="*/ 8208052 w 9759834"/>
                <a:gd name="connsiteY399" fmla="*/ 1606550 h 1762127"/>
                <a:gd name="connsiteX400" fmla="*/ 8125502 w 9759834"/>
                <a:gd name="connsiteY400" fmla="*/ 1606550 h 1762127"/>
                <a:gd name="connsiteX401" fmla="*/ 8162809 w 9759834"/>
                <a:gd name="connsiteY401" fmla="*/ 1643857 h 1762127"/>
                <a:gd name="connsiteX402" fmla="*/ 8125502 w 9759834"/>
                <a:gd name="connsiteY402" fmla="*/ 1681164 h 1762127"/>
                <a:gd name="connsiteX403" fmla="*/ 8088195 w 9759834"/>
                <a:gd name="connsiteY403" fmla="*/ 1643857 h 1762127"/>
                <a:gd name="connsiteX404" fmla="*/ 8125502 w 9759834"/>
                <a:gd name="connsiteY404" fmla="*/ 1606550 h 1762127"/>
                <a:gd name="connsiteX405" fmla="*/ 8042952 w 9759834"/>
                <a:gd name="connsiteY405" fmla="*/ 1606550 h 1762127"/>
                <a:gd name="connsiteX406" fmla="*/ 8077084 w 9759834"/>
                <a:gd name="connsiteY406" fmla="*/ 1643857 h 1762127"/>
                <a:gd name="connsiteX407" fmla="*/ 8042952 w 9759834"/>
                <a:gd name="connsiteY407" fmla="*/ 1681164 h 1762127"/>
                <a:gd name="connsiteX408" fmla="*/ 8008820 w 9759834"/>
                <a:gd name="connsiteY408" fmla="*/ 1643857 h 1762127"/>
                <a:gd name="connsiteX409" fmla="*/ 8042952 w 9759834"/>
                <a:gd name="connsiteY409" fmla="*/ 1606550 h 1762127"/>
                <a:gd name="connsiteX410" fmla="*/ 7957227 w 9759834"/>
                <a:gd name="connsiteY410" fmla="*/ 1606550 h 1762127"/>
                <a:gd name="connsiteX411" fmla="*/ 7991359 w 9759834"/>
                <a:gd name="connsiteY411" fmla="*/ 1643857 h 1762127"/>
                <a:gd name="connsiteX412" fmla="*/ 7957227 w 9759834"/>
                <a:gd name="connsiteY412" fmla="*/ 1681164 h 1762127"/>
                <a:gd name="connsiteX413" fmla="*/ 7923095 w 9759834"/>
                <a:gd name="connsiteY413" fmla="*/ 1643857 h 1762127"/>
                <a:gd name="connsiteX414" fmla="*/ 7957227 w 9759834"/>
                <a:gd name="connsiteY414" fmla="*/ 1606550 h 1762127"/>
                <a:gd name="connsiteX415" fmla="*/ 7785777 w 9759834"/>
                <a:gd name="connsiteY415" fmla="*/ 1606550 h 1762127"/>
                <a:gd name="connsiteX416" fmla="*/ 7819909 w 9759834"/>
                <a:gd name="connsiteY416" fmla="*/ 1643857 h 1762127"/>
                <a:gd name="connsiteX417" fmla="*/ 7785777 w 9759834"/>
                <a:gd name="connsiteY417" fmla="*/ 1681164 h 1762127"/>
                <a:gd name="connsiteX418" fmla="*/ 7751645 w 9759834"/>
                <a:gd name="connsiteY418" fmla="*/ 1643857 h 1762127"/>
                <a:gd name="connsiteX419" fmla="*/ 7785777 w 9759834"/>
                <a:gd name="connsiteY419" fmla="*/ 1606550 h 1762127"/>
                <a:gd name="connsiteX420" fmla="*/ 7706402 w 9759834"/>
                <a:gd name="connsiteY420" fmla="*/ 1606550 h 1762127"/>
                <a:gd name="connsiteX421" fmla="*/ 7740534 w 9759834"/>
                <a:gd name="connsiteY421" fmla="*/ 1643857 h 1762127"/>
                <a:gd name="connsiteX422" fmla="*/ 7706402 w 9759834"/>
                <a:gd name="connsiteY422" fmla="*/ 1681164 h 1762127"/>
                <a:gd name="connsiteX423" fmla="*/ 7672270 w 9759834"/>
                <a:gd name="connsiteY423" fmla="*/ 1643857 h 1762127"/>
                <a:gd name="connsiteX424" fmla="*/ 7706402 w 9759834"/>
                <a:gd name="connsiteY424" fmla="*/ 1606550 h 1762127"/>
                <a:gd name="connsiteX425" fmla="*/ 7620677 w 9759834"/>
                <a:gd name="connsiteY425" fmla="*/ 1606550 h 1762127"/>
                <a:gd name="connsiteX426" fmla="*/ 7654809 w 9759834"/>
                <a:gd name="connsiteY426" fmla="*/ 1643857 h 1762127"/>
                <a:gd name="connsiteX427" fmla="*/ 7620677 w 9759834"/>
                <a:gd name="connsiteY427" fmla="*/ 1681164 h 1762127"/>
                <a:gd name="connsiteX428" fmla="*/ 7586545 w 9759834"/>
                <a:gd name="connsiteY428" fmla="*/ 1643857 h 1762127"/>
                <a:gd name="connsiteX429" fmla="*/ 7620677 w 9759834"/>
                <a:gd name="connsiteY429" fmla="*/ 1606550 h 1762127"/>
                <a:gd name="connsiteX430" fmla="*/ 7534952 w 9759834"/>
                <a:gd name="connsiteY430" fmla="*/ 1606550 h 1762127"/>
                <a:gd name="connsiteX431" fmla="*/ 7569084 w 9759834"/>
                <a:gd name="connsiteY431" fmla="*/ 1643857 h 1762127"/>
                <a:gd name="connsiteX432" fmla="*/ 7534952 w 9759834"/>
                <a:gd name="connsiteY432" fmla="*/ 1681164 h 1762127"/>
                <a:gd name="connsiteX433" fmla="*/ 7500820 w 9759834"/>
                <a:gd name="connsiteY433" fmla="*/ 1643857 h 1762127"/>
                <a:gd name="connsiteX434" fmla="*/ 7534952 w 9759834"/>
                <a:gd name="connsiteY434" fmla="*/ 1606550 h 1762127"/>
                <a:gd name="connsiteX435" fmla="*/ 7449227 w 9759834"/>
                <a:gd name="connsiteY435" fmla="*/ 1606550 h 1762127"/>
                <a:gd name="connsiteX436" fmla="*/ 7483359 w 9759834"/>
                <a:gd name="connsiteY436" fmla="*/ 1643857 h 1762127"/>
                <a:gd name="connsiteX437" fmla="*/ 7449227 w 9759834"/>
                <a:gd name="connsiteY437" fmla="*/ 1681164 h 1762127"/>
                <a:gd name="connsiteX438" fmla="*/ 7415095 w 9759834"/>
                <a:gd name="connsiteY438" fmla="*/ 1643857 h 1762127"/>
                <a:gd name="connsiteX439" fmla="*/ 7449227 w 9759834"/>
                <a:gd name="connsiteY439" fmla="*/ 1606550 h 1762127"/>
                <a:gd name="connsiteX440" fmla="*/ 7366677 w 9759834"/>
                <a:gd name="connsiteY440" fmla="*/ 1606550 h 1762127"/>
                <a:gd name="connsiteX441" fmla="*/ 7403984 w 9759834"/>
                <a:gd name="connsiteY441" fmla="*/ 1643857 h 1762127"/>
                <a:gd name="connsiteX442" fmla="*/ 7366677 w 9759834"/>
                <a:gd name="connsiteY442" fmla="*/ 1681164 h 1762127"/>
                <a:gd name="connsiteX443" fmla="*/ 7329370 w 9759834"/>
                <a:gd name="connsiteY443" fmla="*/ 1643857 h 1762127"/>
                <a:gd name="connsiteX444" fmla="*/ 7366677 w 9759834"/>
                <a:gd name="connsiteY444" fmla="*/ 1606550 h 1762127"/>
                <a:gd name="connsiteX445" fmla="*/ 7284127 w 9759834"/>
                <a:gd name="connsiteY445" fmla="*/ 1606550 h 1762127"/>
                <a:gd name="connsiteX446" fmla="*/ 7318259 w 9759834"/>
                <a:gd name="connsiteY446" fmla="*/ 1643857 h 1762127"/>
                <a:gd name="connsiteX447" fmla="*/ 7284127 w 9759834"/>
                <a:gd name="connsiteY447" fmla="*/ 1681164 h 1762127"/>
                <a:gd name="connsiteX448" fmla="*/ 7249995 w 9759834"/>
                <a:gd name="connsiteY448" fmla="*/ 1643857 h 1762127"/>
                <a:gd name="connsiteX449" fmla="*/ 7284127 w 9759834"/>
                <a:gd name="connsiteY449" fmla="*/ 1606550 h 1762127"/>
                <a:gd name="connsiteX450" fmla="*/ 7198402 w 9759834"/>
                <a:gd name="connsiteY450" fmla="*/ 1606550 h 1762127"/>
                <a:gd name="connsiteX451" fmla="*/ 7232534 w 9759834"/>
                <a:gd name="connsiteY451" fmla="*/ 1643857 h 1762127"/>
                <a:gd name="connsiteX452" fmla="*/ 7198402 w 9759834"/>
                <a:gd name="connsiteY452" fmla="*/ 1681164 h 1762127"/>
                <a:gd name="connsiteX453" fmla="*/ 7164270 w 9759834"/>
                <a:gd name="connsiteY453" fmla="*/ 1643857 h 1762127"/>
                <a:gd name="connsiteX454" fmla="*/ 7198402 w 9759834"/>
                <a:gd name="connsiteY454" fmla="*/ 1606550 h 1762127"/>
                <a:gd name="connsiteX455" fmla="*/ 7112677 w 9759834"/>
                <a:gd name="connsiteY455" fmla="*/ 1606550 h 1762127"/>
                <a:gd name="connsiteX456" fmla="*/ 7146809 w 9759834"/>
                <a:gd name="connsiteY456" fmla="*/ 1643857 h 1762127"/>
                <a:gd name="connsiteX457" fmla="*/ 7112677 w 9759834"/>
                <a:gd name="connsiteY457" fmla="*/ 1681164 h 1762127"/>
                <a:gd name="connsiteX458" fmla="*/ 7078545 w 9759834"/>
                <a:gd name="connsiteY458" fmla="*/ 1643857 h 1762127"/>
                <a:gd name="connsiteX459" fmla="*/ 7112677 w 9759834"/>
                <a:gd name="connsiteY459" fmla="*/ 1606550 h 1762127"/>
                <a:gd name="connsiteX460" fmla="*/ 7027745 w 9759834"/>
                <a:gd name="connsiteY460" fmla="*/ 1606550 h 1762127"/>
                <a:gd name="connsiteX461" fmla="*/ 7062670 w 9759834"/>
                <a:gd name="connsiteY461" fmla="*/ 1643857 h 1762127"/>
                <a:gd name="connsiteX462" fmla="*/ 7027745 w 9759834"/>
                <a:gd name="connsiteY462" fmla="*/ 1681164 h 1762127"/>
                <a:gd name="connsiteX463" fmla="*/ 6992820 w 9759834"/>
                <a:gd name="connsiteY463" fmla="*/ 1643857 h 1762127"/>
                <a:gd name="connsiteX464" fmla="*/ 7027745 w 9759834"/>
                <a:gd name="connsiteY464" fmla="*/ 1606550 h 1762127"/>
                <a:gd name="connsiteX465" fmla="*/ 6947577 w 9759834"/>
                <a:gd name="connsiteY465" fmla="*/ 1606550 h 1762127"/>
                <a:gd name="connsiteX466" fmla="*/ 6981709 w 9759834"/>
                <a:gd name="connsiteY466" fmla="*/ 1643857 h 1762127"/>
                <a:gd name="connsiteX467" fmla="*/ 6947577 w 9759834"/>
                <a:gd name="connsiteY467" fmla="*/ 1681164 h 1762127"/>
                <a:gd name="connsiteX468" fmla="*/ 6913445 w 9759834"/>
                <a:gd name="connsiteY468" fmla="*/ 1643857 h 1762127"/>
                <a:gd name="connsiteX469" fmla="*/ 6947577 w 9759834"/>
                <a:gd name="connsiteY469" fmla="*/ 1606550 h 1762127"/>
                <a:gd name="connsiteX470" fmla="*/ 6861852 w 9759834"/>
                <a:gd name="connsiteY470" fmla="*/ 1606550 h 1762127"/>
                <a:gd name="connsiteX471" fmla="*/ 6895984 w 9759834"/>
                <a:gd name="connsiteY471" fmla="*/ 1643857 h 1762127"/>
                <a:gd name="connsiteX472" fmla="*/ 6861852 w 9759834"/>
                <a:gd name="connsiteY472" fmla="*/ 1681164 h 1762127"/>
                <a:gd name="connsiteX473" fmla="*/ 6827720 w 9759834"/>
                <a:gd name="connsiteY473" fmla="*/ 1643857 h 1762127"/>
                <a:gd name="connsiteX474" fmla="*/ 6861852 w 9759834"/>
                <a:gd name="connsiteY474" fmla="*/ 1606550 h 1762127"/>
                <a:gd name="connsiteX475" fmla="*/ 6776127 w 9759834"/>
                <a:gd name="connsiteY475" fmla="*/ 1606550 h 1762127"/>
                <a:gd name="connsiteX476" fmla="*/ 6810259 w 9759834"/>
                <a:gd name="connsiteY476" fmla="*/ 1643857 h 1762127"/>
                <a:gd name="connsiteX477" fmla="*/ 6776127 w 9759834"/>
                <a:gd name="connsiteY477" fmla="*/ 1681164 h 1762127"/>
                <a:gd name="connsiteX478" fmla="*/ 6741995 w 9759834"/>
                <a:gd name="connsiteY478" fmla="*/ 1643857 h 1762127"/>
                <a:gd name="connsiteX479" fmla="*/ 6776127 w 9759834"/>
                <a:gd name="connsiteY479" fmla="*/ 1606550 h 1762127"/>
                <a:gd name="connsiteX480" fmla="*/ 6691195 w 9759834"/>
                <a:gd name="connsiteY480" fmla="*/ 1606550 h 1762127"/>
                <a:gd name="connsiteX481" fmla="*/ 6726120 w 9759834"/>
                <a:gd name="connsiteY481" fmla="*/ 1643857 h 1762127"/>
                <a:gd name="connsiteX482" fmla="*/ 6691195 w 9759834"/>
                <a:gd name="connsiteY482" fmla="*/ 1681164 h 1762127"/>
                <a:gd name="connsiteX483" fmla="*/ 6656270 w 9759834"/>
                <a:gd name="connsiteY483" fmla="*/ 1643857 h 1762127"/>
                <a:gd name="connsiteX484" fmla="*/ 6691195 w 9759834"/>
                <a:gd name="connsiteY484" fmla="*/ 1606550 h 1762127"/>
                <a:gd name="connsiteX485" fmla="*/ 6607852 w 9759834"/>
                <a:gd name="connsiteY485" fmla="*/ 1606550 h 1762127"/>
                <a:gd name="connsiteX486" fmla="*/ 6645159 w 9759834"/>
                <a:gd name="connsiteY486" fmla="*/ 1643857 h 1762127"/>
                <a:gd name="connsiteX487" fmla="*/ 6607852 w 9759834"/>
                <a:gd name="connsiteY487" fmla="*/ 1681164 h 1762127"/>
                <a:gd name="connsiteX488" fmla="*/ 6570545 w 9759834"/>
                <a:gd name="connsiteY488" fmla="*/ 1643857 h 1762127"/>
                <a:gd name="connsiteX489" fmla="*/ 6607852 w 9759834"/>
                <a:gd name="connsiteY489" fmla="*/ 1606550 h 1762127"/>
                <a:gd name="connsiteX490" fmla="*/ 6525302 w 9759834"/>
                <a:gd name="connsiteY490" fmla="*/ 1606550 h 1762127"/>
                <a:gd name="connsiteX491" fmla="*/ 6559434 w 9759834"/>
                <a:gd name="connsiteY491" fmla="*/ 1643857 h 1762127"/>
                <a:gd name="connsiteX492" fmla="*/ 6525302 w 9759834"/>
                <a:gd name="connsiteY492" fmla="*/ 1681164 h 1762127"/>
                <a:gd name="connsiteX493" fmla="*/ 6491170 w 9759834"/>
                <a:gd name="connsiteY493" fmla="*/ 1643857 h 1762127"/>
                <a:gd name="connsiteX494" fmla="*/ 6525302 w 9759834"/>
                <a:gd name="connsiteY494" fmla="*/ 1606550 h 1762127"/>
                <a:gd name="connsiteX495" fmla="*/ 6439577 w 9759834"/>
                <a:gd name="connsiteY495" fmla="*/ 1606550 h 1762127"/>
                <a:gd name="connsiteX496" fmla="*/ 6473709 w 9759834"/>
                <a:gd name="connsiteY496" fmla="*/ 1643857 h 1762127"/>
                <a:gd name="connsiteX497" fmla="*/ 6439577 w 9759834"/>
                <a:gd name="connsiteY497" fmla="*/ 1681164 h 1762127"/>
                <a:gd name="connsiteX498" fmla="*/ 6405445 w 9759834"/>
                <a:gd name="connsiteY498" fmla="*/ 1643857 h 1762127"/>
                <a:gd name="connsiteX499" fmla="*/ 6439577 w 9759834"/>
                <a:gd name="connsiteY499" fmla="*/ 1606550 h 1762127"/>
                <a:gd name="connsiteX500" fmla="*/ 6353852 w 9759834"/>
                <a:gd name="connsiteY500" fmla="*/ 1606550 h 1762127"/>
                <a:gd name="connsiteX501" fmla="*/ 6387984 w 9759834"/>
                <a:gd name="connsiteY501" fmla="*/ 1643857 h 1762127"/>
                <a:gd name="connsiteX502" fmla="*/ 6353852 w 9759834"/>
                <a:gd name="connsiteY502" fmla="*/ 1681164 h 1762127"/>
                <a:gd name="connsiteX503" fmla="*/ 6319720 w 9759834"/>
                <a:gd name="connsiteY503" fmla="*/ 1643857 h 1762127"/>
                <a:gd name="connsiteX504" fmla="*/ 6353852 w 9759834"/>
                <a:gd name="connsiteY504" fmla="*/ 1606550 h 1762127"/>
                <a:gd name="connsiteX505" fmla="*/ 6268920 w 9759834"/>
                <a:gd name="connsiteY505" fmla="*/ 1606550 h 1762127"/>
                <a:gd name="connsiteX506" fmla="*/ 6303845 w 9759834"/>
                <a:gd name="connsiteY506" fmla="*/ 1643857 h 1762127"/>
                <a:gd name="connsiteX507" fmla="*/ 6268920 w 9759834"/>
                <a:gd name="connsiteY507" fmla="*/ 1681164 h 1762127"/>
                <a:gd name="connsiteX508" fmla="*/ 6233995 w 9759834"/>
                <a:gd name="connsiteY508" fmla="*/ 1643857 h 1762127"/>
                <a:gd name="connsiteX509" fmla="*/ 6268920 w 9759834"/>
                <a:gd name="connsiteY509" fmla="*/ 1606550 h 1762127"/>
                <a:gd name="connsiteX510" fmla="*/ 6188752 w 9759834"/>
                <a:gd name="connsiteY510" fmla="*/ 1606550 h 1762127"/>
                <a:gd name="connsiteX511" fmla="*/ 6222884 w 9759834"/>
                <a:gd name="connsiteY511" fmla="*/ 1643857 h 1762127"/>
                <a:gd name="connsiteX512" fmla="*/ 6188752 w 9759834"/>
                <a:gd name="connsiteY512" fmla="*/ 1681164 h 1762127"/>
                <a:gd name="connsiteX513" fmla="*/ 6154620 w 9759834"/>
                <a:gd name="connsiteY513" fmla="*/ 1643857 h 1762127"/>
                <a:gd name="connsiteX514" fmla="*/ 6188752 w 9759834"/>
                <a:gd name="connsiteY514" fmla="*/ 1606550 h 1762127"/>
                <a:gd name="connsiteX515" fmla="*/ 6103027 w 9759834"/>
                <a:gd name="connsiteY515" fmla="*/ 1606550 h 1762127"/>
                <a:gd name="connsiteX516" fmla="*/ 6137159 w 9759834"/>
                <a:gd name="connsiteY516" fmla="*/ 1643857 h 1762127"/>
                <a:gd name="connsiteX517" fmla="*/ 6103027 w 9759834"/>
                <a:gd name="connsiteY517" fmla="*/ 1681164 h 1762127"/>
                <a:gd name="connsiteX518" fmla="*/ 6068895 w 9759834"/>
                <a:gd name="connsiteY518" fmla="*/ 1643857 h 1762127"/>
                <a:gd name="connsiteX519" fmla="*/ 6103027 w 9759834"/>
                <a:gd name="connsiteY519" fmla="*/ 1606550 h 1762127"/>
                <a:gd name="connsiteX520" fmla="*/ 6017302 w 9759834"/>
                <a:gd name="connsiteY520" fmla="*/ 1606550 h 1762127"/>
                <a:gd name="connsiteX521" fmla="*/ 6051434 w 9759834"/>
                <a:gd name="connsiteY521" fmla="*/ 1643857 h 1762127"/>
                <a:gd name="connsiteX522" fmla="*/ 6017302 w 9759834"/>
                <a:gd name="connsiteY522" fmla="*/ 1681164 h 1762127"/>
                <a:gd name="connsiteX523" fmla="*/ 5983170 w 9759834"/>
                <a:gd name="connsiteY523" fmla="*/ 1643857 h 1762127"/>
                <a:gd name="connsiteX524" fmla="*/ 6017302 w 9759834"/>
                <a:gd name="connsiteY524" fmla="*/ 1606550 h 1762127"/>
                <a:gd name="connsiteX525" fmla="*/ 5932370 w 9759834"/>
                <a:gd name="connsiteY525" fmla="*/ 1606550 h 1762127"/>
                <a:gd name="connsiteX526" fmla="*/ 5967295 w 9759834"/>
                <a:gd name="connsiteY526" fmla="*/ 1643857 h 1762127"/>
                <a:gd name="connsiteX527" fmla="*/ 5932370 w 9759834"/>
                <a:gd name="connsiteY527" fmla="*/ 1681164 h 1762127"/>
                <a:gd name="connsiteX528" fmla="*/ 5897445 w 9759834"/>
                <a:gd name="connsiteY528" fmla="*/ 1643857 h 1762127"/>
                <a:gd name="connsiteX529" fmla="*/ 5932370 w 9759834"/>
                <a:gd name="connsiteY529" fmla="*/ 1606550 h 1762127"/>
                <a:gd name="connsiteX530" fmla="*/ 5849821 w 9759834"/>
                <a:gd name="connsiteY530" fmla="*/ 1606550 h 1762127"/>
                <a:gd name="connsiteX531" fmla="*/ 5886334 w 9759834"/>
                <a:gd name="connsiteY531" fmla="*/ 1643857 h 1762127"/>
                <a:gd name="connsiteX532" fmla="*/ 5849821 w 9759834"/>
                <a:gd name="connsiteY532" fmla="*/ 1681164 h 1762127"/>
                <a:gd name="connsiteX533" fmla="*/ 5813308 w 9759834"/>
                <a:gd name="connsiteY533" fmla="*/ 1643857 h 1762127"/>
                <a:gd name="connsiteX534" fmla="*/ 5849821 w 9759834"/>
                <a:gd name="connsiteY534" fmla="*/ 1606550 h 1762127"/>
                <a:gd name="connsiteX535" fmla="*/ 5766477 w 9759834"/>
                <a:gd name="connsiteY535" fmla="*/ 1606550 h 1762127"/>
                <a:gd name="connsiteX536" fmla="*/ 5800609 w 9759834"/>
                <a:gd name="connsiteY536" fmla="*/ 1643857 h 1762127"/>
                <a:gd name="connsiteX537" fmla="*/ 5766477 w 9759834"/>
                <a:gd name="connsiteY537" fmla="*/ 1681164 h 1762127"/>
                <a:gd name="connsiteX538" fmla="*/ 5732345 w 9759834"/>
                <a:gd name="connsiteY538" fmla="*/ 1643857 h 1762127"/>
                <a:gd name="connsiteX539" fmla="*/ 5766477 w 9759834"/>
                <a:gd name="connsiteY539" fmla="*/ 1606550 h 1762127"/>
                <a:gd name="connsiteX540" fmla="*/ 5680752 w 9759834"/>
                <a:gd name="connsiteY540" fmla="*/ 1606550 h 1762127"/>
                <a:gd name="connsiteX541" fmla="*/ 5714884 w 9759834"/>
                <a:gd name="connsiteY541" fmla="*/ 1643857 h 1762127"/>
                <a:gd name="connsiteX542" fmla="*/ 5680752 w 9759834"/>
                <a:gd name="connsiteY542" fmla="*/ 1681164 h 1762127"/>
                <a:gd name="connsiteX543" fmla="*/ 5646620 w 9759834"/>
                <a:gd name="connsiteY543" fmla="*/ 1643857 h 1762127"/>
                <a:gd name="connsiteX544" fmla="*/ 5680752 w 9759834"/>
                <a:gd name="connsiteY544" fmla="*/ 1606550 h 1762127"/>
                <a:gd name="connsiteX545" fmla="*/ 5595820 w 9759834"/>
                <a:gd name="connsiteY545" fmla="*/ 1606550 h 1762127"/>
                <a:gd name="connsiteX546" fmla="*/ 5630745 w 9759834"/>
                <a:gd name="connsiteY546" fmla="*/ 1643857 h 1762127"/>
                <a:gd name="connsiteX547" fmla="*/ 5595820 w 9759834"/>
                <a:gd name="connsiteY547" fmla="*/ 1681164 h 1762127"/>
                <a:gd name="connsiteX548" fmla="*/ 5560895 w 9759834"/>
                <a:gd name="connsiteY548" fmla="*/ 1643857 h 1762127"/>
                <a:gd name="connsiteX549" fmla="*/ 5595820 w 9759834"/>
                <a:gd name="connsiteY549" fmla="*/ 1606550 h 1762127"/>
                <a:gd name="connsiteX550" fmla="*/ 5510095 w 9759834"/>
                <a:gd name="connsiteY550" fmla="*/ 1606550 h 1762127"/>
                <a:gd name="connsiteX551" fmla="*/ 5545020 w 9759834"/>
                <a:gd name="connsiteY551" fmla="*/ 1643857 h 1762127"/>
                <a:gd name="connsiteX552" fmla="*/ 5510095 w 9759834"/>
                <a:gd name="connsiteY552" fmla="*/ 1681164 h 1762127"/>
                <a:gd name="connsiteX553" fmla="*/ 5475170 w 9759834"/>
                <a:gd name="connsiteY553" fmla="*/ 1643857 h 1762127"/>
                <a:gd name="connsiteX554" fmla="*/ 5510095 w 9759834"/>
                <a:gd name="connsiteY554" fmla="*/ 1606550 h 1762127"/>
                <a:gd name="connsiteX555" fmla="*/ 5429927 w 9759834"/>
                <a:gd name="connsiteY555" fmla="*/ 1606550 h 1762127"/>
                <a:gd name="connsiteX556" fmla="*/ 5464059 w 9759834"/>
                <a:gd name="connsiteY556" fmla="*/ 1643857 h 1762127"/>
                <a:gd name="connsiteX557" fmla="*/ 5429927 w 9759834"/>
                <a:gd name="connsiteY557" fmla="*/ 1681164 h 1762127"/>
                <a:gd name="connsiteX558" fmla="*/ 5395795 w 9759834"/>
                <a:gd name="connsiteY558" fmla="*/ 1643857 h 1762127"/>
                <a:gd name="connsiteX559" fmla="*/ 5429927 w 9759834"/>
                <a:gd name="connsiteY559" fmla="*/ 1606550 h 1762127"/>
                <a:gd name="connsiteX560" fmla="*/ 5344202 w 9759834"/>
                <a:gd name="connsiteY560" fmla="*/ 1606550 h 1762127"/>
                <a:gd name="connsiteX561" fmla="*/ 5378334 w 9759834"/>
                <a:gd name="connsiteY561" fmla="*/ 1643857 h 1762127"/>
                <a:gd name="connsiteX562" fmla="*/ 5344202 w 9759834"/>
                <a:gd name="connsiteY562" fmla="*/ 1681164 h 1762127"/>
                <a:gd name="connsiteX563" fmla="*/ 5310070 w 9759834"/>
                <a:gd name="connsiteY563" fmla="*/ 1643857 h 1762127"/>
                <a:gd name="connsiteX564" fmla="*/ 5344202 w 9759834"/>
                <a:gd name="connsiteY564" fmla="*/ 1606550 h 1762127"/>
                <a:gd name="connsiteX565" fmla="*/ 5258477 w 9759834"/>
                <a:gd name="connsiteY565" fmla="*/ 1606550 h 1762127"/>
                <a:gd name="connsiteX566" fmla="*/ 5292609 w 9759834"/>
                <a:gd name="connsiteY566" fmla="*/ 1643857 h 1762127"/>
                <a:gd name="connsiteX567" fmla="*/ 5258477 w 9759834"/>
                <a:gd name="connsiteY567" fmla="*/ 1681164 h 1762127"/>
                <a:gd name="connsiteX568" fmla="*/ 5224345 w 9759834"/>
                <a:gd name="connsiteY568" fmla="*/ 1643857 h 1762127"/>
                <a:gd name="connsiteX569" fmla="*/ 5258477 w 9759834"/>
                <a:gd name="connsiteY569" fmla="*/ 1606550 h 1762127"/>
                <a:gd name="connsiteX570" fmla="*/ 4921927 w 9759834"/>
                <a:gd name="connsiteY570" fmla="*/ 1606550 h 1762127"/>
                <a:gd name="connsiteX571" fmla="*/ 4956059 w 9759834"/>
                <a:gd name="connsiteY571" fmla="*/ 1643857 h 1762127"/>
                <a:gd name="connsiteX572" fmla="*/ 4921927 w 9759834"/>
                <a:gd name="connsiteY572" fmla="*/ 1681164 h 1762127"/>
                <a:gd name="connsiteX573" fmla="*/ 4887795 w 9759834"/>
                <a:gd name="connsiteY573" fmla="*/ 1643857 h 1762127"/>
                <a:gd name="connsiteX574" fmla="*/ 4921927 w 9759834"/>
                <a:gd name="connsiteY574" fmla="*/ 1606550 h 1762127"/>
                <a:gd name="connsiteX575" fmla="*/ 4752065 w 9759834"/>
                <a:gd name="connsiteY575" fmla="*/ 1606550 h 1762127"/>
                <a:gd name="connsiteX576" fmla="*/ 4786197 w 9759834"/>
                <a:gd name="connsiteY576" fmla="*/ 1643857 h 1762127"/>
                <a:gd name="connsiteX577" fmla="*/ 4752065 w 9759834"/>
                <a:gd name="connsiteY577" fmla="*/ 1681164 h 1762127"/>
                <a:gd name="connsiteX578" fmla="*/ 4717933 w 9759834"/>
                <a:gd name="connsiteY578" fmla="*/ 1643857 h 1762127"/>
                <a:gd name="connsiteX579" fmla="*/ 4752065 w 9759834"/>
                <a:gd name="connsiteY579" fmla="*/ 1606550 h 1762127"/>
                <a:gd name="connsiteX580" fmla="*/ 3405070 w 9759834"/>
                <a:gd name="connsiteY580" fmla="*/ 1606550 h 1762127"/>
                <a:gd name="connsiteX581" fmla="*/ 3439995 w 9759834"/>
                <a:gd name="connsiteY581" fmla="*/ 1643857 h 1762127"/>
                <a:gd name="connsiteX582" fmla="*/ 3405070 w 9759834"/>
                <a:gd name="connsiteY582" fmla="*/ 1681164 h 1762127"/>
                <a:gd name="connsiteX583" fmla="*/ 3370145 w 9759834"/>
                <a:gd name="connsiteY583" fmla="*/ 1643857 h 1762127"/>
                <a:gd name="connsiteX584" fmla="*/ 3405070 w 9759834"/>
                <a:gd name="connsiteY584" fmla="*/ 1606550 h 1762127"/>
                <a:gd name="connsiteX585" fmla="*/ 3320139 w 9759834"/>
                <a:gd name="connsiteY585" fmla="*/ 1606550 h 1762127"/>
                <a:gd name="connsiteX586" fmla="*/ 3354271 w 9759834"/>
                <a:gd name="connsiteY586" fmla="*/ 1643857 h 1762127"/>
                <a:gd name="connsiteX587" fmla="*/ 3320139 w 9759834"/>
                <a:gd name="connsiteY587" fmla="*/ 1681164 h 1762127"/>
                <a:gd name="connsiteX588" fmla="*/ 3286007 w 9759834"/>
                <a:gd name="connsiteY588" fmla="*/ 1643857 h 1762127"/>
                <a:gd name="connsiteX589" fmla="*/ 3320139 w 9759834"/>
                <a:gd name="connsiteY589" fmla="*/ 1606550 h 1762127"/>
                <a:gd name="connsiteX590" fmla="*/ 3234414 w 9759834"/>
                <a:gd name="connsiteY590" fmla="*/ 1606550 h 1762127"/>
                <a:gd name="connsiteX591" fmla="*/ 3268546 w 9759834"/>
                <a:gd name="connsiteY591" fmla="*/ 1643857 h 1762127"/>
                <a:gd name="connsiteX592" fmla="*/ 3234414 w 9759834"/>
                <a:gd name="connsiteY592" fmla="*/ 1681164 h 1762127"/>
                <a:gd name="connsiteX593" fmla="*/ 3200282 w 9759834"/>
                <a:gd name="connsiteY593" fmla="*/ 1643857 h 1762127"/>
                <a:gd name="connsiteX594" fmla="*/ 3234414 w 9759834"/>
                <a:gd name="connsiteY594" fmla="*/ 1606550 h 1762127"/>
                <a:gd name="connsiteX595" fmla="*/ 3153452 w 9759834"/>
                <a:gd name="connsiteY595" fmla="*/ 1606550 h 1762127"/>
                <a:gd name="connsiteX596" fmla="*/ 3187584 w 9759834"/>
                <a:gd name="connsiteY596" fmla="*/ 1643857 h 1762127"/>
                <a:gd name="connsiteX597" fmla="*/ 3153452 w 9759834"/>
                <a:gd name="connsiteY597" fmla="*/ 1681164 h 1762127"/>
                <a:gd name="connsiteX598" fmla="*/ 3119320 w 9759834"/>
                <a:gd name="connsiteY598" fmla="*/ 1643857 h 1762127"/>
                <a:gd name="connsiteX599" fmla="*/ 3153452 w 9759834"/>
                <a:gd name="connsiteY599" fmla="*/ 1606550 h 1762127"/>
                <a:gd name="connsiteX600" fmla="*/ 3068520 w 9759834"/>
                <a:gd name="connsiteY600" fmla="*/ 1606550 h 1762127"/>
                <a:gd name="connsiteX601" fmla="*/ 3103445 w 9759834"/>
                <a:gd name="connsiteY601" fmla="*/ 1643857 h 1762127"/>
                <a:gd name="connsiteX602" fmla="*/ 3068520 w 9759834"/>
                <a:gd name="connsiteY602" fmla="*/ 1681164 h 1762127"/>
                <a:gd name="connsiteX603" fmla="*/ 3033595 w 9759834"/>
                <a:gd name="connsiteY603" fmla="*/ 1643857 h 1762127"/>
                <a:gd name="connsiteX604" fmla="*/ 3068520 w 9759834"/>
                <a:gd name="connsiteY604" fmla="*/ 1606550 h 1762127"/>
                <a:gd name="connsiteX605" fmla="*/ 2983589 w 9759834"/>
                <a:gd name="connsiteY605" fmla="*/ 1606550 h 1762127"/>
                <a:gd name="connsiteX606" fmla="*/ 3017721 w 9759834"/>
                <a:gd name="connsiteY606" fmla="*/ 1643857 h 1762127"/>
                <a:gd name="connsiteX607" fmla="*/ 2983589 w 9759834"/>
                <a:gd name="connsiteY607" fmla="*/ 1681164 h 1762127"/>
                <a:gd name="connsiteX608" fmla="*/ 2949457 w 9759834"/>
                <a:gd name="connsiteY608" fmla="*/ 1643857 h 1762127"/>
                <a:gd name="connsiteX609" fmla="*/ 2983589 w 9759834"/>
                <a:gd name="connsiteY609" fmla="*/ 1606550 h 1762127"/>
                <a:gd name="connsiteX610" fmla="*/ 2897864 w 9759834"/>
                <a:gd name="connsiteY610" fmla="*/ 1606550 h 1762127"/>
                <a:gd name="connsiteX611" fmla="*/ 2931996 w 9759834"/>
                <a:gd name="connsiteY611" fmla="*/ 1643857 h 1762127"/>
                <a:gd name="connsiteX612" fmla="*/ 2897864 w 9759834"/>
                <a:gd name="connsiteY612" fmla="*/ 1681164 h 1762127"/>
                <a:gd name="connsiteX613" fmla="*/ 2863732 w 9759834"/>
                <a:gd name="connsiteY613" fmla="*/ 1643857 h 1762127"/>
                <a:gd name="connsiteX614" fmla="*/ 2897864 w 9759834"/>
                <a:gd name="connsiteY614" fmla="*/ 1606550 h 1762127"/>
                <a:gd name="connsiteX615" fmla="*/ 2814520 w 9759834"/>
                <a:gd name="connsiteY615" fmla="*/ 1606550 h 1762127"/>
                <a:gd name="connsiteX616" fmla="*/ 2851033 w 9759834"/>
                <a:gd name="connsiteY616" fmla="*/ 1643857 h 1762127"/>
                <a:gd name="connsiteX617" fmla="*/ 2814520 w 9759834"/>
                <a:gd name="connsiteY617" fmla="*/ 1681164 h 1762127"/>
                <a:gd name="connsiteX618" fmla="*/ 2778007 w 9759834"/>
                <a:gd name="connsiteY618" fmla="*/ 1643857 h 1762127"/>
                <a:gd name="connsiteX619" fmla="*/ 2814520 w 9759834"/>
                <a:gd name="connsiteY619" fmla="*/ 1606550 h 1762127"/>
                <a:gd name="connsiteX620" fmla="*/ 2646410 w 9759834"/>
                <a:gd name="connsiteY620" fmla="*/ 1606550 h 1762127"/>
                <a:gd name="connsiteX621" fmla="*/ 2681334 w 9759834"/>
                <a:gd name="connsiteY621" fmla="*/ 1643857 h 1762127"/>
                <a:gd name="connsiteX622" fmla="*/ 2646410 w 9759834"/>
                <a:gd name="connsiteY622" fmla="*/ 1681164 h 1762127"/>
                <a:gd name="connsiteX623" fmla="*/ 2611483 w 9759834"/>
                <a:gd name="connsiteY623" fmla="*/ 1643857 h 1762127"/>
                <a:gd name="connsiteX624" fmla="*/ 2646410 w 9759834"/>
                <a:gd name="connsiteY624" fmla="*/ 1606550 h 1762127"/>
                <a:gd name="connsiteX625" fmla="*/ 2561479 w 9759834"/>
                <a:gd name="connsiteY625" fmla="*/ 1606550 h 1762127"/>
                <a:gd name="connsiteX626" fmla="*/ 2595609 w 9759834"/>
                <a:gd name="connsiteY626" fmla="*/ 1643857 h 1762127"/>
                <a:gd name="connsiteX627" fmla="*/ 2561479 w 9759834"/>
                <a:gd name="connsiteY627" fmla="*/ 1681164 h 1762127"/>
                <a:gd name="connsiteX628" fmla="*/ 2527342 w 9759834"/>
                <a:gd name="connsiteY628" fmla="*/ 1643857 h 1762127"/>
                <a:gd name="connsiteX629" fmla="*/ 2561479 w 9759834"/>
                <a:gd name="connsiteY629" fmla="*/ 1606550 h 1762127"/>
                <a:gd name="connsiteX630" fmla="*/ 2309856 w 9759834"/>
                <a:gd name="connsiteY630" fmla="*/ 1606550 h 1762127"/>
                <a:gd name="connsiteX631" fmla="*/ 2344781 w 9759834"/>
                <a:gd name="connsiteY631" fmla="*/ 1643857 h 1762127"/>
                <a:gd name="connsiteX632" fmla="*/ 2309856 w 9759834"/>
                <a:gd name="connsiteY632" fmla="*/ 1681164 h 1762127"/>
                <a:gd name="connsiteX633" fmla="*/ 2274920 w 9759834"/>
                <a:gd name="connsiteY633" fmla="*/ 1643857 h 1762127"/>
                <a:gd name="connsiteX634" fmla="*/ 2309856 w 9759834"/>
                <a:gd name="connsiteY634" fmla="*/ 1606550 h 1762127"/>
                <a:gd name="connsiteX635" fmla="*/ 2139044 w 9759834"/>
                <a:gd name="connsiteY635" fmla="*/ 1606550 h 1762127"/>
                <a:gd name="connsiteX636" fmla="*/ 2173176 w 9759834"/>
                <a:gd name="connsiteY636" fmla="*/ 1643857 h 1762127"/>
                <a:gd name="connsiteX637" fmla="*/ 2139044 w 9759834"/>
                <a:gd name="connsiteY637" fmla="*/ 1681164 h 1762127"/>
                <a:gd name="connsiteX638" fmla="*/ 2104912 w 9759834"/>
                <a:gd name="connsiteY638" fmla="*/ 1643857 h 1762127"/>
                <a:gd name="connsiteX639" fmla="*/ 2139044 w 9759834"/>
                <a:gd name="connsiteY639" fmla="*/ 1606550 h 1762127"/>
                <a:gd name="connsiteX640" fmla="*/ 2055700 w 9759834"/>
                <a:gd name="connsiteY640" fmla="*/ 1606550 h 1762127"/>
                <a:gd name="connsiteX641" fmla="*/ 2092213 w 9759834"/>
                <a:gd name="connsiteY641" fmla="*/ 1643857 h 1762127"/>
                <a:gd name="connsiteX642" fmla="*/ 2055700 w 9759834"/>
                <a:gd name="connsiteY642" fmla="*/ 1681164 h 1762127"/>
                <a:gd name="connsiteX643" fmla="*/ 2019187 w 9759834"/>
                <a:gd name="connsiteY643" fmla="*/ 1643857 h 1762127"/>
                <a:gd name="connsiteX644" fmla="*/ 2055700 w 9759834"/>
                <a:gd name="connsiteY644" fmla="*/ 1606550 h 1762127"/>
                <a:gd name="connsiteX645" fmla="*/ 1973150 w 9759834"/>
                <a:gd name="connsiteY645" fmla="*/ 1606550 h 1762127"/>
                <a:gd name="connsiteX646" fmla="*/ 2008075 w 9759834"/>
                <a:gd name="connsiteY646" fmla="*/ 1643857 h 1762127"/>
                <a:gd name="connsiteX647" fmla="*/ 1973150 w 9759834"/>
                <a:gd name="connsiteY647" fmla="*/ 1681164 h 1762127"/>
                <a:gd name="connsiteX648" fmla="*/ 1938226 w 9759834"/>
                <a:gd name="connsiteY648" fmla="*/ 1643857 h 1762127"/>
                <a:gd name="connsiteX649" fmla="*/ 1973150 w 9759834"/>
                <a:gd name="connsiteY649" fmla="*/ 1606550 h 1762127"/>
                <a:gd name="connsiteX650" fmla="*/ 1888219 w 9759834"/>
                <a:gd name="connsiteY650" fmla="*/ 1606550 h 1762127"/>
                <a:gd name="connsiteX651" fmla="*/ 1922352 w 9759834"/>
                <a:gd name="connsiteY651" fmla="*/ 1643857 h 1762127"/>
                <a:gd name="connsiteX652" fmla="*/ 1888219 w 9759834"/>
                <a:gd name="connsiteY652" fmla="*/ 1681164 h 1762127"/>
                <a:gd name="connsiteX653" fmla="*/ 1854088 w 9759834"/>
                <a:gd name="connsiteY653" fmla="*/ 1643857 h 1762127"/>
                <a:gd name="connsiteX654" fmla="*/ 1888219 w 9759834"/>
                <a:gd name="connsiteY654" fmla="*/ 1606550 h 1762127"/>
                <a:gd name="connsiteX655" fmla="*/ 1802495 w 9759834"/>
                <a:gd name="connsiteY655" fmla="*/ 1606550 h 1762127"/>
                <a:gd name="connsiteX656" fmla="*/ 1836627 w 9759834"/>
                <a:gd name="connsiteY656" fmla="*/ 1643857 h 1762127"/>
                <a:gd name="connsiteX657" fmla="*/ 1802495 w 9759834"/>
                <a:gd name="connsiteY657" fmla="*/ 1681164 h 1762127"/>
                <a:gd name="connsiteX658" fmla="*/ 1768363 w 9759834"/>
                <a:gd name="connsiteY658" fmla="*/ 1643857 h 1762127"/>
                <a:gd name="connsiteX659" fmla="*/ 1802495 w 9759834"/>
                <a:gd name="connsiteY659" fmla="*/ 1606550 h 1762127"/>
                <a:gd name="connsiteX660" fmla="*/ 1719151 w 9759834"/>
                <a:gd name="connsiteY660" fmla="*/ 1606550 h 1762127"/>
                <a:gd name="connsiteX661" fmla="*/ 1755664 w 9759834"/>
                <a:gd name="connsiteY661" fmla="*/ 1643857 h 1762127"/>
                <a:gd name="connsiteX662" fmla="*/ 1719151 w 9759834"/>
                <a:gd name="connsiteY662" fmla="*/ 1681164 h 1762127"/>
                <a:gd name="connsiteX663" fmla="*/ 1682638 w 9759834"/>
                <a:gd name="connsiteY663" fmla="*/ 1643857 h 1762127"/>
                <a:gd name="connsiteX664" fmla="*/ 1719151 w 9759834"/>
                <a:gd name="connsiteY664" fmla="*/ 1606550 h 1762127"/>
                <a:gd name="connsiteX665" fmla="*/ 1636608 w 9759834"/>
                <a:gd name="connsiteY665" fmla="*/ 1606550 h 1762127"/>
                <a:gd name="connsiteX666" fmla="*/ 1671533 w 9759834"/>
                <a:gd name="connsiteY666" fmla="*/ 1643857 h 1762127"/>
                <a:gd name="connsiteX667" fmla="*/ 1636608 w 9759834"/>
                <a:gd name="connsiteY667" fmla="*/ 1681164 h 1762127"/>
                <a:gd name="connsiteX668" fmla="*/ 1601683 w 9759834"/>
                <a:gd name="connsiteY668" fmla="*/ 1643857 h 1762127"/>
                <a:gd name="connsiteX669" fmla="*/ 1636608 w 9759834"/>
                <a:gd name="connsiteY669" fmla="*/ 1606550 h 1762127"/>
                <a:gd name="connsiteX670" fmla="*/ 1551677 w 9759834"/>
                <a:gd name="connsiteY670" fmla="*/ 1606550 h 1762127"/>
                <a:gd name="connsiteX671" fmla="*/ 1585810 w 9759834"/>
                <a:gd name="connsiteY671" fmla="*/ 1643857 h 1762127"/>
                <a:gd name="connsiteX672" fmla="*/ 1551677 w 9759834"/>
                <a:gd name="connsiteY672" fmla="*/ 1681164 h 1762127"/>
                <a:gd name="connsiteX673" fmla="*/ 1517545 w 9759834"/>
                <a:gd name="connsiteY673" fmla="*/ 1643857 h 1762127"/>
                <a:gd name="connsiteX674" fmla="*/ 1551677 w 9759834"/>
                <a:gd name="connsiteY674" fmla="*/ 1606550 h 1762127"/>
                <a:gd name="connsiteX675" fmla="*/ 1466114 w 9759834"/>
                <a:gd name="connsiteY675" fmla="*/ 1606550 h 1762127"/>
                <a:gd name="connsiteX676" fmla="*/ 1500247 w 9759834"/>
                <a:gd name="connsiteY676" fmla="*/ 1643857 h 1762127"/>
                <a:gd name="connsiteX677" fmla="*/ 1466114 w 9759834"/>
                <a:gd name="connsiteY677" fmla="*/ 1681164 h 1762127"/>
                <a:gd name="connsiteX678" fmla="*/ 1431983 w 9759834"/>
                <a:gd name="connsiteY678" fmla="*/ 1643857 h 1762127"/>
                <a:gd name="connsiteX679" fmla="*/ 1466114 w 9759834"/>
                <a:gd name="connsiteY679" fmla="*/ 1606550 h 1762127"/>
                <a:gd name="connsiteX680" fmla="*/ 9474877 w 9759834"/>
                <a:gd name="connsiteY680" fmla="*/ 1527175 h 1762127"/>
                <a:gd name="connsiteX681" fmla="*/ 9509009 w 9759834"/>
                <a:gd name="connsiteY681" fmla="*/ 1561307 h 1762127"/>
                <a:gd name="connsiteX682" fmla="*/ 9474877 w 9759834"/>
                <a:gd name="connsiteY682" fmla="*/ 1595439 h 1762127"/>
                <a:gd name="connsiteX683" fmla="*/ 9440745 w 9759834"/>
                <a:gd name="connsiteY683" fmla="*/ 1561307 h 1762127"/>
                <a:gd name="connsiteX684" fmla="*/ 9474877 w 9759834"/>
                <a:gd name="connsiteY684" fmla="*/ 1527175 h 1762127"/>
                <a:gd name="connsiteX685" fmla="*/ 9138327 w 9759834"/>
                <a:gd name="connsiteY685" fmla="*/ 1527175 h 1762127"/>
                <a:gd name="connsiteX686" fmla="*/ 9172459 w 9759834"/>
                <a:gd name="connsiteY686" fmla="*/ 1561307 h 1762127"/>
                <a:gd name="connsiteX687" fmla="*/ 9138327 w 9759834"/>
                <a:gd name="connsiteY687" fmla="*/ 1595439 h 1762127"/>
                <a:gd name="connsiteX688" fmla="*/ 9104195 w 9759834"/>
                <a:gd name="connsiteY688" fmla="*/ 1561307 h 1762127"/>
                <a:gd name="connsiteX689" fmla="*/ 9138327 w 9759834"/>
                <a:gd name="connsiteY689" fmla="*/ 1527175 h 1762127"/>
                <a:gd name="connsiteX690" fmla="*/ 9052602 w 9759834"/>
                <a:gd name="connsiteY690" fmla="*/ 1527175 h 1762127"/>
                <a:gd name="connsiteX691" fmla="*/ 9086734 w 9759834"/>
                <a:gd name="connsiteY691" fmla="*/ 1561307 h 1762127"/>
                <a:gd name="connsiteX692" fmla="*/ 9052602 w 9759834"/>
                <a:gd name="connsiteY692" fmla="*/ 1595439 h 1762127"/>
                <a:gd name="connsiteX693" fmla="*/ 9018470 w 9759834"/>
                <a:gd name="connsiteY693" fmla="*/ 1561307 h 1762127"/>
                <a:gd name="connsiteX694" fmla="*/ 9052602 w 9759834"/>
                <a:gd name="connsiteY694" fmla="*/ 1527175 h 1762127"/>
                <a:gd name="connsiteX695" fmla="*/ 8966877 w 9759834"/>
                <a:gd name="connsiteY695" fmla="*/ 1527175 h 1762127"/>
                <a:gd name="connsiteX696" fmla="*/ 9001009 w 9759834"/>
                <a:gd name="connsiteY696" fmla="*/ 1561307 h 1762127"/>
                <a:gd name="connsiteX697" fmla="*/ 8966877 w 9759834"/>
                <a:gd name="connsiteY697" fmla="*/ 1595439 h 1762127"/>
                <a:gd name="connsiteX698" fmla="*/ 8932745 w 9759834"/>
                <a:gd name="connsiteY698" fmla="*/ 1561307 h 1762127"/>
                <a:gd name="connsiteX699" fmla="*/ 8966877 w 9759834"/>
                <a:gd name="connsiteY699" fmla="*/ 1527175 h 1762127"/>
                <a:gd name="connsiteX700" fmla="*/ 8884327 w 9759834"/>
                <a:gd name="connsiteY700" fmla="*/ 1527175 h 1762127"/>
                <a:gd name="connsiteX701" fmla="*/ 8921634 w 9759834"/>
                <a:gd name="connsiteY701" fmla="*/ 1561307 h 1762127"/>
                <a:gd name="connsiteX702" fmla="*/ 8884327 w 9759834"/>
                <a:gd name="connsiteY702" fmla="*/ 1595439 h 1762127"/>
                <a:gd name="connsiteX703" fmla="*/ 8847020 w 9759834"/>
                <a:gd name="connsiteY703" fmla="*/ 1561307 h 1762127"/>
                <a:gd name="connsiteX704" fmla="*/ 8884327 w 9759834"/>
                <a:gd name="connsiteY704" fmla="*/ 1527175 h 1762127"/>
                <a:gd name="connsiteX705" fmla="*/ 8801777 w 9759834"/>
                <a:gd name="connsiteY705" fmla="*/ 1527175 h 1762127"/>
                <a:gd name="connsiteX706" fmla="*/ 8835909 w 9759834"/>
                <a:gd name="connsiteY706" fmla="*/ 1561307 h 1762127"/>
                <a:gd name="connsiteX707" fmla="*/ 8801777 w 9759834"/>
                <a:gd name="connsiteY707" fmla="*/ 1595439 h 1762127"/>
                <a:gd name="connsiteX708" fmla="*/ 8767645 w 9759834"/>
                <a:gd name="connsiteY708" fmla="*/ 1561307 h 1762127"/>
                <a:gd name="connsiteX709" fmla="*/ 8801777 w 9759834"/>
                <a:gd name="connsiteY709" fmla="*/ 1527175 h 1762127"/>
                <a:gd name="connsiteX710" fmla="*/ 8716052 w 9759834"/>
                <a:gd name="connsiteY710" fmla="*/ 1527175 h 1762127"/>
                <a:gd name="connsiteX711" fmla="*/ 8750184 w 9759834"/>
                <a:gd name="connsiteY711" fmla="*/ 1561307 h 1762127"/>
                <a:gd name="connsiteX712" fmla="*/ 8716052 w 9759834"/>
                <a:gd name="connsiteY712" fmla="*/ 1595439 h 1762127"/>
                <a:gd name="connsiteX713" fmla="*/ 8681920 w 9759834"/>
                <a:gd name="connsiteY713" fmla="*/ 1561307 h 1762127"/>
                <a:gd name="connsiteX714" fmla="*/ 8716052 w 9759834"/>
                <a:gd name="connsiteY714" fmla="*/ 1527175 h 1762127"/>
                <a:gd name="connsiteX715" fmla="*/ 8630327 w 9759834"/>
                <a:gd name="connsiteY715" fmla="*/ 1527175 h 1762127"/>
                <a:gd name="connsiteX716" fmla="*/ 8664459 w 9759834"/>
                <a:gd name="connsiteY716" fmla="*/ 1561307 h 1762127"/>
                <a:gd name="connsiteX717" fmla="*/ 8630327 w 9759834"/>
                <a:gd name="connsiteY717" fmla="*/ 1595439 h 1762127"/>
                <a:gd name="connsiteX718" fmla="*/ 8596195 w 9759834"/>
                <a:gd name="connsiteY718" fmla="*/ 1561307 h 1762127"/>
                <a:gd name="connsiteX719" fmla="*/ 8630327 w 9759834"/>
                <a:gd name="connsiteY719" fmla="*/ 1527175 h 1762127"/>
                <a:gd name="connsiteX720" fmla="*/ 8544602 w 9759834"/>
                <a:gd name="connsiteY720" fmla="*/ 1527175 h 1762127"/>
                <a:gd name="connsiteX721" fmla="*/ 8578734 w 9759834"/>
                <a:gd name="connsiteY721" fmla="*/ 1561307 h 1762127"/>
                <a:gd name="connsiteX722" fmla="*/ 8544602 w 9759834"/>
                <a:gd name="connsiteY722" fmla="*/ 1595439 h 1762127"/>
                <a:gd name="connsiteX723" fmla="*/ 8510470 w 9759834"/>
                <a:gd name="connsiteY723" fmla="*/ 1561307 h 1762127"/>
                <a:gd name="connsiteX724" fmla="*/ 8544602 w 9759834"/>
                <a:gd name="connsiteY724" fmla="*/ 1527175 h 1762127"/>
                <a:gd name="connsiteX725" fmla="*/ 8465227 w 9759834"/>
                <a:gd name="connsiteY725" fmla="*/ 1527175 h 1762127"/>
                <a:gd name="connsiteX726" fmla="*/ 8499359 w 9759834"/>
                <a:gd name="connsiteY726" fmla="*/ 1561307 h 1762127"/>
                <a:gd name="connsiteX727" fmla="*/ 8465227 w 9759834"/>
                <a:gd name="connsiteY727" fmla="*/ 1595439 h 1762127"/>
                <a:gd name="connsiteX728" fmla="*/ 8431095 w 9759834"/>
                <a:gd name="connsiteY728" fmla="*/ 1561307 h 1762127"/>
                <a:gd name="connsiteX729" fmla="*/ 8465227 w 9759834"/>
                <a:gd name="connsiteY729" fmla="*/ 1527175 h 1762127"/>
                <a:gd name="connsiteX730" fmla="*/ 8379502 w 9759834"/>
                <a:gd name="connsiteY730" fmla="*/ 1527175 h 1762127"/>
                <a:gd name="connsiteX731" fmla="*/ 8413634 w 9759834"/>
                <a:gd name="connsiteY731" fmla="*/ 1561307 h 1762127"/>
                <a:gd name="connsiteX732" fmla="*/ 8379502 w 9759834"/>
                <a:gd name="connsiteY732" fmla="*/ 1595439 h 1762127"/>
                <a:gd name="connsiteX733" fmla="*/ 8345370 w 9759834"/>
                <a:gd name="connsiteY733" fmla="*/ 1561307 h 1762127"/>
                <a:gd name="connsiteX734" fmla="*/ 8379502 w 9759834"/>
                <a:gd name="connsiteY734" fmla="*/ 1527175 h 1762127"/>
                <a:gd name="connsiteX735" fmla="*/ 8293777 w 9759834"/>
                <a:gd name="connsiteY735" fmla="*/ 1527175 h 1762127"/>
                <a:gd name="connsiteX736" fmla="*/ 8327909 w 9759834"/>
                <a:gd name="connsiteY736" fmla="*/ 1561307 h 1762127"/>
                <a:gd name="connsiteX737" fmla="*/ 8293777 w 9759834"/>
                <a:gd name="connsiteY737" fmla="*/ 1595439 h 1762127"/>
                <a:gd name="connsiteX738" fmla="*/ 8259645 w 9759834"/>
                <a:gd name="connsiteY738" fmla="*/ 1561307 h 1762127"/>
                <a:gd name="connsiteX739" fmla="*/ 8293777 w 9759834"/>
                <a:gd name="connsiteY739" fmla="*/ 1527175 h 1762127"/>
                <a:gd name="connsiteX740" fmla="*/ 8208052 w 9759834"/>
                <a:gd name="connsiteY740" fmla="*/ 1527175 h 1762127"/>
                <a:gd name="connsiteX741" fmla="*/ 8242184 w 9759834"/>
                <a:gd name="connsiteY741" fmla="*/ 1561307 h 1762127"/>
                <a:gd name="connsiteX742" fmla="*/ 8208052 w 9759834"/>
                <a:gd name="connsiteY742" fmla="*/ 1595439 h 1762127"/>
                <a:gd name="connsiteX743" fmla="*/ 8173920 w 9759834"/>
                <a:gd name="connsiteY743" fmla="*/ 1561307 h 1762127"/>
                <a:gd name="connsiteX744" fmla="*/ 8208052 w 9759834"/>
                <a:gd name="connsiteY744" fmla="*/ 1527175 h 1762127"/>
                <a:gd name="connsiteX745" fmla="*/ 8125502 w 9759834"/>
                <a:gd name="connsiteY745" fmla="*/ 1527175 h 1762127"/>
                <a:gd name="connsiteX746" fmla="*/ 8162809 w 9759834"/>
                <a:gd name="connsiteY746" fmla="*/ 1561307 h 1762127"/>
                <a:gd name="connsiteX747" fmla="*/ 8125502 w 9759834"/>
                <a:gd name="connsiteY747" fmla="*/ 1595439 h 1762127"/>
                <a:gd name="connsiteX748" fmla="*/ 8088195 w 9759834"/>
                <a:gd name="connsiteY748" fmla="*/ 1561307 h 1762127"/>
                <a:gd name="connsiteX749" fmla="*/ 8125502 w 9759834"/>
                <a:gd name="connsiteY749" fmla="*/ 1527175 h 1762127"/>
                <a:gd name="connsiteX750" fmla="*/ 7871502 w 9759834"/>
                <a:gd name="connsiteY750" fmla="*/ 1527175 h 1762127"/>
                <a:gd name="connsiteX751" fmla="*/ 7905634 w 9759834"/>
                <a:gd name="connsiteY751" fmla="*/ 1561307 h 1762127"/>
                <a:gd name="connsiteX752" fmla="*/ 7871502 w 9759834"/>
                <a:gd name="connsiteY752" fmla="*/ 1595439 h 1762127"/>
                <a:gd name="connsiteX753" fmla="*/ 7837370 w 9759834"/>
                <a:gd name="connsiteY753" fmla="*/ 1561307 h 1762127"/>
                <a:gd name="connsiteX754" fmla="*/ 7871502 w 9759834"/>
                <a:gd name="connsiteY754" fmla="*/ 1527175 h 1762127"/>
                <a:gd name="connsiteX755" fmla="*/ 7785777 w 9759834"/>
                <a:gd name="connsiteY755" fmla="*/ 1527175 h 1762127"/>
                <a:gd name="connsiteX756" fmla="*/ 7819909 w 9759834"/>
                <a:gd name="connsiteY756" fmla="*/ 1561307 h 1762127"/>
                <a:gd name="connsiteX757" fmla="*/ 7785777 w 9759834"/>
                <a:gd name="connsiteY757" fmla="*/ 1595439 h 1762127"/>
                <a:gd name="connsiteX758" fmla="*/ 7751645 w 9759834"/>
                <a:gd name="connsiteY758" fmla="*/ 1561307 h 1762127"/>
                <a:gd name="connsiteX759" fmla="*/ 7785777 w 9759834"/>
                <a:gd name="connsiteY759" fmla="*/ 1527175 h 1762127"/>
                <a:gd name="connsiteX760" fmla="*/ 7706402 w 9759834"/>
                <a:gd name="connsiteY760" fmla="*/ 1527175 h 1762127"/>
                <a:gd name="connsiteX761" fmla="*/ 7740534 w 9759834"/>
                <a:gd name="connsiteY761" fmla="*/ 1561307 h 1762127"/>
                <a:gd name="connsiteX762" fmla="*/ 7706402 w 9759834"/>
                <a:gd name="connsiteY762" fmla="*/ 1595439 h 1762127"/>
                <a:gd name="connsiteX763" fmla="*/ 7672270 w 9759834"/>
                <a:gd name="connsiteY763" fmla="*/ 1561307 h 1762127"/>
                <a:gd name="connsiteX764" fmla="*/ 7706402 w 9759834"/>
                <a:gd name="connsiteY764" fmla="*/ 1527175 h 1762127"/>
                <a:gd name="connsiteX765" fmla="*/ 7620677 w 9759834"/>
                <a:gd name="connsiteY765" fmla="*/ 1527175 h 1762127"/>
                <a:gd name="connsiteX766" fmla="*/ 7654809 w 9759834"/>
                <a:gd name="connsiteY766" fmla="*/ 1561307 h 1762127"/>
                <a:gd name="connsiteX767" fmla="*/ 7620677 w 9759834"/>
                <a:gd name="connsiteY767" fmla="*/ 1595439 h 1762127"/>
                <a:gd name="connsiteX768" fmla="*/ 7586545 w 9759834"/>
                <a:gd name="connsiteY768" fmla="*/ 1561307 h 1762127"/>
                <a:gd name="connsiteX769" fmla="*/ 7620677 w 9759834"/>
                <a:gd name="connsiteY769" fmla="*/ 1527175 h 1762127"/>
                <a:gd name="connsiteX770" fmla="*/ 7534952 w 9759834"/>
                <a:gd name="connsiteY770" fmla="*/ 1527175 h 1762127"/>
                <a:gd name="connsiteX771" fmla="*/ 7569084 w 9759834"/>
                <a:gd name="connsiteY771" fmla="*/ 1561307 h 1762127"/>
                <a:gd name="connsiteX772" fmla="*/ 7534952 w 9759834"/>
                <a:gd name="connsiteY772" fmla="*/ 1595439 h 1762127"/>
                <a:gd name="connsiteX773" fmla="*/ 7500820 w 9759834"/>
                <a:gd name="connsiteY773" fmla="*/ 1561307 h 1762127"/>
                <a:gd name="connsiteX774" fmla="*/ 7534952 w 9759834"/>
                <a:gd name="connsiteY774" fmla="*/ 1527175 h 1762127"/>
                <a:gd name="connsiteX775" fmla="*/ 7449227 w 9759834"/>
                <a:gd name="connsiteY775" fmla="*/ 1527175 h 1762127"/>
                <a:gd name="connsiteX776" fmla="*/ 7483359 w 9759834"/>
                <a:gd name="connsiteY776" fmla="*/ 1561307 h 1762127"/>
                <a:gd name="connsiteX777" fmla="*/ 7449227 w 9759834"/>
                <a:gd name="connsiteY777" fmla="*/ 1595439 h 1762127"/>
                <a:gd name="connsiteX778" fmla="*/ 7415095 w 9759834"/>
                <a:gd name="connsiteY778" fmla="*/ 1561307 h 1762127"/>
                <a:gd name="connsiteX779" fmla="*/ 7449227 w 9759834"/>
                <a:gd name="connsiteY779" fmla="*/ 1527175 h 1762127"/>
                <a:gd name="connsiteX780" fmla="*/ 7366677 w 9759834"/>
                <a:gd name="connsiteY780" fmla="*/ 1527175 h 1762127"/>
                <a:gd name="connsiteX781" fmla="*/ 7403984 w 9759834"/>
                <a:gd name="connsiteY781" fmla="*/ 1561307 h 1762127"/>
                <a:gd name="connsiteX782" fmla="*/ 7366677 w 9759834"/>
                <a:gd name="connsiteY782" fmla="*/ 1595439 h 1762127"/>
                <a:gd name="connsiteX783" fmla="*/ 7329370 w 9759834"/>
                <a:gd name="connsiteY783" fmla="*/ 1561307 h 1762127"/>
                <a:gd name="connsiteX784" fmla="*/ 7366677 w 9759834"/>
                <a:gd name="connsiteY784" fmla="*/ 1527175 h 1762127"/>
                <a:gd name="connsiteX785" fmla="*/ 7284127 w 9759834"/>
                <a:gd name="connsiteY785" fmla="*/ 1527175 h 1762127"/>
                <a:gd name="connsiteX786" fmla="*/ 7318259 w 9759834"/>
                <a:gd name="connsiteY786" fmla="*/ 1561307 h 1762127"/>
                <a:gd name="connsiteX787" fmla="*/ 7284127 w 9759834"/>
                <a:gd name="connsiteY787" fmla="*/ 1595439 h 1762127"/>
                <a:gd name="connsiteX788" fmla="*/ 7249995 w 9759834"/>
                <a:gd name="connsiteY788" fmla="*/ 1561307 h 1762127"/>
                <a:gd name="connsiteX789" fmla="*/ 7284127 w 9759834"/>
                <a:gd name="connsiteY789" fmla="*/ 1527175 h 1762127"/>
                <a:gd name="connsiteX790" fmla="*/ 7198402 w 9759834"/>
                <a:gd name="connsiteY790" fmla="*/ 1527175 h 1762127"/>
                <a:gd name="connsiteX791" fmla="*/ 7232534 w 9759834"/>
                <a:gd name="connsiteY791" fmla="*/ 1561307 h 1762127"/>
                <a:gd name="connsiteX792" fmla="*/ 7198402 w 9759834"/>
                <a:gd name="connsiteY792" fmla="*/ 1595439 h 1762127"/>
                <a:gd name="connsiteX793" fmla="*/ 7164270 w 9759834"/>
                <a:gd name="connsiteY793" fmla="*/ 1561307 h 1762127"/>
                <a:gd name="connsiteX794" fmla="*/ 7198402 w 9759834"/>
                <a:gd name="connsiteY794" fmla="*/ 1527175 h 1762127"/>
                <a:gd name="connsiteX795" fmla="*/ 7112677 w 9759834"/>
                <a:gd name="connsiteY795" fmla="*/ 1527175 h 1762127"/>
                <a:gd name="connsiteX796" fmla="*/ 7146809 w 9759834"/>
                <a:gd name="connsiteY796" fmla="*/ 1561307 h 1762127"/>
                <a:gd name="connsiteX797" fmla="*/ 7112677 w 9759834"/>
                <a:gd name="connsiteY797" fmla="*/ 1595439 h 1762127"/>
                <a:gd name="connsiteX798" fmla="*/ 7078545 w 9759834"/>
                <a:gd name="connsiteY798" fmla="*/ 1561307 h 1762127"/>
                <a:gd name="connsiteX799" fmla="*/ 7112677 w 9759834"/>
                <a:gd name="connsiteY799" fmla="*/ 1527175 h 1762127"/>
                <a:gd name="connsiteX800" fmla="*/ 7027745 w 9759834"/>
                <a:gd name="connsiteY800" fmla="*/ 1527175 h 1762127"/>
                <a:gd name="connsiteX801" fmla="*/ 7062670 w 9759834"/>
                <a:gd name="connsiteY801" fmla="*/ 1561307 h 1762127"/>
                <a:gd name="connsiteX802" fmla="*/ 7027745 w 9759834"/>
                <a:gd name="connsiteY802" fmla="*/ 1595439 h 1762127"/>
                <a:gd name="connsiteX803" fmla="*/ 6992820 w 9759834"/>
                <a:gd name="connsiteY803" fmla="*/ 1561307 h 1762127"/>
                <a:gd name="connsiteX804" fmla="*/ 7027745 w 9759834"/>
                <a:gd name="connsiteY804" fmla="*/ 1527175 h 1762127"/>
                <a:gd name="connsiteX805" fmla="*/ 6947577 w 9759834"/>
                <a:gd name="connsiteY805" fmla="*/ 1527175 h 1762127"/>
                <a:gd name="connsiteX806" fmla="*/ 6981709 w 9759834"/>
                <a:gd name="connsiteY806" fmla="*/ 1561307 h 1762127"/>
                <a:gd name="connsiteX807" fmla="*/ 6947577 w 9759834"/>
                <a:gd name="connsiteY807" fmla="*/ 1595439 h 1762127"/>
                <a:gd name="connsiteX808" fmla="*/ 6913445 w 9759834"/>
                <a:gd name="connsiteY808" fmla="*/ 1561307 h 1762127"/>
                <a:gd name="connsiteX809" fmla="*/ 6947577 w 9759834"/>
                <a:gd name="connsiteY809" fmla="*/ 1527175 h 1762127"/>
                <a:gd name="connsiteX810" fmla="*/ 6861852 w 9759834"/>
                <a:gd name="connsiteY810" fmla="*/ 1527175 h 1762127"/>
                <a:gd name="connsiteX811" fmla="*/ 6895984 w 9759834"/>
                <a:gd name="connsiteY811" fmla="*/ 1561307 h 1762127"/>
                <a:gd name="connsiteX812" fmla="*/ 6861852 w 9759834"/>
                <a:gd name="connsiteY812" fmla="*/ 1595439 h 1762127"/>
                <a:gd name="connsiteX813" fmla="*/ 6827720 w 9759834"/>
                <a:gd name="connsiteY813" fmla="*/ 1561307 h 1762127"/>
                <a:gd name="connsiteX814" fmla="*/ 6861852 w 9759834"/>
                <a:gd name="connsiteY814" fmla="*/ 1527175 h 1762127"/>
                <a:gd name="connsiteX815" fmla="*/ 6776127 w 9759834"/>
                <a:gd name="connsiteY815" fmla="*/ 1527175 h 1762127"/>
                <a:gd name="connsiteX816" fmla="*/ 6810259 w 9759834"/>
                <a:gd name="connsiteY816" fmla="*/ 1561307 h 1762127"/>
                <a:gd name="connsiteX817" fmla="*/ 6776127 w 9759834"/>
                <a:gd name="connsiteY817" fmla="*/ 1595439 h 1762127"/>
                <a:gd name="connsiteX818" fmla="*/ 6741995 w 9759834"/>
                <a:gd name="connsiteY818" fmla="*/ 1561307 h 1762127"/>
                <a:gd name="connsiteX819" fmla="*/ 6776127 w 9759834"/>
                <a:gd name="connsiteY819" fmla="*/ 1527175 h 1762127"/>
                <a:gd name="connsiteX820" fmla="*/ 6691195 w 9759834"/>
                <a:gd name="connsiteY820" fmla="*/ 1527175 h 1762127"/>
                <a:gd name="connsiteX821" fmla="*/ 6726120 w 9759834"/>
                <a:gd name="connsiteY821" fmla="*/ 1561307 h 1762127"/>
                <a:gd name="connsiteX822" fmla="*/ 6691195 w 9759834"/>
                <a:gd name="connsiteY822" fmla="*/ 1595439 h 1762127"/>
                <a:gd name="connsiteX823" fmla="*/ 6656270 w 9759834"/>
                <a:gd name="connsiteY823" fmla="*/ 1561307 h 1762127"/>
                <a:gd name="connsiteX824" fmla="*/ 6691195 w 9759834"/>
                <a:gd name="connsiteY824" fmla="*/ 1527175 h 1762127"/>
                <a:gd name="connsiteX825" fmla="*/ 6607852 w 9759834"/>
                <a:gd name="connsiteY825" fmla="*/ 1527175 h 1762127"/>
                <a:gd name="connsiteX826" fmla="*/ 6645159 w 9759834"/>
                <a:gd name="connsiteY826" fmla="*/ 1561307 h 1762127"/>
                <a:gd name="connsiteX827" fmla="*/ 6607852 w 9759834"/>
                <a:gd name="connsiteY827" fmla="*/ 1595439 h 1762127"/>
                <a:gd name="connsiteX828" fmla="*/ 6570545 w 9759834"/>
                <a:gd name="connsiteY828" fmla="*/ 1561307 h 1762127"/>
                <a:gd name="connsiteX829" fmla="*/ 6607852 w 9759834"/>
                <a:gd name="connsiteY829" fmla="*/ 1527175 h 1762127"/>
                <a:gd name="connsiteX830" fmla="*/ 6525302 w 9759834"/>
                <a:gd name="connsiteY830" fmla="*/ 1527175 h 1762127"/>
                <a:gd name="connsiteX831" fmla="*/ 6559434 w 9759834"/>
                <a:gd name="connsiteY831" fmla="*/ 1561307 h 1762127"/>
                <a:gd name="connsiteX832" fmla="*/ 6525302 w 9759834"/>
                <a:gd name="connsiteY832" fmla="*/ 1595439 h 1762127"/>
                <a:gd name="connsiteX833" fmla="*/ 6491170 w 9759834"/>
                <a:gd name="connsiteY833" fmla="*/ 1561307 h 1762127"/>
                <a:gd name="connsiteX834" fmla="*/ 6525302 w 9759834"/>
                <a:gd name="connsiteY834" fmla="*/ 1527175 h 1762127"/>
                <a:gd name="connsiteX835" fmla="*/ 6439577 w 9759834"/>
                <a:gd name="connsiteY835" fmla="*/ 1527175 h 1762127"/>
                <a:gd name="connsiteX836" fmla="*/ 6473709 w 9759834"/>
                <a:gd name="connsiteY836" fmla="*/ 1561307 h 1762127"/>
                <a:gd name="connsiteX837" fmla="*/ 6439577 w 9759834"/>
                <a:gd name="connsiteY837" fmla="*/ 1595439 h 1762127"/>
                <a:gd name="connsiteX838" fmla="*/ 6405445 w 9759834"/>
                <a:gd name="connsiteY838" fmla="*/ 1561307 h 1762127"/>
                <a:gd name="connsiteX839" fmla="*/ 6439577 w 9759834"/>
                <a:gd name="connsiteY839" fmla="*/ 1527175 h 1762127"/>
                <a:gd name="connsiteX840" fmla="*/ 6353852 w 9759834"/>
                <a:gd name="connsiteY840" fmla="*/ 1527175 h 1762127"/>
                <a:gd name="connsiteX841" fmla="*/ 6387984 w 9759834"/>
                <a:gd name="connsiteY841" fmla="*/ 1561307 h 1762127"/>
                <a:gd name="connsiteX842" fmla="*/ 6353852 w 9759834"/>
                <a:gd name="connsiteY842" fmla="*/ 1595439 h 1762127"/>
                <a:gd name="connsiteX843" fmla="*/ 6319720 w 9759834"/>
                <a:gd name="connsiteY843" fmla="*/ 1561307 h 1762127"/>
                <a:gd name="connsiteX844" fmla="*/ 6353852 w 9759834"/>
                <a:gd name="connsiteY844" fmla="*/ 1527175 h 1762127"/>
                <a:gd name="connsiteX845" fmla="*/ 6268920 w 9759834"/>
                <a:gd name="connsiteY845" fmla="*/ 1527175 h 1762127"/>
                <a:gd name="connsiteX846" fmla="*/ 6303845 w 9759834"/>
                <a:gd name="connsiteY846" fmla="*/ 1561307 h 1762127"/>
                <a:gd name="connsiteX847" fmla="*/ 6268920 w 9759834"/>
                <a:gd name="connsiteY847" fmla="*/ 1595439 h 1762127"/>
                <a:gd name="connsiteX848" fmla="*/ 6233995 w 9759834"/>
                <a:gd name="connsiteY848" fmla="*/ 1561307 h 1762127"/>
                <a:gd name="connsiteX849" fmla="*/ 6268920 w 9759834"/>
                <a:gd name="connsiteY849" fmla="*/ 1527175 h 1762127"/>
                <a:gd name="connsiteX850" fmla="*/ 6188752 w 9759834"/>
                <a:gd name="connsiteY850" fmla="*/ 1527175 h 1762127"/>
                <a:gd name="connsiteX851" fmla="*/ 6222884 w 9759834"/>
                <a:gd name="connsiteY851" fmla="*/ 1561307 h 1762127"/>
                <a:gd name="connsiteX852" fmla="*/ 6188752 w 9759834"/>
                <a:gd name="connsiteY852" fmla="*/ 1595439 h 1762127"/>
                <a:gd name="connsiteX853" fmla="*/ 6154620 w 9759834"/>
                <a:gd name="connsiteY853" fmla="*/ 1561307 h 1762127"/>
                <a:gd name="connsiteX854" fmla="*/ 6188752 w 9759834"/>
                <a:gd name="connsiteY854" fmla="*/ 1527175 h 1762127"/>
                <a:gd name="connsiteX855" fmla="*/ 6103027 w 9759834"/>
                <a:gd name="connsiteY855" fmla="*/ 1527175 h 1762127"/>
                <a:gd name="connsiteX856" fmla="*/ 6137159 w 9759834"/>
                <a:gd name="connsiteY856" fmla="*/ 1561307 h 1762127"/>
                <a:gd name="connsiteX857" fmla="*/ 6103027 w 9759834"/>
                <a:gd name="connsiteY857" fmla="*/ 1595439 h 1762127"/>
                <a:gd name="connsiteX858" fmla="*/ 6068895 w 9759834"/>
                <a:gd name="connsiteY858" fmla="*/ 1561307 h 1762127"/>
                <a:gd name="connsiteX859" fmla="*/ 6103027 w 9759834"/>
                <a:gd name="connsiteY859" fmla="*/ 1527175 h 1762127"/>
                <a:gd name="connsiteX860" fmla="*/ 6017302 w 9759834"/>
                <a:gd name="connsiteY860" fmla="*/ 1527175 h 1762127"/>
                <a:gd name="connsiteX861" fmla="*/ 6051434 w 9759834"/>
                <a:gd name="connsiteY861" fmla="*/ 1561307 h 1762127"/>
                <a:gd name="connsiteX862" fmla="*/ 6017302 w 9759834"/>
                <a:gd name="connsiteY862" fmla="*/ 1595439 h 1762127"/>
                <a:gd name="connsiteX863" fmla="*/ 5983170 w 9759834"/>
                <a:gd name="connsiteY863" fmla="*/ 1561307 h 1762127"/>
                <a:gd name="connsiteX864" fmla="*/ 6017302 w 9759834"/>
                <a:gd name="connsiteY864" fmla="*/ 1527175 h 1762127"/>
                <a:gd name="connsiteX865" fmla="*/ 5932370 w 9759834"/>
                <a:gd name="connsiteY865" fmla="*/ 1527175 h 1762127"/>
                <a:gd name="connsiteX866" fmla="*/ 5967295 w 9759834"/>
                <a:gd name="connsiteY866" fmla="*/ 1561307 h 1762127"/>
                <a:gd name="connsiteX867" fmla="*/ 5932370 w 9759834"/>
                <a:gd name="connsiteY867" fmla="*/ 1595439 h 1762127"/>
                <a:gd name="connsiteX868" fmla="*/ 5897445 w 9759834"/>
                <a:gd name="connsiteY868" fmla="*/ 1561307 h 1762127"/>
                <a:gd name="connsiteX869" fmla="*/ 5932370 w 9759834"/>
                <a:gd name="connsiteY869" fmla="*/ 1527175 h 1762127"/>
                <a:gd name="connsiteX870" fmla="*/ 5849821 w 9759834"/>
                <a:gd name="connsiteY870" fmla="*/ 1527175 h 1762127"/>
                <a:gd name="connsiteX871" fmla="*/ 5886334 w 9759834"/>
                <a:gd name="connsiteY871" fmla="*/ 1561307 h 1762127"/>
                <a:gd name="connsiteX872" fmla="*/ 5849821 w 9759834"/>
                <a:gd name="connsiteY872" fmla="*/ 1595439 h 1762127"/>
                <a:gd name="connsiteX873" fmla="*/ 5813308 w 9759834"/>
                <a:gd name="connsiteY873" fmla="*/ 1561307 h 1762127"/>
                <a:gd name="connsiteX874" fmla="*/ 5849821 w 9759834"/>
                <a:gd name="connsiteY874" fmla="*/ 1527175 h 1762127"/>
                <a:gd name="connsiteX875" fmla="*/ 5766477 w 9759834"/>
                <a:gd name="connsiteY875" fmla="*/ 1527175 h 1762127"/>
                <a:gd name="connsiteX876" fmla="*/ 5800609 w 9759834"/>
                <a:gd name="connsiteY876" fmla="*/ 1561307 h 1762127"/>
                <a:gd name="connsiteX877" fmla="*/ 5766477 w 9759834"/>
                <a:gd name="connsiteY877" fmla="*/ 1595439 h 1762127"/>
                <a:gd name="connsiteX878" fmla="*/ 5732345 w 9759834"/>
                <a:gd name="connsiteY878" fmla="*/ 1561307 h 1762127"/>
                <a:gd name="connsiteX879" fmla="*/ 5766477 w 9759834"/>
                <a:gd name="connsiteY879" fmla="*/ 1527175 h 1762127"/>
                <a:gd name="connsiteX880" fmla="*/ 5680752 w 9759834"/>
                <a:gd name="connsiteY880" fmla="*/ 1527175 h 1762127"/>
                <a:gd name="connsiteX881" fmla="*/ 5714884 w 9759834"/>
                <a:gd name="connsiteY881" fmla="*/ 1561307 h 1762127"/>
                <a:gd name="connsiteX882" fmla="*/ 5680752 w 9759834"/>
                <a:gd name="connsiteY882" fmla="*/ 1595439 h 1762127"/>
                <a:gd name="connsiteX883" fmla="*/ 5646620 w 9759834"/>
                <a:gd name="connsiteY883" fmla="*/ 1561307 h 1762127"/>
                <a:gd name="connsiteX884" fmla="*/ 5680752 w 9759834"/>
                <a:gd name="connsiteY884" fmla="*/ 1527175 h 1762127"/>
                <a:gd name="connsiteX885" fmla="*/ 5595820 w 9759834"/>
                <a:gd name="connsiteY885" fmla="*/ 1527175 h 1762127"/>
                <a:gd name="connsiteX886" fmla="*/ 5630745 w 9759834"/>
                <a:gd name="connsiteY886" fmla="*/ 1561307 h 1762127"/>
                <a:gd name="connsiteX887" fmla="*/ 5595820 w 9759834"/>
                <a:gd name="connsiteY887" fmla="*/ 1595439 h 1762127"/>
                <a:gd name="connsiteX888" fmla="*/ 5560895 w 9759834"/>
                <a:gd name="connsiteY888" fmla="*/ 1561307 h 1762127"/>
                <a:gd name="connsiteX889" fmla="*/ 5595820 w 9759834"/>
                <a:gd name="connsiteY889" fmla="*/ 1527175 h 1762127"/>
                <a:gd name="connsiteX890" fmla="*/ 5258477 w 9759834"/>
                <a:gd name="connsiteY890" fmla="*/ 1527175 h 1762127"/>
                <a:gd name="connsiteX891" fmla="*/ 5292609 w 9759834"/>
                <a:gd name="connsiteY891" fmla="*/ 1561307 h 1762127"/>
                <a:gd name="connsiteX892" fmla="*/ 5258477 w 9759834"/>
                <a:gd name="connsiteY892" fmla="*/ 1595439 h 1762127"/>
                <a:gd name="connsiteX893" fmla="*/ 5224345 w 9759834"/>
                <a:gd name="connsiteY893" fmla="*/ 1561307 h 1762127"/>
                <a:gd name="connsiteX894" fmla="*/ 5258477 w 9759834"/>
                <a:gd name="connsiteY894" fmla="*/ 1527175 h 1762127"/>
                <a:gd name="connsiteX895" fmla="*/ 4921927 w 9759834"/>
                <a:gd name="connsiteY895" fmla="*/ 1527175 h 1762127"/>
                <a:gd name="connsiteX896" fmla="*/ 4956059 w 9759834"/>
                <a:gd name="connsiteY896" fmla="*/ 1561307 h 1762127"/>
                <a:gd name="connsiteX897" fmla="*/ 4921927 w 9759834"/>
                <a:gd name="connsiteY897" fmla="*/ 1595439 h 1762127"/>
                <a:gd name="connsiteX898" fmla="*/ 4887795 w 9759834"/>
                <a:gd name="connsiteY898" fmla="*/ 1561307 h 1762127"/>
                <a:gd name="connsiteX899" fmla="*/ 4921927 w 9759834"/>
                <a:gd name="connsiteY899" fmla="*/ 1527175 h 1762127"/>
                <a:gd name="connsiteX900" fmla="*/ 3320139 w 9759834"/>
                <a:gd name="connsiteY900" fmla="*/ 1527175 h 1762127"/>
                <a:gd name="connsiteX901" fmla="*/ 3354271 w 9759834"/>
                <a:gd name="connsiteY901" fmla="*/ 1561307 h 1762127"/>
                <a:gd name="connsiteX902" fmla="*/ 3320139 w 9759834"/>
                <a:gd name="connsiteY902" fmla="*/ 1595439 h 1762127"/>
                <a:gd name="connsiteX903" fmla="*/ 3286007 w 9759834"/>
                <a:gd name="connsiteY903" fmla="*/ 1561307 h 1762127"/>
                <a:gd name="connsiteX904" fmla="*/ 3320139 w 9759834"/>
                <a:gd name="connsiteY904" fmla="*/ 1527175 h 1762127"/>
                <a:gd name="connsiteX905" fmla="*/ 3234414 w 9759834"/>
                <a:gd name="connsiteY905" fmla="*/ 1527175 h 1762127"/>
                <a:gd name="connsiteX906" fmla="*/ 3268546 w 9759834"/>
                <a:gd name="connsiteY906" fmla="*/ 1561307 h 1762127"/>
                <a:gd name="connsiteX907" fmla="*/ 3234414 w 9759834"/>
                <a:gd name="connsiteY907" fmla="*/ 1595439 h 1762127"/>
                <a:gd name="connsiteX908" fmla="*/ 3200282 w 9759834"/>
                <a:gd name="connsiteY908" fmla="*/ 1561307 h 1762127"/>
                <a:gd name="connsiteX909" fmla="*/ 3234414 w 9759834"/>
                <a:gd name="connsiteY909" fmla="*/ 1527175 h 1762127"/>
                <a:gd name="connsiteX910" fmla="*/ 3153452 w 9759834"/>
                <a:gd name="connsiteY910" fmla="*/ 1527175 h 1762127"/>
                <a:gd name="connsiteX911" fmla="*/ 3187584 w 9759834"/>
                <a:gd name="connsiteY911" fmla="*/ 1561307 h 1762127"/>
                <a:gd name="connsiteX912" fmla="*/ 3153452 w 9759834"/>
                <a:gd name="connsiteY912" fmla="*/ 1595439 h 1762127"/>
                <a:gd name="connsiteX913" fmla="*/ 3119320 w 9759834"/>
                <a:gd name="connsiteY913" fmla="*/ 1561307 h 1762127"/>
                <a:gd name="connsiteX914" fmla="*/ 3153452 w 9759834"/>
                <a:gd name="connsiteY914" fmla="*/ 1527175 h 1762127"/>
                <a:gd name="connsiteX915" fmla="*/ 3068520 w 9759834"/>
                <a:gd name="connsiteY915" fmla="*/ 1527175 h 1762127"/>
                <a:gd name="connsiteX916" fmla="*/ 3103445 w 9759834"/>
                <a:gd name="connsiteY916" fmla="*/ 1561307 h 1762127"/>
                <a:gd name="connsiteX917" fmla="*/ 3068520 w 9759834"/>
                <a:gd name="connsiteY917" fmla="*/ 1595439 h 1762127"/>
                <a:gd name="connsiteX918" fmla="*/ 3033595 w 9759834"/>
                <a:gd name="connsiteY918" fmla="*/ 1561307 h 1762127"/>
                <a:gd name="connsiteX919" fmla="*/ 3068520 w 9759834"/>
                <a:gd name="connsiteY919" fmla="*/ 1527175 h 1762127"/>
                <a:gd name="connsiteX920" fmla="*/ 2983589 w 9759834"/>
                <a:gd name="connsiteY920" fmla="*/ 1527175 h 1762127"/>
                <a:gd name="connsiteX921" fmla="*/ 3017721 w 9759834"/>
                <a:gd name="connsiteY921" fmla="*/ 1561307 h 1762127"/>
                <a:gd name="connsiteX922" fmla="*/ 2983589 w 9759834"/>
                <a:gd name="connsiteY922" fmla="*/ 1595439 h 1762127"/>
                <a:gd name="connsiteX923" fmla="*/ 2949457 w 9759834"/>
                <a:gd name="connsiteY923" fmla="*/ 1561307 h 1762127"/>
                <a:gd name="connsiteX924" fmla="*/ 2983589 w 9759834"/>
                <a:gd name="connsiteY924" fmla="*/ 1527175 h 1762127"/>
                <a:gd name="connsiteX925" fmla="*/ 2897864 w 9759834"/>
                <a:gd name="connsiteY925" fmla="*/ 1527175 h 1762127"/>
                <a:gd name="connsiteX926" fmla="*/ 2931996 w 9759834"/>
                <a:gd name="connsiteY926" fmla="*/ 1561307 h 1762127"/>
                <a:gd name="connsiteX927" fmla="*/ 2897864 w 9759834"/>
                <a:gd name="connsiteY927" fmla="*/ 1595439 h 1762127"/>
                <a:gd name="connsiteX928" fmla="*/ 2863732 w 9759834"/>
                <a:gd name="connsiteY928" fmla="*/ 1561307 h 1762127"/>
                <a:gd name="connsiteX929" fmla="*/ 2897864 w 9759834"/>
                <a:gd name="connsiteY929" fmla="*/ 1527175 h 1762127"/>
                <a:gd name="connsiteX930" fmla="*/ 2814520 w 9759834"/>
                <a:gd name="connsiteY930" fmla="*/ 1527175 h 1762127"/>
                <a:gd name="connsiteX931" fmla="*/ 2851033 w 9759834"/>
                <a:gd name="connsiteY931" fmla="*/ 1561307 h 1762127"/>
                <a:gd name="connsiteX932" fmla="*/ 2814520 w 9759834"/>
                <a:gd name="connsiteY932" fmla="*/ 1595439 h 1762127"/>
                <a:gd name="connsiteX933" fmla="*/ 2778007 w 9759834"/>
                <a:gd name="connsiteY933" fmla="*/ 1561307 h 1762127"/>
                <a:gd name="connsiteX934" fmla="*/ 2814520 w 9759834"/>
                <a:gd name="connsiteY934" fmla="*/ 1527175 h 1762127"/>
                <a:gd name="connsiteX935" fmla="*/ 2646410 w 9759834"/>
                <a:gd name="connsiteY935" fmla="*/ 1527175 h 1762127"/>
                <a:gd name="connsiteX936" fmla="*/ 2681334 w 9759834"/>
                <a:gd name="connsiteY936" fmla="*/ 1561307 h 1762127"/>
                <a:gd name="connsiteX937" fmla="*/ 2646410 w 9759834"/>
                <a:gd name="connsiteY937" fmla="*/ 1595439 h 1762127"/>
                <a:gd name="connsiteX938" fmla="*/ 2611483 w 9759834"/>
                <a:gd name="connsiteY938" fmla="*/ 1561307 h 1762127"/>
                <a:gd name="connsiteX939" fmla="*/ 2646410 w 9759834"/>
                <a:gd name="connsiteY939" fmla="*/ 1527175 h 1762127"/>
                <a:gd name="connsiteX940" fmla="*/ 2561479 w 9759834"/>
                <a:gd name="connsiteY940" fmla="*/ 1527175 h 1762127"/>
                <a:gd name="connsiteX941" fmla="*/ 2595609 w 9759834"/>
                <a:gd name="connsiteY941" fmla="*/ 1561307 h 1762127"/>
                <a:gd name="connsiteX942" fmla="*/ 2561479 w 9759834"/>
                <a:gd name="connsiteY942" fmla="*/ 1595439 h 1762127"/>
                <a:gd name="connsiteX943" fmla="*/ 2527342 w 9759834"/>
                <a:gd name="connsiteY943" fmla="*/ 1561307 h 1762127"/>
                <a:gd name="connsiteX944" fmla="*/ 2561479 w 9759834"/>
                <a:gd name="connsiteY944" fmla="*/ 1527175 h 1762127"/>
                <a:gd name="connsiteX945" fmla="*/ 2475754 w 9759834"/>
                <a:gd name="connsiteY945" fmla="*/ 1527175 h 1762127"/>
                <a:gd name="connsiteX946" fmla="*/ 2509883 w 9759834"/>
                <a:gd name="connsiteY946" fmla="*/ 1561307 h 1762127"/>
                <a:gd name="connsiteX947" fmla="*/ 2475754 w 9759834"/>
                <a:gd name="connsiteY947" fmla="*/ 1595439 h 1762127"/>
                <a:gd name="connsiteX948" fmla="*/ 2441619 w 9759834"/>
                <a:gd name="connsiteY948" fmla="*/ 1561307 h 1762127"/>
                <a:gd name="connsiteX949" fmla="*/ 2475754 w 9759834"/>
                <a:gd name="connsiteY949" fmla="*/ 1527175 h 1762127"/>
                <a:gd name="connsiteX950" fmla="*/ 2394790 w 9759834"/>
                <a:gd name="connsiteY950" fmla="*/ 1527175 h 1762127"/>
                <a:gd name="connsiteX951" fmla="*/ 2428919 w 9759834"/>
                <a:gd name="connsiteY951" fmla="*/ 1561307 h 1762127"/>
                <a:gd name="connsiteX952" fmla="*/ 2394790 w 9759834"/>
                <a:gd name="connsiteY952" fmla="*/ 1595439 h 1762127"/>
                <a:gd name="connsiteX953" fmla="*/ 2360656 w 9759834"/>
                <a:gd name="connsiteY953" fmla="*/ 1561307 h 1762127"/>
                <a:gd name="connsiteX954" fmla="*/ 2394790 w 9759834"/>
                <a:gd name="connsiteY954" fmla="*/ 1527175 h 1762127"/>
                <a:gd name="connsiteX955" fmla="*/ 2309856 w 9759834"/>
                <a:gd name="connsiteY955" fmla="*/ 1527175 h 1762127"/>
                <a:gd name="connsiteX956" fmla="*/ 2344781 w 9759834"/>
                <a:gd name="connsiteY956" fmla="*/ 1561307 h 1762127"/>
                <a:gd name="connsiteX957" fmla="*/ 2309856 w 9759834"/>
                <a:gd name="connsiteY957" fmla="*/ 1595439 h 1762127"/>
                <a:gd name="connsiteX958" fmla="*/ 2274920 w 9759834"/>
                <a:gd name="connsiteY958" fmla="*/ 1561307 h 1762127"/>
                <a:gd name="connsiteX959" fmla="*/ 2309856 w 9759834"/>
                <a:gd name="connsiteY959" fmla="*/ 1527175 h 1762127"/>
                <a:gd name="connsiteX960" fmla="*/ 2139049 w 9759834"/>
                <a:gd name="connsiteY960" fmla="*/ 1527175 h 1762127"/>
                <a:gd name="connsiteX961" fmla="*/ 2173182 w 9759834"/>
                <a:gd name="connsiteY961" fmla="*/ 1561307 h 1762127"/>
                <a:gd name="connsiteX962" fmla="*/ 2139049 w 9759834"/>
                <a:gd name="connsiteY962" fmla="*/ 1595439 h 1762127"/>
                <a:gd name="connsiteX963" fmla="*/ 2104917 w 9759834"/>
                <a:gd name="connsiteY963" fmla="*/ 1561307 h 1762127"/>
                <a:gd name="connsiteX964" fmla="*/ 2139049 w 9759834"/>
                <a:gd name="connsiteY964" fmla="*/ 1527175 h 1762127"/>
                <a:gd name="connsiteX965" fmla="*/ 2055706 w 9759834"/>
                <a:gd name="connsiteY965" fmla="*/ 1527175 h 1762127"/>
                <a:gd name="connsiteX966" fmla="*/ 2092218 w 9759834"/>
                <a:gd name="connsiteY966" fmla="*/ 1561307 h 1762127"/>
                <a:gd name="connsiteX967" fmla="*/ 2055706 w 9759834"/>
                <a:gd name="connsiteY967" fmla="*/ 1595439 h 1762127"/>
                <a:gd name="connsiteX968" fmla="*/ 2019193 w 9759834"/>
                <a:gd name="connsiteY968" fmla="*/ 1561307 h 1762127"/>
                <a:gd name="connsiteX969" fmla="*/ 2055706 w 9759834"/>
                <a:gd name="connsiteY969" fmla="*/ 1527175 h 1762127"/>
                <a:gd name="connsiteX970" fmla="*/ 1973156 w 9759834"/>
                <a:gd name="connsiteY970" fmla="*/ 1527175 h 1762127"/>
                <a:gd name="connsiteX971" fmla="*/ 2008081 w 9759834"/>
                <a:gd name="connsiteY971" fmla="*/ 1561307 h 1762127"/>
                <a:gd name="connsiteX972" fmla="*/ 1973156 w 9759834"/>
                <a:gd name="connsiteY972" fmla="*/ 1595439 h 1762127"/>
                <a:gd name="connsiteX973" fmla="*/ 1938231 w 9759834"/>
                <a:gd name="connsiteY973" fmla="*/ 1561307 h 1762127"/>
                <a:gd name="connsiteX974" fmla="*/ 1973156 w 9759834"/>
                <a:gd name="connsiteY974" fmla="*/ 1527175 h 1762127"/>
                <a:gd name="connsiteX975" fmla="*/ 1888226 w 9759834"/>
                <a:gd name="connsiteY975" fmla="*/ 1527175 h 1762127"/>
                <a:gd name="connsiteX976" fmla="*/ 1922358 w 9759834"/>
                <a:gd name="connsiteY976" fmla="*/ 1561307 h 1762127"/>
                <a:gd name="connsiteX977" fmla="*/ 1888226 w 9759834"/>
                <a:gd name="connsiteY977" fmla="*/ 1595439 h 1762127"/>
                <a:gd name="connsiteX978" fmla="*/ 1854094 w 9759834"/>
                <a:gd name="connsiteY978" fmla="*/ 1561307 h 1762127"/>
                <a:gd name="connsiteX979" fmla="*/ 1888226 w 9759834"/>
                <a:gd name="connsiteY979" fmla="*/ 1527175 h 1762127"/>
                <a:gd name="connsiteX980" fmla="*/ 1802501 w 9759834"/>
                <a:gd name="connsiteY980" fmla="*/ 1527175 h 1762127"/>
                <a:gd name="connsiteX981" fmla="*/ 1836634 w 9759834"/>
                <a:gd name="connsiteY981" fmla="*/ 1561307 h 1762127"/>
                <a:gd name="connsiteX982" fmla="*/ 1802501 w 9759834"/>
                <a:gd name="connsiteY982" fmla="*/ 1595439 h 1762127"/>
                <a:gd name="connsiteX983" fmla="*/ 1768370 w 9759834"/>
                <a:gd name="connsiteY983" fmla="*/ 1561307 h 1762127"/>
                <a:gd name="connsiteX984" fmla="*/ 1802501 w 9759834"/>
                <a:gd name="connsiteY984" fmla="*/ 1527175 h 1762127"/>
                <a:gd name="connsiteX985" fmla="*/ 1719157 w 9759834"/>
                <a:gd name="connsiteY985" fmla="*/ 1527175 h 1762127"/>
                <a:gd name="connsiteX986" fmla="*/ 1755671 w 9759834"/>
                <a:gd name="connsiteY986" fmla="*/ 1561307 h 1762127"/>
                <a:gd name="connsiteX987" fmla="*/ 1719157 w 9759834"/>
                <a:gd name="connsiteY987" fmla="*/ 1595439 h 1762127"/>
                <a:gd name="connsiteX988" fmla="*/ 1682645 w 9759834"/>
                <a:gd name="connsiteY988" fmla="*/ 1561307 h 1762127"/>
                <a:gd name="connsiteX989" fmla="*/ 1719157 w 9759834"/>
                <a:gd name="connsiteY989" fmla="*/ 1527175 h 1762127"/>
                <a:gd name="connsiteX990" fmla="*/ 1636608 w 9759834"/>
                <a:gd name="connsiteY990" fmla="*/ 1527175 h 1762127"/>
                <a:gd name="connsiteX991" fmla="*/ 1671533 w 9759834"/>
                <a:gd name="connsiteY991" fmla="*/ 1561307 h 1762127"/>
                <a:gd name="connsiteX992" fmla="*/ 1636608 w 9759834"/>
                <a:gd name="connsiteY992" fmla="*/ 1595439 h 1762127"/>
                <a:gd name="connsiteX993" fmla="*/ 1601683 w 9759834"/>
                <a:gd name="connsiteY993" fmla="*/ 1561307 h 1762127"/>
                <a:gd name="connsiteX994" fmla="*/ 1636608 w 9759834"/>
                <a:gd name="connsiteY994" fmla="*/ 1527175 h 1762127"/>
                <a:gd name="connsiteX995" fmla="*/ 1551677 w 9759834"/>
                <a:gd name="connsiteY995" fmla="*/ 1527175 h 1762127"/>
                <a:gd name="connsiteX996" fmla="*/ 1585810 w 9759834"/>
                <a:gd name="connsiteY996" fmla="*/ 1561307 h 1762127"/>
                <a:gd name="connsiteX997" fmla="*/ 1551677 w 9759834"/>
                <a:gd name="connsiteY997" fmla="*/ 1595439 h 1762127"/>
                <a:gd name="connsiteX998" fmla="*/ 1517545 w 9759834"/>
                <a:gd name="connsiteY998" fmla="*/ 1561307 h 1762127"/>
                <a:gd name="connsiteX999" fmla="*/ 1551677 w 9759834"/>
                <a:gd name="connsiteY999" fmla="*/ 1527175 h 1762127"/>
                <a:gd name="connsiteX1000" fmla="*/ 1466114 w 9759834"/>
                <a:gd name="connsiteY1000" fmla="*/ 1527175 h 1762127"/>
                <a:gd name="connsiteX1001" fmla="*/ 1500247 w 9759834"/>
                <a:gd name="connsiteY1001" fmla="*/ 1561307 h 1762127"/>
                <a:gd name="connsiteX1002" fmla="*/ 1466114 w 9759834"/>
                <a:gd name="connsiteY1002" fmla="*/ 1595439 h 1762127"/>
                <a:gd name="connsiteX1003" fmla="*/ 1431983 w 9759834"/>
                <a:gd name="connsiteY1003" fmla="*/ 1561307 h 1762127"/>
                <a:gd name="connsiteX1004" fmla="*/ 1466114 w 9759834"/>
                <a:gd name="connsiteY1004" fmla="*/ 1527175 h 1762127"/>
                <a:gd name="connsiteX1005" fmla="*/ 9138327 w 9759834"/>
                <a:gd name="connsiteY1005" fmla="*/ 1441450 h 1762127"/>
                <a:gd name="connsiteX1006" fmla="*/ 9172459 w 9759834"/>
                <a:gd name="connsiteY1006" fmla="*/ 1475582 h 1762127"/>
                <a:gd name="connsiteX1007" fmla="*/ 9138327 w 9759834"/>
                <a:gd name="connsiteY1007" fmla="*/ 1509714 h 1762127"/>
                <a:gd name="connsiteX1008" fmla="*/ 9104195 w 9759834"/>
                <a:gd name="connsiteY1008" fmla="*/ 1475582 h 1762127"/>
                <a:gd name="connsiteX1009" fmla="*/ 9138327 w 9759834"/>
                <a:gd name="connsiteY1009" fmla="*/ 1441450 h 1762127"/>
                <a:gd name="connsiteX1010" fmla="*/ 8966877 w 9759834"/>
                <a:gd name="connsiteY1010" fmla="*/ 1441450 h 1762127"/>
                <a:gd name="connsiteX1011" fmla="*/ 9001009 w 9759834"/>
                <a:gd name="connsiteY1011" fmla="*/ 1475582 h 1762127"/>
                <a:gd name="connsiteX1012" fmla="*/ 8966877 w 9759834"/>
                <a:gd name="connsiteY1012" fmla="*/ 1509714 h 1762127"/>
                <a:gd name="connsiteX1013" fmla="*/ 8932745 w 9759834"/>
                <a:gd name="connsiteY1013" fmla="*/ 1475582 h 1762127"/>
                <a:gd name="connsiteX1014" fmla="*/ 8966877 w 9759834"/>
                <a:gd name="connsiteY1014" fmla="*/ 1441450 h 1762127"/>
                <a:gd name="connsiteX1015" fmla="*/ 8884327 w 9759834"/>
                <a:gd name="connsiteY1015" fmla="*/ 1441450 h 1762127"/>
                <a:gd name="connsiteX1016" fmla="*/ 8921634 w 9759834"/>
                <a:gd name="connsiteY1016" fmla="*/ 1475582 h 1762127"/>
                <a:gd name="connsiteX1017" fmla="*/ 8884327 w 9759834"/>
                <a:gd name="connsiteY1017" fmla="*/ 1509714 h 1762127"/>
                <a:gd name="connsiteX1018" fmla="*/ 8847020 w 9759834"/>
                <a:gd name="connsiteY1018" fmla="*/ 1475582 h 1762127"/>
                <a:gd name="connsiteX1019" fmla="*/ 8884327 w 9759834"/>
                <a:gd name="connsiteY1019" fmla="*/ 1441450 h 1762127"/>
                <a:gd name="connsiteX1020" fmla="*/ 8801777 w 9759834"/>
                <a:gd name="connsiteY1020" fmla="*/ 1441450 h 1762127"/>
                <a:gd name="connsiteX1021" fmla="*/ 8835909 w 9759834"/>
                <a:gd name="connsiteY1021" fmla="*/ 1475582 h 1762127"/>
                <a:gd name="connsiteX1022" fmla="*/ 8801777 w 9759834"/>
                <a:gd name="connsiteY1022" fmla="*/ 1509714 h 1762127"/>
                <a:gd name="connsiteX1023" fmla="*/ 8767645 w 9759834"/>
                <a:gd name="connsiteY1023" fmla="*/ 1475582 h 1762127"/>
                <a:gd name="connsiteX1024" fmla="*/ 8801777 w 9759834"/>
                <a:gd name="connsiteY1024" fmla="*/ 1441450 h 1762127"/>
                <a:gd name="connsiteX1025" fmla="*/ 8716052 w 9759834"/>
                <a:gd name="connsiteY1025" fmla="*/ 1441450 h 1762127"/>
                <a:gd name="connsiteX1026" fmla="*/ 8750184 w 9759834"/>
                <a:gd name="connsiteY1026" fmla="*/ 1475582 h 1762127"/>
                <a:gd name="connsiteX1027" fmla="*/ 8716052 w 9759834"/>
                <a:gd name="connsiteY1027" fmla="*/ 1509714 h 1762127"/>
                <a:gd name="connsiteX1028" fmla="*/ 8681920 w 9759834"/>
                <a:gd name="connsiteY1028" fmla="*/ 1475582 h 1762127"/>
                <a:gd name="connsiteX1029" fmla="*/ 8716052 w 9759834"/>
                <a:gd name="connsiteY1029" fmla="*/ 1441450 h 1762127"/>
                <a:gd name="connsiteX1030" fmla="*/ 8630327 w 9759834"/>
                <a:gd name="connsiteY1030" fmla="*/ 1441450 h 1762127"/>
                <a:gd name="connsiteX1031" fmla="*/ 8664459 w 9759834"/>
                <a:gd name="connsiteY1031" fmla="*/ 1475582 h 1762127"/>
                <a:gd name="connsiteX1032" fmla="*/ 8630327 w 9759834"/>
                <a:gd name="connsiteY1032" fmla="*/ 1509714 h 1762127"/>
                <a:gd name="connsiteX1033" fmla="*/ 8596195 w 9759834"/>
                <a:gd name="connsiteY1033" fmla="*/ 1475582 h 1762127"/>
                <a:gd name="connsiteX1034" fmla="*/ 8630327 w 9759834"/>
                <a:gd name="connsiteY1034" fmla="*/ 1441450 h 1762127"/>
                <a:gd name="connsiteX1035" fmla="*/ 8544602 w 9759834"/>
                <a:gd name="connsiteY1035" fmla="*/ 1441450 h 1762127"/>
                <a:gd name="connsiteX1036" fmla="*/ 8578734 w 9759834"/>
                <a:gd name="connsiteY1036" fmla="*/ 1475582 h 1762127"/>
                <a:gd name="connsiteX1037" fmla="*/ 8544602 w 9759834"/>
                <a:gd name="connsiteY1037" fmla="*/ 1509714 h 1762127"/>
                <a:gd name="connsiteX1038" fmla="*/ 8510470 w 9759834"/>
                <a:gd name="connsiteY1038" fmla="*/ 1475582 h 1762127"/>
                <a:gd name="connsiteX1039" fmla="*/ 8544602 w 9759834"/>
                <a:gd name="connsiteY1039" fmla="*/ 1441450 h 1762127"/>
                <a:gd name="connsiteX1040" fmla="*/ 8465227 w 9759834"/>
                <a:gd name="connsiteY1040" fmla="*/ 1441450 h 1762127"/>
                <a:gd name="connsiteX1041" fmla="*/ 8499359 w 9759834"/>
                <a:gd name="connsiteY1041" fmla="*/ 1475582 h 1762127"/>
                <a:gd name="connsiteX1042" fmla="*/ 8465227 w 9759834"/>
                <a:gd name="connsiteY1042" fmla="*/ 1509714 h 1762127"/>
                <a:gd name="connsiteX1043" fmla="*/ 8431095 w 9759834"/>
                <a:gd name="connsiteY1043" fmla="*/ 1475582 h 1762127"/>
                <a:gd name="connsiteX1044" fmla="*/ 8465227 w 9759834"/>
                <a:gd name="connsiteY1044" fmla="*/ 1441450 h 1762127"/>
                <a:gd name="connsiteX1045" fmla="*/ 8379502 w 9759834"/>
                <a:gd name="connsiteY1045" fmla="*/ 1441450 h 1762127"/>
                <a:gd name="connsiteX1046" fmla="*/ 8413634 w 9759834"/>
                <a:gd name="connsiteY1046" fmla="*/ 1475582 h 1762127"/>
                <a:gd name="connsiteX1047" fmla="*/ 8379502 w 9759834"/>
                <a:gd name="connsiteY1047" fmla="*/ 1509714 h 1762127"/>
                <a:gd name="connsiteX1048" fmla="*/ 8345370 w 9759834"/>
                <a:gd name="connsiteY1048" fmla="*/ 1475582 h 1762127"/>
                <a:gd name="connsiteX1049" fmla="*/ 8379502 w 9759834"/>
                <a:gd name="connsiteY1049" fmla="*/ 1441450 h 1762127"/>
                <a:gd name="connsiteX1050" fmla="*/ 8293777 w 9759834"/>
                <a:gd name="connsiteY1050" fmla="*/ 1441450 h 1762127"/>
                <a:gd name="connsiteX1051" fmla="*/ 8327909 w 9759834"/>
                <a:gd name="connsiteY1051" fmla="*/ 1475582 h 1762127"/>
                <a:gd name="connsiteX1052" fmla="*/ 8293777 w 9759834"/>
                <a:gd name="connsiteY1052" fmla="*/ 1509714 h 1762127"/>
                <a:gd name="connsiteX1053" fmla="*/ 8259645 w 9759834"/>
                <a:gd name="connsiteY1053" fmla="*/ 1475582 h 1762127"/>
                <a:gd name="connsiteX1054" fmla="*/ 8293777 w 9759834"/>
                <a:gd name="connsiteY1054" fmla="*/ 1441450 h 1762127"/>
                <a:gd name="connsiteX1055" fmla="*/ 8208052 w 9759834"/>
                <a:gd name="connsiteY1055" fmla="*/ 1441450 h 1762127"/>
                <a:gd name="connsiteX1056" fmla="*/ 8242184 w 9759834"/>
                <a:gd name="connsiteY1056" fmla="*/ 1475582 h 1762127"/>
                <a:gd name="connsiteX1057" fmla="*/ 8208052 w 9759834"/>
                <a:gd name="connsiteY1057" fmla="*/ 1509714 h 1762127"/>
                <a:gd name="connsiteX1058" fmla="*/ 8173920 w 9759834"/>
                <a:gd name="connsiteY1058" fmla="*/ 1475582 h 1762127"/>
                <a:gd name="connsiteX1059" fmla="*/ 8208052 w 9759834"/>
                <a:gd name="connsiteY1059" fmla="*/ 1441450 h 1762127"/>
                <a:gd name="connsiteX1060" fmla="*/ 8125502 w 9759834"/>
                <a:gd name="connsiteY1060" fmla="*/ 1441450 h 1762127"/>
                <a:gd name="connsiteX1061" fmla="*/ 8162809 w 9759834"/>
                <a:gd name="connsiteY1061" fmla="*/ 1475582 h 1762127"/>
                <a:gd name="connsiteX1062" fmla="*/ 8125502 w 9759834"/>
                <a:gd name="connsiteY1062" fmla="*/ 1509714 h 1762127"/>
                <a:gd name="connsiteX1063" fmla="*/ 8088195 w 9759834"/>
                <a:gd name="connsiteY1063" fmla="*/ 1475582 h 1762127"/>
                <a:gd name="connsiteX1064" fmla="*/ 8125502 w 9759834"/>
                <a:gd name="connsiteY1064" fmla="*/ 1441450 h 1762127"/>
                <a:gd name="connsiteX1065" fmla="*/ 7957227 w 9759834"/>
                <a:gd name="connsiteY1065" fmla="*/ 1441450 h 1762127"/>
                <a:gd name="connsiteX1066" fmla="*/ 7991359 w 9759834"/>
                <a:gd name="connsiteY1066" fmla="*/ 1475582 h 1762127"/>
                <a:gd name="connsiteX1067" fmla="*/ 7957227 w 9759834"/>
                <a:gd name="connsiteY1067" fmla="*/ 1509714 h 1762127"/>
                <a:gd name="connsiteX1068" fmla="*/ 7923095 w 9759834"/>
                <a:gd name="connsiteY1068" fmla="*/ 1475582 h 1762127"/>
                <a:gd name="connsiteX1069" fmla="*/ 7957227 w 9759834"/>
                <a:gd name="connsiteY1069" fmla="*/ 1441450 h 1762127"/>
                <a:gd name="connsiteX1070" fmla="*/ 7871502 w 9759834"/>
                <a:gd name="connsiteY1070" fmla="*/ 1441450 h 1762127"/>
                <a:gd name="connsiteX1071" fmla="*/ 7905634 w 9759834"/>
                <a:gd name="connsiteY1071" fmla="*/ 1475582 h 1762127"/>
                <a:gd name="connsiteX1072" fmla="*/ 7871502 w 9759834"/>
                <a:gd name="connsiteY1072" fmla="*/ 1509714 h 1762127"/>
                <a:gd name="connsiteX1073" fmla="*/ 7837370 w 9759834"/>
                <a:gd name="connsiteY1073" fmla="*/ 1475582 h 1762127"/>
                <a:gd name="connsiteX1074" fmla="*/ 7871502 w 9759834"/>
                <a:gd name="connsiteY1074" fmla="*/ 1441450 h 1762127"/>
                <a:gd name="connsiteX1075" fmla="*/ 7785777 w 9759834"/>
                <a:gd name="connsiteY1075" fmla="*/ 1441450 h 1762127"/>
                <a:gd name="connsiteX1076" fmla="*/ 7819909 w 9759834"/>
                <a:gd name="connsiteY1076" fmla="*/ 1475582 h 1762127"/>
                <a:gd name="connsiteX1077" fmla="*/ 7785777 w 9759834"/>
                <a:gd name="connsiteY1077" fmla="*/ 1509714 h 1762127"/>
                <a:gd name="connsiteX1078" fmla="*/ 7751645 w 9759834"/>
                <a:gd name="connsiteY1078" fmla="*/ 1475582 h 1762127"/>
                <a:gd name="connsiteX1079" fmla="*/ 7785777 w 9759834"/>
                <a:gd name="connsiteY1079" fmla="*/ 1441450 h 1762127"/>
                <a:gd name="connsiteX1080" fmla="*/ 7706402 w 9759834"/>
                <a:gd name="connsiteY1080" fmla="*/ 1441450 h 1762127"/>
                <a:gd name="connsiteX1081" fmla="*/ 7740534 w 9759834"/>
                <a:gd name="connsiteY1081" fmla="*/ 1475582 h 1762127"/>
                <a:gd name="connsiteX1082" fmla="*/ 7706402 w 9759834"/>
                <a:gd name="connsiteY1082" fmla="*/ 1509714 h 1762127"/>
                <a:gd name="connsiteX1083" fmla="*/ 7672270 w 9759834"/>
                <a:gd name="connsiteY1083" fmla="*/ 1475582 h 1762127"/>
                <a:gd name="connsiteX1084" fmla="*/ 7706402 w 9759834"/>
                <a:gd name="connsiteY1084" fmla="*/ 1441450 h 1762127"/>
                <a:gd name="connsiteX1085" fmla="*/ 7620677 w 9759834"/>
                <a:gd name="connsiteY1085" fmla="*/ 1441450 h 1762127"/>
                <a:gd name="connsiteX1086" fmla="*/ 7654809 w 9759834"/>
                <a:gd name="connsiteY1086" fmla="*/ 1475582 h 1762127"/>
                <a:gd name="connsiteX1087" fmla="*/ 7620677 w 9759834"/>
                <a:gd name="connsiteY1087" fmla="*/ 1509714 h 1762127"/>
                <a:gd name="connsiteX1088" fmla="*/ 7586545 w 9759834"/>
                <a:gd name="connsiteY1088" fmla="*/ 1475582 h 1762127"/>
                <a:gd name="connsiteX1089" fmla="*/ 7620677 w 9759834"/>
                <a:gd name="connsiteY1089" fmla="*/ 1441450 h 1762127"/>
                <a:gd name="connsiteX1090" fmla="*/ 7534952 w 9759834"/>
                <a:gd name="connsiteY1090" fmla="*/ 1441450 h 1762127"/>
                <a:gd name="connsiteX1091" fmla="*/ 7569084 w 9759834"/>
                <a:gd name="connsiteY1091" fmla="*/ 1475582 h 1762127"/>
                <a:gd name="connsiteX1092" fmla="*/ 7534952 w 9759834"/>
                <a:gd name="connsiteY1092" fmla="*/ 1509714 h 1762127"/>
                <a:gd name="connsiteX1093" fmla="*/ 7500820 w 9759834"/>
                <a:gd name="connsiteY1093" fmla="*/ 1475582 h 1762127"/>
                <a:gd name="connsiteX1094" fmla="*/ 7534952 w 9759834"/>
                <a:gd name="connsiteY1094" fmla="*/ 1441450 h 1762127"/>
                <a:gd name="connsiteX1095" fmla="*/ 7449227 w 9759834"/>
                <a:gd name="connsiteY1095" fmla="*/ 1441450 h 1762127"/>
                <a:gd name="connsiteX1096" fmla="*/ 7483359 w 9759834"/>
                <a:gd name="connsiteY1096" fmla="*/ 1475582 h 1762127"/>
                <a:gd name="connsiteX1097" fmla="*/ 7449227 w 9759834"/>
                <a:gd name="connsiteY1097" fmla="*/ 1509714 h 1762127"/>
                <a:gd name="connsiteX1098" fmla="*/ 7415095 w 9759834"/>
                <a:gd name="connsiteY1098" fmla="*/ 1475582 h 1762127"/>
                <a:gd name="connsiteX1099" fmla="*/ 7449227 w 9759834"/>
                <a:gd name="connsiteY1099" fmla="*/ 1441450 h 1762127"/>
                <a:gd name="connsiteX1100" fmla="*/ 7366677 w 9759834"/>
                <a:gd name="connsiteY1100" fmla="*/ 1441450 h 1762127"/>
                <a:gd name="connsiteX1101" fmla="*/ 7403984 w 9759834"/>
                <a:gd name="connsiteY1101" fmla="*/ 1475582 h 1762127"/>
                <a:gd name="connsiteX1102" fmla="*/ 7366677 w 9759834"/>
                <a:gd name="connsiteY1102" fmla="*/ 1509714 h 1762127"/>
                <a:gd name="connsiteX1103" fmla="*/ 7329370 w 9759834"/>
                <a:gd name="connsiteY1103" fmla="*/ 1475582 h 1762127"/>
                <a:gd name="connsiteX1104" fmla="*/ 7366677 w 9759834"/>
                <a:gd name="connsiteY1104" fmla="*/ 1441450 h 1762127"/>
                <a:gd name="connsiteX1105" fmla="*/ 7284127 w 9759834"/>
                <a:gd name="connsiteY1105" fmla="*/ 1441450 h 1762127"/>
                <a:gd name="connsiteX1106" fmla="*/ 7318259 w 9759834"/>
                <a:gd name="connsiteY1106" fmla="*/ 1475582 h 1762127"/>
                <a:gd name="connsiteX1107" fmla="*/ 7284127 w 9759834"/>
                <a:gd name="connsiteY1107" fmla="*/ 1509714 h 1762127"/>
                <a:gd name="connsiteX1108" fmla="*/ 7249995 w 9759834"/>
                <a:gd name="connsiteY1108" fmla="*/ 1475582 h 1762127"/>
                <a:gd name="connsiteX1109" fmla="*/ 7284127 w 9759834"/>
                <a:gd name="connsiteY1109" fmla="*/ 1441450 h 1762127"/>
                <a:gd name="connsiteX1110" fmla="*/ 7198402 w 9759834"/>
                <a:gd name="connsiteY1110" fmla="*/ 1441450 h 1762127"/>
                <a:gd name="connsiteX1111" fmla="*/ 7232534 w 9759834"/>
                <a:gd name="connsiteY1111" fmla="*/ 1475582 h 1762127"/>
                <a:gd name="connsiteX1112" fmla="*/ 7198402 w 9759834"/>
                <a:gd name="connsiteY1112" fmla="*/ 1509714 h 1762127"/>
                <a:gd name="connsiteX1113" fmla="*/ 7164270 w 9759834"/>
                <a:gd name="connsiteY1113" fmla="*/ 1475582 h 1762127"/>
                <a:gd name="connsiteX1114" fmla="*/ 7198402 w 9759834"/>
                <a:gd name="connsiteY1114" fmla="*/ 1441450 h 1762127"/>
                <a:gd name="connsiteX1115" fmla="*/ 7112677 w 9759834"/>
                <a:gd name="connsiteY1115" fmla="*/ 1441450 h 1762127"/>
                <a:gd name="connsiteX1116" fmla="*/ 7146809 w 9759834"/>
                <a:gd name="connsiteY1116" fmla="*/ 1475582 h 1762127"/>
                <a:gd name="connsiteX1117" fmla="*/ 7112677 w 9759834"/>
                <a:gd name="connsiteY1117" fmla="*/ 1509714 h 1762127"/>
                <a:gd name="connsiteX1118" fmla="*/ 7078545 w 9759834"/>
                <a:gd name="connsiteY1118" fmla="*/ 1475582 h 1762127"/>
                <a:gd name="connsiteX1119" fmla="*/ 7112677 w 9759834"/>
                <a:gd name="connsiteY1119" fmla="*/ 1441450 h 1762127"/>
                <a:gd name="connsiteX1120" fmla="*/ 7027745 w 9759834"/>
                <a:gd name="connsiteY1120" fmla="*/ 1441450 h 1762127"/>
                <a:gd name="connsiteX1121" fmla="*/ 7062670 w 9759834"/>
                <a:gd name="connsiteY1121" fmla="*/ 1475582 h 1762127"/>
                <a:gd name="connsiteX1122" fmla="*/ 7027745 w 9759834"/>
                <a:gd name="connsiteY1122" fmla="*/ 1509714 h 1762127"/>
                <a:gd name="connsiteX1123" fmla="*/ 6992820 w 9759834"/>
                <a:gd name="connsiteY1123" fmla="*/ 1475582 h 1762127"/>
                <a:gd name="connsiteX1124" fmla="*/ 7027745 w 9759834"/>
                <a:gd name="connsiteY1124" fmla="*/ 1441450 h 1762127"/>
                <a:gd name="connsiteX1125" fmla="*/ 6947577 w 9759834"/>
                <a:gd name="connsiteY1125" fmla="*/ 1441450 h 1762127"/>
                <a:gd name="connsiteX1126" fmla="*/ 6981709 w 9759834"/>
                <a:gd name="connsiteY1126" fmla="*/ 1475582 h 1762127"/>
                <a:gd name="connsiteX1127" fmla="*/ 6947577 w 9759834"/>
                <a:gd name="connsiteY1127" fmla="*/ 1509714 h 1762127"/>
                <a:gd name="connsiteX1128" fmla="*/ 6913445 w 9759834"/>
                <a:gd name="connsiteY1128" fmla="*/ 1475582 h 1762127"/>
                <a:gd name="connsiteX1129" fmla="*/ 6947577 w 9759834"/>
                <a:gd name="connsiteY1129" fmla="*/ 1441450 h 1762127"/>
                <a:gd name="connsiteX1130" fmla="*/ 6861852 w 9759834"/>
                <a:gd name="connsiteY1130" fmla="*/ 1441450 h 1762127"/>
                <a:gd name="connsiteX1131" fmla="*/ 6895984 w 9759834"/>
                <a:gd name="connsiteY1131" fmla="*/ 1475582 h 1762127"/>
                <a:gd name="connsiteX1132" fmla="*/ 6861852 w 9759834"/>
                <a:gd name="connsiteY1132" fmla="*/ 1509714 h 1762127"/>
                <a:gd name="connsiteX1133" fmla="*/ 6827720 w 9759834"/>
                <a:gd name="connsiteY1133" fmla="*/ 1475582 h 1762127"/>
                <a:gd name="connsiteX1134" fmla="*/ 6861852 w 9759834"/>
                <a:gd name="connsiteY1134" fmla="*/ 1441450 h 1762127"/>
                <a:gd name="connsiteX1135" fmla="*/ 6776127 w 9759834"/>
                <a:gd name="connsiteY1135" fmla="*/ 1441450 h 1762127"/>
                <a:gd name="connsiteX1136" fmla="*/ 6810259 w 9759834"/>
                <a:gd name="connsiteY1136" fmla="*/ 1475582 h 1762127"/>
                <a:gd name="connsiteX1137" fmla="*/ 6776127 w 9759834"/>
                <a:gd name="connsiteY1137" fmla="*/ 1509714 h 1762127"/>
                <a:gd name="connsiteX1138" fmla="*/ 6741995 w 9759834"/>
                <a:gd name="connsiteY1138" fmla="*/ 1475582 h 1762127"/>
                <a:gd name="connsiteX1139" fmla="*/ 6776127 w 9759834"/>
                <a:gd name="connsiteY1139" fmla="*/ 1441450 h 1762127"/>
                <a:gd name="connsiteX1140" fmla="*/ 6691195 w 9759834"/>
                <a:gd name="connsiteY1140" fmla="*/ 1441450 h 1762127"/>
                <a:gd name="connsiteX1141" fmla="*/ 6726120 w 9759834"/>
                <a:gd name="connsiteY1141" fmla="*/ 1475582 h 1762127"/>
                <a:gd name="connsiteX1142" fmla="*/ 6691195 w 9759834"/>
                <a:gd name="connsiteY1142" fmla="*/ 1509714 h 1762127"/>
                <a:gd name="connsiteX1143" fmla="*/ 6656270 w 9759834"/>
                <a:gd name="connsiteY1143" fmla="*/ 1475582 h 1762127"/>
                <a:gd name="connsiteX1144" fmla="*/ 6691195 w 9759834"/>
                <a:gd name="connsiteY1144" fmla="*/ 1441450 h 1762127"/>
                <a:gd name="connsiteX1145" fmla="*/ 6607852 w 9759834"/>
                <a:gd name="connsiteY1145" fmla="*/ 1441450 h 1762127"/>
                <a:gd name="connsiteX1146" fmla="*/ 6645159 w 9759834"/>
                <a:gd name="connsiteY1146" fmla="*/ 1475582 h 1762127"/>
                <a:gd name="connsiteX1147" fmla="*/ 6607852 w 9759834"/>
                <a:gd name="connsiteY1147" fmla="*/ 1509714 h 1762127"/>
                <a:gd name="connsiteX1148" fmla="*/ 6570545 w 9759834"/>
                <a:gd name="connsiteY1148" fmla="*/ 1475582 h 1762127"/>
                <a:gd name="connsiteX1149" fmla="*/ 6607852 w 9759834"/>
                <a:gd name="connsiteY1149" fmla="*/ 1441450 h 1762127"/>
                <a:gd name="connsiteX1150" fmla="*/ 6525302 w 9759834"/>
                <a:gd name="connsiteY1150" fmla="*/ 1441450 h 1762127"/>
                <a:gd name="connsiteX1151" fmla="*/ 6559434 w 9759834"/>
                <a:gd name="connsiteY1151" fmla="*/ 1475582 h 1762127"/>
                <a:gd name="connsiteX1152" fmla="*/ 6525302 w 9759834"/>
                <a:gd name="connsiteY1152" fmla="*/ 1509714 h 1762127"/>
                <a:gd name="connsiteX1153" fmla="*/ 6491170 w 9759834"/>
                <a:gd name="connsiteY1153" fmla="*/ 1475582 h 1762127"/>
                <a:gd name="connsiteX1154" fmla="*/ 6525302 w 9759834"/>
                <a:gd name="connsiteY1154" fmla="*/ 1441450 h 1762127"/>
                <a:gd name="connsiteX1155" fmla="*/ 6439577 w 9759834"/>
                <a:gd name="connsiteY1155" fmla="*/ 1441450 h 1762127"/>
                <a:gd name="connsiteX1156" fmla="*/ 6473709 w 9759834"/>
                <a:gd name="connsiteY1156" fmla="*/ 1475582 h 1762127"/>
                <a:gd name="connsiteX1157" fmla="*/ 6439577 w 9759834"/>
                <a:gd name="connsiteY1157" fmla="*/ 1509714 h 1762127"/>
                <a:gd name="connsiteX1158" fmla="*/ 6405445 w 9759834"/>
                <a:gd name="connsiteY1158" fmla="*/ 1475582 h 1762127"/>
                <a:gd name="connsiteX1159" fmla="*/ 6439577 w 9759834"/>
                <a:gd name="connsiteY1159" fmla="*/ 1441450 h 1762127"/>
                <a:gd name="connsiteX1160" fmla="*/ 6353852 w 9759834"/>
                <a:gd name="connsiteY1160" fmla="*/ 1441450 h 1762127"/>
                <a:gd name="connsiteX1161" fmla="*/ 6387984 w 9759834"/>
                <a:gd name="connsiteY1161" fmla="*/ 1475582 h 1762127"/>
                <a:gd name="connsiteX1162" fmla="*/ 6353852 w 9759834"/>
                <a:gd name="connsiteY1162" fmla="*/ 1509714 h 1762127"/>
                <a:gd name="connsiteX1163" fmla="*/ 6319720 w 9759834"/>
                <a:gd name="connsiteY1163" fmla="*/ 1475582 h 1762127"/>
                <a:gd name="connsiteX1164" fmla="*/ 6353852 w 9759834"/>
                <a:gd name="connsiteY1164" fmla="*/ 1441450 h 1762127"/>
                <a:gd name="connsiteX1165" fmla="*/ 6268920 w 9759834"/>
                <a:gd name="connsiteY1165" fmla="*/ 1441450 h 1762127"/>
                <a:gd name="connsiteX1166" fmla="*/ 6303845 w 9759834"/>
                <a:gd name="connsiteY1166" fmla="*/ 1475582 h 1762127"/>
                <a:gd name="connsiteX1167" fmla="*/ 6268920 w 9759834"/>
                <a:gd name="connsiteY1167" fmla="*/ 1509714 h 1762127"/>
                <a:gd name="connsiteX1168" fmla="*/ 6233995 w 9759834"/>
                <a:gd name="connsiteY1168" fmla="*/ 1475582 h 1762127"/>
                <a:gd name="connsiteX1169" fmla="*/ 6268920 w 9759834"/>
                <a:gd name="connsiteY1169" fmla="*/ 1441450 h 1762127"/>
                <a:gd name="connsiteX1170" fmla="*/ 6188752 w 9759834"/>
                <a:gd name="connsiteY1170" fmla="*/ 1441450 h 1762127"/>
                <a:gd name="connsiteX1171" fmla="*/ 6222884 w 9759834"/>
                <a:gd name="connsiteY1171" fmla="*/ 1475582 h 1762127"/>
                <a:gd name="connsiteX1172" fmla="*/ 6188752 w 9759834"/>
                <a:gd name="connsiteY1172" fmla="*/ 1509714 h 1762127"/>
                <a:gd name="connsiteX1173" fmla="*/ 6154620 w 9759834"/>
                <a:gd name="connsiteY1173" fmla="*/ 1475582 h 1762127"/>
                <a:gd name="connsiteX1174" fmla="*/ 6188752 w 9759834"/>
                <a:gd name="connsiteY1174" fmla="*/ 1441450 h 1762127"/>
                <a:gd name="connsiteX1175" fmla="*/ 6103027 w 9759834"/>
                <a:gd name="connsiteY1175" fmla="*/ 1441450 h 1762127"/>
                <a:gd name="connsiteX1176" fmla="*/ 6137159 w 9759834"/>
                <a:gd name="connsiteY1176" fmla="*/ 1475582 h 1762127"/>
                <a:gd name="connsiteX1177" fmla="*/ 6103027 w 9759834"/>
                <a:gd name="connsiteY1177" fmla="*/ 1509714 h 1762127"/>
                <a:gd name="connsiteX1178" fmla="*/ 6068895 w 9759834"/>
                <a:gd name="connsiteY1178" fmla="*/ 1475582 h 1762127"/>
                <a:gd name="connsiteX1179" fmla="*/ 6103027 w 9759834"/>
                <a:gd name="connsiteY1179" fmla="*/ 1441450 h 1762127"/>
                <a:gd name="connsiteX1180" fmla="*/ 6017302 w 9759834"/>
                <a:gd name="connsiteY1180" fmla="*/ 1441450 h 1762127"/>
                <a:gd name="connsiteX1181" fmla="*/ 6051434 w 9759834"/>
                <a:gd name="connsiteY1181" fmla="*/ 1475582 h 1762127"/>
                <a:gd name="connsiteX1182" fmla="*/ 6017302 w 9759834"/>
                <a:gd name="connsiteY1182" fmla="*/ 1509714 h 1762127"/>
                <a:gd name="connsiteX1183" fmla="*/ 5983170 w 9759834"/>
                <a:gd name="connsiteY1183" fmla="*/ 1475582 h 1762127"/>
                <a:gd name="connsiteX1184" fmla="*/ 6017302 w 9759834"/>
                <a:gd name="connsiteY1184" fmla="*/ 1441450 h 1762127"/>
                <a:gd name="connsiteX1185" fmla="*/ 5932370 w 9759834"/>
                <a:gd name="connsiteY1185" fmla="*/ 1441450 h 1762127"/>
                <a:gd name="connsiteX1186" fmla="*/ 5967295 w 9759834"/>
                <a:gd name="connsiteY1186" fmla="*/ 1475582 h 1762127"/>
                <a:gd name="connsiteX1187" fmla="*/ 5932370 w 9759834"/>
                <a:gd name="connsiteY1187" fmla="*/ 1509714 h 1762127"/>
                <a:gd name="connsiteX1188" fmla="*/ 5897445 w 9759834"/>
                <a:gd name="connsiteY1188" fmla="*/ 1475582 h 1762127"/>
                <a:gd name="connsiteX1189" fmla="*/ 5932370 w 9759834"/>
                <a:gd name="connsiteY1189" fmla="*/ 1441450 h 1762127"/>
                <a:gd name="connsiteX1190" fmla="*/ 5849821 w 9759834"/>
                <a:gd name="connsiteY1190" fmla="*/ 1441450 h 1762127"/>
                <a:gd name="connsiteX1191" fmla="*/ 5886334 w 9759834"/>
                <a:gd name="connsiteY1191" fmla="*/ 1475582 h 1762127"/>
                <a:gd name="connsiteX1192" fmla="*/ 5849821 w 9759834"/>
                <a:gd name="connsiteY1192" fmla="*/ 1509714 h 1762127"/>
                <a:gd name="connsiteX1193" fmla="*/ 5813308 w 9759834"/>
                <a:gd name="connsiteY1193" fmla="*/ 1475582 h 1762127"/>
                <a:gd name="connsiteX1194" fmla="*/ 5849821 w 9759834"/>
                <a:gd name="connsiteY1194" fmla="*/ 1441450 h 1762127"/>
                <a:gd name="connsiteX1195" fmla="*/ 5766477 w 9759834"/>
                <a:gd name="connsiteY1195" fmla="*/ 1441450 h 1762127"/>
                <a:gd name="connsiteX1196" fmla="*/ 5800609 w 9759834"/>
                <a:gd name="connsiteY1196" fmla="*/ 1475582 h 1762127"/>
                <a:gd name="connsiteX1197" fmla="*/ 5766477 w 9759834"/>
                <a:gd name="connsiteY1197" fmla="*/ 1509714 h 1762127"/>
                <a:gd name="connsiteX1198" fmla="*/ 5732345 w 9759834"/>
                <a:gd name="connsiteY1198" fmla="*/ 1475582 h 1762127"/>
                <a:gd name="connsiteX1199" fmla="*/ 5766477 w 9759834"/>
                <a:gd name="connsiteY1199" fmla="*/ 1441450 h 1762127"/>
                <a:gd name="connsiteX1200" fmla="*/ 5680752 w 9759834"/>
                <a:gd name="connsiteY1200" fmla="*/ 1441450 h 1762127"/>
                <a:gd name="connsiteX1201" fmla="*/ 5714884 w 9759834"/>
                <a:gd name="connsiteY1201" fmla="*/ 1475582 h 1762127"/>
                <a:gd name="connsiteX1202" fmla="*/ 5680752 w 9759834"/>
                <a:gd name="connsiteY1202" fmla="*/ 1509714 h 1762127"/>
                <a:gd name="connsiteX1203" fmla="*/ 5646620 w 9759834"/>
                <a:gd name="connsiteY1203" fmla="*/ 1475582 h 1762127"/>
                <a:gd name="connsiteX1204" fmla="*/ 5680752 w 9759834"/>
                <a:gd name="connsiteY1204" fmla="*/ 1441450 h 1762127"/>
                <a:gd name="connsiteX1205" fmla="*/ 5595820 w 9759834"/>
                <a:gd name="connsiteY1205" fmla="*/ 1441450 h 1762127"/>
                <a:gd name="connsiteX1206" fmla="*/ 5630745 w 9759834"/>
                <a:gd name="connsiteY1206" fmla="*/ 1475582 h 1762127"/>
                <a:gd name="connsiteX1207" fmla="*/ 5595820 w 9759834"/>
                <a:gd name="connsiteY1207" fmla="*/ 1509714 h 1762127"/>
                <a:gd name="connsiteX1208" fmla="*/ 5560895 w 9759834"/>
                <a:gd name="connsiteY1208" fmla="*/ 1475582 h 1762127"/>
                <a:gd name="connsiteX1209" fmla="*/ 5595820 w 9759834"/>
                <a:gd name="connsiteY1209" fmla="*/ 1441450 h 1762127"/>
                <a:gd name="connsiteX1210" fmla="*/ 5344202 w 9759834"/>
                <a:gd name="connsiteY1210" fmla="*/ 1441450 h 1762127"/>
                <a:gd name="connsiteX1211" fmla="*/ 5378334 w 9759834"/>
                <a:gd name="connsiteY1211" fmla="*/ 1475582 h 1762127"/>
                <a:gd name="connsiteX1212" fmla="*/ 5344202 w 9759834"/>
                <a:gd name="connsiteY1212" fmla="*/ 1509714 h 1762127"/>
                <a:gd name="connsiteX1213" fmla="*/ 5310070 w 9759834"/>
                <a:gd name="connsiteY1213" fmla="*/ 1475582 h 1762127"/>
                <a:gd name="connsiteX1214" fmla="*/ 5344202 w 9759834"/>
                <a:gd name="connsiteY1214" fmla="*/ 1441450 h 1762127"/>
                <a:gd name="connsiteX1215" fmla="*/ 4836995 w 9759834"/>
                <a:gd name="connsiteY1215" fmla="*/ 1441450 h 1762127"/>
                <a:gd name="connsiteX1216" fmla="*/ 4871920 w 9759834"/>
                <a:gd name="connsiteY1216" fmla="*/ 1475582 h 1762127"/>
                <a:gd name="connsiteX1217" fmla="*/ 4836995 w 9759834"/>
                <a:gd name="connsiteY1217" fmla="*/ 1509714 h 1762127"/>
                <a:gd name="connsiteX1218" fmla="*/ 4802070 w 9759834"/>
                <a:gd name="connsiteY1218" fmla="*/ 1475582 h 1762127"/>
                <a:gd name="connsiteX1219" fmla="*/ 4836995 w 9759834"/>
                <a:gd name="connsiteY1219" fmla="*/ 1441450 h 1762127"/>
                <a:gd name="connsiteX1220" fmla="*/ 3234414 w 9759834"/>
                <a:gd name="connsiteY1220" fmla="*/ 1441450 h 1762127"/>
                <a:gd name="connsiteX1221" fmla="*/ 3268546 w 9759834"/>
                <a:gd name="connsiteY1221" fmla="*/ 1475582 h 1762127"/>
                <a:gd name="connsiteX1222" fmla="*/ 3234414 w 9759834"/>
                <a:gd name="connsiteY1222" fmla="*/ 1509714 h 1762127"/>
                <a:gd name="connsiteX1223" fmla="*/ 3200282 w 9759834"/>
                <a:gd name="connsiteY1223" fmla="*/ 1475582 h 1762127"/>
                <a:gd name="connsiteX1224" fmla="*/ 3234414 w 9759834"/>
                <a:gd name="connsiteY1224" fmla="*/ 1441450 h 1762127"/>
                <a:gd name="connsiteX1225" fmla="*/ 3153452 w 9759834"/>
                <a:gd name="connsiteY1225" fmla="*/ 1441450 h 1762127"/>
                <a:gd name="connsiteX1226" fmla="*/ 3187584 w 9759834"/>
                <a:gd name="connsiteY1226" fmla="*/ 1475582 h 1762127"/>
                <a:gd name="connsiteX1227" fmla="*/ 3153452 w 9759834"/>
                <a:gd name="connsiteY1227" fmla="*/ 1509714 h 1762127"/>
                <a:gd name="connsiteX1228" fmla="*/ 3119320 w 9759834"/>
                <a:gd name="connsiteY1228" fmla="*/ 1475582 h 1762127"/>
                <a:gd name="connsiteX1229" fmla="*/ 3153452 w 9759834"/>
                <a:gd name="connsiteY1229" fmla="*/ 1441450 h 1762127"/>
                <a:gd name="connsiteX1230" fmla="*/ 3068520 w 9759834"/>
                <a:gd name="connsiteY1230" fmla="*/ 1441450 h 1762127"/>
                <a:gd name="connsiteX1231" fmla="*/ 3103445 w 9759834"/>
                <a:gd name="connsiteY1231" fmla="*/ 1475582 h 1762127"/>
                <a:gd name="connsiteX1232" fmla="*/ 3068520 w 9759834"/>
                <a:gd name="connsiteY1232" fmla="*/ 1509714 h 1762127"/>
                <a:gd name="connsiteX1233" fmla="*/ 3033595 w 9759834"/>
                <a:gd name="connsiteY1233" fmla="*/ 1475582 h 1762127"/>
                <a:gd name="connsiteX1234" fmla="*/ 3068520 w 9759834"/>
                <a:gd name="connsiteY1234" fmla="*/ 1441450 h 1762127"/>
                <a:gd name="connsiteX1235" fmla="*/ 2983589 w 9759834"/>
                <a:gd name="connsiteY1235" fmla="*/ 1441450 h 1762127"/>
                <a:gd name="connsiteX1236" fmla="*/ 3017721 w 9759834"/>
                <a:gd name="connsiteY1236" fmla="*/ 1475582 h 1762127"/>
                <a:gd name="connsiteX1237" fmla="*/ 2983589 w 9759834"/>
                <a:gd name="connsiteY1237" fmla="*/ 1509714 h 1762127"/>
                <a:gd name="connsiteX1238" fmla="*/ 2949457 w 9759834"/>
                <a:gd name="connsiteY1238" fmla="*/ 1475582 h 1762127"/>
                <a:gd name="connsiteX1239" fmla="*/ 2983589 w 9759834"/>
                <a:gd name="connsiteY1239" fmla="*/ 1441450 h 1762127"/>
                <a:gd name="connsiteX1240" fmla="*/ 2897864 w 9759834"/>
                <a:gd name="connsiteY1240" fmla="*/ 1441450 h 1762127"/>
                <a:gd name="connsiteX1241" fmla="*/ 2931996 w 9759834"/>
                <a:gd name="connsiteY1241" fmla="*/ 1475582 h 1762127"/>
                <a:gd name="connsiteX1242" fmla="*/ 2897864 w 9759834"/>
                <a:gd name="connsiteY1242" fmla="*/ 1509714 h 1762127"/>
                <a:gd name="connsiteX1243" fmla="*/ 2863732 w 9759834"/>
                <a:gd name="connsiteY1243" fmla="*/ 1475582 h 1762127"/>
                <a:gd name="connsiteX1244" fmla="*/ 2897864 w 9759834"/>
                <a:gd name="connsiteY1244" fmla="*/ 1441450 h 1762127"/>
                <a:gd name="connsiteX1245" fmla="*/ 2646410 w 9759834"/>
                <a:gd name="connsiteY1245" fmla="*/ 1441450 h 1762127"/>
                <a:gd name="connsiteX1246" fmla="*/ 2681334 w 9759834"/>
                <a:gd name="connsiteY1246" fmla="*/ 1475582 h 1762127"/>
                <a:gd name="connsiteX1247" fmla="*/ 2646410 w 9759834"/>
                <a:gd name="connsiteY1247" fmla="*/ 1509714 h 1762127"/>
                <a:gd name="connsiteX1248" fmla="*/ 2611483 w 9759834"/>
                <a:gd name="connsiteY1248" fmla="*/ 1475582 h 1762127"/>
                <a:gd name="connsiteX1249" fmla="*/ 2646410 w 9759834"/>
                <a:gd name="connsiteY1249" fmla="*/ 1441450 h 1762127"/>
                <a:gd name="connsiteX1250" fmla="*/ 2561479 w 9759834"/>
                <a:gd name="connsiteY1250" fmla="*/ 1441450 h 1762127"/>
                <a:gd name="connsiteX1251" fmla="*/ 2595609 w 9759834"/>
                <a:gd name="connsiteY1251" fmla="*/ 1475582 h 1762127"/>
                <a:gd name="connsiteX1252" fmla="*/ 2561479 w 9759834"/>
                <a:gd name="connsiteY1252" fmla="*/ 1509714 h 1762127"/>
                <a:gd name="connsiteX1253" fmla="*/ 2527342 w 9759834"/>
                <a:gd name="connsiteY1253" fmla="*/ 1475582 h 1762127"/>
                <a:gd name="connsiteX1254" fmla="*/ 2561479 w 9759834"/>
                <a:gd name="connsiteY1254" fmla="*/ 1441450 h 1762127"/>
                <a:gd name="connsiteX1255" fmla="*/ 2475754 w 9759834"/>
                <a:gd name="connsiteY1255" fmla="*/ 1441450 h 1762127"/>
                <a:gd name="connsiteX1256" fmla="*/ 2509883 w 9759834"/>
                <a:gd name="connsiteY1256" fmla="*/ 1475582 h 1762127"/>
                <a:gd name="connsiteX1257" fmla="*/ 2475754 w 9759834"/>
                <a:gd name="connsiteY1257" fmla="*/ 1509714 h 1762127"/>
                <a:gd name="connsiteX1258" fmla="*/ 2441619 w 9759834"/>
                <a:gd name="connsiteY1258" fmla="*/ 1475582 h 1762127"/>
                <a:gd name="connsiteX1259" fmla="*/ 2475754 w 9759834"/>
                <a:gd name="connsiteY1259" fmla="*/ 1441450 h 1762127"/>
                <a:gd name="connsiteX1260" fmla="*/ 2309856 w 9759834"/>
                <a:gd name="connsiteY1260" fmla="*/ 1441450 h 1762127"/>
                <a:gd name="connsiteX1261" fmla="*/ 2344781 w 9759834"/>
                <a:gd name="connsiteY1261" fmla="*/ 1475582 h 1762127"/>
                <a:gd name="connsiteX1262" fmla="*/ 2309856 w 9759834"/>
                <a:gd name="connsiteY1262" fmla="*/ 1509714 h 1762127"/>
                <a:gd name="connsiteX1263" fmla="*/ 2274920 w 9759834"/>
                <a:gd name="connsiteY1263" fmla="*/ 1475582 h 1762127"/>
                <a:gd name="connsiteX1264" fmla="*/ 2309856 w 9759834"/>
                <a:gd name="connsiteY1264" fmla="*/ 1441450 h 1762127"/>
                <a:gd name="connsiteX1265" fmla="*/ 2139049 w 9759834"/>
                <a:gd name="connsiteY1265" fmla="*/ 1441450 h 1762127"/>
                <a:gd name="connsiteX1266" fmla="*/ 2173180 w 9759834"/>
                <a:gd name="connsiteY1266" fmla="*/ 1475582 h 1762127"/>
                <a:gd name="connsiteX1267" fmla="*/ 2139049 w 9759834"/>
                <a:gd name="connsiteY1267" fmla="*/ 1509714 h 1762127"/>
                <a:gd name="connsiteX1268" fmla="*/ 2104917 w 9759834"/>
                <a:gd name="connsiteY1268" fmla="*/ 1475582 h 1762127"/>
                <a:gd name="connsiteX1269" fmla="*/ 2139049 w 9759834"/>
                <a:gd name="connsiteY1269" fmla="*/ 1441450 h 1762127"/>
                <a:gd name="connsiteX1270" fmla="*/ 2055705 w 9759834"/>
                <a:gd name="connsiteY1270" fmla="*/ 1441450 h 1762127"/>
                <a:gd name="connsiteX1271" fmla="*/ 2092218 w 9759834"/>
                <a:gd name="connsiteY1271" fmla="*/ 1475582 h 1762127"/>
                <a:gd name="connsiteX1272" fmla="*/ 2055705 w 9759834"/>
                <a:gd name="connsiteY1272" fmla="*/ 1509714 h 1762127"/>
                <a:gd name="connsiteX1273" fmla="*/ 2019193 w 9759834"/>
                <a:gd name="connsiteY1273" fmla="*/ 1475582 h 1762127"/>
                <a:gd name="connsiteX1274" fmla="*/ 2055705 w 9759834"/>
                <a:gd name="connsiteY1274" fmla="*/ 1441450 h 1762127"/>
                <a:gd name="connsiteX1275" fmla="*/ 1973155 w 9759834"/>
                <a:gd name="connsiteY1275" fmla="*/ 1441450 h 1762127"/>
                <a:gd name="connsiteX1276" fmla="*/ 2008080 w 9759834"/>
                <a:gd name="connsiteY1276" fmla="*/ 1475582 h 1762127"/>
                <a:gd name="connsiteX1277" fmla="*/ 1973155 w 9759834"/>
                <a:gd name="connsiteY1277" fmla="*/ 1509714 h 1762127"/>
                <a:gd name="connsiteX1278" fmla="*/ 1938230 w 9759834"/>
                <a:gd name="connsiteY1278" fmla="*/ 1475582 h 1762127"/>
                <a:gd name="connsiteX1279" fmla="*/ 1973155 w 9759834"/>
                <a:gd name="connsiteY1279" fmla="*/ 1441450 h 1762127"/>
                <a:gd name="connsiteX1280" fmla="*/ 1888224 w 9759834"/>
                <a:gd name="connsiteY1280" fmla="*/ 1441450 h 1762127"/>
                <a:gd name="connsiteX1281" fmla="*/ 1922356 w 9759834"/>
                <a:gd name="connsiteY1281" fmla="*/ 1475582 h 1762127"/>
                <a:gd name="connsiteX1282" fmla="*/ 1888224 w 9759834"/>
                <a:gd name="connsiteY1282" fmla="*/ 1509714 h 1762127"/>
                <a:gd name="connsiteX1283" fmla="*/ 1854092 w 9759834"/>
                <a:gd name="connsiteY1283" fmla="*/ 1475582 h 1762127"/>
                <a:gd name="connsiteX1284" fmla="*/ 1888224 w 9759834"/>
                <a:gd name="connsiteY1284" fmla="*/ 1441450 h 1762127"/>
                <a:gd name="connsiteX1285" fmla="*/ 1802499 w 9759834"/>
                <a:gd name="connsiteY1285" fmla="*/ 1441450 h 1762127"/>
                <a:gd name="connsiteX1286" fmla="*/ 1836631 w 9759834"/>
                <a:gd name="connsiteY1286" fmla="*/ 1475582 h 1762127"/>
                <a:gd name="connsiteX1287" fmla="*/ 1802499 w 9759834"/>
                <a:gd name="connsiteY1287" fmla="*/ 1509714 h 1762127"/>
                <a:gd name="connsiteX1288" fmla="*/ 1768367 w 9759834"/>
                <a:gd name="connsiteY1288" fmla="*/ 1475582 h 1762127"/>
                <a:gd name="connsiteX1289" fmla="*/ 1802499 w 9759834"/>
                <a:gd name="connsiteY1289" fmla="*/ 1441450 h 1762127"/>
                <a:gd name="connsiteX1290" fmla="*/ 1719155 w 9759834"/>
                <a:gd name="connsiteY1290" fmla="*/ 1441450 h 1762127"/>
                <a:gd name="connsiteX1291" fmla="*/ 1755668 w 9759834"/>
                <a:gd name="connsiteY1291" fmla="*/ 1475582 h 1762127"/>
                <a:gd name="connsiteX1292" fmla="*/ 1719155 w 9759834"/>
                <a:gd name="connsiteY1292" fmla="*/ 1509714 h 1762127"/>
                <a:gd name="connsiteX1293" fmla="*/ 1682642 w 9759834"/>
                <a:gd name="connsiteY1293" fmla="*/ 1475582 h 1762127"/>
                <a:gd name="connsiteX1294" fmla="*/ 1719155 w 9759834"/>
                <a:gd name="connsiteY1294" fmla="*/ 1441450 h 1762127"/>
                <a:gd name="connsiteX1295" fmla="*/ 1636604 w 9759834"/>
                <a:gd name="connsiteY1295" fmla="*/ 1441450 h 1762127"/>
                <a:gd name="connsiteX1296" fmla="*/ 1671530 w 9759834"/>
                <a:gd name="connsiteY1296" fmla="*/ 1475582 h 1762127"/>
                <a:gd name="connsiteX1297" fmla="*/ 1636604 w 9759834"/>
                <a:gd name="connsiteY1297" fmla="*/ 1509714 h 1762127"/>
                <a:gd name="connsiteX1298" fmla="*/ 1601679 w 9759834"/>
                <a:gd name="connsiteY1298" fmla="*/ 1475582 h 1762127"/>
                <a:gd name="connsiteX1299" fmla="*/ 1636604 w 9759834"/>
                <a:gd name="connsiteY1299" fmla="*/ 1441450 h 1762127"/>
                <a:gd name="connsiteX1300" fmla="*/ 1551677 w 9759834"/>
                <a:gd name="connsiteY1300" fmla="*/ 1441450 h 1762127"/>
                <a:gd name="connsiteX1301" fmla="*/ 1585810 w 9759834"/>
                <a:gd name="connsiteY1301" fmla="*/ 1475582 h 1762127"/>
                <a:gd name="connsiteX1302" fmla="*/ 1551677 w 9759834"/>
                <a:gd name="connsiteY1302" fmla="*/ 1509714 h 1762127"/>
                <a:gd name="connsiteX1303" fmla="*/ 1517546 w 9759834"/>
                <a:gd name="connsiteY1303" fmla="*/ 1475582 h 1762127"/>
                <a:gd name="connsiteX1304" fmla="*/ 1551677 w 9759834"/>
                <a:gd name="connsiteY1304" fmla="*/ 1441450 h 1762127"/>
                <a:gd name="connsiteX1305" fmla="*/ 1466114 w 9759834"/>
                <a:gd name="connsiteY1305" fmla="*/ 1441450 h 1762127"/>
                <a:gd name="connsiteX1306" fmla="*/ 1500247 w 9759834"/>
                <a:gd name="connsiteY1306" fmla="*/ 1475582 h 1762127"/>
                <a:gd name="connsiteX1307" fmla="*/ 1466114 w 9759834"/>
                <a:gd name="connsiteY1307" fmla="*/ 1509714 h 1762127"/>
                <a:gd name="connsiteX1308" fmla="*/ 1431983 w 9759834"/>
                <a:gd name="connsiteY1308" fmla="*/ 1475582 h 1762127"/>
                <a:gd name="connsiteX1309" fmla="*/ 1466114 w 9759834"/>
                <a:gd name="connsiteY1309" fmla="*/ 1441450 h 1762127"/>
                <a:gd name="connsiteX1310" fmla="*/ 1380392 w 9759834"/>
                <a:gd name="connsiteY1310" fmla="*/ 1441450 h 1762127"/>
                <a:gd name="connsiteX1311" fmla="*/ 1414522 w 9759834"/>
                <a:gd name="connsiteY1311" fmla="*/ 1475582 h 1762127"/>
                <a:gd name="connsiteX1312" fmla="*/ 1380392 w 9759834"/>
                <a:gd name="connsiteY1312" fmla="*/ 1509714 h 1762127"/>
                <a:gd name="connsiteX1313" fmla="*/ 1346258 w 9759834"/>
                <a:gd name="connsiteY1313" fmla="*/ 1475582 h 1762127"/>
                <a:gd name="connsiteX1314" fmla="*/ 1380392 w 9759834"/>
                <a:gd name="connsiteY1314" fmla="*/ 1441450 h 1762127"/>
                <a:gd name="connsiteX1315" fmla="*/ 9474877 w 9759834"/>
                <a:gd name="connsiteY1315" fmla="*/ 1354138 h 1762127"/>
                <a:gd name="connsiteX1316" fmla="*/ 9509009 w 9759834"/>
                <a:gd name="connsiteY1316" fmla="*/ 1389063 h 1762127"/>
                <a:gd name="connsiteX1317" fmla="*/ 9474877 w 9759834"/>
                <a:gd name="connsiteY1317" fmla="*/ 1423988 h 1762127"/>
                <a:gd name="connsiteX1318" fmla="*/ 9440745 w 9759834"/>
                <a:gd name="connsiteY1318" fmla="*/ 1389063 h 1762127"/>
                <a:gd name="connsiteX1319" fmla="*/ 9474877 w 9759834"/>
                <a:gd name="connsiteY1319" fmla="*/ 1354138 h 1762127"/>
                <a:gd name="connsiteX1320" fmla="*/ 9052602 w 9759834"/>
                <a:gd name="connsiteY1320" fmla="*/ 1354138 h 1762127"/>
                <a:gd name="connsiteX1321" fmla="*/ 9086734 w 9759834"/>
                <a:gd name="connsiteY1321" fmla="*/ 1389063 h 1762127"/>
                <a:gd name="connsiteX1322" fmla="*/ 9052602 w 9759834"/>
                <a:gd name="connsiteY1322" fmla="*/ 1423988 h 1762127"/>
                <a:gd name="connsiteX1323" fmla="*/ 9018470 w 9759834"/>
                <a:gd name="connsiteY1323" fmla="*/ 1389063 h 1762127"/>
                <a:gd name="connsiteX1324" fmla="*/ 9052602 w 9759834"/>
                <a:gd name="connsiteY1324" fmla="*/ 1354138 h 1762127"/>
                <a:gd name="connsiteX1325" fmla="*/ 8966877 w 9759834"/>
                <a:gd name="connsiteY1325" fmla="*/ 1354138 h 1762127"/>
                <a:gd name="connsiteX1326" fmla="*/ 9001009 w 9759834"/>
                <a:gd name="connsiteY1326" fmla="*/ 1389063 h 1762127"/>
                <a:gd name="connsiteX1327" fmla="*/ 8966877 w 9759834"/>
                <a:gd name="connsiteY1327" fmla="*/ 1423988 h 1762127"/>
                <a:gd name="connsiteX1328" fmla="*/ 8932745 w 9759834"/>
                <a:gd name="connsiteY1328" fmla="*/ 1389063 h 1762127"/>
                <a:gd name="connsiteX1329" fmla="*/ 8966877 w 9759834"/>
                <a:gd name="connsiteY1329" fmla="*/ 1354138 h 1762127"/>
                <a:gd name="connsiteX1330" fmla="*/ 8884327 w 9759834"/>
                <a:gd name="connsiteY1330" fmla="*/ 1354138 h 1762127"/>
                <a:gd name="connsiteX1331" fmla="*/ 8921634 w 9759834"/>
                <a:gd name="connsiteY1331" fmla="*/ 1389063 h 1762127"/>
                <a:gd name="connsiteX1332" fmla="*/ 8884327 w 9759834"/>
                <a:gd name="connsiteY1332" fmla="*/ 1423988 h 1762127"/>
                <a:gd name="connsiteX1333" fmla="*/ 8847020 w 9759834"/>
                <a:gd name="connsiteY1333" fmla="*/ 1389063 h 1762127"/>
                <a:gd name="connsiteX1334" fmla="*/ 8884327 w 9759834"/>
                <a:gd name="connsiteY1334" fmla="*/ 1354138 h 1762127"/>
                <a:gd name="connsiteX1335" fmla="*/ 8801777 w 9759834"/>
                <a:gd name="connsiteY1335" fmla="*/ 1354138 h 1762127"/>
                <a:gd name="connsiteX1336" fmla="*/ 8835909 w 9759834"/>
                <a:gd name="connsiteY1336" fmla="*/ 1389063 h 1762127"/>
                <a:gd name="connsiteX1337" fmla="*/ 8801777 w 9759834"/>
                <a:gd name="connsiteY1337" fmla="*/ 1423988 h 1762127"/>
                <a:gd name="connsiteX1338" fmla="*/ 8767645 w 9759834"/>
                <a:gd name="connsiteY1338" fmla="*/ 1389063 h 1762127"/>
                <a:gd name="connsiteX1339" fmla="*/ 8801777 w 9759834"/>
                <a:gd name="connsiteY1339" fmla="*/ 1354138 h 1762127"/>
                <a:gd name="connsiteX1340" fmla="*/ 8716052 w 9759834"/>
                <a:gd name="connsiteY1340" fmla="*/ 1354138 h 1762127"/>
                <a:gd name="connsiteX1341" fmla="*/ 8750184 w 9759834"/>
                <a:gd name="connsiteY1341" fmla="*/ 1389063 h 1762127"/>
                <a:gd name="connsiteX1342" fmla="*/ 8716052 w 9759834"/>
                <a:gd name="connsiteY1342" fmla="*/ 1423988 h 1762127"/>
                <a:gd name="connsiteX1343" fmla="*/ 8681920 w 9759834"/>
                <a:gd name="connsiteY1343" fmla="*/ 1389063 h 1762127"/>
                <a:gd name="connsiteX1344" fmla="*/ 8716052 w 9759834"/>
                <a:gd name="connsiteY1344" fmla="*/ 1354138 h 1762127"/>
                <a:gd name="connsiteX1345" fmla="*/ 8630327 w 9759834"/>
                <a:gd name="connsiteY1345" fmla="*/ 1354138 h 1762127"/>
                <a:gd name="connsiteX1346" fmla="*/ 8664459 w 9759834"/>
                <a:gd name="connsiteY1346" fmla="*/ 1389063 h 1762127"/>
                <a:gd name="connsiteX1347" fmla="*/ 8630327 w 9759834"/>
                <a:gd name="connsiteY1347" fmla="*/ 1423988 h 1762127"/>
                <a:gd name="connsiteX1348" fmla="*/ 8596195 w 9759834"/>
                <a:gd name="connsiteY1348" fmla="*/ 1389063 h 1762127"/>
                <a:gd name="connsiteX1349" fmla="*/ 8630327 w 9759834"/>
                <a:gd name="connsiteY1349" fmla="*/ 1354138 h 1762127"/>
                <a:gd name="connsiteX1350" fmla="*/ 8544602 w 9759834"/>
                <a:gd name="connsiteY1350" fmla="*/ 1354138 h 1762127"/>
                <a:gd name="connsiteX1351" fmla="*/ 8578734 w 9759834"/>
                <a:gd name="connsiteY1351" fmla="*/ 1389063 h 1762127"/>
                <a:gd name="connsiteX1352" fmla="*/ 8544602 w 9759834"/>
                <a:gd name="connsiteY1352" fmla="*/ 1423988 h 1762127"/>
                <a:gd name="connsiteX1353" fmla="*/ 8510470 w 9759834"/>
                <a:gd name="connsiteY1353" fmla="*/ 1389063 h 1762127"/>
                <a:gd name="connsiteX1354" fmla="*/ 8544602 w 9759834"/>
                <a:gd name="connsiteY1354" fmla="*/ 1354138 h 1762127"/>
                <a:gd name="connsiteX1355" fmla="*/ 8465227 w 9759834"/>
                <a:gd name="connsiteY1355" fmla="*/ 1354138 h 1762127"/>
                <a:gd name="connsiteX1356" fmla="*/ 8499359 w 9759834"/>
                <a:gd name="connsiteY1356" fmla="*/ 1389063 h 1762127"/>
                <a:gd name="connsiteX1357" fmla="*/ 8465227 w 9759834"/>
                <a:gd name="connsiteY1357" fmla="*/ 1423988 h 1762127"/>
                <a:gd name="connsiteX1358" fmla="*/ 8431095 w 9759834"/>
                <a:gd name="connsiteY1358" fmla="*/ 1389063 h 1762127"/>
                <a:gd name="connsiteX1359" fmla="*/ 8465227 w 9759834"/>
                <a:gd name="connsiteY1359" fmla="*/ 1354138 h 1762127"/>
                <a:gd name="connsiteX1360" fmla="*/ 8379502 w 9759834"/>
                <a:gd name="connsiteY1360" fmla="*/ 1354138 h 1762127"/>
                <a:gd name="connsiteX1361" fmla="*/ 8413634 w 9759834"/>
                <a:gd name="connsiteY1361" fmla="*/ 1389063 h 1762127"/>
                <a:gd name="connsiteX1362" fmla="*/ 8379502 w 9759834"/>
                <a:gd name="connsiteY1362" fmla="*/ 1423988 h 1762127"/>
                <a:gd name="connsiteX1363" fmla="*/ 8345370 w 9759834"/>
                <a:gd name="connsiteY1363" fmla="*/ 1389063 h 1762127"/>
                <a:gd name="connsiteX1364" fmla="*/ 8379502 w 9759834"/>
                <a:gd name="connsiteY1364" fmla="*/ 1354138 h 1762127"/>
                <a:gd name="connsiteX1365" fmla="*/ 8293777 w 9759834"/>
                <a:gd name="connsiteY1365" fmla="*/ 1354138 h 1762127"/>
                <a:gd name="connsiteX1366" fmla="*/ 8327909 w 9759834"/>
                <a:gd name="connsiteY1366" fmla="*/ 1389063 h 1762127"/>
                <a:gd name="connsiteX1367" fmla="*/ 8293777 w 9759834"/>
                <a:gd name="connsiteY1367" fmla="*/ 1423988 h 1762127"/>
                <a:gd name="connsiteX1368" fmla="*/ 8259645 w 9759834"/>
                <a:gd name="connsiteY1368" fmla="*/ 1389063 h 1762127"/>
                <a:gd name="connsiteX1369" fmla="*/ 8293777 w 9759834"/>
                <a:gd name="connsiteY1369" fmla="*/ 1354138 h 1762127"/>
                <a:gd name="connsiteX1370" fmla="*/ 8208052 w 9759834"/>
                <a:gd name="connsiteY1370" fmla="*/ 1354138 h 1762127"/>
                <a:gd name="connsiteX1371" fmla="*/ 8242184 w 9759834"/>
                <a:gd name="connsiteY1371" fmla="*/ 1389063 h 1762127"/>
                <a:gd name="connsiteX1372" fmla="*/ 8208052 w 9759834"/>
                <a:gd name="connsiteY1372" fmla="*/ 1423988 h 1762127"/>
                <a:gd name="connsiteX1373" fmla="*/ 8173920 w 9759834"/>
                <a:gd name="connsiteY1373" fmla="*/ 1389063 h 1762127"/>
                <a:gd name="connsiteX1374" fmla="*/ 8208052 w 9759834"/>
                <a:gd name="connsiteY1374" fmla="*/ 1354138 h 1762127"/>
                <a:gd name="connsiteX1375" fmla="*/ 8125502 w 9759834"/>
                <a:gd name="connsiteY1375" fmla="*/ 1354138 h 1762127"/>
                <a:gd name="connsiteX1376" fmla="*/ 8162809 w 9759834"/>
                <a:gd name="connsiteY1376" fmla="*/ 1389063 h 1762127"/>
                <a:gd name="connsiteX1377" fmla="*/ 8125502 w 9759834"/>
                <a:gd name="connsiteY1377" fmla="*/ 1423988 h 1762127"/>
                <a:gd name="connsiteX1378" fmla="*/ 8088195 w 9759834"/>
                <a:gd name="connsiteY1378" fmla="*/ 1389063 h 1762127"/>
                <a:gd name="connsiteX1379" fmla="*/ 8125502 w 9759834"/>
                <a:gd name="connsiteY1379" fmla="*/ 1354138 h 1762127"/>
                <a:gd name="connsiteX1380" fmla="*/ 8042952 w 9759834"/>
                <a:gd name="connsiteY1380" fmla="*/ 1354138 h 1762127"/>
                <a:gd name="connsiteX1381" fmla="*/ 8077084 w 9759834"/>
                <a:gd name="connsiteY1381" fmla="*/ 1389063 h 1762127"/>
                <a:gd name="connsiteX1382" fmla="*/ 8042952 w 9759834"/>
                <a:gd name="connsiteY1382" fmla="*/ 1423988 h 1762127"/>
                <a:gd name="connsiteX1383" fmla="*/ 8008820 w 9759834"/>
                <a:gd name="connsiteY1383" fmla="*/ 1389063 h 1762127"/>
                <a:gd name="connsiteX1384" fmla="*/ 8042952 w 9759834"/>
                <a:gd name="connsiteY1384" fmla="*/ 1354138 h 1762127"/>
                <a:gd name="connsiteX1385" fmla="*/ 7957227 w 9759834"/>
                <a:gd name="connsiteY1385" fmla="*/ 1354138 h 1762127"/>
                <a:gd name="connsiteX1386" fmla="*/ 7991359 w 9759834"/>
                <a:gd name="connsiteY1386" fmla="*/ 1389063 h 1762127"/>
                <a:gd name="connsiteX1387" fmla="*/ 7957227 w 9759834"/>
                <a:gd name="connsiteY1387" fmla="*/ 1423988 h 1762127"/>
                <a:gd name="connsiteX1388" fmla="*/ 7923095 w 9759834"/>
                <a:gd name="connsiteY1388" fmla="*/ 1389063 h 1762127"/>
                <a:gd name="connsiteX1389" fmla="*/ 7957227 w 9759834"/>
                <a:gd name="connsiteY1389" fmla="*/ 1354138 h 1762127"/>
                <a:gd name="connsiteX1390" fmla="*/ 7785777 w 9759834"/>
                <a:gd name="connsiteY1390" fmla="*/ 1354138 h 1762127"/>
                <a:gd name="connsiteX1391" fmla="*/ 7819909 w 9759834"/>
                <a:gd name="connsiteY1391" fmla="*/ 1389063 h 1762127"/>
                <a:gd name="connsiteX1392" fmla="*/ 7785777 w 9759834"/>
                <a:gd name="connsiteY1392" fmla="*/ 1423988 h 1762127"/>
                <a:gd name="connsiteX1393" fmla="*/ 7751645 w 9759834"/>
                <a:gd name="connsiteY1393" fmla="*/ 1389063 h 1762127"/>
                <a:gd name="connsiteX1394" fmla="*/ 7785777 w 9759834"/>
                <a:gd name="connsiteY1394" fmla="*/ 1354138 h 1762127"/>
                <a:gd name="connsiteX1395" fmla="*/ 7706402 w 9759834"/>
                <a:gd name="connsiteY1395" fmla="*/ 1354138 h 1762127"/>
                <a:gd name="connsiteX1396" fmla="*/ 7740534 w 9759834"/>
                <a:gd name="connsiteY1396" fmla="*/ 1389063 h 1762127"/>
                <a:gd name="connsiteX1397" fmla="*/ 7706402 w 9759834"/>
                <a:gd name="connsiteY1397" fmla="*/ 1423988 h 1762127"/>
                <a:gd name="connsiteX1398" fmla="*/ 7672270 w 9759834"/>
                <a:gd name="connsiteY1398" fmla="*/ 1389063 h 1762127"/>
                <a:gd name="connsiteX1399" fmla="*/ 7706402 w 9759834"/>
                <a:gd name="connsiteY1399" fmla="*/ 1354138 h 1762127"/>
                <a:gd name="connsiteX1400" fmla="*/ 7620677 w 9759834"/>
                <a:gd name="connsiteY1400" fmla="*/ 1354138 h 1762127"/>
                <a:gd name="connsiteX1401" fmla="*/ 7654809 w 9759834"/>
                <a:gd name="connsiteY1401" fmla="*/ 1389063 h 1762127"/>
                <a:gd name="connsiteX1402" fmla="*/ 7620677 w 9759834"/>
                <a:gd name="connsiteY1402" fmla="*/ 1423988 h 1762127"/>
                <a:gd name="connsiteX1403" fmla="*/ 7586545 w 9759834"/>
                <a:gd name="connsiteY1403" fmla="*/ 1389063 h 1762127"/>
                <a:gd name="connsiteX1404" fmla="*/ 7620677 w 9759834"/>
                <a:gd name="connsiteY1404" fmla="*/ 1354138 h 1762127"/>
                <a:gd name="connsiteX1405" fmla="*/ 7534952 w 9759834"/>
                <a:gd name="connsiteY1405" fmla="*/ 1354138 h 1762127"/>
                <a:gd name="connsiteX1406" fmla="*/ 7569084 w 9759834"/>
                <a:gd name="connsiteY1406" fmla="*/ 1389063 h 1762127"/>
                <a:gd name="connsiteX1407" fmla="*/ 7534952 w 9759834"/>
                <a:gd name="connsiteY1407" fmla="*/ 1423988 h 1762127"/>
                <a:gd name="connsiteX1408" fmla="*/ 7500820 w 9759834"/>
                <a:gd name="connsiteY1408" fmla="*/ 1389063 h 1762127"/>
                <a:gd name="connsiteX1409" fmla="*/ 7534952 w 9759834"/>
                <a:gd name="connsiteY1409" fmla="*/ 1354138 h 1762127"/>
                <a:gd name="connsiteX1410" fmla="*/ 7449227 w 9759834"/>
                <a:gd name="connsiteY1410" fmla="*/ 1354138 h 1762127"/>
                <a:gd name="connsiteX1411" fmla="*/ 7483359 w 9759834"/>
                <a:gd name="connsiteY1411" fmla="*/ 1389063 h 1762127"/>
                <a:gd name="connsiteX1412" fmla="*/ 7449227 w 9759834"/>
                <a:gd name="connsiteY1412" fmla="*/ 1423988 h 1762127"/>
                <a:gd name="connsiteX1413" fmla="*/ 7415095 w 9759834"/>
                <a:gd name="connsiteY1413" fmla="*/ 1389063 h 1762127"/>
                <a:gd name="connsiteX1414" fmla="*/ 7449227 w 9759834"/>
                <a:gd name="connsiteY1414" fmla="*/ 1354138 h 1762127"/>
                <a:gd name="connsiteX1415" fmla="*/ 7366677 w 9759834"/>
                <a:gd name="connsiteY1415" fmla="*/ 1354138 h 1762127"/>
                <a:gd name="connsiteX1416" fmla="*/ 7403984 w 9759834"/>
                <a:gd name="connsiteY1416" fmla="*/ 1389063 h 1762127"/>
                <a:gd name="connsiteX1417" fmla="*/ 7366677 w 9759834"/>
                <a:gd name="connsiteY1417" fmla="*/ 1423988 h 1762127"/>
                <a:gd name="connsiteX1418" fmla="*/ 7329370 w 9759834"/>
                <a:gd name="connsiteY1418" fmla="*/ 1389063 h 1762127"/>
                <a:gd name="connsiteX1419" fmla="*/ 7366677 w 9759834"/>
                <a:gd name="connsiteY1419" fmla="*/ 1354138 h 1762127"/>
                <a:gd name="connsiteX1420" fmla="*/ 7284127 w 9759834"/>
                <a:gd name="connsiteY1420" fmla="*/ 1354138 h 1762127"/>
                <a:gd name="connsiteX1421" fmla="*/ 7318259 w 9759834"/>
                <a:gd name="connsiteY1421" fmla="*/ 1389063 h 1762127"/>
                <a:gd name="connsiteX1422" fmla="*/ 7284127 w 9759834"/>
                <a:gd name="connsiteY1422" fmla="*/ 1423988 h 1762127"/>
                <a:gd name="connsiteX1423" fmla="*/ 7249995 w 9759834"/>
                <a:gd name="connsiteY1423" fmla="*/ 1389063 h 1762127"/>
                <a:gd name="connsiteX1424" fmla="*/ 7284127 w 9759834"/>
                <a:gd name="connsiteY1424" fmla="*/ 1354138 h 1762127"/>
                <a:gd name="connsiteX1425" fmla="*/ 7198402 w 9759834"/>
                <a:gd name="connsiteY1425" fmla="*/ 1354138 h 1762127"/>
                <a:gd name="connsiteX1426" fmla="*/ 7232534 w 9759834"/>
                <a:gd name="connsiteY1426" fmla="*/ 1389063 h 1762127"/>
                <a:gd name="connsiteX1427" fmla="*/ 7198402 w 9759834"/>
                <a:gd name="connsiteY1427" fmla="*/ 1423988 h 1762127"/>
                <a:gd name="connsiteX1428" fmla="*/ 7164270 w 9759834"/>
                <a:gd name="connsiteY1428" fmla="*/ 1389063 h 1762127"/>
                <a:gd name="connsiteX1429" fmla="*/ 7198402 w 9759834"/>
                <a:gd name="connsiteY1429" fmla="*/ 1354138 h 1762127"/>
                <a:gd name="connsiteX1430" fmla="*/ 7112677 w 9759834"/>
                <a:gd name="connsiteY1430" fmla="*/ 1354138 h 1762127"/>
                <a:gd name="connsiteX1431" fmla="*/ 7146809 w 9759834"/>
                <a:gd name="connsiteY1431" fmla="*/ 1389063 h 1762127"/>
                <a:gd name="connsiteX1432" fmla="*/ 7112677 w 9759834"/>
                <a:gd name="connsiteY1432" fmla="*/ 1423988 h 1762127"/>
                <a:gd name="connsiteX1433" fmla="*/ 7078545 w 9759834"/>
                <a:gd name="connsiteY1433" fmla="*/ 1389063 h 1762127"/>
                <a:gd name="connsiteX1434" fmla="*/ 7112677 w 9759834"/>
                <a:gd name="connsiteY1434" fmla="*/ 1354138 h 1762127"/>
                <a:gd name="connsiteX1435" fmla="*/ 7027745 w 9759834"/>
                <a:gd name="connsiteY1435" fmla="*/ 1354138 h 1762127"/>
                <a:gd name="connsiteX1436" fmla="*/ 7062670 w 9759834"/>
                <a:gd name="connsiteY1436" fmla="*/ 1389063 h 1762127"/>
                <a:gd name="connsiteX1437" fmla="*/ 7027745 w 9759834"/>
                <a:gd name="connsiteY1437" fmla="*/ 1423988 h 1762127"/>
                <a:gd name="connsiteX1438" fmla="*/ 6992820 w 9759834"/>
                <a:gd name="connsiteY1438" fmla="*/ 1389063 h 1762127"/>
                <a:gd name="connsiteX1439" fmla="*/ 7027745 w 9759834"/>
                <a:gd name="connsiteY1439" fmla="*/ 1354138 h 1762127"/>
                <a:gd name="connsiteX1440" fmla="*/ 6947577 w 9759834"/>
                <a:gd name="connsiteY1440" fmla="*/ 1354138 h 1762127"/>
                <a:gd name="connsiteX1441" fmla="*/ 6981709 w 9759834"/>
                <a:gd name="connsiteY1441" fmla="*/ 1389063 h 1762127"/>
                <a:gd name="connsiteX1442" fmla="*/ 6947577 w 9759834"/>
                <a:gd name="connsiteY1442" fmla="*/ 1423988 h 1762127"/>
                <a:gd name="connsiteX1443" fmla="*/ 6913445 w 9759834"/>
                <a:gd name="connsiteY1443" fmla="*/ 1389063 h 1762127"/>
                <a:gd name="connsiteX1444" fmla="*/ 6947577 w 9759834"/>
                <a:gd name="connsiteY1444" fmla="*/ 1354138 h 1762127"/>
                <a:gd name="connsiteX1445" fmla="*/ 6861852 w 9759834"/>
                <a:gd name="connsiteY1445" fmla="*/ 1354138 h 1762127"/>
                <a:gd name="connsiteX1446" fmla="*/ 6895984 w 9759834"/>
                <a:gd name="connsiteY1446" fmla="*/ 1389063 h 1762127"/>
                <a:gd name="connsiteX1447" fmla="*/ 6861852 w 9759834"/>
                <a:gd name="connsiteY1447" fmla="*/ 1423988 h 1762127"/>
                <a:gd name="connsiteX1448" fmla="*/ 6827720 w 9759834"/>
                <a:gd name="connsiteY1448" fmla="*/ 1389063 h 1762127"/>
                <a:gd name="connsiteX1449" fmla="*/ 6861852 w 9759834"/>
                <a:gd name="connsiteY1449" fmla="*/ 1354138 h 1762127"/>
                <a:gd name="connsiteX1450" fmla="*/ 6776127 w 9759834"/>
                <a:gd name="connsiteY1450" fmla="*/ 1354138 h 1762127"/>
                <a:gd name="connsiteX1451" fmla="*/ 6810259 w 9759834"/>
                <a:gd name="connsiteY1451" fmla="*/ 1389063 h 1762127"/>
                <a:gd name="connsiteX1452" fmla="*/ 6776127 w 9759834"/>
                <a:gd name="connsiteY1452" fmla="*/ 1423988 h 1762127"/>
                <a:gd name="connsiteX1453" fmla="*/ 6741995 w 9759834"/>
                <a:gd name="connsiteY1453" fmla="*/ 1389063 h 1762127"/>
                <a:gd name="connsiteX1454" fmla="*/ 6776127 w 9759834"/>
                <a:gd name="connsiteY1454" fmla="*/ 1354138 h 1762127"/>
                <a:gd name="connsiteX1455" fmla="*/ 6691195 w 9759834"/>
                <a:gd name="connsiteY1455" fmla="*/ 1354138 h 1762127"/>
                <a:gd name="connsiteX1456" fmla="*/ 6726120 w 9759834"/>
                <a:gd name="connsiteY1456" fmla="*/ 1389063 h 1762127"/>
                <a:gd name="connsiteX1457" fmla="*/ 6691195 w 9759834"/>
                <a:gd name="connsiteY1457" fmla="*/ 1423988 h 1762127"/>
                <a:gd name="connsiteX1458" fmla="*/ 6656270 w 9759834"/>
                <a:gd name="connsiteY1458" fmla="*/ 1389063 h 1762127"/>
                <a:gd name="connsiteX1459" fmla="*/ 6691195 w 9759834"/>
                <a:gd name="connsiteY1459" fmla="*/ 1354138 h 1762127"/>
                <a:gd name="connsiteX1460" fmla="*/ 6607852 w 9759834"/>
                <a:gd name="connsiteY1460" fmla="*/ 1354138 h 1762127"/>
                <a:gd name="connsiteX1461" fmla="*/ 6645159 w 9759834"/>
                <a:gd name="connsiteY1461" fmla="*/ 1389063 h 1762127"/>
                <a:gd name="connsiteX1462" fmla="*/ 6607852 w 9759834"/>
                <a:gd name="connsiteY1462" fmla="*/ 1423988 h 1762127"/>
                <a:gd name="connsiteX1463" fmla="*/ 6570545 w 9759834"/>
                <a:gd name="connsiteY1463" fmla="*/ 1389063 h 1762127"/>
                <a:gd name="connsiteX1464" fmla="*/ 6607852 w 9759834"/>
                <a:gd name="connsiteY1464" fmla="*/ 1354138 h 1762127"/>
                <a:gd name="connsiteX1465" fmla="*/ 6525302 w 9759834"/>
                <a:gd name="connsiteY1465" fmla="*/ 1354138 h 1762127"/>
                <a:gd name="connsiteX1466" fmla="*/ 6559434 w 9759834"/>
                <a:gd name="connsiteY1466" fmla="*/ 1389063 h 1762127"/>
                <a:gd name="connsiteX1467" fmla="*/ 6525302 w 9759834"/>
                <a:gd name="connsiteY1467" fmla="*/ 1423988 h 1762127"/>
                <a:gd name="connsiteX1468" fmla="*/ 6491170 w 9759834"/>
                <a:gd name="connsiteY1468" fmla="*/ 1389063 h 1762127"/>
                <a:gd name="connsiteX1469" fmla="*/ 6525302 w 9759834"/>
                <a:gd name="connsiteY1469" fmla="*/ 1354138 h 1762127"/>
                <a:gd name="connsiteX1470" fmla="*/ 6439577 w 9759834"/>
                <a:gd name="connsiteY1470" fmla="*/ 1354138 h 1762127"/>
                <a:gd name="connsiteX1471" fmla="*/ 6473709 w 9759834"/>
                <a:gd name="connsiteY1471" fmla="*/ 1389063 h 1762127"/>
                <a:gd name="connsiteX1472" fmla="*/ 6439577 w 9759834"/>
                <a:gd name="connsiteY1472" fmla="*/ 1423988 h 1762127"/>
                <a:gd name="connsiteX1473" fmla="*/ 6405445 w 9759834"/>
                <a:gd name="connsiteY1473" fmla="*/ 1389063 h 1762127"/>
                <a:gd name="connsiteX1474" fmla="*/ 6439577 w 9759834"/>
                <a:gd name="connsiteY1474" fmla="*/ 1354138 h 1762127"/>
                <a:gd name="connsiteX1475" fmla="*/ 6353852 w 9759834"/>
                <a:gd name="connsiteY1475" fmla="*/ 1354138 h 1762127"/>
                <a:gd name="connsiteX1476" fmla="*/ 6387984 w 9759834"/>
                <a:gd name="connsiteY1476" fmla="*/ 1389063 h 1762127"/>
                <a:gd name="connsiteX1477" fmla="*/ 6353852 w 9759834"/>
                <a:gd name="connsiteY1477" fmla="*/ 1423988 h 1762127"/>
                <a:gd name="connsiteX1478" fmla="*/ 6319720 w 9759834"/>
                <a:gd name="connsiteY1478" fmla="*/ 1389063 h 1762127"/>
                <a:gd name="connsiteX1479" fmla="*/ 6353852 w 9759834"/>
                <a:gd name="connsiteY1479" fmla="*/ 1354138 h 1762127"/>
                <a:gd name="connsiteX1480" fmla="*/ 6268920 w 9759834"/>
                <a:gd name="connsiteY1480" fmla="*/ 1354138 h 1762127"/>
                <a:gd name="connsiteX1481" fmla="*/ 6303845 w 9759834"/>
                <a:gd name="connsiteY1481" fmla="*/ 1389063 h 1762127"/>
                <a:gd name="connsiteX1482" fmla="*/ 6268920 w 9759834"/>
                <a:gd name="connsiteY1482" fmla="*/ 1423988 h 1762127"/>
                <a:gd name="connsiteX1483" fmla="*/ 6233995 w 9759834"/>
                <a:gd name="connsiteY1483" fmla="*/ 1389063 h 1762127"/>
                <a:gd name="connsiteX1484" fmla="*/ 6268920 w 9759834"/>
                <a:gd name="connsiteY1484" fmla="*/ 1354138 h 1762127"/>
                <a:gd name="connsiteX1485" fmla="*/ 6188752 w 9759834"/>
                <a:gd name="connsiteY1485" fmla="*/ 1354138 h 1762127"/>
                <a:gd name="connsiteX1486" fmla="*/ 6222884 w 9759834"/>
                <a:gd name="connsiteY1486" fmla="*/ 1389063 h 1762127"/>
                <a:gd name="connsiteX1487" fmla="*/ 6188752 w 9759834"/>
                <a:gd name="connsiteY1487" fmla="*/ 1423988 h 1762127"/>
                <a:gd name="connsiteX1488" fmla="*/ 6154620 w 9759834"/>
                <a:gd name="connsiteY1488" fmla="*/ 1389063 h 1762127"/>
                <a:gd name="connsiteX1489" fmla="*/ 6188752 w 9759834"/>
                <a:gd name="connsiteY1489" fmla="*/ 1354138 h 1762127"/>
                <a:gd name="connsiteX1490" fmla="*/ 6103027 w 9759834"/>
                <a:gd name="connsiteY1490" fmla="*/ 1354138 h 1762127"/>
                <a:gd name="connsiteX1491" fmla="*/ 6137159 w 9759834"/>
                <a:gd name="connsiteY1491" fmla="*/ 1389063 h 1762127"/>
                <a:gd name="connsiteX1492" fmla="*/ 6103027 w 9759834"/>
                <a:gd name="connsiteY1492" fmla="*/ 1423988 h 1762127"/>
                <a:gd name="connsiteX1493" fmla="*/ 6068895 w 9759834"/>
                <a:gd name="connsiteY1493" fmla="*/ 1389063 h 1762127"/>
                <a:gd name="connsiteX1494" fmla="*/ 6103027 w 9759834"/>
                <a:gd name="connsiteY1494" fmla="*/ 1354138 h 1762127"/>
                <a:gd name="connsiteX1495" fmla="*/ 5932370 w 9759834"/>
                <a:gd name="connsiteY1495" fmla="*/ 1354138 h 1762127"/>
                <a:gd name="connsiteX1496" fmla="*/ 5967295 w 9759834"/>
                <a:gd name="connsiteY1496" fmla="*/ 1389063 h 1762127"/>
                <a:gd name="connsiteX1497" fmla="*/ 5932370 w 9759834"/>
                <a:gd name="connsiteY1497" fmla="*/ 1423988 h 1762127"/>
                <a:gd name="connsiteX1498" fmla="*/ 5897445 w 9759834"/>
                <a:gd name="connsiteY1498" fmla="*/ 1389063 h 1762127"/>
                <a:gd name="connsiteX1499" fmla="*/ 5932370 w 9759834"/>
                <a:gd name="connsiteY1499" fmla="*/ 1354138 h 1762127"/>
                <a:gd name="connsiteX1500" fmla="*/ 5849821 w 9759834"/>
                <a:gd name="connsiteY1500" fmla="*/ 1354138 h 1762127"/>
                <a:gd name="connsiteX1501" fmla="*/ 5886334 w 9759834"/>
                <a:gd name="connsiteY1501" fmla="*/ 1389063 h 1762127"/>
                <a:gd name="connsiteX1502" fmla="*/ 5849821 w 9759834"/>
                <a:gd name="connsiteY1502" fmla="*/ 1423988 h 1762127"/>
                <a:gd name="connsiteX1503" fmla="*/ 5813308 w 9759834"/>
                <a:gd name="connsiteY1503" fmla="*/ 1389063 h 1762127"/>
                <a:gd name="connsiteX1504" fmla="*/ 5849821 w 9759834"/>
                <a:gd name="connsiteY1504" fmla="*/ 1354138 h 1762127"/>
                <a:gd name="connsiteX1505" fmla="*/ 5766477 w 9759834"/>
                <a:gd name="connsiteY1505" fmla="*/ 1354138 h 1762127"/>
                <a:gd name="connsiteX1506" fmla="*/ 5800609 w 9759834"/>
                <a:gd name="connsiteY1506" fmla="*/ 1389063 h 1762127"/>
                <a:gd name="connsiteX1507" fmla="*/ 5766477 w 9759834"/>
                <a:gd name="connsiteY1507" fmla="*/ 1423988 h 1762127"/>
                <a:gd name="connsiteX1508" fmla="*/ 5732345 w 9759834"/>
                <a:gd name="connsiteY1508" fmla="*/ 1389063 h 1762127"/>
                <a:gd name="connsiteX1509" fmla="*/ 5766477 w 9759834"/>
                <a:gd name="connsiteY1509" fmla="*/ 1354138 h 1762127"/>
                <a:gd name="connsiteX1510" fmla="*/ 5680752 w 9759834"/>
                <a:gd name="connsiteY1510" fmla="*/ 1354138 h 1762127"/>
                <a:gd name="connsiteX1511" fmla="*/ 5714884 w 9759834"/>
                <a:gd name="connsiteY1511" fmla="*/ 1389063 h 1762127"/>
                <a:gd name="connsiteX1512" fmla="*/ 5680752 w 9759834"/>
                <a:gd name="connsiteY1512" fmla="*/ 1423988 h 1762127"/>
                <a:gd name="connsiteX1513" fmla="*/ 5646620 w 9759834"/>
                <a:gd name="connsiteY1513" fmla="*/ 1389063 h 1762127"/>
                <a:gd name="connsiteX1514" fmla="*/ 5680752 w 9759834"/>
                <a:gd name="connsiteY1514" fmla="*/ 1354138 h 1762127"/>
                <a:gd name="connsiteX1515" fmla="*/ 5429927 w 9759834"/>
                <a:gd name="connsiteY1515" fmla="*/ 1354138 h 1762127"/>
                <a:gd name="connsiteX1516" fmla="*/ 5464059 w 9759834"/>
                <a:gd name="connsiteY1516" fmla="*/ 1389063 h 1762127"/>
                <a:gd name="connsiteX1517" fmla="*/ 5429927 w 9759834"/>
                <a:gd name="connsiteY1517" fmla="*/ 1423988 h 1762127"/>
                <a:gd name="connsiteX1518" fmla="*/ 5395795 w 9759834"/>
                <a:gd name="connsiteY1518" fmla="*/ 1389063 h 1762127"/>
                <a:gd name="connsiteX1519" fmla="*/ 5429927 w 9759834"/>
                <a:gd name="connsiteY1519" fmla="*/ 1354138 h 1762127"/>
                <a:gd name="connsiteX1520" fmla="*/ 5344202 w 9759834"/>
                <a:gd name="connsiteY1520" fmla="*/ 1354138 h 1762127"/>
                <a:gd name="connsiteX1521" fmla="*/ 5378334 w 9759834"/>
                <a:gd name="connsiteY1521" fmla="*/ 1389063 h 1762127"/>
                <a:gd name="connsiteX1522" fmla="*/ 5344202 w 9759834"/>
                <a:gd name="connsiteY1522" fmla="*/ 1423988 h 1762127"/>
                <a:gd name="connsiteX1523" fmla="*/ 5310070 w 9759834"/>
                <a:gd name="connsiteY1523" fmla="*/ 1389063 h 1762127"/>
                <a:gd name="connsiteX1524" fmla="*/ 5344202 w 9759834"/>
                <a:gd name="connsiteY1524" fmla="*/ 1354138 h 1762127"/>
                <a:gd name="connsiteX1525" fmla="*/ 5173545 w 9759834"/>
                <a:gd name="connsiteY1525" fmla="*/ 1354138 h 1762127"/>
                <a:gd name="connsiteX1526" fmla="*/ 5208470 w 9759834"/>
                <a:gd name="connsiteY1526" fmla="*/ 1389063 h 1762127"/>
                <a:gd name="connsiteX1527" fmla="*/ 5173545 w 9759834"/>
                <a:gd name="connsiteY1527" fmla="*/ 1423988 h 1762127"/>
                <a:gd name="connsiteX1528" fmla="*/ 5138620 w 9759834"/>
                <a:gd name="connsiteY1528" fmla="*/ 1389063 h 1762127"/>
                <a:gd name="connsiteX1529" fmla="*/ 5173545 w 9759834"/>
                <a:gd name="connsiteY1529" fmla="*/ 1354138 h 1762127"/>
                <a:gd name="connsiteX1530" fmla="*/ 3234414 w 9759834"/>
                <a:gd name="connsiteY1530" fmla="*/ 1354138 h 1762127"/>
                <a:gd name="connsiteX1531" fmla="*/ 3268546 w 9759834"/>
                <a:gd name="connsiteY1531" fmla="*/ 1389063 h 1762127"/>
                <a:gd name="connsiteX1532" fmla="*/ 3234414 w 9759834"/>
                <a:gd name="connsiteY1532" fmla="*/ 1423988 h 1762127"/>
                <a:gd name="connsiteX1533" fmla="*/ 3200282 w 9759834"/>
                <a:gd name="connsiteY1533" fmla="*/ 1389063 h 1762127"/>
                <a:gd name="connsiteX1534" fmla="*/ 3234414 w 9759834"/>
                <a:gd name="connsiteY1534" fmla="*/ 1354138 h 1762127"/>
                <a:gd name="connsiteX1535" fmla="*/ 3153452 w 9759834"/>
                <a:gd name="connsiteY1535" fmla="*/ 1354138 h 1762127"/>
                <a:gd name="connsiteX1536" fmla="*/ 3187584 w 9759834"/>
                <a:gd name="connsiteY1536" fmla="*/ 1389063 h 1762127"/>
                <a:gd name="connsiteX1537" fmla="*/ 3153452 w 9759834"/>
                <a:gd name="connsiteY1537" fmla="*/ 1423988 h 1762127"/>
                <a:gd name="connsiteX1538" fmla="*/ 3119320 w 9759834"/>
                <a:gd name="connsiteY1538" fmla="*/ 1389063 h 1762127"/>
                <a:gd name="connsiteX1539" fmla="*/ 3153452 w 9759834"/>
                <a:gd name="connsiteY1539" fmla="*/ 1354138 h 1762127"/>
                <a:gd name="connsiteX1540" fmla="*/ 3068520 w 9759834"/>
                <a:gd name="connsiteY1540" fmla="*/ 1354138 h 1762127"/>
                <a:gd name="connsiteX1541" fmla="*/ 3103445 w 9759834"/>
                <a:gd name="connsiteY1541" fmla="*/ 1389063 h 1762127"/>
                <a:gd name="connsiteX1542" fmla="*/ 3068520 w 9759834"/>
                <a:gd name="connsiteY1542" fmla="*/ 1423988 h 1762127"/>
                <a:gd name="connsiteX1543" fmla="*/ 3033595 w 9759834"/>
                <a:gd name="connsiteY1543" fmla="*/ 1389063 h 1762127"/>
                <a:gd name="connsiteX1544" fmla="*/ 3068520 w 9759834"/>
                <a:gd name="connsiteY1544" fmla="*/ 1354138 h 1762127"/>
                <a:gd name="connsiteX1545" fmla="*/ 2983589 w 9759834"/>
                <a:gd name="connsiteY1545" fmla="*/ 1354138 h 1762127"/>
                <a:gd name="connsiteX1546" fmla="*/ 3017721 w 9759834"/>
                <a:gd name="connsiteY1546" fmla="*/ 1389063 h 1762127"/>
                <a:gd name="connsiteX1547" fmla="*/ 2983589 w 9759834"/>
                <a:gd name="connsiteY1547" fmla="*/ 1423988 h 1762127"/>
                <a:gd name="connsiteX1548" fmla="*/ 2949457 w 9759834"/>
                <a:gd name="connsiteY1548" fmla="*/ 1389063 h 1762127"/>
                <a:gd name="connsiteX1549" fmla="*/ 2983589 w 9759834"/>
                <a:gd name="connsiteY1549" fmla="*/ 1354138 h 1762127"/>
                <a:gd name="connsiteX1550" fmla="*/ 2897864 w 9759834"/>
                <a:gd name="connsiteY1550" fmla="*/ 1354138 h 1762127"/>
                <a:gd name="connsiteX1551" fmla="*/ 2931996 w 9759834"/>
                <a:gd name="connsiteY1551" fmla="*/ 1389063 h 1762127"/>
                <a:gd name="connsiteX1552" fmla="*/ 2897864 w 9759834"/>
                <a:gd name="connsiteY1552" fmla="*/ 1423988 h 1762127"/>
                <a:gd name="connsiteX1553" fmla="*/ 2863732 w 9759834"/>
                <a:gd name="connsiteY1553" fmla="*/ 1389063 h 1762127"/>
                <a:gd name="connsiteX1554" fmla="*/ 2897864 w 9759834"/>
                <a:gd name="connsiteY1554" fmla="*/ 1354138 h 1762127"/>
                <a:gd name="connsiteX1555" fmla="*/ 2475754 w 9759834"/>
                <a:gd name="connsiteY1555" fmla="*/ 1354138 h 1762127"/>
                <a:gd name="connsiteX1556" fmla="*/ 2509883 w 9759834"/>
                <a:gd name="connsiteY1556" fmla="*/ 1389063 h 1762127"/>
                <a:gd name="connsiteX1557" fmla="*/ 2475754 w 9759834"/>
                <a:gd name="connsiteY1557" fmla="*/ 1423988 h 1762127"/>
                <a:gd name="connsiteX1558" fmla="*/ 2441619 w 9759834"/>
                <a:gd name="connsiteY1558" fmla="*/ 1389063 h 1762127"/>
                <a:gd name="connsiteX1559" fmla="*/ 2475754 w 9759834"/>
                <a:gd name="connsiteY1559" fmla="*/ 1354138 h 1762127"/>
                <a:gd name="connsiteX1560" fmla="*/ 2394790 w 9759834"/>
                <a:gd name="connsiteY1560" fmla="*/ 1354138 h 1762127"/>
                <a:gd name="connsiteX1561" fmla="*/ 2428919 w 9759834"/>
                <a:gd name="connsiteY1561" fmla="*/ 1389063 h 1762127"/>
                <a:gd name="connsiteX1562" fmla="*/ 2394790 w 9759834"/>
                <a:gd name="connsiteY1562" fmla="*/ 1423988 h 1762127"/>
                <a:gd name="connsiteX1563" fmla="*/ 2360656 w 9759834"/>
                <a:gd name="connsiteY1563" fmla="*/ 1389063 h 1762127"/>
                <a:gd name="connsiteX1564" fmla="*/ 2394790 w 9759834"/>
                <a:gd name="connsiteY1564" fmla="*/ 1354138 h 1762127"/>
                <a:gd name="connsiteX1565" fmla="*/ 2309856 w 9759834"/>
                <a:gd name="connsiteY1565" fmla="*/ 1354138 h 1762127"/>
                <a:gd name="connsiteX1566" fmla="*/ 2344781 w 9759834"/>
                <a:gd name="connsiteY1566" fmla="*/ 1389063 h 1762127"/>
                <a:gd name="connsiteX1567" fmla="*/ 2309856 w 9759834"/>
                <a:gd name="connsiteY1567" fmla="*/ 1423988 h 1762127"/>
                <a:gd name="connsiteX1568" fmla="*/ 2274920 w 9759834"/>
                <a:gd name="connsiteY1568" fmla="*/ 1389063 h 1762127"/>
                <a:gd name="connsiteX1569" fmla="*/ 2309856 w 9759834"/>
                <a:gd name="connsiteY1569" fmla="*/ 1354138 h 1762127"/>
                <a:gd name="connsiteX1570" fmla="*/ 2224919 w 9759834"/>
                <a:gd name="connsiteY1570" fmla="*/ 1354138 h 1762127"/>
                <a:gd name="connsiteX1571" fmla="*/ 2259040 w 9759834"/>
                <a:gd name="connsiteY1571" fmla="*/ 1389063 h 1762127"/>
                <a:gd name="connsiteX1572" fmla="*/ 2224919 w 9759834"/>
                <a:gd name="connsiteY1572" fmla="*/ 1423988 h 1762127"/>
                <a:gd name="connsiteX1573" fmla="*/ 2190786 w 9759834"/>
                <a:gd name="connsiteY1573" fmla="*/ 1389063 h 1762127"/>
                <a:gd name="connsiteX1574" fmla="*/ 2224919 w 9759834"/>
                <a:gd name="connsiteY1574" fmla="*/ 1354138 h 1762127"/>
                <a:gd name="connsiteX1575" fmla="*/ 2139203 w 9759834"/>
                <a:gd name="connsiteY1575" fmla="*/ 1354138 h 1762127"/>
                <a:gd name="connsiteX1576" fmla="*/ 2173331 w 9759834"/>
                <a:gd name="connsiteY1576" fmla="*/ 1389063 h 1762127"/>
                <a:gd name="connsiteX1577" fmla="*/ 2139203 w 9759834"/>
                <a:gd name="connsiteY1577" fmla="*/ 1423988 h 1762127"/>
                <a:gd name="connsiteX1578" fmla="*/ 2105064 w 9759834"/>
                <a:gd name="connsiteY1578" fmla="*/ 1389063 h 1762127"/>
                <a:gd name="connsiteX1579" fmla="*/ 2139203 w 9759834"/>
                <a:gd name="connsiteY1579" fmla="*/ 1354138 h 1762127"/>
                <a:gd name="connsiteX1580" fmla="*/ 2055704 w 9759834"/>
                <a:gd name="connsiteY1580" fmla="*/ 1354138 h 1762127"/>
                <a:gd name="connsiteX1581" fmla="*/ 2092218 w 9759834"/>
                <a:gd name="connsiteY1581" fmla="*/ 1389063 h 1762127"/>
                <a:gd name="connsiteX1582" fmla="*/ 2055704 w 9759834"/>
                <a:gd name="connsiteY1582" fmla="*/ 1423988 h 1762127"/>
                <a:gd name="connsiteX1583" fmla="*/ 2019192 w 9759834"/>
                <a:gd name="connsiteY1583" fmla="*/ 1389063 h 1762127"/>
                <a:gd name="connsiteX1584" fmla="*/ 2055704 w 9759834"/>
                <a:gd name="connsiteY1584" fmla="*/ 1354138 h 1762127"/>
                <a:gd name="connsiteX1585" fmla="*/ 1973161 w 9759834"/>
                <a:gd name="connsiteY1585" fmla="*/ 1354138 h 1762127"/>
                <a:gd name="connsiteX1586" fmla="*/ 2008085 w 9759834"/>
                <a:gd name="connsiteY1586" fmla="*/ 1389063 h 1762127"/>
                <a:gd name="connsiteX1587" fmla="*/ 1973161 w 9759834"/>
                <a:gd name="connsiteY1587" fmla="*/ 1423988 h 1762127"/>
                <a:gd name="connsiteX1588" fmla="*/ 1938236 w 9759834"/>
                <a:gd name="connsiteY1588" fmla="*/ 1389063 h 1762127"/>
                <a:gd name="connsiteX1589" fmla="*/ 1973161 w 9759834"/>
                <a:gd name="connsiteY1589" fmla="*/ 1354138 h 1762127"/>
                <a:gd name="connsiteX1590" fmla="*/ 1888231 w 9759834"/>
                <a:gd name="connsiteY1590" fmla="*/ 1354138 h 1762127"/>
                <a:gd name="connsiteX1591" fmla="*/ 1922362 w 9759834"/>
                <a:gd name="connsiteY1591" fmla="*/ 1389063 h 1762127"/>
                <a:gd name="connsiteX1592" fmla="*/ 1888231 w 9759834"/>
                <a:gd name="connsiteY1592" fmla="*/ 1423988 h 1762127"/>
                <a:gd name="connsiteX1593" fmla="*/ 1854099 w 9759834"/>
                <a:gd name="connsiteY1593" fmla="*/ 1389063 h 1762127"/>
                <a:gd name="connsiteX1594" fmla="*/ 1888231 w 9759834"/>
                <a:gd name="connsiteY1594" fmla="*/ 1354138 h 1762127"/>
                <a:gd name="connsiteX1595" fmla="*/ 1802511 w 9759834"/>
                <a:gd name="connsiteY1595" fmla="*/ 1354138 h 1762127"/>
                <a:gd name="connsiteX1596" fmla="*/ 1836643 w 9759834"/>
                <a:gd name="connsiteY1596" fmla="*/ 1389063 h 1762127"/>
                <a:gd name="connsiteX1597" fmla="*/ 1802511 w 9759834"/>
                <a:gd name="connsiteY1597" fmla="*/ 1423988 h 1762127"/>
                <a:gd name="connsiteX1598" fmla="*/ 1768379 w 9759834"/>
                <a:gd name="connsiteY1598" fmla="*/ 1389063 h 1762127"/>
                <a:gd name="connsiteX1599" fmla="*/ 1802511 w 9759834"/>
                <a:gd name="connsiteY1599" fmla="*/ 1354138 h 1762127"/>
                <a:gd name="connsiteX1600" fmla="*/ 1719168 w 9759834"/>
                <a:gd name="connsiteY1600" fmla="*/ 1354138 h 1762127"/>
                <a:gd name="connsiteX1601" fmla="*/ 1755682 w 9759834"/>
                <a:gd name="connsiteY1601" fmla="*/ 1389063 h 1762127"/>
                <a:gd name="connsiteX1602" fmla="*/ 1719168 w 9759834"/>
                <a:gd name="connsiteY1602" fmla="*/ 1423988 h 1762127"/>
                <a:gd name="connsiteX1603" fmla="*/ 1682655 w 9759834"/>
                <a:gd name="connsiteY1603" fmla="*/ 1389063 h 1762127"/>
                <a:gd name="connsiteX1604" fmla="*/ 1719168 w 9759834"/>
                <a:gd name="connsiteY1604" fmla="*/ 1354138 h 1762127"/>
                <a:gd name="connsiteX1605" fmla="*/ 1636604 w 9759834"/>
                <a:gd name="connsiteY1605" fmla="*/ 1354138 h 1762127"/>
                <a:gd name="connsiteX1606" fmla="*/ 1671530 w 9759834"/>
                <a:gd name="connsiteY1606" fmla="*/ 1389063 h 1762127"/>
                <a:gd name="connsiteX1607" fmla="*/ 1636604 w 9759834"/>
                <a:gd name="connsiteY1607" fmla="*/ 1423988 h 1762127"/>
                <a:gd name="connsiteX1608" fmla="*/ 1601679 w 9759834"/>
                <a:gd name="connsiteY1608" fmla="*/ 1389063 h 1762127"/>
                <a:gd name="connsiteX1609" fmla="*/ 1636604 w 9759834"/>
                <a:gd name="connsiteY1609" fmla="*/ 1354138 h 1762127"/>
                <a:gd name="connsiteX1610" fmla="*/ 1551678 w 9759834"/>
                <a:gd name="connsiteY1610" fmla="*/ 1354138 h 1762127"/>
                <a:gd name="connsiteX1611" fmla="*/ 1585810 w 9759834"/>
                <a:gd name="connsiteY1611" fmla="*/ 1389063 h 1762127"/>
                <a:gd name="connsiteX1612" fmla="*/ 1551678 w 9759834"/>
                <a:gd name="connsiteY1612" fmla="*/ 1423988 h 1762127"/>
                <a:gd name="connsiteX1613" fmla="*/ 1517546 w 9759834"/>
                <a:gd name="connsiteY1613" fmla="*/ 1389063 h 1762127"/>
                <a:gd name="connsiteX1614" fmla="*/ 1551678 w 9759834"/>
                <a:gd name="connsiteY1614" fmla="*/ 1354138 h 1762127"/>
                <a:gd name="connsiteX1615" fmla="*/ 1465953 w 9759834"/>
                <a:gd name="connsiteY1615" fmla="*/ 1354138 h 1762127"/>
                <a:gd name="connsiteX1616" fmla="*/ 1500085 w 9759834"/>
                <a:gd name="connsiteY1616" fmla="*/ 1389063 h 1762127"/>
                <a:gd name="connsiteX1617" fmla="*/ 1465953 w 9759834"/>
                <a:gd name="connsiteY1617" fmla="*/ 1423988 h 1762127"/>
                <a:gd name="connsiteX1618" fmla="*/ 1431821 w 9759834"/>
                <a:gd name="connsiteY1618" fmla="*/ 1389063 h 1762127"/>
                <a:gd name="connsiteX1619" fmla="*/ 1465953 w 9759834"/>
                <a:gd name="connsiteY1619" fmla="*/ 1354138 h 1762127"/>
                <a:gd name="connsiteX1620" fmla="*/ 1380392 w 9759834"/>
                <a:gd name="connsiteY1620" fmla="*/ 1354138 h 1762127"/>
                <a:gd name="connsiteX1621" fmla="*/ 1414522 w 9759834"/>
                <a:gd name="connsiteY1621" fmla="*/ 1389063 h 1762127"/>
                <a:gd name="connsiteX1622" fmla="*/ 1380392 w 9759834"/>
                <a:gd name="connsiteY1622" fmla="*/ 1423988 h 1762127"/>
                <a:gd name="connsiteX1623" fmla="*/ 1346258 w 9759834"/>
                <a:gd name="connsiteY1623" fmla="*/ 1389063 h 1762127"/>
                <a:gd name="connsiteX1624" fmla="*/ 1380392 w 9759834"/>
                <a:gd name="connsiteY1624" fmla="*/ 1354138 h 1762127"/>
                <a:gd name="connsiteX1625" fmla="*/ 9474877 w 9759834"/>
                <a:gd name="connsiteY1625" fmla="*/ 1274763 h 1762127"/>
                <a:gd name="connsiteX1626" fmla="*/ 9509009 w 9759834"/>
                <a:gd name="connsiteY1626" fmla="*/ 1308895 h 1762127"/>
                <a:gd name="connsiteX1627" fmla="*/ 9474877 w 9759834"/>
                <a:gd name="connsiteY1627" fmla="*/ 1343027 h 1762127"/>
                <a:gd name="connsiteX1628" fmla="*/ 9440745 w 9759834"/>
                <a:gd name="connsiteY1628" fmla="*/ 1308895 h 1762127"/>
                <a:gd name="connsiteX1629" fmla="*/ 9474877 w 9759834"/>
                <a:gd name="connsiteY1629" fmla="*/ 1274763 h 1762127"/>
                <a:gd name="connsiteX1630" fmla="*/ 8801777 w 9759834"/>
                <a:gd name="connsiteY1630" fmla="*/ 1274763 h 1762127"/>
                <a:gd name="connsiteX1631" fmla="*/ 8835909 w 9759834"/>
                <a:gd name="connsiteY1631" fmla="*/ 1308895 h 1762127"/>
                <a:gd name="connsiteX1632" fmla="*/ 8801777 w 9759834"/>
                <a:gd name="connsiteY1632" fmla="*/ 1343027 h 1762127"/>
                <a:gd name="connsiteX1633" fmla="*/ 8767645 w 9759834"/>
                <a:gd name="connsiteY1633" fmla="*/ 1308895 h 1762127"/>
                <a:gd name="connsiteX1634" fmla="*/ 8801777 w 9759834"/>
                <a:gd name="connsiteY1634" fmla="*/ 1274763 h 1762127"/>
                <a:gd name="connsiteX1635" fmla="*/ 8716052 w 9759834"/>
                <a:gd name="connsiteY1635" fmla="*/ 1274763 h 1762127"/>
                <a:gd name="connsiteX1636" fmla="*/ 8750184 w 9759834"/>
                <a:gd name="connsiteY1636" fmla="*/ 1308895 h 1762127"/>
                <a:gd name="connsiteX1637" fmla="*/ 8716052 w 9759834"/>
                <a:gd name="connsiteY1637" fmla="*/ 1343027 h 1762127"/>
                <a:gd name="connsiteX1638" fmla="*/ 8681920 w 9759834"/>
                <a:gd name="connsiteY1638" fmla="*/ 1308895 h 1762127"/>
                <a:gd name="connsiteX1639" fmla="*/ 8716052 w 9759834"/>
                <a:gd name="connsiteY1639" fmla="*/ 1274763 h 1762127"/>
                <a:gd name="connsiteX1640" fmla="*/ 8630327 w 9759834"/>
                <a:gd name="connsiteY1640" fmla="*/ 1274763 h 1762127"/>
                <a:gd name="connsiteX1641" fmla="*/ 8664459 w 9759834"/>
                <a:gd name="connsiteY1641" fmla="*/ 1308895 h 1762127"/>
                <a:gd name="connsiteX1642" fmla="*/ 8630327 w 9759834"/>
                <a:gd name="connsiteY1642" fmla="*/ 1343027 h 1762127"/>
                <a:gd name="connsiteX1643" fmla="*/ 8596195 w 9759834"/>
                <a:gd name="connsiteY1643" fmla="*/ 1308895 h 1762127"/>
                <a:gd name="connsiteX1644" fmla="*/ 8630327 w 9759834"/>
                <a:gd name="connsiteY1644" fmla="*/ 1274763 h 1762127"/>
                <a:gd name="connsiteX1645" fmla="*/ 8544602 w 9759834"/>
                <a:gd name="connsiteY1645" fmla="*/ 1274763 h 1762127"/>
                <a:gd name="connsiteX1646" fmla="*/ 8578734 w 9759834"/>
                <a:gd name="connsiteY1646" fmla="*/ 1308895 h 1762127"/>
                <a:gd name="connsiteX1647" fmla="*/ 8544602 w 9759834"/>
                <a:gd name="connsiteY1647" fmla="*/ 1343027 h 1762127"/>
                <a:gd name="connsiteX1648" fmla="*/ 8510470 w 9759834"/>
                <a:gd name="connsiteY1648" fmla="*/ 1308895 h 1762127"/>
                <a:gd name="connsiteX1649" fmla="*/ 8544602 w 9759834"/>
                <a:gd name="connsiteY1649" fmla="*/ 1274763 h 1762127"/>
                <a:gd name="connsiteX1650" fmla="*/ 8465227 w 9759834"/>
                <a:gd name="connsiteY1650" fmla="*/ 1274763 h 1762127"/>
                <a:gd name="connsiteX1651" fmla="*/ 8499359 w 9759834"/>
                <a:gd name="connsiteY1651" fmla="*/ 1308895 h 1762127"/>
                <a:gd name="connsiteX1652" fmla="*/ 8465227 w 9759834"/>
                <a:gd name="connsiteY1652" fmla="*/ 1343027 h 1762127"/>
                <a:gd name="connsiteX1653" fmla="*/ 8431095 w 9759834"/>
                <a:gd name="connsiteY1653" fmla="*/ 1308895 h 1762127"/>
                <a:gd name="connsiteX1654" fmla="*/ 8465227 w 9759834"/>
                <a:gd name="connsiteY1654" fmla="*/ 1274763 h 1762127"/>
                <a:gd name="connsiteX1655" fmla="*/ 8379502 w 9759834"/>
                <a:gd name="connsiteY1655" fmla="*/ 1274763 h 1762127"/>
                <a:gd name="connsiteX1656" fmla="*/ 8413634 w 9759834"/>
                <a:gd name="connsiteY1656" fmla="*/ 1308895 h 1762127"/>
                <a:gd name="connsiteX1657" fmla="*/ 8379502 w 9759834"/>
                <a:gd name="connsiteY1657" fmla="*/ 1343027 h 1762127"/>
                <a:gd name="connsiteX1658" fmla="*/ 8345370 w 9759834"/>
                <a:gd name="connsiteY1658" fmla="*/ 1308895 h 1762127"/>
                <a:gd name="connsiteX1659" fmla="*/ 8379502 w 9759834"/>
                <a:gd name="connsiteY1659" fmla="*/ 1274763 h 1762127"/>
                <a:gd name="connsiteX1660" fmla="*/ 8293777 w 9759834"/>
                <a:gd name="connsiteY1660" fmla="*/ 1274763 h 1762127"/>
                <a:gd name="connsiteX1661" fmla="*/ 8327909 w 9759834"/>
                <a:gd name="connsiteY1661" fmla="*/ 1308895 h 1762127"/>
                <a:gd name="connsiteX1662" fmla="*/ 8293777 w 9759834"/>
                <a:gd name="connsiteY1662" fmla="*/ 1343027 h 1762127"/>
                <a:gd name="connsiteX1663" fmla="*/ 8259645 w 9759834"/>
                <a:gd name="connsiteY1663" fmla="*/ 1308895 h 1762127"/>
                <a:gd name="connsiteX1664" fmla="*/ 8293777 w 9759834"/>
                <a:gd name="connsiteY1664" fmla="*/ 1274763 h 1762127"/>
                <a:gd name="connsiteX1665" fmla="*/ 8208052 w 9759834"/>
                <a:gd name="connsiteY1665" fmla="*/ 1274763 h 1762127"/>
                <a:gd name="connsiteX1666" fmla="*/ 8242184 w 9759834"/>
                <a:gd name="connsiteY1666" fmla="*/ 1308895 h 1762127"/>
                <a:gd name="connsiteX1667" fmla="*/ 8208052 w 9759834"/>
                <a:gd name="connsiteY1667" fmla="*/ 1343027 h 1762127"/>
                <a:gd name="connsiteX1668" fmla="*/ 8173920 w 9759834"/>
                <a:gd name="connsiteY1668" fmla="*/ 1308895 h 1762127"/>
                <a:gd name="connsiteX1669" fmla="*/ 8208052 w 9759834"/>
                <a:gd name="connsiteY1669" fmla="*/ 1274763 h 1762127"/>
                <a:gd name="connsiteX1670" fmla="*/ 8125502 w 9759834"/>
                <a:gd name="connsiteY1670" fmla="*/ 1274763 h 1762127"/>
                <a:gd name="connsiteX1671" fmla="*/ 8162809 w 9759834"/>
                <a:gd name="connsiteY1671" fmla="*/ 1308895 h 1762127"/>
                <a:gd name="connsiteX1672" fmla="*/ 8125502 w 9759834"/>
                <a:gd name="connsiteY1672" fmla="*/ 1343027 h 1762127"/>
                <a:gd name="connsiteX1673" fmla="*/ 8088195 w 9759834"/>
                <a:gd name="connsiteY1673" fmla="*/ 1308895 h 1762127"/>
                <a:gd name="connsiteX1674" fmla="*/ 8125502 w 9759834"/>
                <a:gd name="connsiteY1674" fmla="*/ 1274763 h 1762127"/>
                <a:gd name="connsiteX1675" fmla="*/ 8042952 w 9759834"/>
                <a:gd name="connsiteY1675" fmla="*/ 1274763 h 1762127"/>
                <a:gd name="connsiteX1676" fmla="*/ 8077084 w 9759834"/>
                <a:gd name="connsiteY1676" fmla="*/ 1308895 h 1762127"/>
                <a:gd name="connsiteX1677" fmla="*/ 8042952 w 9759834"/>
                <a:gd name="connsiteY1677" fmla="*/ 1343027 h 1762127"/>
                <a:gd name="connsiteX1678" fmla="*/ 8008820 w 9759834"/>
                <a:gd name="connsiteY1678" fmla="*/ 1308895 h 1762127"/>
                <a:gd name="connsiteX1679" fmla="*/ 8042952 w 9759834"/>
                <a:gd name="connsiteY1679" fmla="*/ 1274763 h 1762127"/>
                <a:gd name="connsiteX1680" fmla="*/ 7957227 w 9759834"/>
                <a:gd name="connsiteY1680" fmla="*/ 1274763 h 1762127"/>
                <a:gd name="connsiteX1681" fmla="*/ 7991359 w 9759834"/>
                <a:gd name="connsiteY1681" fmla="*/ 1308895 h 1762127"/>
                <a:gd name="connsiteX1682" fmla="*/ 7957227 w 9759834"/>
                <a:gd name="connsiteY1682" fmla="*/ 1343027 h 1762127"/>
                <a:gd name="connsiteX1683" fmla="*/ 7923095 w 9759834"/>
                <a:gd name="connsiteY1683" fmla="*/ 1308895 h 1762127"/>
                <a:gd name="connsiteX1684" fmla="*/ 7957227 w 9759834"/>
                <a:gd name="connsiteY1684" fmla="*/ 1274763 h 1762127"/>
                <a:gd name="connsiteX1685" fmla="*/ 7871502 w 9759834"/>
                <a:gd name="connsiteY1685" fmla="*/ 1274763 h 1762127"/>
                <a:gd name="connsiteX1686" fmla="*/ 7905634 w 9759834"/>
                <a:gd name="connsiteY1686" fmla="*/ 1308895 h 1762127"/>
                <a:gd name="connsiteX1687" fmla="*/ 7871502 w 9759834"/>
                <a:gd name="connsiteY1687" fmla="*/ 1343027 h 1762127"/>
                <a:gd name="connsiteX1688" fmla="*/ 7837370 w 9759834"/>
                <a:gd name="connsiteY1688" fmla="*/ 1308895 h 1762127"/>
                <a:gd name="connsiteX1689" fmla="*/ 7871502 w 9759834"/>
                <a:gd name="connsiteY1689" fmla="*/ 1274763 h 1762127"/>
                <a:gd name="connsiteX1690" fmla="*/ 7785777 w 9759834"/>
                <a:gd name="connsiteY1690" fmla="*/ 1274763 h 1762127"/>
                <a:gd name="connsiteX1691" fmla="*/ 7819909 w 9759834"/>
                <a:gd name="connsiteY1691" fmla="*/ 1308895 h 1762127"/>
                <a:gd name="connsiteX1692" fmla="*/ 7785777 w 9759834"/>
                <a:gd name="connsiteY1692" fmla="*/ 1343027 h 1762127"/>
                <a:gd name="connsiteX1693" fmla="*/ 7751645 w 9759834"/>
                <a:gd name="connsiteY1693" fmla="*/ 1308895 h 1762127"/>
                <a:gd name="connsiteX1694" fmla="*/ 7785777 w 9759834"/>
                <a:gd name="connsiteY1694" fmla="*/ 1274763 h 1762127"/>
                <a:gd name="connsiteX1695" fmla="*/ 7706402 w 9759834"/>
                <a:gd name="connsiteY1695" fmla="*/ 1274763 h 1762127"/>
                <a:gd name="connsiteX1696" fmla="*/ 7740534 w 9759834"/>
                <a:gd name="connsiteY1696" fmla="*/ 1308895 h 1762127"/>
                <a:gd name="connsiteX1697" fmla="*/ 7706402 w 9759834"/>
                <a:gd name="connsiteY1697" fmla="*/ 1343027 h 1762127"/>
                <a:gd name="connsiteX1698" fmla="*/ 7672270 w 9759834"/>
                <a:gd name="connsiteY1698" fmla="*/ 1308895 h 1762127"/>
                <a:gd name="connsiteX1699" fmla="*/ 7706402 w 9759834"/>
                <a:gd name="connsiteY1699" fmla="*/ 1274763 h 1762127"/>
                <a:gd name="connsiteX1700" fmla="*/ 7620677 w 9759834"/>
                <a:gd name="connsiteY1700" fmla="*/ 1274763 h 1762127"/>
                <a:gd name="connsiteX1701" fmla="*/ 7654809 w 9759834"/>
                <a:gd name="connsiteY1701" fmla="*/ 1308895 h 1762127"/>
                <a:gd name="connsiteX1702" fmla="*/ 7620677 w 9759834"/>
                <a:gd name="connsiteY1702" fmla="*/ 1343027 h 1762127"/>
                <a:gd name="connsiteX1703" fmla="*/ 7586545 w 9759834"/>
                <a:gd name="connsiteY1703" fmla="*/ 1308895 h 1762127"/>
                <a:gd name="connsiteX1704" fmla="*/ 7620677 w 9759834"/>
                <a:gd name="connsiteY1704" fmla="*/ 1274763 h 1762127"/>
                <a:gd name="connsiteX1705" fmla="*/ 7534952 w 9759834"/>
                <a:gd name="connsiteY1705" fmla="*/ 1274763 h 1762127"/>
                <a:gd name="connsiteX1706" fmla="*/ 7569084 w 9759834"/>
                <a:gd name="connsiteY1706" fmla="*/ 1308895 h 1762127"/>
                <a:gd name="connsiteX1707" fmla="*/ 7534952 w 9759834"/>
                <a:gd name="connsiteY1707" fmla="*/ 1343027 h 1762127"/>
                <a:gd name="connsiteX1708" fmla="*/ 7500820 w 9759834"/>
                <a:gd name="connsiteY1708" fmla="*/ 1308895 h 1762127"/>
                <a:gd name="connsiteX1709" fmla="*/ 7534952 w 9759834"/>
                <a:gd name="connsiteY1709" fmla="*/ 1274763 h 1762127"/>
                <a:gd name="connsiteX1710" fmla="*/ 7449227 w 9759834"/>
                <a:gd name="connsiteY1710" fmla="*/ 1274763 h 1762127"/>
                <a:gd name="connsiteX1711" fmla="*/ 7483359 w 9759834"/>
                <a:gd name="connsiteY1711" fmla="*/ 1308895 h 1762127"/>
                <a:gd name="connsiteX1712" fmla="*/ 7449227 w 9759834"/>
                <a:gd name="connsiteY1712" fmla="*/ 1343027 h 1762127"/>
                <a:gd name="connsiteX1713" fmla="*/ 7415095 w 9759834"/>
                <a:gd name="connsiteY1713" fmla="*/ 1308895 h 1762127"/>
                <a:gd name="connsiteX1714" fmla="*/ 7449227 w 9759834"/>
                <a:gd name="connsiteY1714" fmla="*/ 1274763 h 1762127"/>
                <a:gd name="connsiteX1715" fmla="*/ 7366677 w 9759834"/>
                <a:gd name="connsiteY1715" fmla="*/ 1274763 h 1762127"/>
                <a:gd name="connsiteX1716" fmla="*/ 7403984 w 9759834"/>
                <a:gd name="connsiteY1716" fmla="*/ 1308895 h 1762127"/>
                <a:gd name="connsiteX1717" fmla="*/ 7366677 w 9759834"/>
                <a:gd name="connsiteY1717" fmla="*/ 1343027 h 1762127"/>
                <a:gd name="connsiteX1718" fmla="*/ 7329370 w 9759834"/>
                <a:gd name="connsiteY1718" fmla="*/ 1308895 h 1762127"/>
                <a:gd name="connsiteX1719" fmla="*/ 7366677 w 9759834"/>
                <a:gd name="connsiteY1719" fmla="*/ 1274763 h 1762127"/>
                <a:gd name="connsiteX1720" fmla="*/ 7284127 w 9759834"/>
                <a:gd name="connsiteY1720" fmla="*/ 1274763 h 1762127"/>
                <a:gd name="connsiteX1721" fmla="*/ 7318259 w 9759834"/>
                <a:gd name="connsiteY1721" fmla="*/ 1308895 h 1762127"/>
                <a:gd name="connsiteX1722" fmla="*/ 7284127 w 9759834"/>
                <a:gd name="connsiteY1722" fmla="*/ 1343027 h 1762127"/>
                <a:gd name="connsiteX1723" fmla="*/ 7249995 w 9759834"/>
                <a:gd name="connsiteY1723" fmla="*/ 1308895 h 1762127"/>
                <a:gd name="connsiteX1724" fmla="*/ 7284127 w 9759834"/>
                <a:gd name="connsiteY1724" fmla="*/ 1274763 h 1762127"/>
                <a:gd name="connsiteX1725" fmla="*/ 7198402 w 9759834"/>
                <a:gd name="connsiteY1725" fmla="*/ 1274763 h 1762127"/>
                <a:gd name="connsiteX1726" fmla="*/ 7232534 w 9759834"/>
                <a:gd name="connsiteY1726" fmla="*/ 1308895 h 1762127"/>
                <a:gd name="connsiteX1727" fmla="*/ 7198402 w 9759834"/>
                <a:gd name="connsiteY1727" fmla="*/ 1343027 h 1762127"/>
                <a:gd name="connsiteX1728" fmla="*/ 7164270 w 9759834"/>
                <a:gd name="connsiteY1728" fmla="*/ 1308895 h 1762127"/>
                <a:gd name="connsiteX1729" fmla="*/ 7198402 w 9759834"/>
                <a:gd name="connsiteY1729" fmla="*/ 1274763 h 1762127"/>
                <a:gd name="connsiteX1730" fmla="*/ 7112677 w 9759834"/>
                <a:gd name="connsiteY1730" fmla="*/ 1274763 h 1762127"/>
                <a:gd name="connsiteX1731" fmla="*/ 7146809 w 9759834"/>
                <a:gd name="connsiteY1731" fmla="*/ 1308895 h 1762127"/>
                <a:gd name="connsiteX1732" fmla="*/ 7112677 w 9759834"/>
                <a:gd name="connsiteY1732" fmla="*/ 1343027 h 1762127"/>
                <a:gd name="connsiteX1733" fmla="*/ 7078545 w 9759834"/>
                <a:gd name="connsiteY1733" fmla="*/ 1308895 h 1762127"/>
                <a:gd name="connsiteX1734" fmla="*/ 7112677 w 9759834"/>
                <a:gd name="connsiteY1734" fmla="*/ 1274763 h 1762127"/>
                <a:gd name="connsiteX1735" fmla="*/ 7027745 w 9759834"/>
                <a:gd name="connsiteY1735" fmla="*/ 1274763 h 1762127"/>
                <a:gd name="connsiteX1736" fmla="*/ 7062670 w 9759834"/>
                <a:gd name="connsiteY1736" fmla="*/ 1308895 h 1762127"/>
                <a:gd name="connsiteX1737" fmla="*/ 7027745 w 9759834"/>
                <a:gd name="connsiteY1737" fmla="*/ 1343027 h 1762127"/>
                <a:gd name="connsiteX1738" fmla="*/ 6992820 w 9759834"/>
                <a:gd name="connsiteY1738" fmla="*/ 1308895 h 1762127"/>
                <a:gd name="connsiteX1739" fmla="*/ 7027745 w 9759834"/>
                <a:gd name="connsiteY1739" fmla="*/ 1274763 h 1762127"/>
                <a:gd name="connsiteX1740" fmla="*/ 6947577 w 9759834"/>
                <a:gd name="connsiteY1740" fmla="*/ 1274763 h 1762127"/>
                <a:gd name="connsiteX1741" fmla="*/ 6981709 w 9759834"/>
                <a:gd name="connsiteY1741" fmla="*/ 1308895 h 1762127"/>
                <a:gd name="connsiteX1742" fmla="*/ 6947577 w 9759834"/>
                <a:gd name="connsiteY1742" fmla="*/ 1343027 h 1762127"/>
                <a:gd name="connsiteX1743" fmla="*/ 6913445 w 9759834"/>
                <a:gd name="connsiteY1743" fmla="*/ 1308895 h 1762127"/>
                <a:gd name="connsiteX1744" fmla="*/ 6947577 w 9759834"/>
                <a:gd name="connsiteY1744" fmla="*/ 1274763 h 1762127"/>
                <a:gd name="connsiteX1745" fmla="*/ 6861852 w 9759834"/>
                <a:gd name="connsiteY1745" fmla="*/ 1274763 h 1762127"/>
                <a:gd name="connsiteX1746" fmla="*/ 6895984 w 9759834"/>
                <a:gd name="connsiteY1746" fmla="*/ 1308895 h 1762127"/>
                <a:gd name="connsiteX1747" fmla="*/ 6861852 w 9759834"/>
                <a:gd name="connsiteY1747" fmla="*/ 1343027 h 1762127"/>
                <a:gd name="connsiteX1748" fmla="*/ 6827720 w 9759834"/>
                <a:gd name="connsiteY1748" fmla="*/ 1308895 h 1762127"/>
                <a:gd name="connsiteX1749" fmla="*/ 6861852 w 9759834"/>
                <a:gd name="connsiteY1749" fmla="*/ 1274763 h 1762127"/>
                <a:gd name="connsiteX1750" fmla="*/ 6776127 w 9759834"/>
                <a:gd name="connsiteY1750" fmla="*/ 1274763 h 1762127"/>
                <a:gd name="connsiteX1751" fmla="*/ 6810259 w 9759834"/>
                <a:gd name="connsiteY1751" fmla="*/ 1308895 h 1762127"/>
                <a:gd name="connsiteX1752" fmla="*/ 6776127 w 9759834"/>
                <a:gd name="connsiteY1752" fmla="*/ 1343027 h 1762127"/>
                <a:gd name="connsiteX1753" fmla="*/ 6741995 w 9759834"/>
                <a:gd name="connsiteY1753" fmla="*/ 1308895 h 1762127"/>
                <a:gd name="connsiteX1754" fmla="*/ 6776127 w 9759834"/>
                <a:gd name="connsiteY1754" fmla="*/ 1274763 h 1762127"/>
                <a:gd name="connsiteX1755" fmla="*/ 6691195 w 9759834"/>
                <a:gd name="connsiteY1755" fmla="*/ 1274763 h 1762127"/>
                <a:gd name="connsiteX1756" fmla="*/ 6726120 w 9759834"/>
                <a:gd name="connsiteY1756" fmla="*/ 1308895 h 1762127"/>
                <a:gd name="connsiteX1757" fmla="*/ 6691195 w 9759834"/>
                <a:gd name="connsiteY1757" fmla="*/ 1343027 h 1762127"/>
                <a:gd name="connsiteX1758" fmla="*/ 6656270 w 9759834"/>
                <a:gd name="connsiteY1758" fmla="*/ 1308895 h 1762127"/>
                <a:gd name="connsiteX1759" fmla="*/ 6691195 w 9759834"/>
                <a:gd name="connsiteY1759" fmla="*/ 1274763 h 1762127"/>
                <a:gd name="connsiteX1760" fmla="*/ 6607852 w 9759834"/>
                <a:gd name="connsiteY1760" fmla="*/ 1274763 h 1762127"/>
                <a:gd name="connsiteX1761" fmla="*/ 6645159 w 9759834"/>
                <a:gd name="connsiteY1761" fmla="*/ 1308895 h 1762127"/>
                <a:gd name="connsiteX1762" fmla="*/ 6607852 w 9759834"/>
                <a:gd name="connsiteY1762" fmla="*/ 1343027 h 1762127"/>
                <a:gd name="connsiteX1763" fmla="*/ 6570545 w 9759834"/>
                <a:gd name="connsiteY1763" fmla="*/ 1308895 h 1762127"/>
                <a:gd name="connsiteX1764" fmla="*/ 6607852 w 9759834"/>
                <a:gd name="connsiteY1764" fmla="*/ 1274763 h 1762127"/>
                <a:gd name="connsiteX1765" fmla="*/ 6525302 w 9759834"/>
                <a:gd name="connsiteY1765" fmla="*/ 1274763 h 1762127"/>
                <a:gd name="connsiteX1766" fmla="*/ 6559434 w 9759834"/>
                <a:gd name="connsiteY1766" fmla="*/ 1308895 h 1762127"/>
                <a:gd name="connsiteX1767" fmla="*/ 6525302 w 9759834"/>
                <a:gd name="connsiteY1767" fmla="*/ 1343027 h 1762127"/>
                <a:gd name="connsiteX1768" fmla="*/ 6491170 w 9759834"/>
                <a:gd name="connsiteY1768" fmla="*/ 1308895 h 1762127"/>
                <a:gd name="connsiteX1769" fmla="*/ 6525302 w 9759834"/>
                <a:gd name="connsiteY1769" fmla="*/ 1274763 h 1762127"/>
                <a:gd name="connsiteX1770" fmla="*/ 6439577 w 9759834"/>
                <a:gd name="connsiteY1770" fmla="*/ 1274763 h 1762127"/>
                <a:gd name="connsiteX1771" fmla="*/ 6473709 w 9759834"/>
                <a:gd name="connsiteY1771" fmla="*/ 1308895 h 1762127"/>
                <a:gd name="connsiteX1772" fmla="*/ 6439577 w 9759834"/>
                <a:gd name="connsiteY1772" fmla="*/ 1343027 h 1762127"/>
                <a:gd name="connsiteX1773" fmla="*/ 6405445 w 9759834"/>
                <a:gd name="connsiteY1773" fmla="*/ 1308895 h 1762127"/>
                <a:gd name="connsiteX1774" fmla="*/ 6439577 w 9759834"/>
                <a:gd name="connsiteY1774" fmla="*/ 1274763 h 1762127"/>
                <a:gd name="connsiteX1775" fmla="*/ 6353852 w 9759834"/>
                <a:gd name="connsiteY1775" fmla="*/ 1274763 h 1762127"/>
                <a:gd name="connsiteX1776" fmla="*/ 6387984 w 9759834"/>
                <a:gd name="connsiteY1776" fmla="*/ 1308895 h 1762127"/>
                <a:gd name="connsiteX1777" fmla="*/ 6353852 w 9759834"/>
                <a:gd name="connsiteY1777" fmla="*/ 1343027 h 1762127"/>
                <a:gd name="connsiteX1778" fmla="*/ 6319720 w 9759834"/>
                <a:gd name="connsiteY1778" fmla="*/ 1308895 h 1762127"/>
                <a:gd name="connsiteX1779" fmla="*/ 6353852 w 9759834"/>
                <a:gd name="connsiteY1779" fmla="*/ 1274763 h 1762127"/>
                <a:gd name="connsiteX1780" fmla="*/ 6268920 w 9759834"/>
                <a:gd name="connsiteY1780" fmla="*/ 1274763 h 1762127"/>
                <a:gd name="connsiteX1781" fmla="*/ 6303845 w 9759834"/>
                <a:gd name="connsiteY1781" fmla="*/ 1308895 h 1762127"/>
                <a:gd name="connsiteX1782" fmla="*/ 6268920 w 9759834"/>
                <a:gd name="connsiteY1782" fmla="*/ 1343027 h 1762127"/>
                <a:gd name="connsiteX1783" fmla="*/ 6233995 w 9759834"/>
                <a:gd name="connsiteY1783" fmla="*/ 1308895 h 1762127"/>
                <a:gd name="connsiteX1784" fmla="*/ 6268920 w 9759834"/>
                <a:gd name="connsiteY1784" fmla="*/ 1274763 h 1762127"/>
                <a:gd name="connsiteX1785" fmla="*/ 6188752 w 9759834"/>
                <a:gd name="connsiteY1785" fmla="*/ 1274763 h 1762127"/>
                <a:gd name="connsiteX1786" fmla="*/ 6222884 w 9759834"/>
                <a:gd name="connsiteY1786" fmla="*/ 1308895 h 1762127"/>
                <a:gd name="connsiteX1787" fmla="*/ 6188752 w 9759834"/>
                <a:gd name="connsiteY1787" fmla="*/ 1343027 h 1762127"/>
                <a:gd name="connsiteX1788" fmla="*/ 6154620 w 9759834"/>
                <a:gd name="connsiteY1788" fmla="*/ 1308895 h 1762127"/>
                <a:gd name="connsiteX1789" fmla="*/ 6188752 w 9759834"/>
                <a:gd name="connsiteY1789" fmla="*/ 1274763 h 1762127"/>
                <a:gd name="connsiteX1790" fmla="*/ 6103027 w 9759834"/>
                <a:gd name="connsiteY1790" fmla="*/ 1274763 h 1762127"/>
                <a:gd name="connsiteX1791" fmla="*/ 6137159 w 9759834"/>
                <a:gd name="connsiteY1791" fmla="*/ 1308895 h 1762127"/>
                <a:gd name="connsiteX1792" fmla="*/ 6103027 w 9759834"/>
                <a:gd name="connsiteY1792" fmla="*/ 1343027 h 1762127"/>
                <a:gd name="connsiteX1793" fmla="*/ 6068895 w 9759834"/>
                <a:gd name="connsiteY1793" fmla="*/ 1308895 h 1762127"/>
                <a:gd name="connsiteX1794" fmla="*/ 6103027 w 9759834"/>
                <a:gd name="connsiteY1794" fmla="*/ 1274763 h 1762127"/>
                <a:gd name="connsiteX1795" fmla="*/ 6017302 w 9759834"/>
                <a:gd name="connsiteY1795" fmla="*/ 1274763 h 1762127"/>
                <a:gd name="connsiteX1796" fmla="*/ 6051434 w 9759834"/>
                <a:gd name="connsiteY1796" fmla="*/ 1308895 h 1762127"/>
                <a:gd name="connsiteX1797" fmla="*/ 6017302 w 9759834"/>
                <a:gd name="connsiteY1797" fmla="*/ 1343027 h 1762127"/>
                <a:gd name="connsiteX1798" fmla="*/ 5983170 w 9759834"/>
                <a:gd name="connsiteY1798" fmla="*/ 1308895 h 1762127"/>
                <a:gd name="connsiteX1799" fmla="*/ 6017302 w 9759834"/>
                <a:gd name="connsiteY1799" fmla="*/ 1274763 h 1762127"/>
                <a:gd name="connsiteX1800" fmla="*/ 5932370 w 9759834"/>
                <a:gd name="connsiteY1800" fmla="*/ 1274763 h 1762127"/>
                <a:gd name="connsiteX1801" fmla="*/ 5967295 w 9759834"/>
                <a:gd name="connsiteY1801" fmla="*/ 1308895 h 1762127"/>
                <a:gd name="connsiteX1802" fmla="*/ 5932370 w 9759834"/>
                <a:gd name="connsiteY1802" fmla="*/ 1343027 h 1762127"/>
                <a:gd name="connsiteX1803" fmla="*/ 5897445 w 9759834"/>
                <a:gd name="connsiteY1803" fmla="*/ 1308895 h 1762127"/>
                <a:gd name="connsiteX1804" fmla="*/ 5932370 w 9759834"/>
                <a:gd name="connsiteY1804" fmla="*/ 1274763 h 1762127"/>
                <a:gd name="connsiteX1805" fmla="*/ 5766477 w 9759834"/>
                <a:gd name="connsiteY1805" fmla="*/ 1274763 h 1762127"/>
                <a:gd name="connsiteX1806" fmla="*/ 5800609 w 9759834"/>
                <a:gd name="connsiteY1806" fmla="*/ 1308895 h 1762127"/>
                <a:gd name="connsiteX1807" fmla="*/ 5766477 w 9759834"/>
                <a:gd name="connsiteY1807" fmla="*/ 1343027 h 1762127"/>
                <a:gd name="connsiteX1808" fmla="*/ 5732345 w 9759834"/>
                <a:gd name="connsiteY1808" fmla="*/ 1308895 h 1762127"/>
                <a:gd name="connsiteX1809" fmla="*/ 5766477 w 9759834"/>
                <a:gd name="connsiteY1809" fmla="*/ 1274763 h 1762127"/>
                <a:gd name="connsiteX1810" fmla="*/ 5680752 w 9759834"/>
                <a:gd name="connsiteY1810" fmla="*/ 1274763 h 1762127"/>
                <a:gd name="connsiteX1811" fmla="*/ 5714884 w 9759834"/>
                <a:gd name="connsiteY1811" fmla="*/ 1308895 h 1762127"/>
                <a:gd name="connsiteX1812" fmla="*/ 5680752 w 9759834"/>
                <a:gd name="connsiteY1812" fmla="*/ 1343027 h 1762127"/>
                <a:gd name="connsiteX1813" fmla="*/ 5646620 w 9759834"/>
                <a:gd name="connsiteY1813" fmla="*/ 1308895 h 1762127"/>
                <a:gd name="connsiteX1814" fmla="*/ 5680752 w 9759834"/>
                <a:gd name="connsiteY1814" fmla="*/ 1274763 h 1762127"/>
                <a:gd name="connsiteX1815" fmla="*/ 5595820 w 9759834"/>
                <a:gd name="connsiteY1815" fmla="*/ 1274763 h 1762127"/>
                <a:gd name="connsiteX1816" fmla="*/ 5630745 w 9759834"/>
                <a:gd name="connsiteY1816" fmla="*/ 1308895 h 1762127"/>
                <a:gd name="connsiteX1817" fmla="*/ 5595820 w 9759834"/>
                <a:gd name="connsiteY1817" fmla="*/ 1343027 h 1762127"/>
                <a:gd name="connsiteX1818" fmla="*/ 5560895 w 9759834"/>
                <a:gd name="connsiteY1818" fmla="*/ 1308895 h 1762127"/>
                <a:gd name="connsiteX1819" fmla="*/ 5595820 w 9759834"/>
                <a:gd name="connsiteY1819" fmla="*/ 1274763 h 1762127"/>
                <a:gd name="connsiteX1820" fmla="*/ 5344202 w 9759834"/>
                <a:gd name="connsiteY1820" fmla="*/ 1274763 h 1762127"/>
                <a:gd name="connsiteX1821" fmla="*/ 5378334 w 9759834"/>
                <a:gd name="connsiteY1821" fmla="*/ 1308895 h 1762127"/>
                <a:gd name="connsiteX1822" fmla="*/ 5344202 w 9759834"/>
                <a:gd name="connsiteY1822" fmla="*/ 1343027 h 1762127"/>
                <a:gd name="connsiteX1823" fmla="*/ 5310070 w 9759834"/>
                <a:gd name="connsiteY1823" fmla="*/ 1308895 h 1762127"/>
                <a:gd name="connsiteX1824" fmla="*/ 5344202 w 9759834"/>
                <a:gd name="connsiteY1824" fmla="*/ 1274763 h 1762127"/>
                <a:gd name="connsiteX1825" fmla="*/ 5258477 w 9759834"/>
                <a:gd name="connsiteY1825" fmla="*/ 1274763 h 1762127"/>
                <a:gd name="connsiteX1826" fmla="*/ 5292609 w 9759834"/>
                <a:gd name="connsiteY1826" fmla="*/ 1308895 h 1762127"/>
                <a:gd name="connsiteX1827" fmla="*/ 5258477 w 9759834"/>
                <a:gd name="connsiteY1827" fmla="*/ 1343027 h 1762127"/>
                <a:gd name="connsiteX1828" fmla="*/ 5224345 w 9759834"/>
                <a:gd name="connsiteY1828" fmla="*/ 1308895 h 1762127"/>
                <a:gd name="connsiteX1829" fmla="*/ 5258477 w 9759834"/>
                <a:gd name="connsiteY1829" fmla="*/ 1274763 h 1762127"/>
                <a:gd name="connsiteX1830" fmla="*/ 5173545 w 9759834"/>
                <a:gd name="connsiteY1830" fmla="*/ 1274763 h 1762127"/>
                <a:gd name="connsiteX1831" fmla="*/ 5208470 w 9759834"/>
                <a:gd name="connsiteY1831" fmla="*/ 1308895 h 1762127"/>
                <a:gd name="connsiteX1832" fmla="*/ 5173545 w 9759834"/>
                <a:gd name="connsiteY1832" fmla="*/ 1343027 h 1762127"/>
                <a:gd name="connsiteX1833" fmla="*/ 5138620 w 9759834"/>
                <a:gd name="connsiteY1833" fmla="*/ 1308895 h 1762127"/>
                <a:gd name="connsiteX1834" fmla="*/ 5173545 w 9759834"/>
                <a:gd name="connsiteY1834" fmla="*/ 1274763 h 1762127"/>
                <a:gd name="connsiteX1835" fmla="*/ 3234414 w 9759834"/>
                <a:gd name="connsiteY1835" fmla="*/ 1274763 h 1762127"/>
                <a:gd name="connsiteX1836" fmla="*/ 3268546 w 9759834"/>
                <a:gd name="connsiteY1836" fmla="*/ 1308895 h 1762127"/>
                <a:gd name="connsiteX1837" fmla="*/ 3234414 w 9759834"/>
                <a:gd name="connsiteY1837" fmla="*/ 1343027 h 1762127"/>
                <a:gd name="connsiteX1838" fmla="*/ 3200282 w 9759834"/>
                <a:gd name="connsiteY1838" fmla="*/ 1308895 h 1762127"/>
                <a:gd name="connsiteX1839" fmla="*/ 3234414 w 9759834"/>
                <a:gd name="connsiteY1839" fmla="*/ 1274763 h 1762127"/>
                <a:gd name="connsiteX1840" fmla="*/ 3068520 w 9759834"/>
                <a:gd name="connsiteY1840" fmla="*/ 1274763 h 1762127"/>
                <a:gd name="connsiteX1841" fmla="*/ 3103445 w 9759834"/>
                <a:gd name="connsiteY1841" fmla="*/ 1308895 h 1762127"/>
                <a:gd name="connsiteX1842" fmla="*/ 3068520 w 9759834"/>
                <a:gd name="connsiteY1842" fmla="*/ 1343027 h 1762127"/>
                <a:gd name="connsiteX1843" fmla="*/ 3033595 w 9759834"/>
                <a:gd name="connsiteY1843" fmla="*/ 1308895 h 1762127"/>
                <a:gd name="connsiteX1844" fmla="*/ 3068520 w 9759834"/>
                <a:gd name="connsiteY1844" fmla="*/ 1274763 h 1762127"/>
                <a:gd name="connsiteX1845" fmla="*/ 2983589 w 9759834"/>
                <a:gd name="connsiteY1845" fmla="*/ 1274763 h 1762127"/>
                <a:gd name="connsiteX1846" fmla="*/ 3017721 w 9759834"/>
                <a:gd name="connsiteY1846" fmla="*/ 1308895 h 1762127"/>
                <a:gd name="connsiteX1847" fmla="*/ 2983589 w 9759834"/>
                <a:gd name="connsiteY1847" fmla="*/ 1343027 h 1762127"/>
                <a:gd name="connsiteX1848" fmla="*/ 2949457 w 9759834"/>
                <a:gd name="connsiteY1848" fmla="*/ 1308895 h 1762127"/>
                <a:gd name="connsiteX1849" fmla="*/ 2983589 w 9759834"/>
                <a:gd name="connsiteY1849" fmla="*/ 1274763 h 1762127"/>
                <a:gd name="connsiteX1850" fmla="*/ 2897864 w 9759834"/>
                <a:gd name="connsiteY1850" fmla="*/ 1274763 h 1762127"/>
                <a:gd name="connsiteX1851" fmla="*/ 2931996 w 9759834"/>
                <a:gd name="connsiteY1851" fmla="*/ 1308895 h 1762127"/>
                <a:gd name="connsiteX1852" fmla="*/ 2897864 w 9759834"/>
                <a:gd name="connsiteY1852" fmla="*/ 1343027 h 1762127"/>
                <a:gd name="connsiteX1853" fmla="*/ 2863732 w 9759834"/>
                <a:gd name="connsiteY1853" fmla="*/ 1308895 h 1762127"/>
                <a:gd name="connsiteX1854" fmla="*/ 2897864 w 9759834"/>
                <a:gd name="connsiteY1854" fmla="*/ 1274763 h 1762127"/>
                <a:gd name="connsiteX1855" fmla="*/ 2394790 w 9759834"/>
                <a:gd name="connsiteY1855" fmla="*/ 1274763 h 1762127"/>
                <a:gd name="connsiteX1856" fmla="*/ 2428919 w 9759834"/>
                <a:gd name="connsiteY1856" fmla="*/ 1308895 h 1762127"/>
                <a:gd name="connsiteX1857" fmla="*/ 2394790 w 9759834"/>
                <a:gd name="connsiteY1857" fmla="*/ 1343027 h 1762127"/>
                <a:gd name="connsiteX1858" fmla="*/ 2360656 w 9759834"/>
                <a:gd name="connsiteY1858" fmla="*/ 1308895 h 1762127"/>
                <a:gd name="connsiteX1859" fmla="*/ 2394790 w 9759834"/>
                <a:gd name="connsiteY1859" fmla="*/ 1274763 h 1762127"/>
                <a:gd name="connsiteX1860" fmla="*/ 2224919 w 9759834"/>
                <a:gd name="connsiteY1860" fmla="*/ 1274763 h 1762127"/>
                <a:gd name="connsiteX1861" fmla="*/ 2259040 w 9759834"/>
                <a:gd name="connsiteY1861" fmla="*/ 1308895 h 1762127"/>
                <a:gd name="connsiteX1862" fmla="*/ 2224919 w 9759834"/>
                <a:gd name="connsiteY1862" fmla="*/ 1343027 h 1762127"/>
                <a:gd name="connsiteX1863" fmla="*/ 2190786 w 9759834"/>
                <a:gd name="connsiteY1863" fmla="*/ 1308895 h 1762127"/>
                <a:gd name="connsiteX1864" fmla="*/ 2224919 w 9759834"/>
                <a:gd name="connsiteY1864" fmla="*/ 1274763 h 1762127"/>
                <a:gd name="connsiteX1865" fmla="*/ 2139057 w 9759834"/>
                <a:gd name="connsiteY1865" fmla="*/ 1274763 h 1762127"/>
                <a:gd name="connsiteX1866" fmla="*/ 2173188 w 9759834"/>
                <a:gd name="connsiteY1866" fmla="*/ 1308895 h 1762127"/>
                <a:gd name="connsiteX1867" fmla="*/ 2139057 w 9759834"/>
                <a:gd name="connsiteY1867" fmla="*/ 1343027 h 1762127"/>
                <a:gd name="connsiteX1868" fmla="*/ 2104925 w 9759834"/>
                <a:gd name="connsiteY1868" fmla="*/ 1308895 h 1762127"/>
                <a:gd name="connsiteX1869" fmla="*/ 2139057 w 9759834"/>
                <a:gd name="connsiteY1869" fmla="*/ 1274763 h 1762127"/>
                <a:gd name="connsiteX1870" fmla="*/ 2055713 w 9759834"/>
                <a:gd name="connsiteY1870" fmla="*/ 1274763 h 1762127"/>
                <a:gd name="connsiteX1871" fmla="*/ 2092226 w 9759834"/>
                <a:gd name="connsiteY1871" fmla="*/ 1308895 h 1762127"/>
                <a:gd name="connsiteX1872" fmla="*/ 2055713 w 9759834"/>
                <a:gd name="connsiteY1872" fmla="*/ 1343027 h 1762127"/>
                <a:gd name="connsiteX1873" fmla="*/ 2019201 w 9759834"/>
                <a:gd name="connsiteY1873" fmla="*/ 1308895 h 1762127"/>
                <a:gd name="connsiteX1874" fmla="*/ 2055713 w 9759834"/>
                <a:gd name="connsiteY1874" fmla="*/ 1274763 h 1762127"/>
                <a:gd name="connsiteX1875" fmla="*/ 1973164 w 9759834"/>
                <a:gd name="connsiteY1875" fmla="*/ 1274763 h 1762127"/>
                <a:gd name="connsiteX1876" fmla="*/ 2008088 w 9759834"/>
                <a:gd name="connsiteY1876" fmla="*/ 1308895 h 1762127"/>
                <a:gd name="connsiteX1877" fmla="*/ 1973164 w 9759834"/>
                <a:gd name="connsiteY1877" fmla="*/ 1343027 h 1762127"/>
                <a:gd name="connsiteX1878" fmla="*/ 1938239 w 9759834"/>
                <a:gd name="connsiteY1878" fmla="*/ 1308895 h 1762127"/>
                <a:gd name="connsiteX1879" fmla="*/ 1973164 w 9759834"/>
                <a:gd name="connsiteY1879" fmla="*/ 1274763 h 1762127"/>
                <a:gd name="connsiteX1880" fmla="*/ 1888234 w 9759834"/>
                <a:gd name="connsiteY1880" fmla="*/ 1274763 h 1762127"/>
                <a:gd name="connsiteX1881" fmla="*/ 1922366 w 9759834"/>
                <a:gd name="connsiteY1881" fmla="*/ 1308895 h 1762127"/>
                <a:gd name="connsiteX1882" fmla="*/ 1888234 w 9759834"/>
                <a:gd name="connsiteY1882" fmla="*/ 1343027 h 1762127"/>
                <a:gd name="connsiteX1883" fmla="*/ 1854102 w 9759834"/>
                <a:gd name="connsiteY1883" fmla="*/ 1308895 h 1762127"/>
                <a:gd name="connsiteX1884" fmla="*/ 1888234 w 9759834"/>
                <a:gd name="connsiteY1884" fmla="*/ 1274763 h 1762127"/>
                <a:gd name="connsiteX1885" fmla="*/ 1802510 w 9759834"/>
                <a:gd name="connsiteY1885" fmla="*/ 1274763 h 1762127"/>
                <a:gd name="connsiteX1886" fmla="*/ 1836643 w 9759834"/>
                <a:gd name="connsiteY1886" fmla="*/ 1308895 h 1762127"/>
                <a:gd name="connsiteX1887" fmla="*/ 1802510 w 9759834"/>
                <a:gd name="connsiteY1887" fmla="*/ 1343027 h 1762127"/>
                <a:gd name="connsiteX1888" fmla="*/ 1768379 w 9759834"/>
                <a:gd name="connsiteY1888" fmla="*/ 1308895 h 1762127"/>
                <a:gd name="connsiteX1889" fmla="*/ 1802510 w 9759834"/>
                <a:gd name="connsiteY1889" fmla="*/ 1274763 h 1762127"/>
                <a:gd name="connsiteX1890" fmla="*/ 1719169 w 9759834"/>
                <a:gd name="connsiteY1890" fmla="*/ 1274763 h 1762127"/>
                <a:gd name="connsiteX1891" fmla="*/ 1755682 w 9759834"/>
                <a:gd name="connsiteY1891" fmla="*/ 1308895 h 1762127"/>
                <a:gd name="connsiteX1892" fmla="*/ 1719169 w 9759834"/>
                <a:gd name="connsiteY1892" fmla="*/ 1343027 h 1762127"/>
                <a:gd name="connsiteX1893" fmla="*/ 1682656 w 9759834"/>
                <a:gd name="connsiteY1893" fmla="*/ 1308895 h 1762127"/>
                <a:gd name="connsiteX1894" fmla="*/ 1719169 w 9759834"/>
                <a:gd name="connsiteY1894" fmla="*/ 1274763 h 1762127"/>
                <a:gd name="connsiteX1895" fmla="*/ 1636604 w 9759834"/>
                <a:gd name="connsiteY1895" fmla="*/ 1274763 h 1762127"/>
                <a:gd name="connsiteX1896" fmla="*/ 1671529 w 9759834"/>
                <a:gd name="connsiteY1896" fmla="*/ 1308895 h 1762127"/>
                <a:gd name="connsiteX1897" fmla="*/ 1636604 w 9759834"/>
                <a:gd name="connsiteY1897" fmla="*/ 1343027 h 1762127"/>
                <a:gd name="connsiteX1898" fmla="*/ 1601679 w 9759834"/>
                <a:gd name="connsiteY1898" fmla="*/ 1308895 h 1762127"/>
                <a:gd name="connsiteX1899" fmla="*/ 1636604 w 9759834"/>
                <a:gd name="connsiteY1899" fmla="*/ 1274763 h 1762127"/>
                <a:gd name="connsiteX1900" fmla="*/ 1551670 w 9759834"/>
                <a:gd name="connsiteY1900" fmla="*/ 1274763 h 1762127"/>
                <a:gd name="connsiteX1901" fmla="*/ 1585803 w 9759834"/>
                <a:gd name="connsiteY1901" fmla="*/ 1308895 h 1762127"/>
                <a:gd name="connsiteX1902" fmla="*/ 1551670 w 9759834"/>
                <a:gd name="connsiteY1902" fmla="*/ 1343027 h 1762127"/>
                <a:gd name="connsiteX1903" fmla="*/ 1517538 w 9759834"/>
                <a:gd name="connsiteY1903" fmla="*/ 1308895 h 1762127"/>
                <a:gd name="connsiteX1904" fmla="*/ 1551670 w 9759834"/>
                <a:gd name="connsiteY1904" fmla="*/ 1274763 h 1762127"/>
                <a:gd name="connsiteX1905" fmla="*/ 1465953 w 9759834"/>
                <a:gd name="connsiteY1905" fmla="*/ 1274763 h 1762127"/>
                <a:gd name="connsiteX1906" fmla="*/ 1500086 w 9759834"/>
                <a:gd name="connsiteY1906" fmla="*/ 1308895 h 1762127"/>
                <a:gd name="connsiteX1907" fmla="*/ 1465953 w 9759834"/>
                <a:gd name="connsiteY1907" fmla="*/ 1343027 h 1762127"/>
                <a:gd name="connsiteX1908" fmla="*/ 1431821 w 9759834"/>
                <a:gd name="connsiteY1908" fmla="*/ 1308895 h 1762127"/>
                <a:gd name="connsiteX1909" fmla="*/ 1465953 w 9759834"/>
                <a:gd name="connsiteY1909" fmla="*/ 1274763 h 1762127"/>
                <a:gd name="connsiteX1910" fmla="*/ 1380392 w 9759834"/>
                <a:gd name="connsiteY1910" fmla="*/ 1274763 h 1762127"/>
                <a:gd name="connsiteX1911" fmla="*/ 1414522 w 9759834"/>
                <a:gd name="connsiteY1911" fmla="*/ 1308895 h 1762127"/>
                <a:gd name="connsiteX1912" fmla="*/ 1380392 w 9759834"/>
                <a:gd name="connsiteY1912" fmla="*/ 1343027 h 1762127"/>
                <a:gd name="connsiteX1913" fmla="*/ 1346258 w 9759834"/>
                <a:gd name="connsiteY1913" fmla="*/ 1308895 h 1762127"/>
                <a:gd name="connsiteX1914" fmla="*/ 1380392 w 9759834"/>
                <a:gd name="connsiteY1914" fmla="*/ 1274763 h 1762127"/>
                <a:gd name="connsiteX1915" fmla="*/ 9474877 w 9759834"/>
                <a:gd name="connsiteY1915" fmla="*/ 1189038 h 1762127"/>
                <a:gd name="connsiteX1916" fmla="*/ 9509009 w 9759834"/>
                <a:gd name="connsiteY1916" fmla="*/ 1223170 h 1762127"/>
                <a:gd name="connsiteX1917" fmla="*/ 9474877 w 9759834"/>
                <a:gd name="connsiteY1917" fmla="*/ 1257302 h 1762127"/>
                <a:gd name="connsiteX1918" fmla="*/ 9440745 w 9759834"/>
                <a:gd name="connsiteY1918" fmla="*/ 1223170 h 1762127"/>
                <a:gd name="connsiteX1919" fmla="*/ 9474877 w 9759834"/>
                <a:gd name="connsiteY1919" fmla="*/ 1189038 h 1762127"/>
                <a:gd name="connsiteX1920" fmla="*/ 8801777 w 9759834"/>
                <a:gd name="connsiteY1920" fmla="*/ 1189038 h 1762127"/>
                <a:gd name="connsiteX1921" fmla="*/ 8835909 w 9759834"/>
                <a:gd name="connsiteY1921" fmla="*/ 1223170 h 1762127"/>
                <a:gd name="connsiteX1922" fmla="*/ 8801777 w 9759834"/>
                <a:gd name="connsiteY1922" fmla="*/ 1257302 h 1762127"/>
                <a:gd name="connsiteX1923" fmla="*/ 8767645 w 9759834"/>
                <a:gd name="connsiteY1923" fmla="*/ 1223170 h 1762127"/>
                <a:gd name="connsiteX1924" fmla="*/ 8801777 w 9759834"/>
                <a:gd name="connsiteY1924" fmla="*/ 1189038 h 1762127"/>
                <a:gd name="connsiteX1925" fmla="*/ 8716052 w 9759834"/>
                <a:gd name="connsiteY1925" fmla="*/ 1189038 h 1762127"/>
                <a:gd name="connsiteX1926" fmla="*/ 8750184 w 9759834"/>
                <a:gd name="connsiteY1926" fmla="*/ 1223170 h 1762127"/>
                <a:gd name="connsiteX1927" fmla="*/ 8716052 w 9759834"/>
                <a:gd name="connsiteY1927" fmla="*/ 1257302 h 1762127"/>
                <a:gd name="connsiteX1928" fmla="*/ 8681920 w 9759834"/>
                <a:gd name="connsiteY1928" fmla="*/ 1223170 h 1762127"/>
                <a:gd name="connsiteX1929" fmla="*/ 8716052 w 9759834"/>
                <a:gd name="connsiteY1929" fmla="*/ 1189038 h 1762127"/>
                <a:gd name="connsiteX1930" fmla="*/ 8630327 w 9759834"/>
                <a:gd name="connsiteY1930" fmla="*/ 1189038 h 1762127"/>
                <a:gd name="connsiteX1931" fmla="*/ 8664459 w 9759834"/>
                <a:gd name="connsiteY1931" fmla="*/ 1223170 h 1762127"/>
                <a:gd name="connsiteX1932" fmla="*/ 8630327 w 9759834"/>
                <a:gd name="connsiteY1932" fmla="*/ 1257302 h 1762127"/>
                <a:gd name="connsiteX1933" fmla="*/ 8596195 w 9759834"/>
                <a:gd name="connsiteY1933" fmla="*/ 1223170 h 1762127"/>
                <a:gd name="connsiteX1934" fmla="*/ 8630327 w 9759834"/>
                <a:gd name="connsiteY1934" fmla="*/ 1189038 h 1762127"/>
                <a:gd name="connsiteX1935" fmla="*/ 8544602 w 9759834"/>
                <a:gd name="connsiteY1935" fmla="*/ 1189038 h 1762127"/>
                <a:gd name="connsiteX1936" fmla="*/ 8578734 w 9759834"/>
                <a:gd name="connsiteY1936" fmla="*/ 1223170 h 1762127"/>
                <a:gd name="connsiteX1937" fmla="*/ 8544602 w 9759834"/>
                <a:gd name="connsiteY1937" fmla="*/ 1257302 h 1762127"/>
                <a:gd name="connsiteX1938" fmla="*/ 8510470 w 9759834"/>
                <a:gd name="connsiteY1938" fmla="*/ 1223170 h 1762127"/>
                <a:gd name="connsiteX1939" fmla="*/ 8544602 w 9759834"/>
                <a:gd name="connsiteY1939" fmla="*/ 1189038 h 1762127"/>
                <a:gd name="connsiteX1940" fmla="*/ 8465227 w 9759834"/>
                <a:gd name="connsiteY1940" fmla="*/ 1189038 h 1762127"/>
                <a:gd name="connsiteX1941" fmla="*/ 8499359 w 9759834"/>
                <a:gd name="connsiteY1941" fmla="*/ 1223170 h 1762127"/>
                <a:gd name="connsiteX1942" fmla="*/ 8465227 w 9759834"/>
                <a:gd name="connsiteY1942" fmla="*/ 1257302 h 1762127"/>
                <a:gd name="connsiteX1943" fmla="*/ 8431095 w 9759834"/>
                <a:gd name="connsiteY1943" fmla="*/ 1223170 h 1762127"/>
                <a:gd name="connsiteX1944" fmla="*/ 8465227 w 9759834"/>
                <a:gd name="connsiteY1944" fmla="*/ 1189038 h 1762127"/>
                <a:gd name="connsiteX1945" fmla="*/ 8379502 w 9759834"/>
                <a:gd name="connsiteY1945" fmla="*/ 1189038 h 1762127"/>
                <a:gd name="connsiteX1946" fmla="*/ 8413634 w 9759834"/>
                <a:gd name="connsiteY1946" fmla="*/ 1223170 h 1762127"/>
                <a:gd name="connsiteX1947" fmla="*/ 8379502 w 9759834"/>
                <a:gd name="connsiteY1947" fmla="*/ 1257302 h 1762127"/>
                <a:gd name="connsiteX1948" fmla="*/ 8345370 w 9759834"/>
                <a:gd name="connsiteY1948" fmla="*/ 1223170 h 1762127"/>
                <a:gd name="connsiteX1949" fmla="*/ 8379502 w 9759834"/>
                <a:gd name="connsiteY1949" fmla="*/ 1189038 h 1762127"/>
                <a:gd name="connsiteX1950" fmla="*/ 8293777 w 9759834"/>
                <a:gd name="connsiteY1950" fmla="*/ 1189038 h 1762127"/>
                <a:gd name="connsiteX1951" fmla="*/ 8327909 w 9759834"/>
                <a:gd name="connsiteY1951" fmla="*/ 1223170 h 1762127"/>
                <a:gd name="connsiteX1952" fmla="*/ 8293777 w 9759834"/>
                <a:gd name="connsiteY1952" fmla="*/ 1257302 h 1762127"/>
                <a:gd name="connsiteX1953" fmla="*/ 8259645 w 9759834"/>
                <a:gd name="connsiteY1953" fmla="*/ 1223170 h 1762127"/>
                <a:gd name="connsiteX1954" fmla="*/ 8293777 w 9759834"/>
                <a:gd name="connsiteY1954" fmla="*/ 1189038 h 1762127"/>
                <a:gd name="connsiteX1955" fmla="*/ 8208052 w 9759834"/>
                <a:gd name="connsiteY1955" fmla="*/ 1189038 h 1762127"/>
                <a:gd name="connsiteX1956" fmla="*/ 8242184 w 9759834"/>
                <a:gd name="connsiteY1956" fmla="*/ 1223170 h 1762127"/>
                <a:gd name="connsiteX1957" fmla="*/ 8208052 w 9759834"/>
                <a:gd name="connsiteY1957" fmla="*/ 1257302 h 1762127"/>
                <a:gd name="connsiteX1958" fmla="*/ 8173920 w 9759834"/>
                <a:gd name="connsiteY1958" fmla="*/ 1223170 h 1762127"/>
                <a:gd name="connsiteX1959" fmla="*/ 8208052 w 9759834"/>
                <a:gd name="connsiteY1959" fmla="*/ 1189038 h 1762127"/>
                <a:gd name="connsiteX1960" fmla="*/ 8125502 w 9759834"/>
                <a:gd name="connsiteY1960" fmla="*/ 1189038 h 1762127"/>
                <a:gd name="connsiteX1961" fmla="*/ 8162809 w 9759834"/>
                <a:gd name="connsiteY1961" fmla="*/ 1223170 h 1762127"/>
                <a:gd name="connsiteX1962" fmla="*/ 8125502 w 9759834"/>
                <a:gd name="connsiteY1962" fmla="*/ 1257302 h 1762127"/>
                <a:gd name="connsiteX1963" fmla="*/ 8088195 w 9759834"/>
                <a:gd name="connsiteY1963" fmla="*/ 1223170 h 1762127"/>
                <a:gd name="connsiteX1964" fmla="*/ 8125502 w 9759834"/>
                <a:gd name="connsiteY1964" fmla="*/ 1189038 h 1762127"/>
                <a:gd name="connsiteX1965" fmla="*/ 8042952 w 9759834"/>
                <a:gd name="connsiteY1965" fmla="*/ 1189038 h 1762127"/>
                <a:gd name="connsiteX1966" fmla="*/ 8077084 w 9759834"/>
                <a:gd name="connsiteY1966" fmla="*/ 1223170 h 1762127"/>
                <a:gd name="connsiteX1967" fmla="*/ 8042952 w 9759834"/>
                <a:gd name="connsiteY1967" fmla="*/ 1257302 h 1762127"/>
                <a:gd name="connsiteX1968" fmla="*/ 8008820 w 9759834"/>
                <a:gd name="connsiteY1968" fmla="*/ 1223170 h 1762127"/>
                <a:gd name="connsiteX1969" fmla="*/ 8042952 w 9759834"/>
                <a:gd name="connsiteY1969" fmla="*/ 1189038 h 1762127"/>
                <a:gd name="connsiteX1970" fmla="*/ 7957227 w 9759834"/>
                <a:gd name="connsiteY1970" fmla="*/ 1189038 h 1762127"/>
                <a:gd name="connsiteX1971" fmla="*/ 7991359 w 9759834"/>
                <a:gd name="connsiteY1971" fmla="*/ 1223170 h 1762127"/>
                <a:gd name="connsiteX1972" fmla="*/ 7957227 w 9759834"/>
                <a:gd name="connsiteY1972" fmla="*/ 1257302 h 1762127"/>
                <a:gd name="connsiteX1973" fmla="*/ 7923095 w 9759834"/>
                <a:gd name="connsiteY1973" fmla="*/ 1223170 h 1762127"/>
                <a:gd name="connsiteX1974" fmla="*/ 7957227 w 9759834"/>
                <a:gd name="connsiteY1974" fmla="*/ 1189038 h 1762127"/>
                <a:gd name="connsiteX1975" fmla="*/ 7871502 w 9759834"/>
                <a:gd name="connsiteY1975" fmla="*/ 1189038 h 1762127"/>
                <a:gd name="connsiteX1976" fmla="*/ 7905634 w 9759834"/>
                <a:gd name="connsiteY1976" fmla="*/ 1223170 h 1762127"/>
                <a:gd name="connsiteX1977" fmla="*/ 7871502 w 9759834"/>
                <a:gd name="connsiteY1977" fmla="*/ 1257302 h 1762127"/>
                <a:gd name="connsiteX1978" fmla="*/ 7837370 w 9759834"/>
                <a:gd name="connsiteY1978" fmla="*/ 1223170 h 1762127"/>
                <a:gd name="connsiteX1979" fmla="*/ 7871502 w 9759834"/>
                <a:gd name="connsiteY1979" fmla="*/ 1189038 h 1762127"/>
                <a:gd name="connsiteX1980" fmla="*/ 7785777 w 9759834"/>
                <a:gd name="connsiteY1980" fmla="*/ 1189038 h 1762127"/>
                <a:gd name="connsiteX1981" fmla="*/ 7819909 w 9759834"/>
                <a:gd name="connsiteY1981" fmla="*/ 1223170 h 1762127"/>
                <a:gd name="connsiteX1982" fmla="*/ 7785777 w 9759834"/>
                <a:gd name="connsiteY1982" fmla="*/ 1257302 h 1762127"/>
                <a:gd name="connsiteX1983" fmla="*/ 7751645 w 9759834"/>
                <a:gd name="connsiteY1983" fmla="*/ 1223170 h 1762127"/>
                <a:gd name="connsiteX1984" fmla="*/ 7785777 w 9759834"/>
                <a:gd name="connsiteY1984" fmla="*/ 1189038 h 1762127"/>
                <a:gd name="connsiteX1985" fmla="*/ 7706402 w 9759834"/>
                <a:gd name="connsiteY1985" fmla="*/ 1189038 h 1762127"/>
                <a:gd name="connsiteX1986" fmla="*/ 7740534 w 9759834"/>
                <a:gd name="connsiteY1986" fmla="*/ 1223170 h 1762127"/>
                <a:gd name="connsiteX1987" fmla="*/ 7706402 w 9759834"/>
                <a:gd name="connsiteY1987" fmla="*/ 1257302 h 1762127"/>
                <a:gd name="connsiteX1988" fmla="*/ 7672270 w 9759834"/>
                <a:gd name="connsiteY1988" fmla="*/ 1223170 h 1762127"/>
                <a:gd name="connsiteX1989" fmla="*/ 7706402 w 9759834"/>
                <a:gd name="connsiteY1989" fmla="*/ 1189038 h 1762127"/>
                <a:gd name="connsiteX1990" fmla="*/ 7620677 w 9759834"/>
                <a:gd name="connsiteY1990" fmla="*/ 1189038 h 1762127"/>
                <a:gd name="connsiteX1991" fmla="*/ 7654809 w 9759834"/>
                <a:gd name="connsiteY1991" fmla="*/ 1223170 h 1762127"/>
                <a:gd name="connsiteX1992" fmla="*/ 7620677 w 9759834"/>
                <a:gd name="connsiteY1992" fmla="*/ 1257302 h 1762127"/>
                <a:gd name="connsiteX1993" fmla="*/ 7586545 w 9759834"/>
                <a:gd name="connsiteY1993" fmla="*/ 1223170 h 1762127"/>
                <a:gd name="connsiteX1994" fmla="*/ 7620677 w 9759834"/>
                <a:gd name="connsiteY1994" fmla="*/ 1189038 h 1762127"/>
                <a:gd name="connsiteX1995" fmla="*/ 7534952 w 9759834"/>
                <a:gd name="connsiteY1995" fmla="*/ 1189038 h 1762127"/>
                <a:gd name="connsiteX1996" fmla="*/ 7569084 w 9759834"/>
                <a:gd name="connsiteY1996" fmla="*/ 1223170 h 1762127"/>
                <a:gd name="connsiteX1997" fmla="*/ 7534952 w 9759834"/>
                <a:gd name="connsiteY1997" fmla="*/ 1257302 h 1762127"/>
                <a:gd name="connsiteX1998" fmla="*/ 7500820 w 9759834"/>
                <a:gd name="connsiteY1998" fmla="*/ 1223170 h 1762127"/>
                <a:gd name="connsiteX1999" fmla="*/ 7534952 w 9759834"/>
                <a:gd name="connsiteY1999" fmla="*/ 1189038 h 1762127"/>
                <a:gd name="connsiteX2000" fmla="*/ 7449227 w 9759834"/>
                <a:gd name="connsiteY2000" fmla="*/ 1189038 h 1762127"/>
                <a:gd name="connsiteX2001" fmla="*/ 7483359 w 9759834"/>
                <a:gd name="connsiteY2001" fmla="*/ 1223170 h 1762127"/>
                <a:gd name="connsiteX2002" fmla="*/ 7449227 w 9759834"/>
                <a:gd name="connsiteY2002" fmla="*/ 1257302 h 1762127"/>
                <a:gd name="connsiteX2003" fmla="*/ 7415095 w 9759834"/>
                <a:gd name="connsiteY2003" fmla="*/ 1223170 h 1762127"/>
                <a:gd name="connsiteX2004" fmla="*/ 7449227 w 9759834"/>
                <a:gd name="connsiteY2004" fmla="*/ 1189038 h 1762127"/>
                <a:gd name="connsiteX2005" fmla="*/ 7366677 w 9759834"/>
                <a:gd name="connsiteY2005" fmla="*/ 1189038 h 1762127"/>
                <a:gd name="connsiteX2006" fmla="*/ 7403984 w 9759834"/>
                <a:gd name="connsiteY2006" fmla="*/ 1223170 h 1762127"/>
                <a:gd name="connsiteX2007" fmla="*/ 7366677 w 9759834"/>
                <a:gd name="connsiteY2007" fmla="*/ 1257302 h 1762127"/>
                <a:gd name="connsiteX2008" fmla="*/ 7329370 w 9759834"/>
                <a:gd name="connsiteY2008" fmla="*/ 1223170 h 1762127"/>
                <a:gd name="connsiteX2009" fmla="*/ 7366677 w 9759834"/>
                <a:gd name="connsiteY2009" fmla="*/ 1189038 h 1762127"/>
                <a:gd name="connsiteX2010" fmla="*/ 7284127 w 9759834"/>
                <a:gd name="connsiteY2010" fmla="*/ 1189038 h 1762127"/>
                <a:gd name="connsiteX2011" fmla="*/ 7318259 w 9759834"/>
                <a:gd name="connsiteY2011" fmla="*/ 1223170 h 1762127"/>
                <a:gd name="connsiteX2012" fmla="*/ 7284127 w 9759834"/>
                <a:gd name="connsiteY2012" fmla="*/ 1257302 h 1762127"/>
                <a:gd name="connsiteX2013" fmla="*/ 7249995 w 9759834"/>
                <a:gd name="connsiteY2013" fmla="*/ 1223170 h 1762127"/>
                <a:gd name="connsiteX2014" fmla="*/ 7284127 w 9759834"/>
                <a:gd name="connsiteY2014" fmla="*/ 1189038 h 1762127"/>
                <a:gd name="connsiteX2015" fmla="*/ 7198402 w 9759834"/>
                <a:gd name="connsiteY2015" fmla="*/ 1189038 h 1762127"/>
                <a:gd name="connsiteX2016" fmla="*/ 7232534 w 9759834"/>
                <a:gd name="connsiteY2016" fmla="*/ 1223170 h 1762127"/>
                <a:gd name="connsiteX2017" fmla="*/ 7198402 w 9759834"/>
                <a:gd name="connsiteY2017" fmla="*/ 1257302 h 1762127"/>
                <a:gd name="connsiteX2018" fmla="*/ 7164270 w 9759834"/>
                <a:gd name="connsiteY2018" fmla="*/ 1223170 h 1762127"/>
                <a:gd name="connsiteX2019" fmla="*/ 7198402 w 9759834"/>
                <a:gd name="connsiteY2019" fmla="*/ 1189038 h 1762127"/>
                <a:gd name="connsiteX2020" fmla="*/ 7112677 w 9759834"/>
                <a:gd name="connsiteY2020" fmla="*/ 1189038 h 1762127"/>
                <a:gd name="connsiteX2021" fmla="*/ 7146809 w 9759834"/>
                <a:gd name="connsiteY2021" fmla="*/ 1223170 h 1762127"/>
                <a:gd name="connsiteX2022" fmla="*/ 7112677 w 9759834"/>
                <a:gd name="connsiteY2022" fmla="*/ 1257302 h 1762127"/>
                <a:gd name="connsiteX2023" fmla="*/ 7078545 w 9759834"/>
                <a:gd name="connsiteY2023" fmla="*/ 1223170 h 1762127"/>
                <a:gd name="connsiteX2024" fmla="*/ 7112677 w 9759834"/>
                <a:gd name="connsiteY2024" fmla="*/ 1189038 h 1762127"/>
                <a:gd name="connsiteX2025" fmla="*/ 7027745 w 9759834"/>
                <a:gd name="connsiteY2025" fmla="*/ 1189038 h 1762127"/>
                <a:gd name="connsiteX2026" fmla="*/ 7062670 w 9759834"/>
                <a:gd name="connsiteY2026" fmla="*/ 1223170 h 1762127"/>
                <a:gd name="connsiteX2027" fmla="*/ 7027745 w 9759834"/>
                <a:gd name="connsiteY2027" fmla="*/ 1257302 h 1762127"/>
                <a:gd name="connsiteX2028" fmla="*/ 6992820 w 9759834"/>
                <a:gd name="connsiteY2028" fmla="*/ 1223170 h 1762127"/>
                <a:gd name="connsiteX2029" fmla="*/ 7027745 w 9759834"/>
                <a:gd name="connsiteY2029" fmla="*/ 1189038 h 1762127"/>
                <a:gd name="connsiteX2030" fmla="*/ 6947577 w 9759834"/>
                <a:gd name="connsiteY2030" fmla="*/ 1189038 h 1762127"/>
                <a:gd name="connsiteX2031" fmla="*/ 6981709 w 9759834"/>
                <a:gd name="connsiteY2031" fmla="*/ 1223170 h 1762127"/>
                <a:gd name="connsiteX2032" fmla="*/ 6947577 w 9759834"/>
                <a:gd name="connsiteY2032" fmla="*/ 1257302 h 1762127"/>
                <a:gd name="connsiteX2033" fmla="*/ 6913445 w 9759834"/>
                <a:gd name="connsiteY2033" fmla="*/ 1223170 h 1762127"/>
                <a:gd name="connsiteX2034" fmla="*/ 6947577 w 9759834"/>
                <a:gd name="connsiteY2034" fmla="*/ 1189038 h 1762127"/>
                <a:gd name="connsiteX2035" fmla="*/ 6861852 w 9759834"/>
                <a:gd name="connsiteY2035" fmla="*/ 1189038 h 1762127"/>
                <a:gd name="connsiteX2036" fmla="*/ 6895984 w 9759834"/>
                <a:gd name="connsiteY2036" fmla="*/ 1223170 h 1762127"/>
                <a:gd name="connsiteX2037" fmla="*/ 6861852 w 9759834"/>
                <a:gd name="connsiteY2037" fmla="*/ 1257302 h 1762127"/>
                <a:gd name="connsiteX2038" fmla="*/ 6827720 w 9759834"/>
                <a:gd name="connsiteY2038" fmla="*/ 1223170 h 1762127"/>
                <a:gd name="connsiteX2039" fmla="*/ 6861852 w 9759834"/>
                <a:gd name="connsiteY2039" fmla="*/ 1189038 h 1762127"/>
                <a:gd name="connsiteX2040" fmla="*/ 6776127 w 9759834"/>
                <a:gd name="connsiteY2040" fmla="*/ 1189038 h 1762127"/>
                <a:gd name="connsiteX2041" fmla="*/ 6810259 w 9759834"/>
                <a:gd name="connsiteY2041" fmla="*/ 1223170 h 1762127"/>
                <a:gd name="connsiteX2042" fmla="*/ 6776127 w 9759834"/>
                <a:gd name="connsiteY2042" fmla="*/ 1257302 h 1762127"/>
                <a:gd name="connsiteX2043" fmla="*/ 6741995 w 9759834"/>
                <a:gd name="connsiteY2043" fmla="*/ 1223170 h 1762127"/>
                <a:gd name="connsiteX2044" fmla="*/ 6776127 w 9759834"/>
                <a:gd name="connsiteY2044" fmla="*/ 1189038 h 1762127"/>
                <a:gd name="connsiteX2045" fmla="*/ 6691195 w 9759834"/>
                <a:gd name="connsiteY2045" fmla="*/ 1189038 h 1762127"/>
                <a:gd name="connsiteX2046" fmla="*/ 6726120 w 9759834"/>
                <a:gd name="connsiteY2046" fmla="*/ 1223170 h 1762127"/>
                <a:gd name="connsiteX2047" fmla="*/ 6691195 w 9759834"/>
                <a:gd name="connsiteY2047" fmla="*/ 1257302 h 1762127"/>
                <a:gd name="connsiteX2048" fmla="*/ 6656270 w 9759834"/>
                <a:gd name="connsiteY2048" fmla="*/ 1223170 h 1762127"/>
                <a:gd name="connsiteX2049" fmla="*/ 6691195 w 9759834"/>
                <a:gd name="connsiteY2049" fmla="*/ 1189038 h 1762127"/>
                <a:gd name="connsiteX2050" fmla="*/ 6607852 w 9759834"/>
                <a:gd name="connsiteY2050" fmla="*/ 1189038 h 1762127"/>
                <a:gd name="connsiteX2051" fmla="*/ 6645159 w 9759834"/>
                <a:gd name="connsiteY2051" fmla="*/ 1223170 h 1762127"/>
                <a:gd name="connsiteX2052" fmla="*/ 6607852 w 9759834"/>
                <a:gd name="connsiteY2052" fmla="*/ 1257302 h 1762127"/>
                <a:gd name="connsiteX2053" fmla="*/ 6570545 w 9759834"/>
                <a:gd name="connsiteY2053" fmla="*/ 1223170 h 1762127"/>
                <a:gd name="connsiteX2054" fmla="*/ 6607852 w 9759834"/>
                <a:gd name="connsiteY2054" fmla="*/ 1189038 h 1762127"/>
                <a:gd name="connsiteX2055" fmla="*/ 6525302 w 9759834"/>
                <a:gd name="connsiteY2055" fmla="*/ 1189038 h 1762127"/>
                <a:gd name="connsiteX2056" fmla="*/ 6559434 w 9759834"/>
                <a:gd name="connsiteY2056" fmla="*/ 1223170 h 1762127"/>
                <a:gd name="connsiteX2057" fmla="*/ 6525302 w 9759834"/>
                <a:gd name="connsiteY2057" fmla="*/ 1257302 h 1762127"/>
                <a:gd name="connsiteX2058" fmla="*/ 6491170 w 9759834"/>
                <a:gd name="connsiteY2058" fmla="*/ 1223170 h 1762127"/>
                <a:gd name="connsiteX2059" fmla="*/ 6525302 w 9759834"/>
                <a:gd name="connsiteY2059" fmla="*/ 1189038 h 1762127"/>
                <a:gd name="connsiteX2060" fmla="*/ 6439577 w 9759834"/>
                <a:gd name="connsiteY2060" fmla="*/ 1189038 h 1762127"/>
                <a:gd name="connsiteX2061" fmla="*/ 6473709 w 9759834"/>
                <a:gd name="connsiteY2061" fmla="*/ 1223170 h 1762127"/>
                <a:gd name="connsiteX2062" fmla="*/ 6439577 w 9759834"/>
                <a:gd name="connsiteY2062" fmla="*/ 1257302 h 1762127"/>
                <a:gd name="connsiteX2063" fmla="*/ 6405445 w 9759834"/>
                <a:gd name="connsiteY2063" fmla="*/ 1223170 h 1762127"/>
                <a:gd name="connsiteX2064" fmla="*/ 6439577 w 9759834"/>
                <a:gd name="connsiteY2064" fmla="*/ 1189038 h 1762127"/>
                <a:gd name="connsiteX2065" fmla="*/ 6353852 w 9759834"/>
                <a:gd name="connsiteY2065" fmla="*/ 1189038 h 1762127"/>
                <a:gd name="connsiteX2066" fmla="*/ 6387984 w 9759834"/>
                <a:gd name="connsiteY2066" fmla="*/ 1223170 h 1762127"/>
                <a:gd name="connsiteX2067" fmla="*/ 6353852 w 9759834"/>
                <a:gd name="connsiteY2067" fmla="*/ 1257302 h 1762127"/>
                <a:gd name="connsiteX2068" fmla="*/ 6319720 w 9759834"/>
                <a:gd name="connsiteY2068" fmla="*/ 1223170 h 1762127"/>
                <a:gd name="connsiteX2069" fmla="*/ 6353852 w 9759834"/>
                <a:gd name="connsiteY2069" fmla="*/ 1189038 h 1762127"/>
                <a:gd name="connsiteX2070" fmla="*/ 6268920 w 9759834"/>
                <a:gd name="connsiteY2070" fmla="*/ 1189038 h 1762127"/>
                <a:gd name="connsiteX2071" fmla="*/ 6303845 w 9759834"/>
                <a:gd name="connsiteY2071" fmla="*/ 1223170 h 1762127"/>
                <a:gd name="connsiteX2072" fmla="*/ 6268920 w 9759834"/>
                <a:gd name="connsiteY2072" fmla="*/ 1257302 h 1762127"/>
                <a:gd name="connsiteX2073" fmla="*/ 6233995 w 9759834"/>
                <a:gd name="connsiteY2073" fmla="*/ 1223170 h 1762127"/>
                <a:gd name="connsiteX2074" fmla="*/ 6268920 w 9759834"/>
                <a:gd name="connsiteY2074" fmla="*/ 1189038 h 1762127"/>
                <a:gd name="connsiteX2075" fmla="*/ 6188752 w 9759834"/>
                <a:gd name="connsiteY2075" fmla="*/ 1189038 h 1762127"/>
                <a:gd name="connsiteX2076" fmla="*/ 6222884 w 9759834"/>
                <a:gd name="connsiteY2076" fmla="*/ 1223170 h 1762127"/>
                <a:gd name="connsiteX2077" fmla="*/ 6188752 w 9759834"/>
                <a:gd name="connsiteY2077" fmla="*/ 1257302 h 1762127"/>
                <a:gd name="connsiteX2078" fmla="*/ 6154620 w 9759834"/>
                <a:gd name="connsiteY2078" fmla="*/ 1223170 h 1762127"/>
                <a:gd name="connsiteX2079" fmla="*/ 6188752 w 9759834"/>
                <a:gd name="connsiteY2079" fmla="*/ 1189038 h 1762127"/>
                <a:gd name="connsiteX2080" fmla="*/ 6103027 w 9759834"/>
                <a:gd name="connsiteY2080" fmla="*/ 1189038 h 1762127"/>
                <a:gd name="connsiteX2081" fmla="*/ 6137159 w 9759834"/>
                <a:gd name="connsiteY2081" fmla="*/ 1223170 h 1762127"/>
                <a:gd name="connsiteX2082" fmla="*/ 6103027 w 9759834"/>
                <a:gd name="connsiteY2082" fmla="*/ 1257302 h 1762127"/>
                <a:gd name="connsiteX2083" fmla="*/ 6068895 w 9759834"/>
                <a:gd name="connsiteY2083" fmla="*/ 1223170 h 1762127"/>
                <a:gd name="connsiteX2084" fmla="*/ 6103027 w 9759834"/>
                <a:gd name="connsiteY2084" fmla="*/ 1189038 h 1762127"/>
                <a:gd name="connsiteX2085" fmla="*/ 6017302 w 9759834"/>
                <a:gd name="connsiteY2085" fmla="*/ 1189038 h 1762127"/>
                <a:gd name="connsiteX2086" fmla="*/ 6051434 w 9759834"/>
                <a:gd name="connsiteY2086" fmla="*/ 1223170 h 1762127"/>
                <a:gd name="connsiteX2087" fmla="*/ 6017302 w 9759834"/>
                <a:gd name="connsiteY2087" fmla="*/ 1257302 h 1762127"/>
                <a:gd name="connsiteX2088" fmla="*/ 5983170 w 9759834"/>
                <a:gd name="connsiteY2088" fmla="*/ 1223170 h 1762127"/>
                <a:gd name="connsiteX2089" fmla="*/ 6017302 w 9759834"/>
                <a:gd name="connsiteY2089" fmla="*/ 1189038 h 1762127"/>
                <a:gd name="connsiteX2090" fmla="*/ 5849821 w 9759834"/>
                <a:gd name="connsiteY2090" fmla="*/ 1189038 h 1762127"/>
                <a:gd name="connsiteX2091" fmla="*/ 5886334 w 9759834"/>
                <a:gd name="connsiteY2091" fmla="*/ 1223170 h 1762127"/>
                <a:gd name="connsiteX2092" fmla="*/ 5849821 w 9759834"/>
                <a:gd name="connsiteY2092" fmla="*/ 1257302 h 1762127"/>
                <a:gd name="connsiteX2093" fmla="*/ 5813308 w 9759834"/>
                <a:gd name="connsiteY2093" fmla="*/ 1223170 h 1762127"/>
                <a:gd name="connsiteX2094" fmla="*/ 5849821 w 9759834"/>
                <a:gd name="connsiteY2094" fmla="*/ 1189038 h 1762127"/>
                <a:gd name="connsiteX2095" fmla="*/ 5595820 w 9759834"/>
                <a:gd name="connsiteY2095" fmla="*/ 1189038 h 1762127"/>
                <a:gd name="connsiteX2096" fmla="*/ 5630745 w 9759834"/>
                <a:gd name="connsiteY2096" fmla="*/ 1223170 h 1762127"/>
                <a:gd name="connsiteX2097" fmla="*/ 5595820 w 9759834"/>
                <a:gd name="connsiteY2097" fmla="*/ 1257302 h 1762127"/>
                <a:gd name="connsiteX2098" fmla="*/ 5560895 w 9759834"/>
                <a:gd name="connsiteY2098" fmla="*/ 1223170 h 1762127"/>
                <a:gd name="connsiteX2099" fmla="*/ 5595820 w 9759834"/>
                <a:gd name="connsiteY2099" fmla="*/ 1189038 h 1762127"/>
                <a:gd name="connsiteX2100" fmla="*/ 5429927 w 9759834"/>
                <a:gd name="connsiteY2100" fmla="*/ 1189038 h 1762127"/>
                <a:gd name="connsiteX2101" fmla="*/ 5464059 w 9759834"/>
                <a:gd name="connsiteY2101" fmla="*/ 1223170 h 1762127"/>
                <a:gd name="connsiteX2102" fmla="*/ 5429927 w 9759834"/>
                <a:gd name="connsiteY2102" fmla="*/ 1257302 h 1762127"/>
                <a:gd name="connsiteX2103" fmla="*/ 5395795 w 9759834"/>
                <a:gd name="connsiteY2103" fmla="*/ 1223170 h 1762127"/>
                <a:gd name="connsiteX2104" fmla="*/ 5429927 w 9759834"/>
                <a:gd name="connsiteY2104" fmla="*/ 1189038 h 1762127"/>
                <a:gd name="connsiteX2105" fmla="*/ 5344202 w 9759834"/>
                <a:gd name="connsiteY2105" fmla="*/ 1189038 h 1762127"/>
                <a:gd name="connsiteX2106" fmla="*/ 5378334 w 9759834"/>
                <a:gd name="connsiteY2106" fmla="*/ 1223170 h 1762127"/>
                <a:gd name="connsiteX2107" fmla="*/ 5344202 w 9759834"/>
                <a:gd name="connsiteY2107" fmla="*/ 1257302 h 1762127"/>
                <a:gd name="connsiteX2108" fmla="*/ 5310070 w 9759834"/>
                <a:gd name="connsiteY2108" fmla="*/ 1223170 h 1762127"/>
                <a:gd name="connsiteX2109" fmla="*/ 5344202 w 9759834"/>
                <a:gd name="connsiteY2109" fmla="*/ 1189038 h 1762127"/>
                <a:gd name="connsiteX2110" fmla="*/ 5258477 w 9759834"/>
                <a:gd name="connsiteY2110" fmla="*/ 1189038 h 1762127"/>
                <a:gd name="connsiteX2111" fmla="*/ 5292609 w 9759834"/>
                <a:gd name="connsiteY2111" fmla="*/ 1223170 h 1762127"/>
                <a:gd name="connsiteX2112" fmla="*/ 5258477 w 9759834"/>
                <a:gd name="connsiteY2112" fmla="*/ 1257302 h 1762127"/>
                <a:gd name="connsiteX2113" fmla="*/ 5224345 w 9759834"/>
                <a:gd name="connsiteY2113" fmla="*/ 1223170 h 1762127"/>
                <a:gd name="connsiteX2114" fmla="*/ 5258477 w 9759834"/>
                <a:gd name="connsiteY2114" fmla="*/ 1189038 h 1762127"/>
                <a:gd name="connsiteX2115" fmla="*/ 3826552 w 9759834"/>
                <a:gd name="connsiteY2115" fmla="*/ 1189038 h 1762127"/>
                <a:gd name="connsiteX2116" fmla="*/ 3860684 w 9759834"/>
                <a:gd name="connsiteY2116" fmla="*/ 1223170 h 1762127"/>
                <a:gd name="connsiteX2117" fmla="*/ 3826552 w 9759834"/>
                <a:gd name="connsiteY2117" fmla="*/ 1257302 h 1762127"/>
                <a:gd name="connsiteX2118" fmla="*/ 3792420 w 9759834"/>
                <a:gd name="connsiteY2118" fmla="*/ 1223170 h 1762127"/>
                <a:gd name="connsiteX2119" fmla="*/ 3826552 w 9759834"/>
                <a:gd name="connsiteY2119" fmla="*/ 1189038 h 1762127"/>
                <a:gd name="connsiteX2120" fmla="*/ 3741620 w 9759834"/>
                <a:gd name="connsiteY2120" fmla="*/ 1189038 h 1762127"/>
                <a:gd name="connsiteX2121" fmla="*/ 3776545 w 9759834"/>
                <a:gd name="connsiteY2121" fmla="*/ 1223170 h 1762127"/>
                <a:gd name="connsiteX2122" fmla="*/ 3741620 w 9759834"/>
                <a:gd name="connsiteY2122" fmla="*/ 1257302 h 1762127"/>
                <a:gd name="connsiteX2123" fmla="*/ 3706695 w 9759834"/>
                <a:gd name="connsiteY2123" fmla="*/ 1223170 h 1762127"/>
                <a:gd name="connsiteX2124" fmla="*/ 3741620 w 9759834"/>
                <a:gd name="connsiteY2124" fmla="*/ 1189038 h 1762127"/>
                <a:gd name="connsiteX2125" fmla="*/ 3068520 w 9759834"/>
                <a:gd name="connsiteY2125" fmla="*/ 1189038 h 1762127"/>
                <a:gd name="connsiteX2126" fmla="*/ 3103445 w 9759834"/>
                <a:gd name="connsiteY2126" fmla="*/ 1223170 h 1762127"/>
                <a:gd name="connsiteX2127" fmla="*/ 3068520 w 9759834"/>
                <a:gd name="connsiteY2127" fmla="*/ 1257302 h 1762127"/>
                <a:gd name="connsiteX2128" fmla="*/ 3033595 w 9759834"/>
                <a:gd name="connsiteY2128" fmla="*/ 1223170 h 1762127"/>
                <a:gd name="connsiteX2129" fmla="*/ 3068520 w 9759834"/>
                <a:gd name="connsiteY2129" fmla="*/ 1189038 h 1762127"/>
                <a:gd name="connsiteX2130" fmla="*/ 2983589 w 9759834"/>
                <a:gd name="connsiteY2130" fmla="*/ 1189038 h 1762127"/>
                <a:gd name="connsiteX2131" fmla="*/ 3017721 w 9759834"/>
                <a:gd name="connsiteY2131" fmla="*/ 1223170 h 1762127"/>
                <a:gd name="connsiteX2132" fmla="*/ 2983589 w 9759834"/>
                <a:gd name="connsiteY2132" fmla="*/ 1257302 h 1762127"/>
                <a:gd name="connsiteX2133" fmla="*/ 2949457 w 9759834"/>
                <a:gd name="connsiteY2133" fmla="*/ 1223170 h 1762127"/>
                <a:gd name="connsiteX2134" fmla="*/ 2983589 w 9759834"/>
                <a:gd name="connsiteY2134" fmla="*/ 1189038 h 1762127"/>
                <a:gd name="connsiteX2135" fmla="*/ 2394790 w 9759834"/>
                <a:gd name="connsiteY2135" fmla="*/ 1189038 h 1762127"/>
                <a:gd name="connsiteX2136" fmla="*/ 2428919 w 9759834"/>
                <a:gd name="connsiteY2136" fmla="*/ 1223170 h 1762127"/>
                <a:gd name="connsiteX2137" fmla="*/ 2394790 w 9759834"/>
                <a:gd name="connsiteY2137" fmla="*/ 1257302 h 1762127"/>
                <a:gd name="connsiteX2138" fmla="*/ 2360656 w 9759834"/>
                <a:gd name="connsiteY2138" fmla="*/ 1223170 h 1762127"/>
                <a:gd name="connsiteX2139" fmla="*/ 2394790 w 9759834"/>
                <a:gd name="connsiteY2139" fmla="*/ 1189038 h 1762127"/>
                <a:gd name="connsiteX2140" fmla="*/ 2309856 w 9759834"/>
                <a:gd name="connsiteY2140" fmla="*/ 1189038 h 1762127"/>
                <a:gd name="connsiteX2141" fmla="*/ 2344781 w 9759834"/>
                <a:gd name="connsiteY2141" fmla="*/ 1223170 h 1762127"/>
                <a:gd name="connsiteX2142" fmla="*/ 2309856 w 9759834"/>
                <a:gd name="connsiteY2142" fmla="*/ 1257302 h 1762127"/>
                <a:gd name="connsiteX2143" fmla="*/ 2274920 w 9759834"/>
                <a:gd name="connsiteY2143" fmla="*/ 1223170 h 1762127"/>
                <a:gd name="connsiteX2144" fmla="*/ 2309856 w 9759834"/>
                <a:gd name="connsiteY2144" fmla="*/ 1189038 h 1762127"/>
                <a:gd name="connsiteX2145" fmla="*/ 2224780 w 9759834"/>
                <a:gd name="connsiteY2145" fmla="*/ 1189038 h 1762127"/>
                <a:gd name="connsiteX2146" fmla="*/ 2258913 w 9759834"/>
                <a:gd name="connsiteY2146" fmla="*/ 1223170 h 1762127"/>
                <a:gd name="connsiteX2147" fmla="*/ 2224780 w 9759834"/>
                <a:gd name="connsiteY2147" fmla="*/ 1257302 h 1762127"/>
                <a:gd name="connsiteX2148" fmla="*/ 2190649 w 9759834"/>
                <a:gd name="connsiteY2148" fmla="*/ 1223170 h 1762127"/>
                <a:gd name="connsiteX2149" fmla="*/ 2224780 w 9759834"/>
                <a:gd name="connsiteY2149" fmla="*/ 1189038 h 1762127"/>
                <a:gd name="connsiteX2150" fmla="*/ 2055713 w 9759834"/>
                <a:gd name="connsiteY2150" fmla="*/ 1189038 h 1762127"/>
                <a:gd name="connsiteX2151" fmla="*/ 2092226 w 9759834"/>
                <a:gd name="connsiteY2151" fmla="*/ 1223170 h 1762127"/>
                <a:gd name="connsiteX2152" fmla="*/ 2055713 w 9759834"/>
                <a:gd name="connsiteY2152" fmla="*/ 1257302 h 1762127"/>
                <a:gd name="connsiteX2153" fmla="*/ 2019201 w 9759834"/>
                <a:gd name="connsiteY2153" fmla="*/ 1223170 h 1762127"/>
                <a:gd name="connsiteX2154" fmla="*/ 2055713 w 9759834"/>
                <a:gd name="connsiteY2154" fmla="*/ 1189038 h 1762127"/>
                <a:gd name="connsiteX2155" fmla="*/ 1973163 w 9759834"/>
                <a:gd name="connsiteY2155" fmla="*/ 1189038 h 1762127"/>
                <a:gd name="connsiteX2156" fmla="*/ 2008088 w 9759834"/>
                <a:gd name="connsiteY2156" fmla="*/ 1223170 h 1762127"/>
                <a:gd name="connsiteX2157" fmla="*/ 1973163 w 9759834"/>
                <a:gd name="connsiteY2157" fmla="*/ 1257302 h 1762127"/>
                <a:gd name="connsiteX2158" fmla="*/ 1938238 w 9759834"/>
                <a:gd name="connsiteY2158" fmla="*/ 1223170 h 1762127"/>
                <a:gd name="connsiteX2159" fmla="*/ 1973163 w 9759834"/>
                <a:gd name="connsiteY2159" fmla="*/ 1189038 h 1762127"/>
                <a:gd name="connsiteX2160" fmla="*/ 1888234 w 9759834"/>
                <a:gd name="connsiteY2160" fmla="*/ 1189038 h 1762127"/>
                <a:gd name="connsiteX2161" fmla="*/ 1922366 w 9759834"/>
                <a:gd name="connsiteY2161" fmla="*/ 1223170 h 1762127"/>
                <a:gd name="connsiteX2162" fmla="*/ 1888234 w 9759834"/>
                <a:gd name="connsiteY2162" fmla="*/ 1257302 h 1762127"/>
                <a:gd name="connsiteX2163" fmla="*/ 1854103 w 9759834"/>
                <a:gd name="connsiteY2163" fmla="*/ 1223170 h 1762127"/>
                <a:gd name="connsiteX2164" fmla="*/ 1888234 w 9759834"/>
                <a:gd name="connsiteY2164" fmla="*/ 1189038 h 1762127"/>
                <a:gd name="connsiteX2165" fmla="*/ 1802510 w 9759834"/>
                <a:gd name="connsiteY2165" fmla="*/ 1189038 h 1762127"/>
                <a:gd name="connsiteX2166" fmla="*/ 1836643 w 9759834"/>
                <a:gd name="connsiteY2166" fmla="*/ 1223170 h 1762127"/>
                <a:gd name="connsiteX2167" fmla="*/ 1802510 w 9759834"/>
                <a:gd name="connsiteY2167" fmla="*/ 1257302 h 1762127"/>
                <a:gd name="connsiteX2168" fmla="*/ 1768379 w 9759834"/>
                <a:gd name="connsiteY2168" fmla="*/ 1223170 h 1762127"/>
                <a:gd name="connsiteX2169" fmla="*/ 1802510 w 9759834"/>
                <a:gd name="connsiteY2169" fmla="*/ 1189038 h 1762127"/>
                <a:gd name="connsiteX2170" fmla="*/ 1719169 w 9759834"/>
                <a:gd name="connsiteY2170" fmla="*/ 1189038 h 1762127"/>
                <a:gd name="connsiteX2171" fmla="*/ 1755682 w 9759834"/>
                <a:gd name="connsiteY2171" fmla="*/ 1223170 h 1762127"/>
                <a:gd name="connsiteX2172" fmla="*/ 1719169 w 9759834"/>
                <a:gd name="connsiteY2172" fmla="*/ 1257302 h 1762127"/>
                <a:gd name="connsiteX2173" fmla="*/ 1682656 w 9759834"/>
                <a:gd name="connsiteY2173" fmla="*/ 1223170 h 1762127"/>
                <a:gd name="connsiteX2174" fmla="*/ 1719169 w 9759834"/>
                <a:gd name="connsiteY2174" fmla="*/ 1189038 h 1762127"/>
                <a:gd name="connsiteX2175" fmla="*/ 1636604 w 9759834"/>
                <a:gd name="connsiteY2175" fmla="*/ 1189038 h 1762127"/>
                <a:gd name="connsiteX2176" fmla="*/ 1671529 w 9759834"/>
                <a:gd name="connsiteY2176" fmla="*/ 1223170 h 1762127"/>
                <a:gd name="connsiteX2177" fmla="*/ 1636604 w 9759834"/>
                <a:gd name="connsiteY2177" fmla="*/ 1257302 h 1762127"/>
                <a:gd name="connsiteX2178" fmla="*/ 1601679 w 9759834"/>
                <a:gd name="connsiteY2178" fmla="*/ 1223170 h 1762127"/>
                <a:gd name="connsiteX2179" fmla="*/ 1636604 w 9759834"/>
                <a:gd name="connsiteY2179" fmla="*/ 1189038 h 1762127"/>
                <a:gd name="connsiteX2180" fmla="*/ 1551670 w 9759834"/>
                <a:gd name="connsiteY2180" fmla="*/ 1189038 h 1762127"/>
                <a:gd name="connsiteX2181" fmla="*/ 1585803 w 9759834"/>
                <a:gd name="connsiteY2181" fmla="*/ 1223170 h 1762127"/>
                <a:gd name="connsiteX2182" fmla="*/ 1551670 w 9759834"/>
                <a:gd name="connsiteY2182" fmla="*/ 1257302 h 1762127"/>
                <a:gd name="connsiteX2183" fmla="*/ 1517539 w 9759834"/>
                <a:gd name="connsiteY2183" fmla="*/ 1223170 h 1762127"/>
                <a:gd name="connsiteX2184" fmla="*/ 1551670 w 9759834"/>
                <a:gd name="connsiteY2184" fmla="*/ 1189038 h 1762127"/>
                <a:gd name="connsiteX2185" fmla="*/ 1465953 w 9759834"/>
                <a:gd name="connsiteY2185" fmla="*/ 1189038 h 1762127"/>
                <a:gd name="connsiteX2186" fmla="*/ 1500086 w 9759834"/>
                <a:gd name="connsiteY2186" fmla="*/ 1223170 h 1762127"/>
                <a:gd name="connsiteX2187" fmla="*/ 1465953 w 9759834"/>
                <a:gd name="connsiteY2187" fmla="*/ 1257302 h 1762127"/>
                <a:gd name="connsiteX2188" fmla="*/ 1431821 w 9759834"/>
                <a:gd name="connsiteY2188" fmla="*/ 1223170 h 1762127"/>
                <a:gd name="connsiteX2189" fmla="*/ 1465953 w 9759834"/>
                <a:gd name="connsiteY2189" fmla="*/ 1189038 h 1762127"/>
                <a:gd name="connsiteX2190" fmla="*/ 1380392 w 9759834"/>
                <a:gd name="connsiteY2190" fmla="*/ 1189038 h 1762127"/>
                <a:gd name="connsiteX2191" fmla="*/ 1414522 w 9759834"/>
                <a:gd name="connsiteY2191" fmla="*/ 1223170 h 1762127"/>
                <a:gd name="connsiteX2192" fmla="*/ 1380392 w 9759834"/>
                <a:gd name="connsiteY2192" fmla="*/ 1257302 h 1762127"/>
                <a:gd name="connsiteX2193" fmla="*/ 1346258 w 9759834"/>
                <a:gd name="connsiteY2193" fmla="*/ 1223170 h 1762127"/>
                <a:gd name="connsiteX2194" fmla="*/ 1380392 w 9759834"/>
                <a:gd name="connsiteY2194" fmla="*/ 1189038 h 1762127"/>
                <a:gd name="connsiteX2195" fmla="*/ 1300222 w 9759834"/>
                <a:gd name="connsiteY2195" fmla="*/ 1189038 h 1762127"/>
                <a:gd name="connsiteX2196" fmla="*/ 1335148 w 9759834"/>
                <a:gd name="connsiteY2196" fmla="*/ 1223170 h 1762127"/>
                <a:gd name="connsiteX2197" fmla="*/ 1300222 w 9759834"/>
                <a:gd name="connsiteY2197" fmla="*/ 1257302 h 1762127"/>
                <a:gd name="connsiteX2198" fmla="*/ 1265297 w 9759834"/>
                <a:gd name="connsiteY2198" fmla="*/ 1223170 h 1762127"/>
                <a:gd name="connsiteX2199" fmla="*/ 1300222 w 9759834"/>
                <a:gd name="connsiteY2199" fmla="*/ 1189038 h 1762127"/>
                <a:gd name="connsiteX2200" fmla="*/ 284840 w 9759834"/>
                <a:gd name="connsiteY2200" fmla="*/ 1189038 h 1762127"/>
                <a:gd name="connsiteX2201" fmla="*/ 318971 w 9759834"/>
                <a:gd name="connsiteY2201" fmla="*/ 1223170 h 1762127"/>
                <a:gd name="connsiteX2202" fmla="*/ 284840 w 9759834"/>
                <a:gd name="connsiteY2202" fmla="*/ 1257302 h 1762127"/>
                <a:gd name="connsiteX2203" fmla="*/ 250707 w 9759834"/>
                <a:gd name="connsiteY2203" fmla="*/ 1223170 h 1762127"/>
                <a:gd name="connsiteX2204" fmla="*/ 284840 w 9759834"/>
                <a:gd name="connsiteY2204" fmla="*/ 1189038 h 1762127"/>
                <a:gd name="connsiteX2205" fmla="*/ 202289 w 9759834"/>
                <a:gd name="connsiteY2205" fmla="*/ 1189038 h 1762127"/>
                <a:gd name="connsiteX2206" fmla="*/ 239596 w 9759834"/>
                <a:gd name="connsiteY2206" fmla="*/ 1223170 h 1762127"/>
                <a:gd name="connsiteX2207" fmla="*/ 202289 w 9759834"/>
                <a:gd name="connsiteY2207" fmla="*/ 1257302 h 1762127"/>
                <a:gd name="connsiteX2208" fmla="*/ 164982 w 9759834"/>
                <a:gd name="connsiteY2208" fmla="*/ 1223170 h 1762127"/>
                <a:gd name="connsiteX2209" fmla="*/ 202289 w 9759834"/>
                <a:gd name="connsiteY2209" fmla="*/ 1189038 h 1762127"/>
                <a:gd name="connsiteX2210" fmla="*/ 118945 w 9759834"/>
                <a:gd name="connsiteY2210" fmla="*/ 1189038 h 1762127"/>
                <a:gd name="connsiteX2211" fmla="*/ 153870 w 9759834"/>
                <a:gd name="connsiteY2211" fmla="*/ 1223170 h 1762127"/>
                <a:gd name="connsiteX2212" fmla="*/ 118945 w 9759834"/>
                <a:gd name="connsiteY2212" fmla="*/ 1257302 h 1762127"/>
                <a:gd name="connsiteX2213" fmla="*/ 84020 w 9759834"/>
                <a:gd name="connsiteY2213" fmla="*/ 1223170 h 1762127"/>
                <a:gd name="connsiteX2214" fmla="*/ 118945 w 9759834"/>
                <a:gd name="connsiteY2214" fmla="*/ 1189038 h 1762127"/>
                <a:gd name="connsiteX2215" fmla="*/ 34131 w 9759834"/>
                <a:gd name="connsiteY2215" fmla="*/ 1189038 h 1762127"/>
                <a:gd name="connsiteX2216" fmla="*/ 68265 w 9759834"/>
                <a:gd name="connsiteY2216" fmla="*/ 1223170 h 1762127"/>
                <a:gd name="connsiteX2217" fmla="*/ 34131 w 9759834"/>
                <a:gd name="connsiteY2217" fmla="*/ 1257302 h 1762127"/>
                <a:gd name="connsiteX2218" fmla="*/ 0 w 9759834"/>
                <a:gd name="connsiteY2218" fmla="*/ 1223170 h 1762127"/>
                <a:gd name="connsiteX2219" fmla="*/ 34131 w 9759834"/>
                <a:gd name="connsiteY2219" fmla="*/ 1189038 h 1762127"/>
                <a:gd name="connsiteX2220" fmla="*/ 9725702 w 9759834"/>
                <a:gd name="connsiteY2220" fmla="*/ 1101725 h 1762127"/>
                <a:gd name="connsiteX2221" fmla="*/ 9759834 w 9759834"/>
                <a:gd name="connsiteY2221" fmla="*/ 1136650 h 1762127"/>
                <a:gd name="connsiteX2222" fmla="*/ 9725702 w 9759834"/>
                <a:gd name="connsiteY2222" fmla="*/ 1171575 h 1762127"/>
                <a:gd name="connsiteX2223" fmla="*/ 9691570 w 9759834"/>
                <a:gd name="connsiteY2223" fmla="*/ 1136650 h 1762127"/>
                <a:gd name="connsiteX2224" fmla="*/ 9725702 w 9759834"/>
                <a:gd name="connsiteY2224" fmla="*/ 1101725 h 1762127"/>
                <a:gd name="connsiteX2225" fmla="*/ 9560602 w 9759834"/>
                <a:gd name="connsiteY2225" fmla="*/ 1101725 h 1762127"/>
                <a:gd name="connsiteX2226" fmla="*/ 9594734 w 9759834"/>
                <a:gd name="connsiteY2226" fmla="*/ 1136650 h 1762127"/>
                <a:gd name="connsiteX2227" fmla="*/ 9560602 w 9759834"/>
                <a:gd name="connsiteY2227" fmla="*/ 1171575 h 1762127"/>
                <a:gd name="connsiteX2228" fmla="*/ 9526470 w 9759834"/>
                <a:gd name="connsiteY2228" fmla="*/ 1136650 h 1762127"/>
                <a:gd name="connsiteX2229" fmla="*/ 9560602 w 9759834"/>
                <a:gd name="connsiteY2229" fmla="*/ 1101725 h 1762127"/>
                <a:gd name="connsiteX2230" fmla="*/ 9474877 w 9759834"/>
                <a:gd name="connsiteY2230" fmla="*/ 1101725 h 1762127"/>
                <a:gd name="connsiteX2231" fmla="*/ 9509009 w 9759834"/>
                <a:gd name="connsiteY2231" fmla="*/ 1136650 h 1762127"/>
                <a:gd name="connsiteX2232" fmla="*/ 9474877 w 9759834"/>
                <a:gd name="connsiteY2232" fmla="*/ 1171575 h 1762127"/>
                <a:gd name="connsiteX2233" fmla="*/ 9440745 w 9759834"/>
                <a:gd name="connsiteY2233" fmla="*/ 1136650 h 1762127"/>
                <a:gd name="connsiteX2234" fmla="*/ 9474877 w 9759834"/>
                <a:gd name="connsiteY2234" fmla="*/ 1101725 h 1762127"/>
                <a:gd name="connsiteX2235" fmla="*/ 9389152 w 9759834"/>
                <a:gd name="connsiteY2235" fmla="*/ 1101725 h 1762127"/>
                <a:gd name="connsiteX2236" fmla="*/ 9423284 w 9759834"/>
                <a:gd name="connsiteY2236" fmla="*/ 1136650 h 1762127"/>
                <a:gd name="connsiteX2237" fmla="*/ 9389152 w 9759834"/>
                <a:gd name="connsiteY2237" fmla="*/ 1171575 h 1762127"/>
                <a:gd name="connsiteX2238" fmla="*/ 9355020 w 9759834"/>
                <a:gd name="connsiteY2238" fmla="*/ 1136650 h 1762127"/>
                <a:gd name="connsiteX2239" fmla="*/ 9389152 w 9759834"/>
                <a:gd name="connsiteY2239" fmla="*/ 1101725 h 1762127"/>
                <a:gd name="connsiteX2240" fmla="*/ 8801777 w 9759834"/>
                <a:gd name="connsiteY2240" fmla="*/ 1101725 h 1762127"/>
                <a:gd name="connsiteX2241" fmla="*/ 8835909 w 9759834"/>
                <a:gd name="connsiteY2241" fmla="*/ 1136650 h 1762127"/>
                <a:gd name="connsiteX2242" fmla="*/ 8801777 w 9759834"/>
                <a:gd name="connsiteY2242" fmla="*/ 1171575 h 1762127"/>
                <a:gd name="connsiteX2243" fmla="*/ 8767645 w 9759834"/>
                <a:gd name="connsiteY2243" fmla="*/ 1136650 h 1762127"/>
                <a:gd name="connsiteX2244" fmla="*/ 8801777 w 9759834"/>
                <a:gd name="connsiteY2244" fmla="*/ 1101725 h 1762127"/>
                <a:gd name="connsiteX2245" fmla="*/ 8716052 w 9759834"/>
                <a:gd name="connsiteY2245" fmla="*/ 1101725 h 1762127"/>
                <a:gd name="connsiteX2246" fmla="*/ 8750184 w 9759834"/>
                <a:gd name="connsiteY2246" fmla="*/ 1136650 h 1762127"/>
                <a:gd name="connsiteX2247" fmla="*/ 8716052 w 9759834"/>
                <a:gd name="connsiteY2247" fmla="*/ 1171575 h 1762127"/>
                <a:gd name="connsiteX2248" fmla="*/ 8681920 w 9759834"/>
                <a:gd name="connsiteY2248" fmla="*/ 1136650 h 1762127"/>
                <a:gd name="connsiteX2249" fmla="*/ 8716052 w 9759834"/>
                <a:gd name="connsiteY2249" fmla="*/ 1101725 h 1762127"/>
                <a:gd name="connsiteX2250" fmla="*/ 8630327 w 9759834"/>
                <a:gd name="connsiteY2250" fmla="*/ 1101725 h 1762127"/>
                <a:gd name="connsiteX2251" fmla="*/ 8664459 w 9759834"/>
                <a:gd name="connsiteY2251" fmla="*/ 1136650 h 1762127"/>
                <a:gd name="connsiteX2252" fmla="*/ 8630327 w 9759834"/>
                <a:gd name="connsiteY2252" fmla="*/ 1171575 h 1762127"/>
                <a:gd name="connsiteX2253" fmla="*/ 8596195 w 9759834"/>
                <a:gd name="connsiteY2253" fmla="*/ 1136650 h 1762127"/>
                <a:gd name="connsiteX2254" fmla="*/ 8630327 w 9759834"/>
                <a:gd name="connsiteY2254" fmla="*/ 1101725 h 1762127"/>
                <a:gd name="connsiteX2255" fmla="*/ 8544602 w 9759834"/>
                <a:gd name="connsiteY2255" fmla="*/ 1101725 h 1762127"/>
                <a:gd name="connsiteX2256" fmla="*/ 8578734 w 9759834"/>
                <a:gd name="connsiteY2256" fmla="*/ 1136650 h 1762127"/>
                <a:gd name="connsiteX2257" fmla="*/ 8544602 w 9759834"/>
                <a:gd name="connsiteY2257" fmla="*/ 1171575 h 1762127"/>
                <a:gd name="connsiteX2258" fmla="*/ 8510470 w 9759834"/>
                <a:gd name="connsiteY2258" fmla="*/ 1136650 h 1762127"/>
                <a:gd name="connsiteX2259" fmla="*/ 8544602 w 9759834"/>
                <a:gd name="connsiteY2259" fmla="*/ 1101725 h 1762127"/>
                <a:gd name="connsiteX2260" fmla="*/ 8465227 w 9759834"/>
                <a:gd name="connsiteY2260" fmla="*/ 1101725 h 1762127"/>
                <a:gd name="connsiteX2261" fmla="*/ 8499359 w 9759834"/>
                <a:gd name="connsiteY2261" fmla="*/ 1136650 h 1762127"/>
                <a:gd name="connsiteX2262" fmla="*/ 8465227 w 9759834"/>
                <a:gd name="connsiteY2262" fmla="*/ 1171575 h 1762127"/>
                <a:gd name="connsiteX2263" fmla="*/ 8431095 w 9759834"/>
                <a:gd name="connsiteY2263" fmla="*/ 1136650 h 1762127"/>
                <a:gd name="connsiteX2264" fmla="*/ 8465227 w 9759834"/>
                <a:gd name="connsiteY2264" fmla="*/ 1101725 h 1762127"/>
                <a:gd name="connsiteX2265" fmla="*/ 8379502 w 9759834"/>
                <a:gd name="connsiteY2265" fmla="*/ 1101725 h 1762127"/>
                <a:gd name="connsiteX2266" fmla="*/ 8413634 w 9759834"/>
                <a:gd name="connsiteY2266" fmla="*/ 1136650 h 1762127"/>
                <a:gd name="connsiteX2267" fmla="*/ 8379502 w 9759834"/>
                <a:gd name="connsiteY2267" fmla="*/ 1171575 h 1762127"/>
                <a:gd name="connsiteX2268" fmla="*/ 8345370 w 9759834"/>
                <a:gd name="connsiteY2268" fmla="*/ 1136650 h 1762127"/>
                <a:gd name="connsiteX2269" fmla="*/ 8379502 w 9759834"/>
                <a:gd name="connsiteY2269" fmla="*/ 1101725 h 1762127"/>
                <a:gd name="connsiteX2270" fmla="*/ 8293777 w 9759834"/>
                <a:gd name="connsiteY2270" fmla="*/ 1101725 h 1762127"/>
                <a:gd name="connsiteX2271" fmla="*/ 8327909 w 9759834"/>
                <a:gd name="connsiteY2271" fmla="*/ 1136650 h 1762127"/>
                <a:gd name="connsiteX2272" fmla="*/ 8293777 w 9759834"/>
                <a:gd name="connsiteY2272" fmla="*/ 1171575 h 1762127"/>
                <a:gd name="connsiteX2273" fmla="*/ 8259645 w 9759834"/>
                <a:gd name="connsiteY2273" fmla="*/ 1136650 h 1762127"/>
                <a:gd name="connsiteX2274" fmla="*/ 8293777 w 9759834"/>
                <a:gd name="connsiteY2274" fmla="*/ 1101725 h 1762127"/>
                <a:gd name="connsiteX2275" fmla="*/ 8208052 w 9759834"/>
                <a:gd name="connsiteY2275" fmla="*/ 1101725 h 1762127"/>
                <a:gd name="connsiteX2276" fmla="*/ 8242184 w 9759834"/>
                <a:gd name="connsiteY2276" fmla="*/ 1136650 h 1762127"/>
                <a:gd name="connsiteX2277" fmla="*/ 8208052 w 9759834"/>
                <a:gd name="connsiteY2277" fmla="*/ 1171575 h 1762127"/>
                <a:gd name="connsiteX2278" fmla="*/ 8173920 w 9759834"/>
                <a:gd name="connsiteY2278" fmla="*/ 1136650 h 1762127"/>
                <a:gd name="connsiteX2279" fmla="*/ 8208052 w 9759834"/>
                <a:gd name="connsiteY2279" fmla="*/ 1101725 h 1762127"/>
                <a:gd name="connsiteX2280" fmla="*/ 8125502 w 9759834"/>
                <a:gd name="connsiteY2280" fmla="*/ 1101725 h 1762127"/>
                <a:gd name="connsiteX2281" fmla="*/ 8162809 w 9759834"/>
                <a:gd name="connsiteY2281" fmla="*/ 1136650 h 1762127"/>
                <a:gd name="connsiteX2282" fmla="*/ 8125502 w 9759834"/>
                <a:gd name="connsiteY2282" fmla="*/ 1171575 h 1762127"/>
                <a:gd name="connsiteX2283" fmla="*/ 8088195 w 9759834"/>
                <a:gd name="connsiteY2283" fmla="*/ 1136650 h 1762127"/>
                <a:gd name="connsiteX2284" fmla="*/ 8125502 w 9759834"/>
                <a:gd name="connsiteY2284" fmla="*/ 1101725 h 1762127"/>
                <a:gd name="connsiteX2285" fmla="*/ 8042952 w 9759834"/>
                <a:gd name="connsiteY2285" fmla="*/ 1101725 h 1762127"/>
                <a:gd name="connsiteX2286" fmla="*/ 8077084 w 9759834"/>
                <a:gd name="connsiteY2286" fmla="*/ 1136650 h 1762127"/>
                <a:gd name="connsiteX2287" fmla="*/ 8042952 w 9759834"/>
                <a:gd name="connsiteY2287" fmla="*/ 1171575 h 1762127"/>
                <a:gd name="connsiteX2288" fmla="*/ 8008820 w 9759834"/>
                <a:gd name="connsiteY2288" fmla="*/ 1136650 h 1762127"/>
                <a:gd name="connsiteX2289" fmla="*/ 8042952 w 9759834"/>
                <a:gd name="connsiteY2289" fmla="*/ 1101725 h 1762127"/>
                <a:gd name="connsiteX2290" fmla="*/ 7957227 w 9759834"/>
                <a:gd name="connsiteY2290" fmla="*/ 1101725 h 1762127"/>
                <a:gd name="connsiteX2291" fmla="*/ 7991359 w 9759834"/>
                <a:gd name="connsiteY2291" fmla="*/ 1136650 h 1762127"/>
                <a:gd name="connsiteX2292" fmla="*/ 7957227 w 9759834"/>
                <a:gd name="connsiteY2292" fmla="*/ 1171575 h 1762127"/>
                <a:gd name="connsiteX2293" fmla="*/ 7923095 w 9759834"/>
                <a:gd name="connsiteY2293" fmla="*/ 1136650 h 1762127"/>
                <a:gd name="connsiteX2294" fmla="*/ 7957227 w 9759834"/>
                <a:gd name="connsiteY2294" fmla="*/ 1101725 h 1762127"/>
                <a:gd name="connsiteX2295" fmla="*/ 7871502 w 9759834"/>
                <a:gd name="connsiteY2295" fmla="*/ 1101725 h 1762127"/>
                <a:gd name="connsiteX2296" fmla="*/ 7905634 w 9759834"/>
                <a:gd name="connsiteY2296" fmla="*/ 1136650 h 1762127"/>
                <a:gd name="connsiteX2297" fmla="*/ 7871502 w 9759834"/>
                <a:gd name="connsiteY2297" fmla="*/ 1171575 h 1762127"/>
                <a:gd name="connsiteX2298" fmla="*/ 7837370 w 9759834"/>
                <a:gd name="connsiteY2298" fmla="*/ 1136650 h 1762127"/>
                <a:gd name="connsiteX2299" fmla="*/ 7871502 w 9759834"/>
                <a:gd name="connsiteY2299" fmla="*/ 1101725 h 1762127"/>
                <a:gd name="connsiteX2300" fmla="*/ 7785777 w 9759834"/>
                <a:gd name="connsiteY2300" fmla="*/ 1101725 h 1762127"/>
                <a:gd name="connsiteX2301" fmla="*/ 7819909 w 9759834"/>
                <a:gd name="connsiteY2301" fmla="*/ 1136650 h 1762127"/>
                <a:gd name="connsiteX2302" fmla="*/ 7785777 w 9759834"/>
                <a:gd name="connsiteY2302" fmla="*/ 1171575 h 1762127"/>
                <a:gd name="connsiteX2303" fmla="*/ 7751645 w 9759834"/>
                <a:gd name="connsiteY2303" fmla="*/ 1136650 h 1762127"/>
                <a:gd name="connsiteX2304" fmla="*/ 7785777 w 9759834"/>
                <a:gd name="connsiteY2304" fmla="*/ 1101725 h 1762127"/>
                <a:gd name="connsiteX2305" fmla="*/ 7706402 w 9759834"/>
                <a:gd name="connsiteY2305" fmla="*/ 1101725 h 1762127"/>
                <a:gd name="connsiteX2306" fmla="*/ 7740534 w 9759834"/>
                <a:gd name="connsiteY2306" fmla="*/ 1136650 h 1762127"/>
                <a:gd name="connsiteX2307" fmla="*/ 7706402 w 9759834"/>
                <a:gd name="connsiteY2307" fmla="*/ 1171575 h 1762127"/>
                <a:gd name="connsiteX2308" fmla="*/ 7672270 w 9759834"/>
                <a:gd name="connsiteY2308" fmla="*/ 1136650 h 1762127"/>
                <a:gd name="connsiteX2309" fmla="*/ 7706402 w 9759834"/>
                <a:gd name="connsiteY2309" fmla="*/ 1101725 h 1762127"/>
                <a:gd name="connsiteX2310" fmla="*/ 7620677 w 9759834"/>
                <a:gd name="connsiteY2310" fmla="*/ 1101725 h 1762127"/>
                <a:gd name="connsiteX2311" fmla="*/ 7654809 w 9759834"/>
                <a:gd name="connsiteY2311" fmla="*/ 1136650 h 1762127"/>
                <a:gd name="connsiteX2312" fmla="*/ 7620677 w 9759834"/>
                <a:gd name="connsiteY2312" fmla="*/ 1171575 h 1762127"/>
                <a:gd name="connsiteX2313" fmla="*/ 7586545 w 9759834"/>
                <a:gd name="connsiteY2313" fmla="*/ 1136650 h 1762127"/>
                <a:gd name="connsiteX2314" fmla="*/ 7620677 w 9759834"/>
                <a:gd name="connsiteY2314" fmla="*/ 1101725 h 1762127"/>
                <a:gd name="connsiteX2315" fmla="*/ 7534952 w 9759834"/>
                <a:gd name="connsiteY2315" fmla="*/ 1101725 h 1762127"/>
                <a:gd name="connsiteX2316" fmla="*/ 7569084 w 9759834"/>
                <a:gd name="connsiteY2316" fmla="*/ 1136650 h 1762127"/>
                <a:gd name="connsiteX2317" fmla="*/ 7534952 w 9759834"/>
                <a:gd name="connsiteY2317" fmla="*/ 1171575 h 1762127"/>
                <a:gd name="connsiteX2318" fmla="*/ 7500820 w 9759834"/>
                <a:gd name="connsiteY2318" fmla="*/ 1136650 h 1762127"/>
                <a:gd name="connsiteX2319" fmla="*/ 7534952 w 9759834"/>
                <a:gd name="connsiteY2319" fmla="*/ 1101725 h 1762127"/>
                <a:gd name="connsiteX2320" fmla="*/ 7449227 w 9759834"/>
                <a:gd name="connsiteY2320" fmla="*/ 1101725 h 1762127"/>
                <a:gd name="connsiteX2321" fmla="*/ 7483359 w 9759834"/>
                <a:gd name="connsiteY2321" fmla="*/ 1136650 h 1762127"/>
                <a:gd name="connsiteX2322" fmla="*/ 7449227 w 9759834"/>
                <a:gd name="connsiteY2322" fmla="*/ 1171575 h 1762127"/>
                <a:gd name="connsiteX2323" fmla="*/ 7415095 w 9759834"/>
                <a:gd name="connsiteY2323" fmla="*/ 1136650 h 1762127"/>
                <a:gd name="connsiteX2324" fmla="*/ 7449227 w 9759834"/>
                <a:gd name="connsiteY2324" fmla="*/ 1101725 h 1762127"/>
                <a:gd name="connsiteX2325" fmla="*/ 7366677 w 9759834"/>
                <a:gd name="connsiteY2325" fmla="*/ 1101725 h 1762127"/>
                <a:gd name="connsiteX2326" fmla="*/ 7403984 w 9759834"/>
                <a:gd name="connsiteY2326" fmla="*/ 1136650 h 1762127"/>
                <a:gd name="connsiteX2327" fmla="*/ 7366677 w 9759834"/>
                <a:gd name="connsiteY2327" fmla="*/ 1171575 h 1762127"/>
                <a:gd name="connsiteX2328" fmla="*/ 7329370 w 9759834"/>
                <a:gd name="connsiteY2328" fmla="*/ 1136650 h 1762127"/>
                <a:gd name="connsiteX2329" fmla="*/ 7366677 w 9759834"/>
                <a:gd name="connsiteY2329" fmla="*/ 1101725 h 1762127"/>
                <a:gd name="connsiteX2330" fmla="*/ 7284127 w 9759834"/>
                <a:gd name="connsiteY2330" fmla="*/ 1101725 h 1762127"/>
                <a:gd name="connsiteX2331" fmla="*/ 7318259 w 9759834"/>
                <a:gd name="connsiteY2331" fmla="*/ 1136650 h 1762127"/>
                <a:gd name="connsiteX2332" fmla="*/ 7284127 w 9759834"/>
                <a:gd name="connsiteY2332" fmla="*/ 1171575 h 1762127"/>
                <a:gd name="connsiteX2333" fmla="*/ 7249995 w 9759834"/>
                <a:gd name="connsiteY2333" fmla="*/ 1136650 h 1762127"/>
                <a:gd name="connsiteX2334" fmla="*/ 7284127 w 9759834"/>
                <a:gd name="connsiteY2334" fmla="*/ 1101725 h 1762127"/>
                <a:gd name="connsiteX2335" fmla="*/ 7198402 w 9759834"/>
                <a:gd name="connsiteY2335" fmla="*/ 1101725 h 1762127"/>
                <a:gd name="connsiteX2336" fmla="*/ 7232534 w 9759834"/>
                <a:gd name="connsiteY2336" fmla="*/ 1136650 h 1762127"/>
                <a:gd name="connsiteX2337" fmla="*/ 7198402 w 9759834"/>
                <a:gd name="connsiteY2337" fmla="*/ 1171575 h 1762127"/>
                <a:gd name="connsiteX2338" fmla="*/ 7164270 w 9759834"/>
                <a:gd name="connsiteY2338" fmla="*/ 1136650 h 1762127"/>
                <a:gd name="connsiteX2339" fmla="*/ 7198402 w 9759834"/>
                <a:gd name="connsiteY2339" fmla="*/ 1101725 h 1762127"/>
                <a:gd name="connsiteX2340" fmla="*/ 7112677 w 9759834"/>
                <a:gd name="connsiteY2340" fmla="*/ 1101725 h 1762127"/>
                <a:gd name="connsiteX2341" fmla="*/ 7146809 w 9759834"/>
                <a:gd name="connsiteY2341" fmla="*/ 1136650 h 1762127"/>
                <a:gd name="connsiteX2342" fmla="*/ 7112677 w 9759834"/>
                <a:gd name="connsiteY2342" fmla="*/ 1171575 h 1762127"/>
                <a:gd name="connsiteX2343" fmla="*/ 7078545 w 9759834"/>
                <a:gd name="connsiteY2343" fmla="*/ 1136650 h 1762127"/>
                <a:gd name="connsiteX2344" fmla="*/ 7112677 w 9759834"/>
                <a:gd name="connsiteY2344" fmla="*/ 1101725 h 1762127"/>
                <a:gd name="connsiteX2345" fmla="*/ 7027745 w 9759834"/>
                <a:gd name="connsiteY2345" fmla="*/ 1101725 h 1762127"/>
                <a:gd name="connsiteX2346" fmla="*/ 7062670 w 9759834"/>
                <a:gd name="connsiteY2346" fmla="*/ 1136650 h 1762127"/>
                <a:gd name="connsiteX2347" fmla="*/ 7027745 w 9759834"/>
                <a:gd name="connsiteY2347" fmla="*/ 1171575 h 1762127"/>
                <a:gd name="connsiteX2348" fmla="*/ 6992820 w 9759834"/>
                <a:gd name="connsiteY2348" fmla="*/ 1136650 h 1762127"/>
                <a:gd name="connsiteX2349" fmla="*/ 7027745 w 9759834"/>
                <a:gd name="connsiteY2349" fmla="*/ 1101725 h 1762127"/>
                <a:gd name="connsiteX2350" fmla="*/ 6947577 w 9759834"/>
                <a:gd name="connsiteY2350" fmla="*/ 1101725 h 1762127"/>
                <a:gd name="connsiteX2351" fmla="*/ 6981709 w 9759834"/>
                <a:gd name="connsiteY2351" fmla="*/ 1136650 h 1762127"/>
                <a:gd name="connsiteX2352" fmla="*/ 6947577 w 9759834"/>
                <a:gd name="connsiteY2352" fmla="*/ 1171575 h 1762127"/>
                <a:gd name="connsiteX2353" fmla="*/ 6913445 w 9759834"/>
                <a:gd name="connsiteY2353" fmla="*/ 1136650 h 1762127"/>
                <a:gd name="connsiteX2354" fmla="*/ 6947577 w 9759834"/>
                <a:gd name="connsiteY2354" fmla="*/ 1101725 h 1762127"/>
                <a:gd name="connsiteX2355" fmla="*/ 6861852 w 9759834"/>
                <a:gd name="connsiteY2355" fmla="*/ 1101725 h 1762127"/>
                <a:gd name="connsiteX2356" fmla="*/ 6895984 w 9759834"/>
                <a:gd name="connsiteY2356" fmla="*/ 1136650 h 1762127"/>
                <a:gd name="connsiteX2357" fmla="*/ 6861852 w 9759834"/>
                <a:gd name="connsiteY2357" fmla="*/ 1171575 h 1762127"/>
                <a:gd name="connsiteX2358" fmla="*/ 6827720 w 9759834"/>
                <a:gd name="connsiteY2358" fmla="*/ 1136650 h 1762127"/>
                <a:gd name="connsiteX2359" fmla="*/ 6861852 w 9759834"/>
                <a:gd name="connsiteY2359" fmla="*/ 1101725 h 1762127"/>
                <a:gd name="connsiteX2360" fmla="*/ 6776127 w 9759834"/>
                <a:gd name="connsiteY2360" fmla="*/ 1101725 h 1762127"/>
                <a:gd name="connsiteX2361" fmla="*/ 6810259 w 9759834"/>
                <a:gd name="connsiteY2361" fmla="*/ 1136650 h 1762127"/>
                <a:gd name="connsiteX2362" fmla="*/ 6776127 w 9759834"/>
                <a:gd name="connsiteY2362" fmla="*/ 1171575 h 1762127"/>
                <a:gd name="connsiteX2363" fmla="*/ 6741995 w 9759834"/>
                <a:gd name="connsiteY2363" fmla="*/ 1136650 h 1762127"/>
                <a:gd name="connsiteX2364" fmla="*/ 6776127 w 9759834"/>
                <a:gd name="connsiteY2364" fmla="*/ 1101725 h 1762127"/>
                <a:gd name="connsiteX2365" fmla="*/ 6691195 w 9759834"/>
                <a:gd name="connsiteY2365" fmla="*/ 1101725 h 1762127"/>
                <a:gd name="connsiteX2366" fmla="*/ 6726120 w 9759834"/>
                <a:gd name="connsiteY2366" fmla="*/ 1136650 h 1762127"/>
                <a:gd name="connsiteX2367" fmla="*/ 6691195 w 9759834"/>
                <a:gd name="connsiteY2367" fmla="*/ 1171575 h 1762127"/>
                <a:gd name="connsiteX2368" fmla="*/ 6656270 w 9759834"/>
                <a:gd name="connsiteY2368" fmla="*/ 1136650 h 1762127"/>
                <a:gd name="connsiteX2369" fmla="*/ 6691195 w 9759834"/>
                <a:gd name="connsiteY2369" fmla="*/ 1101725 h 1762127"/>
                <a:gd name="connsiteX2370" fmla="*/ 6607852 w 9759834"/>
                <a:gd name="connsiteY2370" fmla="*/ 1101725 h 1762127"/>
                <a:gd name="connsiteX2371" fmla="*/ 6645159 w 9759834"/>
                <a:gd name="connsiteY2371" fmla="*/ 1136650 h 1762127"/>
                <a:gd name="connsiteX2372" fmla="*/ 6607852 w 9759834"/>
                <a:gd name="connsiteY2372" fmla="*/ 1171575 h 1762127"/>
                <a:gd name="connsiteX2373" fmla="*/ 6570545 w 9759834"/>
                <a:gd name="connsiteY2373" fmla="*/ 1136650 h 1762127"/>
                <a:gd name="connsiteX2374" fmla="*/ 6607852 w 9759834"/>
                <a:gd name="connsiteY2374" fmla="*/ 1101725 h 1762127"/>
                <a:gd name="connsiteX2375" fmla="*/ 6525302 w 9759834"/>
                <a:gd name="connsiteY2375" fmla="*/ 1101725 h 1762127"/>
                <a:gd name="connsiteX2376" fmla="*/ 6559434 w 9759834"/>
                <a:gd name="connsiteY2376" fmla="*/ 1136650 h 1762127"/>
                <a:gd name="connsiteX2377" fmla="*/ 6525302 w 9759834"/>
                <a:gd name="connsiteY2377" fmla="*/ 1171575 h 1762127"/>
                <a:gd name="connsiteX2378" fmla="*/ 6491170 w 9759834"/>
                <a:gd name="connsiteY2378" fmla="*/ 1136650 h 1762127"/>
                <a:gd name="connsiteX2379" fmla="*/ 6525302 w 9759834"/>
                <a:gd name="connsiteY2379" fmla="*/ 1101725 h 1762127"/>
                <a:gd name="connsiteX2380" fmla="*/ 6439577 w 9759834"/>
                <a:gd name="connsiteY2380" fmla="*/ 1101725 h 1762127"/>
                <a:gd name="connsiteX2381" fmla="*/ 6473709 w 9759834"/>
                <a:gd name="connsiteY2381" fmla="*/ 1136650 h 1762127"/>
                <a:gd name="connsiteX2382" fmla="*/ 6439577 w 9759834"/>
                <a:gd name="connsiteY2382" fmla="*/ 1171575 h 1762127"/>
                <a:gd name="connsiteX2383" fmla="*/ 6405445 w 9759834"/>
                <a:gd name="connsiteY2383" fmla="*/ 1136650 h 1762127"/>
                <a:gd name="connsiteX2384" fmla="*/ 6439577 w 9759834"/>
                <a:gd name="connsiteY2384" fmla="*/ 1101725 h 1762127"/>
                <a:gd name="connsiteX2385" fmla="*/ 6353852 w 9759834"/>
                <a:gd name="connsiteY2385" fmla="*/ 1101725 h 1762127"/>
                <a:gd name="connsiteX2386" fmla="*/ 6387984 w 9759834"/>
                <a:gd name="connsiteY2386" fmla="*/ 1136650 h 1762127"/>
                <a:gd name="connsiteX2387" fmla="*/ 6353852 w 9759834"/>
                <a:gd name="connsiteY2387" fmla="*/ 1171575 h 1762127"/>
                <a:gd name="connsiteX2388" fmla="*/ 6319720 w 9759834"/>
                <a:gd name="connsiteY2388" fmla="*/ 1136650 h 1762127"/>
                <a:gd name="connsiteX2389" fmla="*/ 6353852 w 9759834"/>
                <a:gd name="connsiteY2389" fmla="*/ 1101725 h 1762127"/>
                <a:gd name="connsiteX2390" fmla="*/ 6268920 w 9759834"/>
                <a:gd name="connsiteY2390" fmla="*/ 1101725 h 1762127"/>
                <a:gd name="connsiteX2391" fmla="*/ 6303845 w 9759834"/>
                <a:gd name="connsiteY2391" fmla="*/ 1136650 h 1762127"/>
                <a:gd name="connsiteX2392" fmla="*/ 6268920 w 9759834"/>
                <a:gd name="connsiteY2392" fmla="*/ 1171575 h 1762127"/>
                <a:gd name="connsiteX2393" fmla="*/ 6233995 w 9759834"/>
                <a:gd name="connsiteY2393" fmla="*/ 1136650 h 1762127"/>
                <a:gd name="connsiteX2394" fmla="*/ 6268920 w 9759834"/>
                <a:gd name="connsiteY2394" fmla="*/ 1101725 h 1762127"/>
                <a:gd name="connsiteX2395" fmla="*/ 6188752 w 9759834"/>
                <a:gd name="connsiteY2395" fmla="*/ 1101725 h 1762127"/>
                <a:gd name="connsiteX2396" fmla="*/ 6222884 w 9759834"/>
                <a:gd name="connsiteY2396" fmla="*/ 1136650 h 1762127"/>
                <a:gd name="connsiteX2397" fmla="*/ 6188752 w 9759834"/>
                <a:gd name="connsiteY2397" fmla="*/ 1171575 h 1762127"/>
                <a:gd name="connsiteX2398" fmla="*/ 6154620 w 9759834"/>
                <a:gd name="connsiteY2398" fmla="*/ 1136650 h 1762127"/>
                <a:gd name="connsiteX2399" fmla="*/ 6188752 w 9759834"/>
                <a:gd name="connsiteY2399" fmla="*/ 1101725 h 1762127"/>
                <a:gd name="connsiteX2400" fmla="*/ 6103027 w 9759834"/>
                <a:gd name="connsiteY2400" fmla="*/ 1101725 h 1762127"/>
                <a:gd name="connsiteX2401" fmla="*/ 6137159 w 9759834"/>
                <a:gd name="connsiteY2401" fmla="*/ 1136650 h 1762127"/>
                <a:gd name="connsiteX2402" fmla="*/ 6103027 w 9759834"/>
                <a:gd name="connsiteY2402" fmla="*/ 1171575 h 1762127"/>
                <a:gd name="connsiteX2403" fmla="*/ 6068895 w 9759834"/>
                <a:gd name="connsiteY2403" fmla="*/ 1136650 h 1762127"/>
                <a:gd name="connsiteX2404" fmla="*/ 6103027 w 9759834"/>
                <a:gd name="connsiteY2404" fmla="*/ 1101725 h 1762127"/>
                <a:gd name="connsiteX2405" fmla="*/ 6017302 w 9759834"/>
                <a:gd name="connsiteY2405" fmla="*/ 1101725 h 1762127"/>
                <a:gd name="connsiteX2406" fmla="*/ 6051434 w 9759834"/>
                <a:gd name="connsiteY2406" fmla="*/ 1136650 h 1762127"/>
                <a:gd name="connsiteX2407" fmla="*/ 6017302 w 9759834"/>
                <a:gd name="connsiteY2407" fmla="*/ 1171575 h 1762127"/>
                <a:gd name="connsiteX2408" fmla="*/ 5983170 w 9759834"/>
                <a:gd name="connsiteY2408" fmla="*/ 1136650 h 1762127"/>
                <a:gd name="connsiteX2409" fmla="*/ 6017302 w 9759834"/>
                <a:gd name="connsiteY2409" fmla="*/ 1101725 h 1762127"/>
                <a:gd name="connsiteX2410" fmla="*/ 5849821 w 9759834"/>
                <a:gd name="connsiteY2410" fmla="*/ 1101725 h 1762127"/>
                <a:gd name="connsiteX2411" fmla="*/ 5886334 w 9759834"/>
                <a:gd name="connsiteY2411" fmla="*/ 1136650 h 1762127"/>
                <a:gd name="connsiteX2412" fmla="*/ 5849821 w 9759834"/>
                <a:gd name="connsiteY2412" fmla="*/ 1171575 h 1762127"/>
                <a:gd name="connsiteX2413" fmla="*/ 5813308 w 9759834"/>
                <a:gd name="connsiteY2413" fmla="*/ 1136650 h 1762127"/>
                <a:gd name="connsiteX2414" fmla="*/ 5849821 w 9759834"/>
                <a:gd name="connsiteY2414" fmla="*/ 1101725 h 1762127"/>
                <a:gd name="connsiteX2415" fmla="*/ 5766477 w 9759834"/>
                <a:gd name="connsiteY2415" fmla="*/ 1101725 h 1762127"/>
                <a:gd name="connsiteX2416" fmla="*/ 5800609 w 9759834"/>
                <a:gd name="connsiteY2416" fmla="*/ 1136650 h 1762127"/>
                <a:gd name="connsiteX2417" fmla="*/ 5766477 w 9759834"/>
                <a:gd name="connsiteY2417" fmla="*/ 1171575 h 1762127"/>
                <a:gd name="connsiteX2418" fmla="*/ 5732345 w 9759834"/>
                <a:gd name="connsiteY2418" fmla="*/ 1136650 h 1762127"/>
                <a:gd name="connsiteX2419" fmla="*/ 5766477 w 9759834"/>
                <a:gd name="connsiteY2419" fmla="*/ 1101725 h 1762127"/>
                <a:gd name="connsiteX2420" fmla="*/ 5680752 w 9759834"/>
                <a:gd name="connsiteY2420" fmla="*/ 1101725 h 1762127"/>
                <a:gd name="connsiteX2421" fmla="*/ 5714884 w 9759834"/>
                <a:gd name="connsiteY2421" fmla="*/ 1136650 h 1762127"/>
                <a:gd name="connsiteX2422" fmla="*/ 5680752 w 9759834"/>
                <a:gd name="connsiteY2422" fmla="*/ 1171575 h 1762127"/>
                <a:gd name="connsiteX2423" fmla="*/ 5646620 w 9759834"/>
                <a:gd name="connsiteY2423" fmla="*/ 1136650 h 1762127"/>
                <a:gd name="connsiteX2424" fmla="*/ 5680752 w 9759834"/>
                <a:gd name="connsiteY2424" fmla="*/ 1101725 h 1762127"/>
                <a:gd name="connsiteX2425" fmla="*/ 5429927 w 9759834"/>
                <a:gd name="connsiteY2425" fmla="*/ 1101725 h 1762127"/>
                <a:gd name="connsiteX2426" fmla="*/ 5464059 w 9759834"/>
                <a:gd name="connsiteY2426" fmla="*/ 1136650 h 1762127"/>
                <a:gd name="connsiteX2427" fmla="*/ 5429927 w 9759834"/>
                <a:gd name="connsiteY2427" fmla="*/ 1171575 h 1762127"/>
                <a:gd name="connsiteX2428" fmla="*/ 5395795 w 9759834"/>
                <a:gd name="connsiteY2428" fmla="*/ 1136650 h 1762127"/>
                <a:gd name="connsiteX2429" fmla="*/ 5429927 w 9759834"/>
                <a:gd name="connsiteY2429" fmla="*/ 1101725 h 1762127"/>
                <a:gd name="connsiteX2430" fmla="*/ 5344202 w 9759834"/>
                <a:gd name="connsiteY2430" fmla="*/ 1101725 h 1762127"/>
                <a:gd name="connsiteX2431" fmla="*/ 5378334 w 9759834"/>
                <a:gd name="connsiteY2431" fmla="*/ 1136650 h 1762127"/>
                <a:gd name="connsiteX2432" fmla="*/ 5344202 w 9759834"/>
                <a:gd name="connsiteY2432" fmla="*/ 1171575 h 1762127"/>
                <a:gd name="connsiteX2433" fmla="*/ 5310070 w 9759834"/>
                <a:gd name="connsiteY2433" fmla="*/ 1136650 h 1762127"/>
                <a:gd name="connsiteX2434" fmla="*/ 5344202 w 9759834"/>
                <a:gd name="connsiteY2434" fmla="*/ 1101725 h 1762127"/>
                <a:gd name="connsiteX2435" fmla="*/ 4500445 w 9759834"/>
                <a:gd name="connsiteY2435" fmla="*/ 1101725 h 1762127"/>
                <a:gd name="connsiteX2436" fmla="*/ 4535370 w 9759834"/>
                <a:gd name="connsiteY2436" fmla="*/ 1136650 h 1762127"/>
                <a:gd name="connsiteX2437" fmla="*/ 4500445 w 9759834"/>
                <a:gd name="connsiteY2437" fmla="*/ 1171575 h 1762127"/>
                <a:gd name="connsiteX2438" fmla="*/ 4465520 w 9759834"/>
                <a:gd name="connsiteY2438" fmla="*/ 1136650 h 1762127"/>
                <a:gd name="connsiteX2439" fmla="*/ 4500445 w 9759834"/>
                <a:gd name="connsiteY2439" fmla="*/ 1101725 h 1762127"/>
                <a:gd name="connsiteX2440" fmla="*/ 3826552 w 9759834"/>
                <a:gd name="connsiteY2440" fmla="*/ 1101725 h 1762127"/>
                <a:gd name="connsiteX2441" fmla="*/ 3860684 w 9759834"/>
                <a:gd name="connsiteY2441" fmla="*/ 1136650 h 1762127"/>
                <a:gd name="connsiteX2442" fmla="*/ 3826552 w 9759834"/>
                <a:gd name="connsiteY2442" fmla="*/ 1171575 h 1762127"/>
                <a:gd name="connsiteX2443" fmla="*/ 3792420 w 9759834"/>
                <a:gd name="connsiteY2443" fmla="*/ 1136650 h 1762127"/>
                <a:gd name="connsiteX2444" fmla="*/ 3826552 w 9759834"/>
                <a:gd name="connsiteY2444" fmla="*/ 1101725 h 1762127"/>
                <a:gd name="connsiteX2445" fmla="*/ 3741620 w 9759834"/>
                <a:gd name="connsiteY2445" fmla="*/ 1101725 h 1762127"/>
                <a:gd name="connsiteX2446" fmla="*/ 3776545 w 9759834"/>
                <a:gd name="connsiteY2446" fmla="*/ 1136650 h 1762127"/>
                <a:gd name="connsiteX2447" fmla="*/ 3741620 w 9759834"/>
                <a:gd name="connsiteY2447" fmla="*/ 1171575 h 1762127"/>
                <a:gd name="connsiteX2448" fmla="*/ 3706695 w 9759834"/>
                <a:gd name="connsiteY2448" fmla="*/ 1136650 h 1762127"/>
                <a:gd name="connsiteX2449" fmla="*/ 3741620 w 9759834"/>
                <a:gd name="connsiteY2449" fmla="*/ 1101725 h 1762127"/>
                <a:gd name="connsiteX2450" fmla="*/ 3234415 w 9759834"/>
                <a:gd name="connsiteY2450" fmla="*/ 1101725 h 1762127"/>
                <a:gd name="connsiteX2451" fmla="*/ 3268547 w 9759834"/>
                <a:gd name="connsiteY2451" fmla="*/ 1136650 h 1762127"/>
                <a:gd name="connsiteX2452" fmla="*/ 3234415 w 9759834"/>
                <a:gd name="connsiteY2452" fmla="*/ 1171575 h 1762127"/>
                <a:gd name="connsiteX2453" fmla="*/ 3200283 w 9759834"/>
                <a:gd name="connsiteY2453" fmla="*/ 1136650 h 1762127"/>
                <a:gd name="connsiteX2454" fmla="*/ 3234415 w 9759834"/>
                <a:gd name="connsiteY2454" fmla="*/ 1101725 h 1762127"/>
                <a:gd name="connsiteX2455" fmla="*/ 2983589 w 9759834"/>
                <a:gd name="connsiteY2455" fmla="*/ 1101725 h 1762127"/>
                <a:gd name="connsiteX2456" fmla="*/ 3017721 w 9759834"/>
                <a:gd name="connsiteY2456" fmla="*/ 1136650 h 1762127"/>
                <a:gd name="connsiteX2457" fmla="*/ 2983589 w 9759834"/>
                <a:gd name="connsiteY2457" fmla="*/ 1171575 h 1762127"/>
                <a:gd name="connsiteX2458" fmla="*/ 2949457 w 9759834"/>
                <a:gd name="connsiteY2458" fmla="*/ 1136650 h 1762127"/>
                <a:gd name="connsiteX2459" fmla="*/ 2983589 w 9759834"/>
                <a:gd name="connsiteY2459" fmla="*/ 1101725 h 1762127"/>
                <a:gd name="connsiteX2460" fmla="*/ 2394790 w 9759834"/>
                <a:gd name="connsiteY2460" fmla="*/ 1101725 h 1762127"/>
                <a:gd name="connsiteX2461" fmla="*/ 2428919 w 9759834"/>
                <a:gd name="connsiteY2461" fmla="*/ 1136650 h 1762127"/>
                <a:gd name="connsiteX2462" fmla="*/ 2394790 w 9759834"/>
                <a:gd name="connsiteY2462" fmla="*/ 1171575 h 1762127"/>
                <a:gd name="connsiteX2463" fmla="*/ 2360656 w 9759834"/>
                <a:gd name="connsiteY2463" fmla="*/ 1136650 h 1762127"/>
                <a:gd name="connsiteX2464" fmla="*/ 2394790 w 9759834"/>
                <a:gd name="connsiteY2464" fmla="*/ 1101725 h 1762127"/>
                <a:gd name="connsiteX2465" fmla="*/ 2224780 w 9759834"/>
                <a:gd name="connsiteY2465" fmla="*/ 1101725 h 1762127"/>
                <a:gd name="connsiteX2466" fmla="*/ 2258913 w 9759834"/>
                <a:gd name="connsiteY2466" fmla="*/ 1136650 h 1762127"/>
                <a:gd name="connsiteX2467" fmla="*/ 2224780 w 9759834"/>
                <a:gd name="connsiteY2467" fmla="*/ 1171575 h 1762127"/>
                <a:gd name="connsiteX2468" fmla="*/ 2190649 w 9759834"/>
                <a:gd name="connsiteY2468" fmla="*/ 1136650 h 1762127"/>
                <a:gd name="connsiteX2469" fmla="*/ 2224780 w 9759834"/>
                <a:gd name="connsiteY2469" fmla="*/ 1101725 h 1762127"/>
                <a:gd name="connsiteX2470" fmla="*/ 2139054 w 9759834"/>
                <a:gd name="connsiteY2470" fmla="*/ 1101725 h 1762127"/>
                <a:gd name="connsiteX2471" fmla="*/ 2173187 w 9759834"/>
                <a:gd name="connsiteY2471" fmla="*/ 1136650 h 1762127"/>
                <a:gd name="connsiteX2472" fmla="*/ 2139054 w 9759834"/>
                <a:gd name="connsiteY2472" fmla="*/ 1171575 h 1762127"/>
                <a:gd name="connsiteX2473" fmla="*/ 2104922 w 9759834"/>
                <a:gd name="connsiteY2473" fmla="*/ 1136650 h 1762127"/>
                <a:gd name="connsiteX2474" fmla="*/ 2139054 w 9759834"/>
                <a:gd name="connsiteY2474" fmla="*/ 1101725 h 1762127"/>
                <a:gd name="connsiteX2475" fmla="*/ 2055711 w 9759834"/>
                <a:gd name="connsiteY2475" fmla="*/ 1101725 h 1762127"/>
                <a:gd name="connsiteX2476" fmla="*/ 2092225 w 9759834"/>
                <a:gd name="connsiteY2476" fmla="*/ 1136650 h 1762127"/>
                <a:gd name="connsiteX2477" fmla="*/ 2055711 w 9759834"/>
                <a:gd name="connsiteY2477" fmla="*/ 1171575 h 1762127"/>
                <a:gd name="connsiteX2478" fmla="*/ 2019199 w 9759834"/>
                <a:gd name="connsiteY2478" fmla="*/ 1136650 h 1762127"/>
                <a:gd name="connsiteX2479" fmla="*/ 2055711 w 9759834"/>
                <a:gd name="connsiteY2479" fmla="*/ 1101725 h 1762127"/>
                <a:gd name="connsiteX2480" fmla="*/ 1973163 w 9759834"/>
                <a:gd name="connsiteY2480" fmla="*/ 1101725 h 1762127"/>
                <a:gd name="connsiteX2481" fmla="*/ 2008088 w 9759834"/>
                <a:gd name="connsiteY2481" fmla="*/ 1136650 h 1762127"/>
                <a:gd name="connsiteX2482" fmla="*/ 1973163 w 9759834"/>
                <a:gd name="connsiteY2482" fmla="*/ 1171575 h 1762127"/>
                <a:gd name="connsiteX2483" fmla="*/ 1938238 w 9759834"/>
                <a:gd name="connsiteY2483" fmla="*/ 1136650 h 1762127"/>
                <a:gd name="connsiteX2484" fmla="*/ 1973163 w 9759834"/>
                <a:gd name="connsiteY2484" fmla="*/ 1101725 h 1762127"/>
                <a:gd name="connsiteX2485" fmla="*/ 1888235 w 9759834"/>
                <a:gd name="connsiteY2485" fmla="*/ 1101725 h 1762127"/>
                <a:gd name="connsiteX2486" fmla="*/ 1922366 w 9759834"/>
                <a:gd name="connsiteY2486" fmla="*/ 1136650 h 1762127"/>
                <a:gd name="connsiteX2487" fmla="*/ 1888235 w 9759834"/>
                <a:gd name="connsiteY2487" fmla="*/ 1171575 h 1762127"/>
                <a:gd name="connsiteX2488" fmla="*/ 1854103 w 9759834"/>
                <a:gd name="connsiteY2488" fmla="*/ 1136650 h 1762127"/>
                <a:gd name="connsiteX2489" fmla="*/ 1888235 w 9759834"/>
                <a:gd name="connsiteY2489" fmla="*/ 1101725 h 1762127"/>
                <a:gd name="connsiteX2490" fmla="*/ 1802510 w 9759834"/>
                <a:gd name="connsiteY2490" fmla="*/ 1101725 h 1762127"/>
                <a:gd name="connsiteX2491" fmla="*/ 1836642 w 9759834"/>
                <a:gd name="connsiteY2491" fmla="*/ 1136650 h 1762127"/>
                <a:gd name="connsiteX2492" fmla="*/ 1802510 w 9759834"/>
                <a:gd name="connsiteY2492" fmla="*/ 1171575 h 1762127"/>
                <a:gd name="connsiteX2493" fmla="*/ 1768379 w 9759834"/>
                <a:gd name="connsiteY2493" fmla="*/ 1136650 h 1762127"/>
                <a:gd name="connsiteX2494" fmla="*/ 1802510 w 9759834"/>
                <a:gd name="connsiteY2494" fmla="*/ 1101725 h 1762127"/>
                <a:gd name="connsiteX2495" fmla="*/ 1719169 w 9759834"/>
                <a:gd name="connsiteY2495" fmla="*/ 1101725 h 1762127"/>
                <a:gd name="connsiteX2496" fmla="*/ 1755682 w 9759834"/>
                <a:gd name="connsiteY2496" fmla="*/ 1136650 h 1762127"/>
                <a:gd name="connsiteX2497" fmla="*/ 1719169 w 9759834"/>
                <a:gd name="connsiteY2497" fmla="*/ 1171575 h 1762127"/>
                <a:gd name="connsiteX2498" fmla="*/ 1682656 w 9759834"/>
                <a:gd name="connsiteY2498" fmla="*/ 1136650 h 1762127"/>
                <a:gd name="connsiteX2499" fmla="*/ 1719169 w 9759834"/>
                <a:gd name="connsiteY2499" fmla="*/ 1101725 h 1762127"/>
                <a:gd name="connsiteX2500" fmla="*/ 1636604 w 9759834"/>
                <a:gd name="connsiteY2500" fmla="*/ 1101725 h 1762127"/>
                <a:gd name="connsiteX2501" fmla="*/ 1671529 w 9759834"/>
                <a:gd name="connsiteY2501" fmla="*/ 1136650 h 1762127"/>
                <a:gd name="connsiteX2502" fmla="*/ 1636604 w 9759834"/>
                <a:gd name="connsiteY2502" fmla="*/ 1171575 h 1762127"/>
                <a:gd name="connsiteX2503" fmla="*/ 1601679 w 9759834"/>
                <a:gd name="connsiteY2503" fmla="*/ 1136650 h 1762127"/>
                <a:gd name="connsiteX2504" fmla="*/ 1636604 w 9759834"/>
                <a:gd name="connsiteY2504" fmla="*/ 1101725 h 1762127"/>
                <a:gd name="connsiteX2505" fmla="*/ 1551671 w 9759834"/>
                <a:gd name="connsiteY2505" fmla="*/ 1101725 h 1762127"/>
                <a:gd name="connsiteX2506" fmla="*/ 1585803 w 9759834"/>
                <a:gd name="connsiteY2506" fmla="*/ 1136650 h 1762127"/>
                <a:gd name="connsiteX2507" fmla="*/ 1551671 w 9759834"/>
                <a:gd name="connsiteY2507" fmla="*/ 1171575 h 1762127"/>
                <a:gd name="connsiteX2508" fmla="*/ 1517539 w 9759834"/>
                <a:gd name="connsiteY2508" fmla="*/ 1136650 h 1762127"/>
                <a:gd name="connsiteX2509" fmla="*/ 1551671 w 9759834"/>
                <a:gd name="connsiteY2509" fmla="*/ 1101725 h 1762127"/>
                <a:gd name="connsiteX2510" fmla="*/ 1465953 w 9759834"/>
                <a:gd name="connsiteY2510" fmla="*/ 1101725 h 1762127"/>
                <a:gd name="connsiteX2511" fmla="*/ 1500086 w 9759834"/>
                <a:gd name="connsiteY2511" fmla="*/ 1136650 h 1762127"/>
                <a:gd name="connsiteX2512" fmla="*/ 1465953 w 9759834"/>
                <a:gd name="connsiteY2512" fmla="*/ 1171575 h 1762127"/>
                <a:gd name="connsiteX2513" fmla="*/ 1431822 w 9759834"/>
                <a:gd name="connsiteY2513" fmla="*/ 1136650 h 1762127"/>
                <a:gd name="connsiteX2514" fmla="*/ 1465953 w 9759834"/>
                <a:gd name="connsiteY2514" fmla="*/ 1101725 h 1762127"/>
                <a:gd name="connsiteX2515" fmla="*/ 1380228 w 9759834"/>
                <a:gd name="connsiteY2515" fmla="*/ 1101725 h 1762127"/>
                <a:gd name="connsiteX2516" fmla="*/ 1414360 w 9759834"/>
                <a:gd name="connsiteY2516" fmla="*/ 1136650 h 1762127"/>
                <a:gd name="connsiteX2517" fmla="*/ 1380228 w 9759834"/>
                <a:gd name="connsiteY2517" fmla="*/ 1171575 h 1762127"/>
                <a:gd name="connsiteX2518" fmla="*/ 1346096 w 9759834"/>
                <a:gd name="connsiteY2518" fmla="*/ 1136650 h 1762127"/>
                <a:gd name="connsiteX2519" fmla="*/ 1380228 w 9759834"/>
                <a:gd name="connsiteY2519" fmla="*/ 1101725 h 1762127"/>
                <a:gd name="connsiteX2520" fmla="*/ 1300222 w 9759834"/>
                <a:gd name="connsiteY2520" fmla="*/ 1101725 h 1762127"/>
                <a:gd name="connsiteX2521" fmla="*/ 1335148 w 9759834"/>
                <a:gd name="connsiteY2521" fmla="*/ 1136650 h 1762127"/>
                <a:gd name="connsiteX2522" fmla="*/ 1300222 w 9759834"/>
                <a:gd name="connsiteY2522" fmla="*/ 1171575 h 1762127"/>
                <a:gd name="connsiteX2523" fmla="*/ 1265297 w 9759834"/>
                <a:gd name="connsiteY2523" fmla="*/ 1136650 h 1762127"/>
                <a:gd name="connsiteX2524" fmla="*/ 1300222 w 9759834"/>
                <a:gd name="connsiteY2524" fmla="*/ 1101725 h 1762127"/>
                <a:gd name="connsiteX2525" fmla="*/ 456290 w 9759834"/>
                <a:gd name="connsiteY2525" fmla="*/ 1101725 h 1762127"/>
                <a:gd name="connsiteX2526" fmla="*/ 490422 w 9759834"/>
                <a:gd name="connsiteY2526" fmla="*/ 1136650 h 1762127"/>
                <a:gd name="connsiteX2527" fmla="*/ 456290 w 9759834"/>
                <a:gd name="connsiteY2527" fmla="*/ 1171575 h 1762127"/>
                <a:gd name="connsiteX2528" fmla="*/ 422158 w 9759834"/>
                <a:gd name="connsiteY2528" fmla="*/ 1136650 h 1762127"/>
                <a:gd name="connsiteX2529" fmla="*/ 456290 w 9759834"/>
                <a:gd name="connsiteY2529" fmla="*/ 1101725 h 1762127"/>
                <a:gd name="connsiteX2530" fmla="*/ 370565 w 9759834"/>
                <a:gd name="connsiteY2530" fmla="*/ 1101725 h 1762127"/>
                <a:gd name="connsiteX2531" fmla="*/ 404697 w 9759834"/>
                <a:gd name="connsiteY2531" fmla="*/ 1136650 h 1762127"/>
                <a:gd name="connsiteX2532" fmla="*/ 370565 w 9759834"/>
                <a:gd name="connsiteY2532" fmla="*/ 1171575 h 1762127"/>
                <a:gd name="connsiteX2533" fmla="*/ 336433 w 9759834"/>
                <a:gd name="connsiteY2533" fmla="*/ 1136650 h 1762127"/>
                <a:gd name="connsiteX2534" fmla="*/ 370565 w 9759834"/>
                <a:gd name="connsiteY2534" fmla="*/ 1101725 h 1762127"/>
                <a:gd name="connsiteX2535" fmla="*/ 9474877 w 9759834"/>
                <a:gd name="connsiteY2535" fmla="*/ 1016000 h 1762127"/>
                <a:gd name="connsiteX2536" fmla="*/ 9509009 w 9759834"/>
                <a:gd name="connsiteY2536" fmla="*/ 1050925 h 1762127"/>
                <a:gd name="connsiteX2537" fmla="*/ 9474877 w 9759834"/>
                <a:gd name="connsiteY2537" fmla="*/ 1085850 h 1762127"/>
                <a:gd name="connsiteX2538" fmla="*/ 9440745 w 9759834"/>
                <a:gd name="connsiteY2538" fmla="*/ 1050925 h 1762127"/>
                <a:gd name="connsiteX2539" fmla="*/ 9474877 w 9759834"/>
                <a:gd name="connsiteY2539" fmla="*/ 1016000 h 1762127"/>
                <a:gd name="connsiteX2540" fmla="*/ 9389152 w 9759834"/>
                <a:gd name="connsiteY2540" fmla="*/ 1016000 h 1762127"/>
                <a:gd name="connsiteX2541" fmla="*/ 9423284 w 9759834"/>
                <a:gd name="connsiteY2541" fmla="*/ 1050925 h 1762127"/>
                <a:gd name="connsiteX2542" fmla="*/ 9389152 w 9759834"/>
                <a:gd name="connsiteY2542" fmla="*/ 1085850 h 1762127"/>
                <a:gd name="connsiteX2543" fmla="*/ 9355020 w 9759834"/>
                <a:gd name="connsiteY2543" fmla="*/ 1050925 h 1762127"/>
                <a:gd name="connsiteX2544" fmla="*/ 9389152 w 9759834"/>
                <a:gd name="connsiteY2544" fmla="*/ 1016000 h 1762127"/>
                <a:gd name="connsiteX2545" fmla="*/ 8801777 w 9759834"/>
                <a:gd name="connsiteY2545" fmla="*/ 1016000 h 1762127"/>
                <a:gd name="connsiteX2546" fmla="*/ 8835909 w 9759834"/>
                <a:gd name="connsiteY2546" fmla="*/ 1050925 h 1762127"/>
                <a:gd name="connsiteX2547" fmla="*/ 8801777 w 9759834"/>
                <a:gd name="connsiteY2547" fmla="*/ 1085850 h 1762127"/>
                <a:gd name="connsiteX2548" fmla="*/ 8767645 w 9759834"/>
                <a:gd name="connsiteY2548" fmla="*/ 1050925 h 1762127"/>
                <a:gd name="connsiteX2549" fmla="*/ 8801777 w 9759834"/>
                <a:gd name="connsiteY2549" fmla="*/ 1016000 h 1762127"/>
                <a:gd name="connsiteX2550" fmla="*/ 8716052 w 9759834"/>
                <a:gd name="connsiteY2550" fmla="*/ 1016000 h 1762127"/>
                <a:gd name="connsiteX2551" fmla="*/ 8750184 w 9759834"/>
                <a:gd name="connsiteY2551" fmla="*/ 1050925 h 1762127"/>
                <a:gd name="connsiteX2552" fmla="*/ 8716052 w 9759834"/>
                <a:gd name="connsiteY2552" fmla="*/ 1085850 h 1762127"/>
                <a:gd name="connsiteX2553" fmla="*/ 8681920 w 9759834"/>
                <a:gd name="connsiteY2553" fmla="*/ 1050925 h 1762127"/>
                <a:gd name="connsiteX2554" fmla="*/ 8716052 w 9759834"/>
                <a:gd name="connsiteY2554" fmla="*/ 1016000 h 1762127"/>
                <a:gd name="connsiteX2555" fmla="*/ 8630327 w 9759834"/>
                <a:gd name="connsiteY2555" fmla="*/ 1016000 h 1762127"/>
                <a:gd name="connsiteX2556" fmla="*/ 8664459 w 9759834"/>
                <a:gd name="connsiteY2556" fmla="*/ 1050925 h 1762127"/>
                <a:gd name="connsiteX2557" fmla="*/ 8630327 w 9759834"/>
                <a:gd name="connsiteY2557" fmla="*/ 1085850 h 1762127"/>
                <a:gd name="connsiteX2558" fmla="*/ 8596195 w 9759834"/>
                <a:gd name="connsiteY2558" fmla="*/ 1050925 h 1762127"/>
                <a:gd name="connsiteX2559" fmla="*/ 8630327 w 9759834"/>
                <a:gd name="connsiteY2559" fmla="*/ 1016000 h 1762127"/>
                <a:gd name="connsiteX2560" fmla="*/ 8544602 w 9759834"/>
                <a:gd name="connsiteY2560" fmla="*/ 1016000 h 1762127"/>
                <a:gd name="connsiteX2561" fmla="*/ 8578734 w 9759834"/>
                <a:gd name="connsiteY2561" fmla="*/ 1050925 h 1762127"/>
                <a:gd name="connsiteX2562" fmla="*/ 8544602 w 9759834"/>
                <a:gd name="connsiteY2562" fmla="*/ 1085850 h 1762127"/>
                <a:gd name="connsiteX2563" fmla="*/ 8510470 w 9759834"/>
                <a:gd name="connsiteY2563" fmla="*/ 1050925 h 1762127"/>
                <a:gd name="connsiteX2564" fmla="*/ 8544602 w 9759834"/>
                <a:gd name="connsiteY2564" fmla="*/ 1016000 h 1762127"/>
                <a:gd name="connsiteX2565" fmla="*/ 8465227 w 9759834"/>
                <a:gd name="connsiteY2565" fmla="*/ 1016000 h 1762127"/>
                <a:gd name="connsiteX2566" fmla="*/ 8499359 w 9759834"/>
                <a:gd name="connsiteY2566" fmla="*/ 1050925 h 1762127"/>
                <a:gd name="connsiteX2567" fmla="*/ 8465227 w 9759834"/>
                <a:gd name="connsiteY2567" fmla="*/ 1085850 h 1762127"/>
                <a:gd name="connsiteX2568" fmla="*/ 8431095 w 9759834"/>
                <a:gd name="connsiteY2568" fmla="*/ 1050925 h 1762127"/>
                <a:gd name="connsiteX2569" fmla="*/ 8465227 w 9759834"/>
                <a:gd name="connsiteY2569" fmla="*/ 1016000 h 1762127"/>
                <a:gd name="connsiteX2570" fmla="*/ 8379502 w 9759834"/>
                <a:gd name="connsiteY2570" fmla="*/ 1016000 h 1762127"/>
                <a:gd name="connsiteX2571" fmla="*/ 8413634 w 9759834"/>
                <a:gd name="connsiteY2571" fmla="*/ 1050925 h 1762127"/>
                <a:gd name="connsiteX2572" fmla="*/ 8379502 w 9759834"/>
                <a:gd name="connsiteY2572" fmla="*/ 1085850 h 1762127"/>
                <a:gd name="connsiteX2573" fmla="*/ 8345370 w 9759834"/>
                <a:gd name="connsiteY2573" fmla="*/ 1050925 h 1762127"/>
                <a:gd name="connsiteX2574" fmla="*/ 8379502 w 9759834"/>
                <a:gd name="connsiteY2574" fmla="*/ 1016000 h 1762127"/>
                <a:gd name="connsiteX2575" fmla="*/ 8293777 w 9759834"/>
                <a:gd name="connsiteY2575" fmla="*/ 1016000 h 1762127"/>
                <a:gd name="connsiteX2576" fmla="*/ 8327909 w 9759834"/>
                <a:gd name="connsiteY2576" fmla="*/ 1050925 h 1762127"/>
                <a:gd name="connsiteX2577" fmla="*/ 8293777 w 9759834"/>
                <a:gd name="connsiteY2577" fmla="*/ 1085850 h 1762127"/>
                <a:gd name="connsiteX2578" fmla="*/ 8259645 w 9759834"/>
                <a:gd name="connsiteY2578" fmla="*/ 1050925 h 1762127"/>
                <a:gd name="connsiteX2579" fmla="*/ 8293777 w 9759834"/>
                <a:gd name="connsiteY2579" fmla="*/ 1016000 h 1762127"/>
                <a:gd name="connsiteX2580" fmla="*/ 8208052 w 9759834"/>
                <a:gd name="connsiteY2580" fmla="*/ 1016000 h 1762127"/>
                <a:gd name="connsiteX2581" fmla="*/ 8242184 w 9759834"/>
                <a:gd name="connsiteY2581" fmla="*/ 1050925 h 1762127"/>
                <a:gd name="connsiteX2582" fmla="*/ 8208052 w 9759834"/>
                <a:gd name="connsiteY2582" fmla="*/ 1085850 h 1762127"/>
                <a:gd name="connsiteX2583" fmla="*/ 8173920 w 9759834"/>
                <a:gd name="connsiteY2583" fmla="*/ 1050925 h 1762127"/>
                <a:gd name="connsiteX2584" fmla="*/ 8208052 w 9759834"/>
                <a:gd name="connsiteY2584" fmla="*/ 1016000 h 1762127"/>
                <a:gd name="connsiteX2585" fmla="*/ 8125502 w 9759834"/>
                <a:gd name="connsiteY2585" fmla="*/ 1016000 h 1762127"/>
                <a:gd name="connsiteX2586" fmla="*/ 8162809 w 9759834"/>
                <a:gd name="connsiteY2586" fmla="*/ 1050925 h 1762127"/>
                <a:gd name="connsiteX2587" fmla="*/ 8125502 w 9759834"/>
                <a:gd name="connsiteY2587" fmla="*/ 1085850 h 1762127"/>
                <a:gd name="connsiteX2588" fmla="*/ 8088195 w 9759834"/>
                <a:gd name="connsiteY2588" fmla="*/ 1050925 h 1762127"/>
                <a:gd name="connsiteX2589" fmla="*/ 8125502 w 9759834"/>
                <a:gd name="connsiteY2589" fmla="*/ 1016000 h 1762127"/>
                <a:gd name="connsiteX2590" fmla="*/ 8042952 w 9759834"/>
                <a:gd name="connsiteY2590" fmla="*/ 1016000 h 1762127"/>
                <a:gd name="connsiteX2591" fmla="*/ 8077084 w 9759834"/>
                <a:gd name="connsiteY2591" fmla="*/ 1050925 h 1762127"/>
                <a:gd name="connsiteX2592" fmla="*/ 8042952 w 9759834"/>
                <a:gd name="connsiteY2592" fmla="*/ 1085850 h 1762127"/>
                <a:gd name="connsiteX2593" fmla="*/ 8008820 w 9759834"/>
                <a:gd name="connsiteY2593" fmla="*/ 1050925 h 1762127"/>
                <a:gd name="connsiteX2594" fmla="*/ 8042952 w 9759834"/>
                <a:gd name="connsiteY2594" fmla="*/ 1016000 h 1762127"/>
                <a:gd name="connsiteX2595" fmla="*/ 7957227 w 9759834"/>
                <a:gd name="connsiteY2595" fmla="*/ 1016000 h 1762127"/>
                <a:gd name="connsiteX2596" fmla="*/ 7991359 w 9759834"/>
                <a:gd name="connsiteY2596" fmla="*/ 1050925 h 1762127"/>
                <a:gd name="connsiteX2597" fmla="*/ 7957227 w 9759834"/>
                <a:gd name="connsiteY2597" fmla="*/ 1085850 h 1762127"/>
                <a:gd name="connsiteX2598" fmla="*/ 7923095 w 9759834"/>
                <a:gd name="connsiteY2598" fmla="*/ 1050925 h 1762127"/>
                <a:gd name="connsiteX2599" fmla="*/ 7957227 w 9759834"/>
                <a:gd name="connsiteY2599" fmla="*/ 1016000 h 1762127"/>
                <a:gd name="connsiteX2600" fmla="*/ 7871502 w 9759834"/>
                <a:gd name="connsiteY2600" fmla="*/ 1016000 h 1762127"/>
                <a:gd name="connsiteX2601" fmla="*/ 7905634 w 9759834"/>
                <a:gd name="connsiteY2601" fmla="*/ 1050925 h 1762127"/>
                <a:gd name="connsiteX2602" fmla="*/ 7871502 w 9759834"/>
                <a:gd name="connsiteY2602" fmla="*/ 1085850 h 1762127"/>
                <a:gd name="connsiteX2603" fmla="*/ 7837370 w 9759834"/>
                <a:gd name="connsiteY2603" fmla="*/ 1050925 h 1762127"/>
                <a:gd name="connsiteX2604" fmla="*/ 7871502 w 9759834"/>
                <a:gd name="connsiteY2604" fmla="*/ 1016000 h 1762127"/>
                <a:gd name="connsiteX2605" fmla="*/ 7785777 w 9759834"/>
                <a:gd name="connsiteY2605" fmla="*/ 1016000 h 1762127"/>
                <a:gd name="connsiteX2606" fmla="*/ 7819909 w 9759834"/>
                <a:gd name="connsiteY2606" fmla="*/ 1050925 h 1762127"/>
                <a:gd name="connsiteX2607" fmla="*/ 7785777 w 9759834"/>
                <a:gd name="connsiteY2607" fmla="*/ 1085850 h 1762127"/>
                <a:gd name="connsiteX2608" fmla="*/ 7751645 w 9759834"/>
                <a:gd name="connsiteY2608" fmla="*/ 1050925 h 1762127"/>
                <a:gd name="connsiteX2609" fmla="*/ 7785777 w 9759834"/>
                <a:gd name="connsiteY2609" fmla="*/ 1016000 h 1762127"/>
                <a:gd name="connsiteX2610" fmla="*/ 7706402 w 9759834"/>
                <a:gd name="connsiteY2610" fmla="*/ 1016000 h 1762127"/>
                <a:gd name="connsiteX2611" fmla="*/ 7740534 w 9759834"/>
                <a:gd name="connsiteY2611" fmla="*/ 1050925 h 1762127"/>
                <a:gd name="connsiteX2612" fmla="*/ 7706402 w 9759834"/>
                <a:gd name="connsiteY2612" fmla="*/ 1085850 h 1762127"/>
                <a:gd name="connsiteX2613" fmla="*/ 7672270 w 9759834"/>
                <a:gd name="connsiteY2613" fmla="*/ 1050925 h 1762127"/>
                <a:gd name="connsiteX2614" fmla="*/ 7706402 w 9759834"/>
                <a:gd name="connsiteY2614" fmla="*/ 1016000 h 1762127"/>
                <a:gd name="connsiteX2615" fmla="*/ 7620677 w 9759834"/>
                <a:gd name="connsiteY2615" fmla="*/ 1016000 h 1762127"/>
                <a:gd name="connsiteX2616" fmla="*/ 7654809 w 9759834"/>
                <a:gd name="connsiteY2616" fmla="*/ 1050925 h 1762127"/>
                <a:gd name="connsiteX2617" fmla="*/ 7620677 w 9759834"/>
                <a:gd name="connsiteY2617" fmla="*/ 1085850 h 1762127"/>
                <a:gd name="connsiteX2618" fmla="*/ 7586545 w 9759834"/>
                <a:gd name="connsiteY2618" fmla="*/ 1050925 h 1762127"/>
                <a:gd name="connsiteX2619" fmla="*/ 7620677 w 9759834"/>
                <a:gd name="connsiteY2619" fmla="*/ 1016000 h 1762127"/>
                <a:gd name="connsiteX2620" fmla="*/ 7534952 w 9759834"/>
                <a:gd name="connsiteY2620" fmla="*/ 1016000 h 1762127"/>
                <a:gd name="connsiteX2621" fmla="*/ 7569084 w 9759834"/>
                <a:gd name="connsiteY2621" fmla="*/ 1050925 h 1762127"/>
                <a:gd name="connsiteX2622" fmla="*/ 7534952 w 9759834"/>
                <a:gd name="connsiteY2622" fmla="*/ 1085850 h 1762127"/>
                <a:gd name="connsiteX2623" fmla="*/ 7500820 w 9759834"/>
                <a:gd name="connsiteY2623" fmla="*/ 1050925 h 1762127"/>
                <a:gd name="connsiteX2624" fmla="*/ 7534952 w 9759834"/>
                <a:gd name="connsiteY2624" fmla="*/ 1016000 h 1762127"/>
                <a:gd name="connsiteX2625" fmla="*/ 7449227 w 9759834"/>
                <a:gd name="connsiteY2625" fmla="*/ 1016000 h 1762127"/>
                <a:gd name="connsiteX2626" fmla="*/ 7483359 w 9759834"/>
                <a:gd name="connsiteY2626" fmla="*/ 1050925 h 1762127"/>
                <a:gd name="connsiteX2627" fmla="*/ 7449227 w 9759834"/>
                <a:gd name="connsiteY2627" fmla="*/ 1085850 h 1762127"/>
                <a:gd name="connsiteX2628" fmla="*/ 7415095 w 9759834"/>
                <a:gd name="connsiteY2628" fmla="*/ 1050925 h 1762127"/>
                <a:gd name="connsiteX2629" fmla="*/ 7449227 w 9759834"/>
                <a:gd name="connsiteY2629" fmla="*/ 1016000 h 1762127"/>
                <a:gd name="connsiteX2630" fmla="*/ 7366677 w 9759834"/>
                <a:gd name="connsiteY2630" fmla="*/ 1016000 h 1762127"/>
                <a:gd name="connsiteX2631" fmla="*/ 7403984 w 9759834"/>
                <a:gd name="connsiteY2631" fmla="*/ 1050925 h 1762127"/>
                <a:gd name="connsiteX2632" fmla="*/ 7366677 w 9759834"/>
                <a:gd name="connsiteY2632" fmla="*/ 1085850 h 1762127"/>
                <a:gd name="connsiteX2633" fmla="*/ 7329370 w 9759834"/>
                <a:gd name="connsiteY2633" fmla="*/ 1050925 h 1762127"/>
                <a:gd name="connsiteX2634" fmla="*/ 7366677 w 9759834"/>
                <a:gd name="connsiteY2634" fmla="*/ 1016000 h 1762127"/>
                <a:gd name="connsiteX2635" fmla="*/ 7284127 w 9759834"/>
                <a:gd name="connsiteY2635" fmla="*/ 1016000 h 1762127"/>
                <a:gd name="connsiteX2636" fmla="*/ 7318259 w 9759834"/>
                <a:gd name="connsiteY2636" fmla="*/ 1050925 h 1762127"/>
                <a:gd name="connsiteX2637" fmla="*/ 7284127 w 9759834"/>
                <a:gd name="connsiteY2637" fmla="*/ 1085850 h 1762127"/>
                <a:gd name="connsiteX2638" fmla="*/ 7249995 w 9759834"/>
                <a:gd name="connsiteY2638" fmla="*/ 1050925 h 1762127"/>
                <a:gd name="connsiteX2639" fmla="*/ 7284127 w 9759834"/>
                <a:gd name="connsiteY2639" fmla="*/ 1016000 h 1762127"/>
                <a:gd name="connsiteX2640" fmla="*/ 7198402 w 9759834"/>
                <a:gd name="connsiteY2640" fmla="*/ 1016000 h 1762127"/>
                <a:gd name="connsiteX2641" fmla="*/ 7232534 w 9759834"/>
                <a:gd name="connsiteY2641" fmla="*/ 1050925 h 1762127"/>
                <a:gd name="connsiteX2642" fmla="*/ 7198402 w 9759834"/>
                <a:gd name="connsiteY2642" fmla="*/ 1085850 h 1762127"/>
                <a:gd name="connsiteX2643" fmla="*/ 7164270 w 9759834"/>
                <a:gd name="connsiteY2643" fmla="*/ 1050925 h 1762127"/>
                <a:gd name="connsiteX2644" fmla="*/ 7198402 w 9759834"/>
                <a:gd name="connsiteY2644" fmla="*/ 1016000 h 1762127"/>
                <a:gd name="connsiteX2645" fmla="*/ 7112677 w 9759834"/>
                <a:gd name="connsiteY2645" fmla="*/ 1016000 h 1762127"/>
                <a:gd name="connsiteX2646" fmla="*/ 7146809 w 9759834"/>
                <a:gd name="connsiteY2646" fmla="*/ 1050925 h 1762127"/>
                <a:gd name="connsiteX2647" fmla="*/ 7112677 w 9759834"/>
                <a:gd name="connsiteY2647" fmla="*/ 1085850 h 1762127"/>
                <a:gd name="connsiteX2648" fmla="*/ 7078545 w 9759834"/>
                <a:gd name="connsiteY2648" fmla="*/ 1050925 h 1762127"/>
                <a:gd name="connsiteX2649" fmla="*/ 7112677 w 9759834"/>
                <a:gd name="connsiteY2649" fmla="*/ 1016000 h 1762127"/>
                <a:gd name="connsiteX2650" fmla="*/ 7027745 w 9759834"/>
                <a:gd name="connsiteY2650" fmla="*/ 1016000 h 1762127"/>
                <a:gd name="connsiteX2651" fmla="*/ 7062670 w 9759834"/>
                <a:gd name="connsiteY2651" fmla="*/ 1050925 h 1762127"/>
                <a:gd name="connsiteX2652" fmla="*/ 7027745 w 9759834"/>
                <a:gd name="connsiteY2652" fmla="*/ 1085850 h 1762127"/>
                <a:gd name="connsiteX2653" fmla="*/ 6992820 w 9759834"/>
                <a:gd name="connsiteY2653" fmla="*/ 1050925 h 1762127"/>
                <a:gd name="connsiteX2654" fmla="*/ 7027745 w 9759834"/>
                <a:gd name="connsiteY2654" fmla="*/ 1016000 h 1762127"/>
                <a:gd name="connsiteX2655" fmla="*/ 6947577 w 9759834"/>
                <a:gd name="connsiteY2655" fmla="*/ 1016000 h 1762127"/>
                <a:gd name="connsiteX2656" fmla="*/ 6981709 w 9759834"/>
                <a:gd name="connsiteY2656" fmla="*/ 1050925 h 1762127"/>
                <a:gd name="connsiteX2657" fmla="*/ 6947577 w 9759834"/>
                <a:gd name="connsiteY2657" fmla="*/ 1085850 h 1762127"/>
                <a:gd name="connsiteX2658" fmla="*/ 6913445 w 9759834"/>
                <a:gd name="connsiteY2658" fmla="*/ 1050925 h 1762127"/>
                <a:gd name="connsiteX2659" fmla="*/ 6947577 w 9759834"/>
                <a:gd name="connsiteY2659" fmla="*/ 1016000 h 1762127"/>
                <a:gd name="connsiteX2660" fmla="*/ 6861852 w 9759834"/>
                <a:gd name="connsiteY2660" fmla="*/ 1016000 h 1762127"/>
                <a:gd name="connsiteX2661" fmla="*/ 6895984 w 9759834"/>
                <a:gd name="connsiteY2661" fmla="*/ 1050925 h 1762127"/>
                <a:gd name="connsiteX2662" fmla="*/ 6861852 w 9759834"/>
                <a:gd name="connsiteY2662" fmla="*/ 1085850 h 1762127"/>
                <a:gd name="connsiteX2663" fmla="*/ 6827720 w 9759834"/>
                <a:gd name="connsiteY2663" fmla="*/ 1050925 h 1762127"/>
                <a:gd name="connsiteX2664" fmla="*/ 6861852 w 9759834"/>
                <a:gd name="connsiteY2664" fmla="*/ 1016000 h 1762127"/>
                <a:gd name="connsiteX2665" fmla="*/ 6776127 w 9759834"/>
                <a:gd name="connsiteY2665" fmla="*/ 1016000 h 1762127"/>
                <a:gd name="connsiteX2666" fmla="*/ 6810259 w 9759834"/>
                <a:gd name="connsiteY2666" fmla="*/ 1050925 h 1762127"/>
                <a:gd name="connsiteX2667" fmla="*/ 6776127 w 9759834"/>
                <a:gd name="connsiteY2667" fmla="*/ 1085850 h 1762127"/>
                <a:gd name="connsiteX2668" fmla="*/ 6741995 w 9759834"/>
                <a:gd name="connsiteY2668" fmla="*/ 1050925 h 1762127"/>
                <a:gd name="connsiteX2669" fmla="*/ 6776127 w 9759834"/>
                <a:gd name="connsiteY2669" fmla="*/ 1016000 h 1762127"/>
                <a:gd name="connsiteX2670" fmla="*/ 6691195 w 9759834"/>
                <a:gd name="connsiteY2670" fmla="*/ 1016000 h 1762127"/>
                <a:gd name="connsiteX2671" fmla="*/ 6726120 w 9759834"/>
                <a:gd name="connsiteY2671" fmla="*/ 1050925 h 1762127"/>
                <a:gd name="connsiteX2672" fmla="*/ 6691195 w 9759834"/>
                <a:gd name="connsiteY2672" fmla="*/ 1085850 h 1762127"/>
                <a:gd name="connsiteX2673" fmla="*/ 6656270 w 9759834"/>
                <a:gd name="connsiteY2673" fmla="*/ 1050925 h 1762127"/>
                <a:gd name="connsiteX2674" fmla="*/ 6691195 w 9759834"/>
                <a:gd name="connsiteY2674" fmla="*/ 1016000 h 1762127"/>
                <a:gd name="connsiteX2675" fmla="*/ 6607852 w 9759834"/>
                <a:gd name="connsiteY2675" fmla="*/ 1016000 h 1762127"/>
                <a:gd name="connsiteX2676" fmla="*/ 6645159 w 9759834"/>
                <a:gd name="connsiteY2676" fmla="*/ 1050925 h 1762127"/>
                <a:gd name="connsiteX2677" fmla="*/ 6607852 w 9759834"/>
                <a:gd name="connsiteY2677" fmla="*/ 1085850 h 1762127"/>
                <a:gd name="connsiteX2678" fmla="*/ 6570545 w 9759834"/>
                <a:gd name="connsiteY2678" fmla="*/ 1050925 h 1762127"/>
                <a:gd name="connsiteX2679" fmla="*/ 6607852 w 9759834"/>
                <a:gd name="connsiteY2679" fmla="*/ 1016000 h 1762127"/>
                <a:gd name="connsiteX2680" fmla="*/ 6525302 w 9759834"/>
                <a:gd name="connsiteY2680" fmla="*/ 1016000 h 1762127"/>
                <a:gd name="connsiteX2681" fmla="*/ 6559434 w 9759834"/>
                <a:gd name="connsiteY2681" fmla="*/ 1050925 h 1762127"/>
                <a:gd name="connsiteX2682" fmla="*/ 6525302 w 9759834"/>
                <a:gd name="connsiteY2682" fmla="*/ 1085850 h 1762127"/>
                <a:gd name="connsiteX2683" fmla="*/ 6491170 w 9759834"/>
                <a:gd name="connsiteY2683" fmla="*/ 1050925 h 1762127"/>
                <a:gd name="connsiteX2684" fmla="*/ 6525302 w 9759834"/>
                <a:gd name="connsiteY2684" fmla="*/ 1016000 h 1762127"/>
                <a:gd name="connsiteX2685" fmla="*/ 6439577 w 9759834"/>
                <a:gd name="connsiteY2685" fmla="*/ 1016000 h 1762127"/>
                <a:gd name="connsiteX2686" fmla="*/ 6473709 w 9759834"/>
                <a:gd name="connsiteY2686" fmla="*/ 1050925 h 1762127"/>
                <a:gd name="connsiteX2687" fmla="*/ 6439577 w 9759834"/>
                <a:gd name="connsiteY2687" fmla="*/ 1085850 h 1762127"/>
                <a:gd name="connsiteX2688" fmla="*/ 6405445 w 9759834"/>
                <a:gd name="connsiteY2688" fmla="*/ 1050925 h 1762127"/>
                <a:gd name="connsiteX2689" fmla="*/ 6439577 w 9759834"/>
                <a:gd name="connsiteY2689" fmla="*/ 1016000 h 1762127"/>
                <a:gd name="connsiteX2690" fmla="*/ 6353852 w 9759834"/>
                <a:gd name="connsiteY2690" fmla="*/ 1016000 h 1762127"/>
                <a:gd name="connsiteX2691" fmla="*/ 6387984 w 9759834"/>
                <a:gd name="connsiteY2691" fmla="*/ 1050925 h 1762127"/>
                <a:gd name="connsiteX2692" fmla="*/ 6353852 w 9759834"/>
                <a:gd name="connsiteY2692" fmla="*/ 1085850 h 1762127"/>
                <a:gd name="connsiteX2693" fmla="*/ 6319720 w 9759834"/>
                <a:gd name="connsiteY2693" fmla="*/ 1050925 h 1762127"/>
                <a:gd name="connsiteX2694" fmla="*/ 6353852 w 9759834"/>
                <a:gd name="connsiteY2694" fmla="*/ 1016000 h 1762127"/>
                <a:gd name="connsiteX2695" fmla="*/ 6268920 w 9759834"/>
                <a:gd name="connsiteY2695" fmla="*/ 1016000 h 1762127"/>
                <a:gd name="connsiteX2696" fmla="*/ 6303845 w 9759834"/>
                <a:gd name="connsiteY2696" fmla="*/ 1050925 h 1762127"/>
                <a:gd name="connsiteX2697" fmla="*/ 6268920 w 9759834"/>
                <a:gd name="connsiteY2697" fmla="*/ 1085850 h 1762127"/>
                <a:gd name="connsiteX2698" fmla="*/ 6233995 w 9759834"/>
                <a:gd name="connsiteY2698" fmla="*/ 1050925 h 1762127"/>
                <a:gd name="connsiteX2699" fmla="*/ 6268920 w 9759834"/>
                <a:gd name="connsiteY2699" fmla="*/ 1016000 h 1762127"/>
                <a:gd name="connsiteX2700" fmla="*/ 6188752 w 9759834"/>
                <a:gd name="connsiteY2700" fmla="*/ 1016000 h 1762127"/>
                <a:gd name="connsiteX2701" fmla="*/ 6222884 w 9759834"/>
                <a:gd name="connsiteY2701" fmla="*/ 1050925 h 1762127"/>
                <a:gd name="connsiteX2702" fmla="*/ 6188752 w 9759834"/>
                <a:gd name="connsiteY2702" fmla="*/ 1085850 h 1762127"/>
                <a:gd name="connsiteX2703" fmla="*/ 6154620 w 9759834"/>
                <a:gd name="connsiteY2703" fmla="*/ 1050925 h 1762127"/>
                <a:gd name="connsiteX2704" fmla="*/ 6188752 w 9759834"/>
                <a:gd name="connsiteY2704" fmla="*/ 1016000 h 1762127"/>
                <a:gd name="connsiteX2705" fmla="*/ 6103027 w 9759834"/>
                <a:gd name="connsiteY2705" fmla="*/ 1016000 h 1762127"/>
                <a:gd name="connsiteX2706" fmla="*/ 6137159 w 9759834"/>
                <a:gd name="connsiteY2706" fmla="*/ 1050925 h 1762127"/>
                <a:gd name="connsiteX2707" fmla="*/ 6103027 w 9759834"/>
                <a:gd name="connsiteY2707" fmla="*/ 1085850 h 1762127"/>
                <a:gd name="connsiteX2708" fmla="*/ 6068895 w 9759834"/>
                <a:gd name="connsiteY2708" fmla="*/ 1050925 h 1762127"/>
                <a:gd name="connsiteX2709" fmla="*/ 6103027 w 9759834"/>
                <a:gd name="connsiteY2709" fmla="*/ 1016000 h 1762127"/>
                <a:gd name="connsiteX2710" fmla="*/ 5766477 w 9759834"/>
                <a:gd name="connsiteY2710" fmla="*/ 1016000 h 1762127"/>
                <a:gd name="connsiteX2711" fmla="*/ 5800609 w 9759834"/>
                <a:gd name="connsiteY2711" fmla="*/ 1050925 h 1762127"/>
                <a:gd name="connsiteX2712" fmla="*/ 5766477 w 9759834"/>
                <a:gd name="connsiteY2712" fmla="*/ 1085850 h 1762127"/>
                <a:gd name="connsiteX2713" fmla="*/ 5732345 w 9759834"/>
                <a:gd name="connsiteY2713" fmla="*/ 1050925 h 1762127"/>
                <a:gd name="connsiteX2714" fmla="*/ 5766477 w 9759834"/>
                <a:gd name="connsiteY2714" fmla="*/ 1016000 h 1762127"/>
                <a:gd name="connsiteX2715" fmla="*/ 5680752 w 9759834"/>
                <a:gd name="connsiteY2715" fmla="*/ 1016000 h 1762127"/>
                <a:gd name="connsiteX2716" fmla="*/ 5714884 w 9759834"/>
                <a:gd name="connsiteY2716" fmla="*/ 1050925 h 1762127"/>
                <a:gd name="connsiteX2717" fmla="*/ 5680752 w 9759834"/>
                <a:gd name="connsiteY2717" fmla="*/ 1085850 h 1762127"/>
                <a:gd name="connsiteX2718" fmla="*/ 5646620 w 9759834"/>
                <a:gd name="connsiteY2718" fmla="*/ 1050925 h 1762127"/>
                <a:gd name="connsiteX2719" fmla="*/ 5680752 w 9759834"/>
                <a:gd name="connsiteY2719" fmla="*/ 1016000 h 1762127"/>
                <a:gd name="connsiteX2720" fmla="*/ 5510095 w 9759834"/>
                <a:gd name="connsiteY2720" fmla="*/ 1016000 h 1762127"/>
                <a:gd name="connsiteX2721" fmla="*/ 5545020 w 9759834"/>
                <a:gd name="connsiteY2721" fmla="*/ 1050925 h 1762127"/>
                <a:gd name="connsiteX2722" fmla="*/ 5510095 w 9759834"/>
                <a:gd name="connsiteY2722" fmla="*/ 1085850 h 1762127"/>
                <a:gd name="connsiteX2723" fmla="*/ 5475170 w 9759834"/>
                <a:gd name="connsiteY2723" fmla="*/ 1050925 h 1762127"/>
                <a:gd name="connsiteX2724" fmla="*/ 5510095 w 9759834"/>
                <a:gd name="connsiteY2724" fmla="*/ 1016000 h 1762127"/>
                <a:gd name="connsiteX2725" fmla="*/ 5429927 w 9759834"/>
                <a:gd name="connsiteY2725" fmla="*/ 1016000 h 1762127"/>
                <a:gd name="connsiteX2726" fmla="*/ 5464059 w 9759834"/>
                <a:gd name="connsiteY2726" fmla="*/ 1050925 h 1762127"/>
                <a:gd name="connsiteX2727" fmla="*/ 5429927 w 9759834"/>
                <a:gd name="connsiteY2727" fmla="*/ 1085850 h 1762127"/>
                <a:gd name="connsiteX2728" fmla="*/ 5395795 w 9759834"/>
                <a:gd name="connsiteY2728" fmla="*/ 1050925 h 1762127"/>
                <a:gd name="connsiteX2729" fmla="*/ 5429927 w 9759834"/>
                <a:gd name="connsiteY2729" fmla="*/ 1016000 h 1762127"/>
                <a:gd name="connsiteX2730" fmla="*/ 5344202 w 9759834"/>
                <a:gd name="connsiteY2730" fmla="*/ 1016000 h 1762127"/>
                <a:gd name="connsiteX2731" fmla="*/ 5378334 w 9759834"/>
                <a:gd name="connsiteY2731" fmla="*/ 1050925 h 1762127"/>
                <a:gd name="connsiteX2732" fmla="*/ 5344202 w 9759834"/>
                <a:gd name="connsiteY2732" fmla="*/ 1085850 h 1762127"/>
                <a:gd name="connsiteX2733" fmla="*/ 5310070 w 9759834"/>
                <a:gd name="connsiteY2733" fmla="*/ 1050925 h 1762127"/>
                <a:gd name="connsiteX2734" fmla="*/ 5344202 w 9759834"/>
                <a:gd name="connsiteY2734" fmla="*/ 1016000 h 1762127"/>
                <a:gd name="connsiteX2735" fmla="*/ 4585377 w 9759834"/>
                <a:gd name="connsiteY2735" fmla="*/ 1016000 h 1762127"/>
                <a:gd name="connsiteX2736" fmla="*/ 4619509 w 9759834"/>
                <a:gd name="connsiteY2736" fmla="*/ 1050925 h 1762127"/>
                <a:gd name="connsiteX2737" fmla="*/ 4585377 w 9759834"/>
                <a:gd name="connsiteY2737" fmla="*/ 1085850 h 1762127"/>
                <a:gd name="connsiteX2738" fmla="*/ 4551245 w 9759834"/>
                <a:gd name="connsiteY2738" fmla="*/ 1050925 h 1762127"/>
                <a:gd name="connsiteX2739" fmla="*/ 4585377 w 9759834"/>
                <a:gd name="connsiteY2739" fmla="*/ 1016000 h 1762127"/>
                <a:gd name="connsiteX2740" fmla="*/ 4415515 w 9759834"/>
                <a:gd name="connsiteY2740" fmla="*/ 1016000 h 1762127"/>
                <a:gd name="connsiteX2741" fmla="*/ 4449647 w 9759834"/>
                <a:gd name="connsiteY2741" fmla="*/ 1050925 h 1762127"/>
                <a:gd name="connsiteX2742" fmla="*/ 4415515 w 9759834"/>
                <a:gd name="connsiteY2742" fmla="*/ 1085850 h 1762127"/>
                <a:gd name="connsiteX2743" fmla="*/ 4381383 w 9759834"/>
                <a:gd name="connsiteY2743" fmla="*/ 1050925 h 1762127"/>
                <a:gd name="connsiteX2744" fmla="*/ 4415515 w 9759834"/>
                <a:gd name="connsiteY2744" fmla="*/ 1016000 h 1762127"/>
                <a:gd name="connsiteX2745" fmla="*/ 3912277 w 9759834"/>
                <a:gd name="connsiteY2745" fmla="*/ 1016000 h 1762127"/>
                <a:gd name="connsiteX2746" fmla="*/ 3946409 w 9759834"/>
                <a:gd name="connsiteY2746" fmla="*/ 1050925 h 1762127"/>
                <a:gd name="connsiteX2747" fmla="*/ 3912277 w 9759834"/>
                <a:gd name="connsiteY2747" fmla="*/ 1085850 h 1762127"/>
                <a:gd name="connsiteX2748" fmla="*/ 3878145 w 9759834"/>
                <a:gd name="connsiteY2748" fmla="*/ 1050925 h 1762127"/>
                <a:gd name="connsiteX2749" fmla="*/ 3912277 w 9759834"/>
                <a:gd name="connsiteY2749" fmla="*/ 1016000 h 1762127"/>
                <a:gd name="connsiteX2750" fmla="*/ 3826552 w 9759834"/>
                <a:gd name="connsiteY2750" fmla="*/ 1016000 h 1762127"/>
                <a:gd name="connsiteX2751" fmla="*/ 3860684 w 9759834"/>
                <a:gd name="connsiteY2751" fmla="*/ 1050925 h 1762127"/>
                <a:gd name="connsiteX2752" fmla="*/ 3826552 w 9759834"/>
                <a:gd name="connsiteY2752" fmla="*/ 1085850 h 1762127"/>
                <a:gd name="connsiteX2753" fmla="*/ 3792420 w 9759834"/>
                <a:gd name="connsiteY2753" fmla="*/ 1050925 h 1762127"/>
                <a:gd name="connsiteX2754" fmla="*/ 3826552 w 9759834"/>
                <a:gd name="connsiteY2754" fmla="*/ 1016000 h 1762127"/>
                <a:gd name="connsiteX2755" fmla="*/ 3741620 w 9759834"/>
                <a:gd name="connsiteY2755" fmla="*/ 1016000 h 1762127"/>
                <a:gd name="connsiteX2756" fmla="*/ 3776545 w 9759834"/>
                <a:gd name="connsiteY2756" fmla="*/ 1050925 h 1762127"/>
                <a:gd name="connsiteX2757" fmla="*/ 3741620 w 9759834"/>
                <a:gd name="connsiteY2757" fmla="*/ 1085850 h 1762127"/>
                <a:gd name="connsiteX2758" fmla="*/ 3706695 w 9759834"/>
                <a:gd name="connsiteY2758" fmla="*/ 1050925 h 1762127"/>
                <a:gd name="connsiteX2759" fmla="*/ 3741620 w 9759834"/>
                <a:gd name="connsiteY2759" fmla="*/ 1016000 h 1762127"/>
                <a:gd name="connsiteX2760" fmla="*/ 3234415 w 9759834"/>
                <a:gd name="connsiteY2760" fmla="*/ 1016000 h 1762127"/>
                <a:gd name="connsiteX2761" fmla="*/ 3268547 w 9759834"/>
                <a:gd name="connsiteY2761" fmla="*/ 1050925 h 1762127"/>
                <a:gd name="connsiteX2762" fmla="*/ 3234415 w 9759834"/>
                <a:gd name="connsiteY2762" fmla="*/ 1085850 h 1762127"/>
                <a:gd name="connsiteX2763" fmla="*/ 3200283 w 9759834"/>
                <a:gd name="connsiteY2763" fmla="*/ 1050925 h 1762127"/>
                <a:gd name="connsiteX2764" fmla="*/ 3234415 w 9759834"/>
                <a:gd name="connsiteY2764" fmla="*/ 1016000 h 1762127"/>
                <a:gd name="connsiteX2765" fmla="*/ 3153452 w 9759834"/>
                <a:gd name="connsiteY2765" fmla="*/ 1016000 h 1762127"/>
                <a:gd name="connsiteX2766" fmla="*/ 3187584 w 9759834"/>
                <a:gd name="connsiteY2766" fmla="*/ 1050925 h 1762127"/>
                <a:gd name="connsiteX2767" fmla="*/ 3153452 w 9759834"/>
                <a:gd name="connsiteY2767" fmla="*/ 1085850 h 1762127"/>
                <a:gd name="connsiteX2768" fmla="*/ 3119320 w 9759834"/>
                <a:gd name="connsiteY2768" fmla="*/ 1050925 h 1762127"/>
                <a:gd name="connsiteX2769" fmla="*/ 3153452 w 9759834"/>
                <a:gd name="connsiteY2769" fmla="*/ 1016000 h 1762127"/>
                <a:gd name="connsiteX2770" fmla="*/ 2814520 w 9759834"/>
                <a:gd name="connsiteY2770" fmla="*/ 1016000 h 1762127"/>
                <a:gd name="connsiteX2771" fmla="*/ 2851033 w 9759834"/>
                <a:gd name="connsiteY2771" fmla="*/ 1050925 h 1762127"/>
                <a:gd name="connsiteX2772" fmla="*/ 2814520 w 9759834"/>
                <a:gd name="connsiteY2772" fmla="*/ 1085850 h 1762127"/>
                <a:gd name="connsiteX2773" fmla="*/ 2778007 w 9759834"/>
                <a:gd name="connsiteY2773" fmla="*/ 1050925 h 1762127"/>
                <a:gd name="connsiteX2774" fmla="*/ 2814520 w 9759834"/>
                <a:gd name="connsiteY2774" fmla="*/ 1016000 h 1762127"/>
                <a:gd name="connsiteX2775" fmla="*/ 2475627 w 9759834"/>
                <a:gd name="connsiteY2775" fmla="*/ 1016000 h 1762127"/>
                <a:gd name="connsiteX2776" fmla="*/ 2509759 w 9759834"/>
                <a:gd name="connsiteY2776" fmla="*/ 1050925 h 1762127"/>
                <a:gd name="connsiteX2777" fmla="*/ 2475627 w 9759834"/>
                <a:gd name="connsiteY2777" fmla="*/ 1085850 h 1762127"/>
                <a:gd name="connsiteX2778" fmla="*/ 2441494 w 9759834"/>
                <a:gd name="connsiteY2778" fmla="*/ 1050925 h 1762127"/>
                <a:gd name="connsiteX2779" fmla="*/ 2475627 w 9759834"/>
                <a:gd name="connsiteY2779" fmla="*/ 1016000 h 1762127"/>
                <a:gd name="connsiteX2780" fmla="*/ 2394790 w 9759834"/>
                <a:gd name="connsiteY2780" fmla="*/ 1016000 h 1762127"/>
                <a:gd name="connsiteX2781" fmla="*/ 2428919 w 9759834"/>
                <a:gd name="connsiteY2781" fmla="*/ 1050925 h 1762127"/>
                <a:gd name="connsiteX2782" fmla="*/ 2394790 w 9759834"/>
                <a:gd name="connsiteY2782" fmla="*/ 1085850 h 1762127"/>
                <a:gd name="connsiteX2783" fmla="*/ 2360656 w 9759834"/>
                <a:gd name="connsiteY2783" fmla="*/ 1050925 h 1762127"/>
                <a:gd name="connsiteX2784" fmla="*/ 2394790 w 9759834"/>
                <a:gd name="connsiteY2784" fmla="*/ 1016000 h 1762127"/>
                <a:gd name="connsiteX2785" fmla="*/ 2309856 w 9759834"/>
                <a:gd name="connsiteY2785" fmla="*/ 1016000 h 1762127"/>
                <a:gd name="connsiteX2786" fmla="*/ 2344781 w 9759834"/>
                <a:gd name="connsiteY2786" fmla="*/ 1050925 h 1762127"/>
                <a:gd name="connsiteX2787" fmla="*/ 2309856 w 9759834"/>
                <a:gd name="connsiteY2787" fmla="*/ 1085850 h 1762127"/>
                <a:gd name="connsiteX2788" fmla="*/ 2274920 w 9759834"/>
                <a:gd name="connsiteY2788" fmla="*/ 1050925 h 1762127"/>
                <a:gd name="connsiteX2789" fmla="*/ 2309856 w 9759834"/>
                <a:gd name="connsiteY2789" fmla="*/ 1016000 h 1762127"/>
                <a:gd name="connsiteX2790" fmla="*/ 2224804 w 9759834"/>
                <a:gd name="connsiteY2790" fmla="*/ 1016000 h 1762127"/>
                <a:gd name="connsiteX2791" fmla="*/ 2258936 w 9759834"/>
                <a:gd name="connsiteY2791" fmla="*/ 1050925 h 1762127"/>
                <a:gd name="connsiteX2792" fmla="*/ 2224804 w 9759834"/>
                <a:gd name="connsiteY2792" fmla="*/ 1085850 h 1762127"/>
                <a:gd name="connsiteX2793" fmla="*/ 2190671 w 9759834"/>
                <a:gd name="connsiteY2793" fmla="*/ 1050925 h 1762127"/>
                <a:gd name="connsiteX2794" fmla="*/ 2224804 w 9759834"/>
                <a:gd name="connsiteY2794" fmla="*/ 1016000 h 1762127"/>
                <a:gd name="connsiteX2795" fmla="*/ 2139055 w 9759834"/>
                <a:gd name="connsiteY2795" fmla="*/ 1016000 h 1762127"/>
                <a:gd name="connsiteX2796" fmla="*/ 2173187 w 9759834"/>
                <a:gd name="connsiteY2796" fmla="*/ 1050925 h 1762127"/>
                <a:gd name="connsiteX2797" fmla="*/ 2139055 w 9759834"/>
                <a:gd name="connsiteY2797" fmla="*/ 1085850 h 1762127"/>
                <a:gd name="connsiteX2798" fmla="*/ 2104924 w 9759834"/>
                <a:gd name="connsiteY2798" fmla="*/ 1050925 h 1762127"/>
                <a:gd name="connsiteX2799" fmla="*/ 2139055 w 9759834"/>
                <a:gd name="connsiteY2799" fmla="*/ 1016000 h 1762127"/>
                <a:gd name="connsiteX2800" fmla="*/ 2055712 w 9759834"/>
                <a:gd name="connsiteY2800" fmla="*/ 1016000 h 1762127"/>
                <a:gd name="connsiteX2801" fmla="*/ 2092225 w 9759834"/>
                <a:gd name="connsiteY2801" fmla="*/ 1050925 h 1762127"/>
                <a:gd name="connsiteX2802" fmla="*/ 2055712 w 9759834"/>
                <a:gd name="connsiteY2802" fmla="*/ 1085850 h 1762127"/>
                <a:gd name="connsiteX2803" fmla="*/ 2019199 w 9759834"/>
                <a:gd name="connsiteY2803" fmla="*/ 1050925 h 1762127"/>
                <a:gd name="connsiteX2804" fmla="*/ 2055712 w 9759834"/>
                <a:gd name="connsiteY2804" fmla="*/ 1016000 h 1762127"/>
                <a:gd name="connsiteX2805" fmla="*/ 1973163 w 9759834"/>
                <a:gd name="connsiteY2805" fmla="*/ 1016000 h 1762127"/>
                <a:gd name="connsiteX2806" fmla="*/ 2008087 w 9759834"/>
                <a:gd name="connsiteY2806" fmla="*/ 1050925 h 1762127"/>
                <a:gd name="connsiteX2807" fmla="*/ 1973163 w 9759834"/>
                <a:gd name="connsiteY2807" fmla="*/ 1085850 h 1762127"/>
                <a:gd name="connsiteX2808" fmla="*/ 1938238 w 9759834"/>
                <a:gd name="connsiteY2808" fmla="*/ 1050925 h 1762127"/>
                <a:gd name="connsiteX2809" fmla="*/ 1973163 w 9759834"/>
                <a:gd name="connsiteY2809" fmla="*/ 1016000 h 1762127"/>
                <a:gd name="connsiteX2810" fmla="*/ 1802507 w 9759834"/>
                <a:gd name="connsiteY2810" fmla="*/ 1016000 h 1762127"/>
                <a:gd name="connsiteX2811" fmla="*/ 1836638 w 9759834"/>
                <a:gd name="connsiteY2811" fmla="*/ 1050925 h 1762127"/>
                <a:gd name="connsiteX2812" fmla="*/ 1802507 w 9759834"/>
                <a:gd name="connsiteY2812" fmla="*/ 1085850 h 1762127"/>
                <a:gd name="connsiteX2813" fmla="*/ 1768375 w 9759834"/>
                <a:gd name="connsiteY2813" fmla="*/ 1050925 h 1762127"/>
                <a:gd name="connsiteX2814" fmla="*/ 1802507 w 9759834"/>
                <a:gd name="connsiteY2814" fmla="*/ 1016000 h 1762127"/>
                <a:gd name="connsiteX2815" fmla="*/ 1719169 w 9759834"/>
                <a:gd name="connsiteY2815" fmla="*/ 1016000 h 1762127"/>
                <a:gd name="connsiteX2816" fmla="*/ 1755682 w 9759834"/>
                <a:gd name="connsiteY2816" fmla="*/ 1050925 h 1762127"/>
                <a:gd name="connsiteX2817" fmla="*/ 1719169 w 9759834"/>
                <a:gd name="connsiteY2817" fmla="*/ 1085850 h 1762127"/>
                <a:gd name="connsiteX2818" fmla="*/ 1682656 w 9759834"/>
                <a:gd name="connsiteY2818" fmla="*/ 1050925 h 1762127"/>
                <a:gd name="connsiteX2819" fmla="*/ 1719169 w 9759834"/>
                <a:gd name="connsiteY2819" fmla="*/ 1016000 h 1762127"/>
                <a:gd name="connsiteX2820" fmla="*/ 1636604 w 9759834"/>
                <a:gd name="connsiteY2820" fmla="*/ 1016000 h 1762127"/>
                <a:gd name="connsiteX2821" fmla="*/ 1671529 w 9759834"/>
                <a:gd name="connsiteY2821" fmla="*/ 1050925 h 1762127"/>
                <a:gd name="connsiteX2822" fmla="*/ 1636604 w 9759834"/>
                <a:gd name="connsiteY2822" fmla="*/ 1085850 h 1762127"/>
                <a:gd name="connsiteX2823" fmla="*/ 1601679 w 9759834"/>
                <a:gd name="connsiteY2823" fmla="*/ 1050925 h 1762127"/>
                <a:gd name="connsiteX2824" fmla="*/ 1636604 w 9759834"/>
                <a:gd name="connsiteY2824" fmla="*/ 1016000 h 1762127"/>
                <a:gd name="connsiteX2825" fmla="*/ 1551671 w 9759834"/>
                <a:gd name="connsiteY2825" fmla="*/ 1016000 h 1762127"/>
                <a:gd name="connsiteX2826" fmla="*/ 1585803 w 9759834"/>
                <a:gd name="connsiteY2826" fmla="*/ 1050925 h 1762127"/>
                <a:gd name="connsiteX2827" fmla="*/ 1551671 w 9759834"/>
                <a:gd name="connsiteY2827" fmla="*/ 1085850 h 1762127"/>
                <a:gd name="connsiteX2828" fmla="*/ 1517539 w 9759834"/>
                <a:gd name="connsiteY2828" fmla="*/ 1050925 h 1762127"/>
                <a:gd name="connsiteX2829" fmla="*/ 1551671 w 9759834"/>
                <a:gd name="connsiteY2829" fmla="*/ 1016000 h 1762127"/>
                <a:gd name="connsiteX2830" fmla="*/ 1465946 w 9759834"/>
                <a:gd name="connsiteY2830" fmla="*/ 1016000 h 1762127"/>
                <a:gd name="connsiteX2831" fmla="*/ 1500078 w 9759834"/>
                <a:gd name="connsiteY2831" fmla="*/ 1050925 h 1762127"/>
                <a:gd name="connsiteX2832" fmla="*/ 1465946 w 9759834"/>
                <a:gd name="connsiteY2832" fmla="*/ 1085850 h 1762127"/>
                <a:gd name="connsiteX2833" fmla="*/ 1431814 w 9759834"/>
                <a:gd name="connsiteY2833" fmla="*/ 1050925 h 1762127"/>
                <a:gd name="connsiteX2834" fmla="*/ 1465946 w 9759834"/>
                <a:gd name="connsiteY2834" fmla="*/ 1016000 h 1762127"/>
                <a:gd name="connsiteX2835" fmla="*/ 1380229 w 9759834"/>
                <a:gd name="connsiteY2835" fmla="*/ 1016000 h 1762127"/>
                <a:gd name="connsiteX2836" fmla="*/ 1414360 w 9759834"/>
                <a:gd name="connsiteY2836" fmla="*/ 1050925 h 1762127"/>
                <a:gd name="connsiteX2837" fmla="*/ 1380229 w 9759834"/>
                <a:gd name="connsiteY2837" fmla="*/ 1085850 h 1762127"/>
                <a:gd name="connsiteX2838" fmla="*/ 1346096 w 9759834"/>
                <a:gd name="connsiteY2838" fmla="*/ 1050925 h 1762127"/>
                <a:gd name="connsiteX2839" fmla="*/ 1380229 w 9759834"/>
                <a:gd name="connsiteY2839" fmla="*/ 1016000 h 1762127"/>
                <a:gd name="connsiteX2840" fmla="*/ 1300222 w 9759834"/>
                <a:gd name="connsiteY2840" fmla="*/ 1016000 h 1762127"/>
                <a:gd name="connsiteX2841" fmla="*/ 1335148 w 9759834"/>
                <a:gd name="connsiteY2841" fmla="*/ 1050925 h 1762127"/>
                <a:gd name="connsiteX2842" fmla="*/ 1300222 w 9759834"/>
                <a:gd name="connsiteY2842" fmla="*/ 1085850 h 1762127"/>
                <a:gd name="connsiteX2843" fmla="*/ 1265297 w 9759834"/>
                <a:gd name="connsiteY2843" fmla="*/ 1050925 h 1762127"/>
                <a:gd name="connsiteX2844" fmla="*/ 1300222 w 9759834"/>
                <a:gd name="connsiteY2844" fmla="*/ 1016000 h 1762127"/>
                <a:gd name="connsiteX2845" fmla="*/ 621390 w 9759834"/>
                <a:gd name="connsiteY2845" fmla="*/ 1016000 h 1762127"/>
                <a:gd name="connsiteX2846" fmla="*/ 655522 w 9759834"/>
                <a:gd name="connsiteY2846" fmla="*/ 1050925 h 1762127"/>
                <a:gd name="connsiteX2847" fmla="*/ 621390 w 9759834"/>
                <a:gd name="connsiteY2847" fmla="*/ 1085850 h 1762127"/>
                <a:gd name="connsiteX2848" fmla="*/ 587258 w 9759834"/>
                <a:gd name="connsiteY2848" fmla="*/ 1050925 h 1762127"/>
                <a:gd name="connsiteX2849" fmla="*/ 621390 w 9759834"/>
                <a:gd name="connsiteY2849" fmla="*/ 1016000 h 1762127"/>
                <a:gd name="connsiteX2850" fmla="*/ 541221 w 9759834"/>
                <a:gd name="connsiteY2850" fmla="*/ 1016000 h 1762127"/>
                <a:gd name="connsiteX2851" fmla="*/ 576146 w 9759834"/>
                <a:gd name="connsiteY2851" fmla="*/ 1050925 h 1762127"/>
                <a:gd name="connsiteX2852" fmla="*/ 541221 w 9759834"/>
                <a:gd name="connsiteY2852" fmla="*/ 1085850 h 1762127"/>
                <a:gd name="connsiteX2853" fmla="*/ 506296 w 9759834"/>
                <a:gd name="connsiteY2853" fmla="*/ 1050925 h 1762127"/>
                <a:gd name="connsiteX2854" fmla="*/ 541221 w 9759834"/>
                <a:gd name="connsiteY2854" fmla="*/ 1016000 h 1762127"/>
                <a:gd name="connsiteX2855" fmla="*/ 9474877 w 9759834"/>
                <a:gd name="connsiteY2855" fmla="*/ 936625 h 1762127"/>
                <a:gd name="connsiteX2856" fmla="*/ 9509009 w 9759834"/>
                <a:gd name="connsiteY2856" fmla="*/ 970757 h 1762127"/>
                <a:gd name="connsiteX2857" fmla="*/ 9474877 w 9759834"/>
                <a:gd name="connsiteY2857" fmla="*/ 1004889 h 1762127"/>
                <a:gd name="connsiteX2858" fmla="*/ 9440745 w 9759834"/>
                <a:gd name="connsiteY2858" fmla="*/ 970757 h 1762127"/>
                <a:gd name="connsiteX2859" fmla="*/ 9474877 w 9759834"/>
                <a:gd name="connsiteY2859" fmla="*/ 936625 h 1762127"/>
                <a:gd name="connsiteX2860" fmla="*/ 9389152 w 9759834"/>
                <a:gd name="connsiteY2860" fmla="*/ 936625 h 1762127"/>
                <a:gd name="connsiteX2861" fmla="*/ 9423284 w 9759834"/>
                <a:gd name="connsiteY2861" fmla="*/ 970757 h 1762127"/>
                <a:gd name="connsiteX2862" fmla="*/ 9389152 w 9759834"/>
                <a:gd name="connsiteY2862" fmla="*/ 1004889 h 1762127"/>
                <a:gd name="connsiteX2863" fmla="*/ 9355020 w 9759834"/>
                <a:gd name="connsiteY2863" fmla="*/ 970757 h 1762127"/>
                <a:gd name="connsiteX2864" fmla="*/ 9389152 w 9759834"/>
                <a:gd name="connsiteY2864" fmla="*/ 936625 h 1762127"/>
                <a:gd name="connsiteX2865" fmla="*/ 8884327 w 9759834"/>
                <a:gd name="connsiteY2865" fmla="*/ 936625 h 1762127"/>
                <a:gd name="connsiteX2866" fmla="*/ 8921634 w 9759834"/>
                <a:gd name="connsiteY2866" fmla="*/ 970757 h 1762127"/>
                <a:gd name="connsiteX2867" fmla="*/ 8884327 w 9759834"/>
                <a:gd name="connsiteY2867" fmla="*/ 1004889 h 1762127"/>
                <a:gd name="connsiteX2868" fmla="*/ 8847020 w 9759834"/>
                <a:gd name="connsiteY2868" fmla="*/ 970757 h 1762127"/>
                <a:gd name="connsiteX2869" fmla="*/ 8884327 w 9759834"/>
                <a:gd name="connsiteY2869" fmla="*/ 936625 h 1762127"/>
                <a:gd name="connsiteX2870" fmla="*/ 8801777 w 9759834"/>
                <a:gd name="connsiteY2870" fmla="*/ 936625 h 1762127"/>
                <a:gd name="connsiteX2871" fmla="*/ 8835909 w 9759834"/>
                <a:gd name="connsiteY2871" fmla="*/ 970757 h 1762127"/>
                <a:gd name="connsiteX2872" fmla="*/ 8801777 w 9759834"/>
                <a:gd name="connsiteY2872" fmla="*/ 1004889 h 1762127"/>
                <a:gd name="connsiteX2873" fmla="*/ 8767645 w 9759834"/>
                <a:gd name="connsiteY2873" fmla="*/ 970757 h 1762127"/>
                <a:gd name="connsiteX2874" fmla="*/ 8801777 w 9759834"/>
                <a:gd name="connsiteY2874" fmla="*/ 936625 h 1762127"/>
                <a:gd name="connsiteX2875" fmla="*/ 8716052 w 9759834"/>
                <a:gd name="connsiteY2875" fmla="*/ 936625 h 1762127"/>
                <a:gd name="connsiteX2876" fmla="*/ 8750184 w 9759834"/>
                <a:gd name="connsiteY2876" fmla="*/ 970757 h 1762127"/>
                <a:gd name="connsiteX2877" fmla="*/ 8716052 w 9759834"/>
                <a:gd name="connsiteY2877" fmla="*/ 1004889 h 1762127"/>
                <a:gd name="connsiteX2878" fmla="*/ 8681920 w 9759834"/>
                <a:gd name="connsiteY2878" fmla="*/ 970757 h 1762127"/>
                <a:gd name="connsiteX2879" fmla="*/ 8716052 w 9759834"/>
                <a:gd name="connsiteY2879" fmla="*/ 936625 h 1762127"/>
                <a:gd name="connsiteX2880" fmla="*/ 8630327 w 9759834"/>
                <a:gd name="connsiteY2880" fmla="*/ 936625 h 1762127"/>
                <a:gd name="connsiteX2881" fmla="*/ 8664459 w 9759834"/>
                <a:gd name="connsiteY2881" fmla="*/ 970757 h 1762127"/>
                <a:gd name="connsiteX2882" fmla="*/ 8630327 w 9759834"/>
                <a:gd name="connsiteY2882" fmla="*/ 1004889 h 1762127"/>
                <a:gd name="connsiteX2883" fmla="*/ 8596195 w 9759834"/>
                <a:gd name="connsiteY2883" fmla="*/ 970757 h 1762127"/>
                <a:gd name="connsiteX2884" fmla="*/ 8630327 w 9759834"/>
                <a:gd name="connsiteY2884" fmla="*/ 936625 h 1762127"/>
                <a:gd name="connsiteX2885" fmla="*/ 8544602 w 9759834"/>
                <a:gd name="connsiteY2885" fmla="*/ 936625 h 1762127"/>
                <a:gd name="connsiteX2886" fmla="*/ 8578734 w 9759834"/>
                <a:gd name="connsiteY2886" fmla="*/ 970757 h 1762127"/>
                <a:gd name="connsiteX2887" fmla="*/ 8544602 w 9759834"/>
                <a:gd name="connsiteY2887" fmla="*/ 1004889 h 1762127"/>
                <a:gd name="connsiteX2888" fmla="*/ 8510470 w 9759834"/>
                <a:gd name="connsiteY2888" fmla="*/ 970757 h 1762127"/>
                <a:gd name="connsiteX2889" fmla="*/ 8544602 w 9759834"/>
                <a:gd name="connsiteY2889" fmla="*/ 936625 h 1762127"/>
                <a:gd name="connsiteX2890" fmla="*/ 8465227 w 9759834"/>
                <a:gd name="connsiteY2890" fmla="*/ 936625 h 1762127"/>
                <a:gd name="connsiteX2891" fmla="*/ 8499359 w 9759834"/>
                <a:gd name="connsiteY2891" fmla="*/ 970757 h 1762127"/>
                <a:gd name="connsiteX2892" fmla="*/ 8465227 w 9759834"/>
                <a:gd name="connsiteY2892" fmla="*/ 1004889 h 1762127"/>
                <a:gd name="connsiteX2893" fmla="*/ 8431095 w 9759834"/>
                <a:gd name="connsiteY2893" fmla="*/ 970757 h 1762127"/>
                <a:gd name="connsiteX2894" fmla="*/ 8465227 w 9759834"/>
                <a:gd name="connsiteY2894" fmla="*/ 936625 h 1762127"/>
                <a:gd name="connsiteX2895" fmla="*/ 8379502 w 9759834"/>
                <a:gd name="connsiteY2895" fmla="*/ 936625 h 1762127"/>
                <a:gd name="connsiteX2896" fmla="*/ 8413634 w 9759834"/>
                <a:gd name="connsiteY2896" fmla="*/ 970757 h 1762127"/>
                <a:gd name="connsiteX2897" fmla="*/ 8379502 w 9759834"/>
                <a:gd name="connsiteY2897" fmla="*/ 1004889 h 1762127"/>
                <a:gd name="connsiteX2898" fmla="*/ 8345370 w 9759834"/>
                <a:gd name="connsiteY2898" fmla="*/ 970757 h 1762127"/>
                <a:gd name="connsiteX2899" fmla="*/ 8379502 w 9759834"/>
                <a:gd name="connsiteY2899" fmla="*/ 936625 h 1762127"/>
                <a:gd name="connsiteX2900" fmla="*/ 8293777 w 9759834"/>
                <a:gd name="connsiteY2900" fmla="*/ 936625 h 1762127"/>
                <a:gd name="connsiteX2901" fmla="*/ 8327909 w 9759834"/>
                <a:gd name="connsiteY2901" fmla="*/ 970757 h 1762127"/>
                <a:gd name="connsiteX2902" fmla="*/ 8293777 w 9759834"/>
                <a:gd name="connsiteY2902" fmla="*/ 1004889 h 1762127"/>
                <a:gd name="connsiteX2903" fmla="*/ 8259645 w 9759834"/>
                <a:gd name="connsiteY2903" fmla="*/ 970757 h 1762127"/>
                <a:gd name="connsiteX2904" fmla="*/ 8293777 w 9759834"/>
                <a:gd name="connsiteY2904" fmla="*/ 936625 h 1762127"/>
                <a:gd name="connsiteX2905" fmla="*/ 8208052 w 9759834"/>
                <a:gd name="connsiteY2905" fmla="*/ 936625 h 1762127"/>
                <a:gd name="connsiteX2906" fmla="*/ 8242184 w 9759834"/>
                <a:gd name="connsiteY2906" fmla="*/ 970757 h 1762127"/>
                <a:gd name="connsiteX2907" fmla="*/ 8208052 w 9759834"/>
                <a:gd name="connsiteY2907" fmla="*/ 1004889 h 1762127"/>
                <a:gd name="connsiteX2908" fmla="*/ 8173920 w 9759834"/>
                <a:gd name="connsiteY2908" fmla="*/ 970757 h 1762127"/>
                <a:gd name="connsiteX2909" fmla="*/ 8208052 w 9759834"/>
                <a:gd name="connsiteY2909" fmla="*/ 936625 h 1762127"/>
                <a:gd name="connsiteX2910" fmla="*/ 8125502 w 9759834"/>
                <a:gd name="connsiteY2910" fmla="*/ 936625 h 1762127"/>
                <a:gd name="connsiteX2911" fmla="*/ 8162809 w 9759834"/>
                <a:gd name="connsiteY2911" fmla="*/ 970757 h 1762127"/>
                <a:gd name="connsiteX2912" fmla="*/ 8125502 w 9759834"/>
                <a:gd name="connsiteY2912" fmla="*/ 1004889 h 1762127"/>
                <a:gd name="connsiteX2913" fmla="*/ 8088195 w 9759834"/>
                <a:gd name="connsiteY2913" fmla="*/ 970757 h 1762127"/>
                <a:gd name="connsiteX2914" fmla="*/ 8125502 w 9759834"/>
                <a:gd name="connsiteY2914" fmla="*/ 936625 h 1762127"/>
                <a:gd name="connsiteX2915" fmla="*/ 8042952 w 9759834"/>
                <a:gd name="connsiteY2915" fmla="*/ 936625 h 1762127"/>
                <a:gd name="connsiteX2916" fmla="*/ 8077084 w 9759834"/>
                <a:gd name="connsiteY2916" fmla="*/ 970757 h 1762127"/>
                <a:gd name="connsiteX2917" fmla="*/ 8042952 w 9759834"/>
                <a:gd name="connsiteY2917" fmla="*/ 1004889 h 1762127"/>
                <a:gd name="connsiteX2918" fmla="*/ 8008820 w 9759834"/>
                <a:gd name="connsiteY2918" fmla="*/ 970757 h 1762127"/>
                <a:gd name="connsiteX2919" fmla="*/ 8042952 w 9759834"/>
                <a:gd name="connsiteY2919" fmla="*/ 936625 h 1762127"/>
                <a:gd name="connsiteX2920" fmla="*/ 7957227 w 9759834"/>
                <a:gd name="connsiteY2920" fmla="*/ 936625 h 1762127"/>
                <a:gd name="connsiteX2921" fmla="*/ 7991359 w 9759834"/>
                <a:gd name="connsiteY2921" fmla="*/ 970757 h 1762127"/>
                <a:gd name="connsiteX2922" fmla="*/ 7957227 w 9759834"/>
                <a:gd name="connsiteY2922" fmla="*/ 1004889 h 1762127"/>
                <a:gd name="connsiteX2923" fmla="*/ 7923095 w 9759834"/>
                <a:gd name="connsiteY2923" fmla="*/ 970757 h 1762127"/>
                <a:gd name="connsiteX2924" fmla="*/ 7957227 w 9759834"/>
                <a:gd name="connsiteY2924" fmla="*/ 936625 h 1762127"/>
                <a:gd name="connsiteX2925" fmla="*/ 7871502 w 9759834"/>
                <a:gd name="connsiteY2925" fmla="*/ 936625 h 1762127"/>
                <a:gd name="connsiteX2926" fmla="*/ 7905634 w 9759834"/>
                <a:gd name="connsiteY2926" fmla="*/ 970757 h 1762127"/>
                <a:gd name="connsiteX2927" fmla="*/ 7871502 w 9759834"/>
                <a:gd name="connsiteY2927" fmla="*/ 1004889 h 1762127"/>
                <a:gd name="connsiteX2928" fmla="*/ 7837370 w 9759834"/>
                <a:gd name="connsiteY2928" fmla="*/ 970757 h 1762127"/>
                <a:gd name="connsiteX2929" fmla="*/ 7871502 w 9759834"/>
                <a:gd name="connsiteY2929" fmla="*/ 936625 h 1762127"/>
                <a:gd name="connsiteX2930" fmla="*/ 7785777 w 9759834"/>
                <a:gd name="connsiteY2930" fmla="*/ 936625 h 1762127"/>
                <a:gd name="connsiteX2931" fmla="*/ 7819909 w 9759834"/>
                <a:gd name="connsiteY2931" fmla="*/ 970757 h 1762127"/>
                <a:gd name="connsiteX2932" fmla="*/ 7785777 w 9759834"/>
                <a:gd name="connsiteY2932" fmla="*/ 1004889 h 1762127"/>
                <a:gd name="connsiteX2933" fmla="*/ 7751645 w 9759834"/>
                <a:gd name="connsiteY2933" fmla="*/ 970757 h 1762127"/>
                <a:gd name="connsiteX2934" fmla="*/ 7785777 w 9759834"/>
                <a:gd name="connsiteY2934" fmla="*/ 936625 h 1762127"/>
                <a:gd name="connsiteX2935" fmla="*/ 7706402 w 9759834"/>
                <a:gd name="connsiteY2935" fmla="*/ 936625 h 1762127"/>
                <a:gd name="connsiteX2936" fmla="*/ 7740534 w 9759834"/>
                <a:gd name="connsiteY2936" fmla="*/ 970757 h 1762127"/>
                <a:gd name="connsiteX2937" fmla="*/ 7706402 w 9759834"/>
                <a:gd name="connsiteY2937" fmla="*/ 1004889 h 1762127"/>
                <a:gd name="connsiteX2938" fmla="*/ 7672270 w 9759834"/>
                <a:gd name="connsiteY2938" fmla="*/ 970757 h 1762127"/>
                <a:gd name="connsiteX2939" fmla="*/ 7706402 w 9759834"/>
                <a:gd name="connsiteY2939" fmla="*/ 936625 h 1762127"/>
                <a:gd name="connsiteX2940" fmla="*/ 7620677 w 9759834"/>
                <a:gd name="connsiteY2940" fmla="*/ 936625 h 1762127"/>
                <a:gd name="connsiteX2941" fmla="*/ 7654809 w 9759834"/>
                <a:gd name="connsiteY2941" fmla="*/ 970757 h 1762127"/>
                <a:gd name="connsiteX2942" fmla="*/ 7620677 w 9759834"/>
                <a:gd name="connsiteY2942" fmla="*/ 1004889 h 1762127"/>
                <a:gd name="connsiteX2943" fmla="*/ 7586545 w 9759834"/>
                <a:gd name="connsiteY2943" fmla="*/ 970757 h 1762127"/>
                <a:gd name="connsiteX2944" fmla="*/ 7620677 w 9759834"/>
                <a:gd name="connsiteY2944" fmla="*/ 936625 h 1762127"/>
                <a:gd name="connsiteX2945" fmla="*/ 7534952 w 9759834"/>
                <a:gd name="connsiteY2945" fmla="*/ 936625 h 1762127"/>
                <a:gd name="connsiteX2946" fmla="*/ 7569084 w 9759834"/>
                <a:gd name="connsiteY2946" fmla="*/ 970757 h 1762127"/>
                <a:gd name="connsiteX2947" fmla="*/ 7534952 w 9759834"/>
                <a:gd name="connsiteY2947" fmla="*/ 1004889 h 1762127"/>
                <a:gd name="connsiteX2948" fmla="*/ 7500820 w 9759834"/>
                <a:gd name="connsiteY2948" fmla="*/ 970757 h 1762127"/>
                <a:gd name="connsiteX2949" fmla="*/ 7534952 w 9759834"/>
                <a:gd name="connsiteY2949" fmla="*/ 936625 h 1762127"/>
                <a:gd name="connsiteX2950" fmla="*/ 7449227 w 9759834"/>
                <a:gd name="connsiteY2950" fmla="*/ 936625 h 1762127"/>
                <a:gd name="connsiteX2951" fmla="*/ 7483359 w 9759834"/>
                <a:gd name="connsiteY2951" fmla="*/ 970757 h 1762127"/>
                <a:gd name="connsiteX2952" fmla="*/ 7449227 w 9759834"/>
                <a:gd name="connsiteY2952" fmla="*/ 1004889 h 1762127"/>
                <a:gd name="connsiteX2953" fmla="*/ 7415095 w 9759834"/>
                <a:gd name="connsiteY2953" fmla="*/ 970757 h 1762127"/>
                <a:gd name="connsiteX2954" fmla="*/ 7449227 w 9759834"/>
                <a:gd name="connsiteY2954" fmla="*/ 936625 h 1762127"/>
                <a:gd name="connsiteX2955" fmla="*/ 7366677 w 9759834"/>
                <a:gd name="connsiteY2955" fmla="*/ 936625 h 1762127"/>
                <a:gd name="connsiteX2956" fmla="*/ 7403984 w 9759834"/>
                <a:gd name="connsiteY2956" fmla="*/ 970757 h 1762127"/>
                <a:gd name="connsiteX2957" fmla="*/ 7366677 w 9759834"/>
                <a:gd name="connsiteY2957" fmla="*/ 1004889 h 1762127"/>
                <a:gd name="connsiteX2958" fmla="*/ 7329370 w 9759834"/>
                <a:gd name="connsiteY2958" fmla="*/ 970757 h 1762127"/>
                <a:gd name="connsiteX2959" fmla="*/ 7366677 w 9759834"/>
                <a:gd name="connsiteY2959" fmla="*/ 936625 h 1762127"/>
                <a:gd name="connsiteX2960" fmla="*/ 7284127 w 9759834"/>
                <a:gd name="connsiteY2960" fmla="*/ 936625 h 1762127"/>
                <a:gd name="connsiteX2961" fmla="*/ 7318259 w 9759834"/>
                <a:gd name="connsiteY2961" fmla="*/ 970757 h 1762127"/>
                <a:gd name="connsiteX2962" fmla="*/ 7284127 w 9759834"/>
                <a:gd name="connsiteY2962" fmla="*/ 1004889 h 1762127"/>
                <a:gd name="connsiteX2963" fmla="*/ 7249995 w 9759834"/>
                <a:gd name="connsiteY2963" fmla="*/ 970757 h 1762127"/>
                <a:gd name="connsiteX2964" fmla="*/ 7284127 w 9759834"/>
                <a:gd name="connsiteY2964" fmla="*/ 936625 h 1762127"/>
                <a:gd name="connsiteX2965" fmla="*/ 7198402 w 9759834"/>
                <a:gd name="connsiteY2965" fmla="*/ 936625 h 1762127"/>
                <a:gd name="connsiteX2966" fmla="*/ 7232534 w 9759834"/>
                <a:gd name="connsiteY2966" fmla="*/ 970757 h 1762127"/>
                <a:gd name="connsiteX2967" fmla="*/ 7198402 w 9759834"/>
                <a:gd name="connsiteY2967" fmla="*/ 1004889 h 1762127"/>
                <a:gd name="connsiteX2968" fmla="*/ 7164270 w 9759834"/>
                <a:gd name="connsiteY2968" fmla="*/ 970757 h 1762127"/>
                <a:gd name="connsiteX2969" fmla="*/ 7198402 w 9759834"/>
                <a:gd name="connsiteY2969" fmla="*/ 936625 h 1762127"/>
                <a:gd name="connsiteX2970" fmla="*/ 7112677 w 9759834"/>
                <a:gd name="connsiteY2970" fmla="*/ 936625 h 1762127"/>
                <a:gd name="connsiteX2971" fmla="*/ 7146809 w 9759834"/>
                <a:gd name="connsiteY2971" fmla="*/ 970757 h 1762127"/>
                <a:gd name="connsiteX2972" fmla="*/ 7112677 w 9759834"/>
                <a:gd name="connsiteY2972" fmla="*/ 1004889 h 1762127"/>
                <a:gd name="connsiteX2973" fmla="*/ 7078545 w 9759834"/>
                <a:gd name="connsiteY2973" fmla="*/ 970757 h 1762127"/>
                <a:gd name="connsiteX2974" fmla="*/ 7112677 w 9759834"/>
                <a:gd name="connsiteY2974" fmla="*/ 936625 h 1762127"/>
                <a:gd name="connsiteX2975" fmla="*/ 7027745 w 9759834"/>
                <a:gd name="connsiteY2975" fmla="*/ 936625 h 1762127"/>
                <a:gd name="connsiteX2976" fmla="*/ 7062670 w 9759834"/>
                <a:gd name="connsiteY2976" fmla="*/ 970757 h 1762127"/>
                <a:gd name="connsiteX2977" fmla="*/ 7027745 w 9759834"/>
                <a:gd name="connsiteY2977" fmla="*/ 1004889 h 1762127"/>
                <a:gd name="connsiteX2978" fmla="*/ 6992820 w 9759834"/>
                <a:gd name="connsiteY2978" fmla="*/ 970757 h 1762127"/>
                <a:gd name="connsiteX2979" fmla="*/ 7027745 w 9759834"/>
                <a:gd name="connsiteY2979" fmla="*/ 936625 h 1762127"/>
                <a:gd name="connsiteX2980" fmla="*/ 6947577 w 9759834"/>
                <a:gd name="connsiteY2980" fmla="*/ 936625 h 1762127"/>
                <a:gd name="connsiteX2981" fmla="*/ 6981709 w 9759834"/>
                <a:gd name="connsiteY2981" fmla="*/ 970757 h 1762127"/>
                <a:gd name="connsiteX2982" fmla="*/ 6947577 w 9759834"/>
                <a:gd name="connsiteY2982" fmla="*/ 1004889 h 1762127"/>
                <a:gd name="connsiteX2983" fmla="*/ 6913445 w 9759834"/>
                <a:gd name="connsiteY2983" fmla="*/ 970757 h 1762127"/>
                <a:gd name="connsiteX2984" fmla="*/ 6947577 w 9759834"/>
                <a:gd name="connsiteY2984" fmla="*/ 936625 h 1762127"/>
                <a:gd name="connsiteX2985" fmla="*/ 6861852 w 9759834"/>
                <a:gd name="connsiteY2985" fmla="*/ 936625 h 1762127"/>
                <a:gd name="connsiteX2986" fmla="*/ 6895984 w 9759834"/>
                <a:gd name="connsiteY2986" fmla="*/ 970757 h 1762127"/>
                <a:gd name="connsiteX2987" fmla="*/ 6861852 w 9759834"/>
                <a:gd name="connsiteY2987" fmla="*/ 1004889 h 1762127"/>
                <a:gd name="connsiteX2988" fmla="*/ 6827720 w 9759834"/>
                <a:gd name="connsiteY2988" fmla="*/ 970757 h 1762127"/>
                <a:gd name="connsiteX2989" fmla="*/ 6861852 w 9759834"/>
                <a:gd name="connsiteY2989" fmla="*/ 936625 h 1762127"/>
                <a:gd name="connsiteX2990" fmla="*/ 6776127 w 9759834"/>
                <a:gd name="connsiteY2990" fmla="*/ 936625 h 1762127"/>
                <a:gd name="connsiteX2991" fmla="*/ 6810259 w 9759834"/>
                <a:gd name="connsiteY2991" fmla="*/ 970757 h 1762127"/>
                <a:gd name="connsiteX2992" fmla="*/ 6776127 w 9759834"/>
                <a:gd name="connsiteY2992" fmla="*/ 1004889 h 1762127"/>
                <a:gd name="connsiteX2993" fmla="*/ 6741995 w 9759834"/>
                <a:gd name="connsiteY2993" fmla="*/ 970757 h 1762127"/>
                <a:gd name="connsiteX2994" fmla="*/ 6776127 w 9759834"/>
                <a:gd name="connsiteY2994" fmla="*/ 936625 h 1762127"/>
                <a:gd name="connsiteX2995" fmla="*/ 6691195 w 9759834"/>
                <a:gd name="connsiteY2995" fmla="*/ 936625 h 1762127"/>
                <a:gd name="connsiteX2996" fmla="*/ 6726120 w 9759834"/>
                <a:gd name="connsiteY2996" fmla="*/ 970757 h 1762127"/>
                <a:gd name="connsiteX2997" fmla="*/ 6691195 w 9759834"/>
                <a:gd name="connsiteY2997" fmla="*/ 1004889 h 1762127"/>
                <a:gd name="connsiteX2998" fmla="*/ 6656270 w 9759834"/>
                <a:gd name="connsiteY2998" fmla="*/ 970757 h 1762127"/>
                <a:gd name="connsiteX2999" fmla="*/ 6691195 w 9759834"/>
                <a:gd name="connsiteY2999" fmla="*/ 936625 h 1762127"/>
                <a:gd name="connsiteX3000" fmla="*/ 6607852 w 9759834"/>
                <a:gd name="connsiteY3000" fmla="*/ 936625 h 1762127"/>
                <a:gd name="connsiteX3001" fmla="*/ 6645159 w 9759834"/>
                <a:gd name="connsiteY3001" fmla="*/ 970757 h 1762127"/>
                <a:gd name="connsiteX3002" fmla="*/ 6607852 w 9759834"/>
                <a:gd name="connsiteY3002" fmla="*/ 1004889 h 1762127"/>
                <a:gd name="connsiteX3003" fmla="*/ 6570545 w 9759834"/>
                <a:gd name="connsiteY3003" fmla="*/ 970757 h 1762127"/>
                <a:gd name="connsiteX3004" fmla="*/ 6607852 w 9759834"/>
                <a:gd name="connsiteY3004" fmla="*/ 936625 h 1762127"/>
                <a:gd name="connsiteX3005" fmla="*/ 6525302 w 9759834"/>
                <a:gd name="connsiteY3005" fmla="*/ 936625 h 1762127"/>
                <a:gd name="connsiteX3006" fmla="*/ 6559434 w 9759834"/>
                <a:gd name="connsiteY3006" fmla="*/ 970757 h 1762127"/>
                <a:gd name="connsiteX3007" fmla="*/ 6525302 w 9759834"/>
                <a:gd name="connsiteY3007" fmla="*/ 1004889 h 1762127"/>
                <a:gd name="connsiteX3008" fmla="*/ 6491170 w 9759834"/>
                <a:gd name="connsiteY3008" fmla="*/ 970757 h 1762127"/>
                <a:gd name="connsiteX3009" fmla="*/ 6525302 w 9759834"/>
                <a:gd name="connsiteY3009" fmla="*/ 936625 h 1762127"/>
                <a:gd name="connsiteX3010" fmla="*/ 6439577 w 9759834"/>
                <a:gd name="connsiteY3010" fmla="*/ 936625 h 1762127"/>
                <a:gd name="connsiteX3011" fmla="*/ 6473709 w 9759834"/>
                <a:gd name="connsiteY3011" fmla="*/ 970757 h 1762127"/>
                <a:gd name="connsiteX3012" fmla="*/ 6439577 w 9759834"/>
                <a:gd name="connsiteY3012" fmla="*/ 1004889 h 1762127"/>
                <a:gd name="connsiteX3013" fmla="*/ 6405445 w 9759834"/>
                <a:gd name="connsiteY3013" fmla="*/ 970757 h 1762127"/>
                <a:gd name="connsiteX3014" fmla="*/ 6439577 w 9759834"/>
                <a:gd name="connsiteY3014" fmla="*/ 936625 h 1762127"/>
                <a:gd name="connsiteX3015" fmla="*/ 6353852 w 9759834"/>
                <a:gd name="connsiteY3015" fmla="*/ 936625 h 1762127"/>
                <a:gd name="connsiteX3016" fmla="*/ 6387984 w 9759834"/>
                <a:gd name="connsiteY3016" fmla="*/ 970757 h 1762127"/>
                <a:gd name="connsiteX3017" fmla="*/ 6353852 w 9759834"/>
                <a:gd name="connsiteY3017" fmla="*/ 1004889 h 1762127"/>
                <a:gd name="connsiteX3018" fmla="*/ 6319720 w 9759834"/>
                <a:gd name="connsiteY3018" fmla="*/ 970757 h 1762127"/>
                <a:gd name="connsiteX3019" fmla="*/ 6353852 w 9759834"/>
                <a:gd name="connsiteY3019" fmla="*/ 936625 h 1762127"/>
                <a:gd name="connsiteX3020" fmla="*/ 6268920 w 9759834"/>
                <a:gd name="connsiteY3020" fmla="*/ 936625 h 1762127"/>
                <a:gd name="connsiteX3021" fmla="*/ 6303845 w 9759834"/>
                <a:gd name="connsiteY3021" fmla="*/ 970757 h 1762127"/>
                <a:gd name="connsiteX3022" fmla="*/ 6268920 w 9759834"/>
                <a:gd name="connsiteY3022" fmla="*/ 1004889 h 1762127"/>
                <a:gd name="connsiteX3023" fmla="*/ 6233995 w 9759834"/>
                <a:gd name="connsiteY3023" fmla="*/ 970757 h 1762127"/>
                <a:gd name="connsiteX3024" fmla="*/ 6268920 w 9759834"/>
                <a:gd name="connsiteY3024" fmla="*/ 936625 h 1762127"/>
                <a:gd name="connsiteX3025" fmla="*/ 6188752 w 9759834"/>
                <a:gd name="connsiteY3025" fmla="*/ 936625 h 1762127"/>
                <a:gd name="connsiteX3026" fmla="*/ 6222884 w 9759834"/>
                <a:gd name="connsiteY3026" fmla="*/ 970757 h 1762127"/>
                <a:gd name="connsiteX3027" fmla="*/ 6188752 w 9759834"/>
                <a:gd name="connsiteY3027" fmla="*/ 1004889 h 1762127"/>
                <a:gd name="connsiteX3028" fmla="*/ 6154620 w 9759834"/>
                <a:gd name="connsiteY3028" fmla="*/ 970757 h 1762127"/>
                <a:gd name="connsiteX3029" fmla="*/ 6188752 w 9759834"/>
                <a:gd name="connsiteY3029" fmla="*/ 936625 h 1762127"/>
                <a:gd name="connsiteX3030" fmla="*/ 5932370 w 9759834"/>
                <a:gd name="connsiteY3030" fmla="*/ 936625 h 1762127"/>
                <a:gd name="connsiteX3031" fmla="*/ 5967295 w 9759834"/>
                <a:gd name="connsiteY3031" fmla="*/ 970757 h 1762127"/>
                <a:gd name="connsiteX3032" fmla="*/ 5932370 w 9759834"/>
                <a:gd name="connsiteY3032" fmla="*/ 1004889 h 1762127"/>
                <a:gd name="connsiteX3033" fmla="*/ 5897445 w 9759834"/>
                <a:gd name="connsiteY3033" fmla="*/ 970757 h 1762127"/>
                <a:gd name="connsiteX3034" fmla="*/ 5932370 w 9759834"/>
                <a:gd name="connsiteY3034" fmla="*/ 936625 h 1762127"/>
                <a:gd name="connsiteX3035" fmla="*/ 5849821 w 9759834"/>
                <a:gd name="connsiteY3035" fmla="*/ 936625 h 1762127"/>
                <a:gd name="connsiteX3036" fmla="*/ 5886334 w 9759834"/>
                <a:gd name="connsiteY3036" fmla="*/ 970757 h 1762127"/>
                <a:gd name="connsiteX3037" fmla="*/ 5849821 w 9759834"/>
                <a:gd name="connsiteY3037" fmla="*/ 1004889 h 1762127"/>
                <a:gd name="connsiteX3038" fmla="*/ 5813308 w 9759834"/>
                <a:gd name="connsiteY3038" fmla="*/ 970757 h 1762127"/>
                <a:gd name="connsiteX3039" fmla="*/ 5849821 w 9759834"/>
                <a:gd name="connsiteY3039" fmla="*/ 936625 h 1762127"/>
                <a:gd name="connsiteX3040" fmla="*/ 5766477 w 9759834"/>
                <a:gd name="connsiteY3040" fmla="*/ 936625 h 1762127"/>
                <a:gd name="connsiteX3041" fmla="*/ 5800609 w 9759834"/>
                <a:gd name="connsiteY3041" fmla="*/ 970757 h 1762127"/>
                <a:gd name="connsiteX3042" fmla="*/ 5766477 w 9759834"/>
                <a:gd name="connsiteY3042" fmla="*/ 1004889 h 1762127"/>
                <a:gd name="connsiteX3043" fmla="*/ 5732345 w 9759834"/>
                <a:gd name="connsiteY3043" fmla="*/ 970757 h 1762127"/>
                <a:gd name="connsiteX3044" fmla="*/ 5766477 w 9759834"/>
                <a:gd name="connsiteY3044" fmla="*/ 936625 h 1762127"/>
                <a:gd name="connsiteX3045" fmla="*/ 5680752 w 9759834"/>
                <a:gd name="connsiteY3045" fmla="*/ 936625 h 1762127"/>
                <a:gd name="connsiteX3046" fmla="*/ 5714884 w 9759834"/>
                <a:gd name="connsiteY3046" fmla="*/ 970757 h 1762127"/>
                <a:gd name="connsiteX3047" fmla="*/ 5680752 w 9759834"/>
                <a:gd name="connsiteY3047" fmla="*/ 1004889 h 1762127"/>
                <a:gd name="connsiteX3048" fmla="*/ 5646620 w 9759834"/>
                <a:gd name="connsiteY3048" fmla="*/ 970757 h 1762127"/>
                <a:gd name="connsiteX3049" fmla="*/ 5680752 w 9759834"/>
                <a:gd name="connsiteY3049" fmla="*/ 936625 h 1762127"/>
                <a:gd name="connsiteX3050" fmla="*/ 5595820 w 9759834"/>
                <a:gd name="connsiteY3050" fmla="*/ 936625 h 1762127"/>
                <a:gd name="connsiteX3051" fmla="*/ 5630745 w 9759834"/>
                <a:gd name="connsiteY3051" fmla="*/ 970757 h 1762127"/>
                <a:gd name="connsiteX3052" fmla="*/ 5595820 w 9759834"/>
                <a:gd name="connsiteY3052" fmla="*/ 1004889 h 1762127"/>
                <a:gd name="connsiteX3053" fmla="*/ 5560895 w 9759834"/>
                <a:gd name="connsiteY3053" fmla="*/ 970757 h 1762127"/>
                <a:gd name="connsiteX3054" fmla="*/ 5595820 w 9759834"/>
                <a:gd name="connsiteY3054" fmla="*/ 936625 h 1762127"/>
                <a:gd name="connsiteX3055" fmla="*/ 5510095 w 9759834"/>
                <a:gd name="connsiteY3055" fmla="*/ 936625 h 1762127"/>
                <a:gd name="connsiteX3056" fmla="*/ 5545020 w 9759834"/>
                <a:gd name="connsiteY3056" fmla="*/ 970757 h 1762127"/>
                <a:gd name="connsiteX3057" fmla="*/ 5510095 w 9759834"/>
                <a:gd name="connsiteY3057" fmla="*/ 1004889 h 1762127"/>
                <a:gd name="connsiteX3058" fmla="*/ 5475170 w 9759834"/>
                <a:gd name="connsiteY3058" fmla="*/ 970757 h 1762127"/>
                <a:gd name="connsiteX3059" fmla="*/ 5510095 w 9759834"/>
                <a:gd name="connsiteY3059" fmla="*/ 936625 h 1762127"/>
                <a:gd name="connsiteX3060" fmla="*/ 5429927 w 9759834"/>
                <a:gd name="connsiteY3060" fmla="*/ 936625 h 1762127"/>
                <a:gd name="connsiteX3061" fmla="*/ 5464059 w 9759834"/>
                <a:gd name="connsiteY3061" fmla="*/ 970757 h 1762127"/>
                <a:gd name="connsiteX3062" fmla="*/ 5429927 w 9759834"/>
                <a:gd name="connsiteY3062" fmla="*/ 1004889 h 1762127"/>
                <a:gd name="connsiteX3063" fmla="*/ 5395795 w 9759834"/>
                <a:gd name="connsiteY3063" fmla="*/ 970757 h 1762127"/>
                <a:gd name="connsiteX3064" fmla="*/ 5429927 w 9759834"/>
                <a:gd name="connsiteY3064" fmla="*/ 936625 h 1762127"/>
                <a:gd name="connsiteX3065" fmla="*/ 4078170 w 9759834"/>
                <a:gd name="connsiteY3065" fmla="*/ 936625 h 1762127"/>
                <a:gd name="connsiteX3066" fmla="*/ 4113095 w 9759834"/>
                <a:gd name="connsiteY3066" fmla="*/ 970757 h 1762127"/>
                <a:gd name="connsiteX3067" fmla="*/ 4078170 w 9759834"/>
                <a:gd name="connsiteY3067" fmla="*/ 1004889 h 1762127"/>
                <a:gd name="connsiteX3068" fmla="*/ 4043245 w 9759834"/>
                <a:gd name="connsiteY3068" fmla="*/ 970757 h 1762127"/>
                <a:gd name="connsiteX3069" fmla="*/ 4078170 w 9759834"/>
                <a:gd name="connsiteY3069" fmla="*/ 936625 h 1762127"/>
                <a:gd name="connsiteX3070" fmla="*/ 3993240 w 9759834"/>
                <a:gd name="connsiteY3070" fmla="*/ 936625 h 1762127"/>
                <a:gd name="connsiteX3071" fmla="*/ 4027372 w 9759834"/>
                <a:gd name="connsiteY3071" fmla="*/ 970757 h 1762127"/>
                <a:gd name="connsiteX3072" fmla="*/ 3993240 w 9759834"/>
                <a:gd name="connsiteY3072" fmla="*/ 1004889 h 1762127"/>
                <a:gd name="connsiteX3073" fmla="*/ 3959108 w 9759834"/>
                <a:gd name="connsiteY3073" fmla="*/ 970757 h 1762127"/>
                <a:gd name="connsiteX3074" fmla="*/ 3993240 w 9759834"/>
                <a:gd name="connsiteY3074" fmla="*/ 936625 h 1762127"/>
                <a:gd name="connsiteX3075" fmla="*/ 3912277 w 9759834"/>
                <a:gd name="connsiteY3075" fmla="*/ 936625 h 1762127"/>
                <a:gd name="connsiteX3076" fmla="*/ 3946409 w 9759834"/>
                <a:gd name="connsiteY3076" fmla="*/ 970757 h 1762127"/>
                <a:gd name="connsiteX3077" fmla="*/ 3912277 w 9759834"/>
                <a:gd name="connsiteY3077" fmla="*/ 1004889 h 1762127"/>
                <a:gd name="connsiteX3078" fmla="*/ 3878145 w 9759834"/>
                <a:gd name="connsiteY3078" fmla="*/ 970757 h 1762127"/>
                <a:gd name="connsiteX3079" fmla="*/ 3912277 w 9759834"/>
                <a:gd name="connsiteY3079" fmla="*/ 936625 h 1762127"/>
                <a:gd name="connsiteX3080" fmla="*/ 3826552 w 9759834"/>
                <a:gd name="connsiteY3080" fmla="*/ 936625 h 1762127"/>
                <a:gd name="connsiteX3081" fmla="*/ 3860684 w 9759834"/>
                <a:gd name="connsiteY3081" fmla="*/ 970757 h 1762127"/>
                <a:gd name="connsiteX3082" fmla="*/ 3826552 w 9759834"/>
                <a:gd name="connsiteY3082" fmla="*/ 1004889 h 1762127"/>
                <a:gd name="connsiteX3083" fmla="*/ 3792420 w 9759834"/>
                <a:gd name="connsiteY3083" fmla="*/ 970757 h 1762127"/>
                <a:gd name="connsiteX3084" fmla="*/ 3826552 w 9759834"/>
                <a:gd name="connsiteY3084" fmla="*/ 936625 h 1762127"/>
                <a:gd name="connsiteX3085" fmla="*/ 3741620 w 9759834"/>
                <a:gd name="connsiteY3085" fmla="*/ 936625 h 1762127"/>
                <a:gd name="connsiteX3086" fmla="*/ 3776545 w 9759834"/>
                <a:gd name="connsiteY3086" fmla="*/ 970757 h 1762127"/>
                <a:gd name="connsiteX3087" fmla="*/ 3741620 w 9759834"/>
                <a:gd name="connsiteY3087" fmla="*/ 1004889 h 1762127"/>
                <a:gd name="connsiteX3088" fmla="*/ 3706695 w 9759834"/>
                <a:gd name="connsiteY3088" fmla="*/ 970757 h 1762127"/>
                <a:gd name="connsiteX3089" fmla="*/ 3741620 w 9759834"/>
                <a:gd name="connsiteY3089" fmla="*/ 936625 h 1762127"/>
                <a:gd name="connsiteX3090" fmla="*/ 3656690 w 9759834"/>
                <a:gd name="connsiteY3090" fmla="*/ 936625 h 1762127"/>
                <a:gd name="connsiteX3091" fmla="*/ 3690822 w 9759834"/>
                <a:gd name="connsiteY3091" fmla="*/ 970757 h 1762127"/>
                <a:gd name="connsiteX3092" fmla="*/ 3656690 w 9759834"/>
                <a:gd name="connsiteY3092" fmla="*/ 1004889 h 1762127"/>
                <a:gd name="connsiteX3093" fmla="*/ 3622558 w 9759834"/>
                <a:gd name="connsiteY3093" fmla="*/ 970757 h 1762127"/>
                <a:gd name="connsiteX3094" fmla="*/ 3656690 w 9759834"/>
                <a:gd name="connsiteY3094" fmla="*/ 936625 h 1762127"/>
                <a:gd name="connsiteX3095" fmla="*/ 3405070 w 9759834"/>
                <a:gd name="connsiteY3095" fmla="*/ 936625 h 1762127"/>
                <a:gd name="connsiteX3096" fmla="*/ 3439995 w 9759834"/>
                <a:gd name="connsiteY3096" fmla="*/ 970757 h 1762127"/>
                <a:gd name="connsiteX3097" fmla="*/ 3405070 w 9759834"/>
                <a:gd name="connsiteY3097" fmla="*/ 1004889 h 1762127"/>
                <a:gd name="connsiteX3098" fmla="*/ 3370145 w 9759834"/>
                <a:gd name="connsiteY3098" fmla="*/ 970757 h 1762127"/>
                <a:gd name="connsiteX3099" fmla="*/ 3405070 w 9759834"/>
                <a:gd name="connsiteY3099" fmla="*/ 936625 h 1762127"/>
                <a:gd name="connsiteX3100" fmla="*/ 3234415 w 9759834"/>
                <a:gd name="connsiteY3100" fmla="*/ 936625 h 1762127"/>
                <a:gd name="connsiteX3101" fmla="*/ 3268547 w 9759834"/>
                <a:gd name="connsiteY3101" fmla="*/ 970757 h 1762127"/>
                <a:gd name="connsiteX3102" fmla="*/ 3234415 w 9759834"/>
                <a:gd name="connsiteY3102" fmla="*/ 1004889 h 1762127"/>
                <a:gd name="connsiteX3103" fmla="*/ 3200283 w 9759834"/>
                <a:gd name="connsiteY3103" fmla="*/ 970757 h 1762127"/>
                <a:gd name="connsiteX3104" fmla="*/ 3234415 w 9759834"/>
                <a:gd name="connsiteY3104" fmla="*/ 936625 h 1762127"/>
                <a:gd name="connsiteX3105" fmla="*/ 3153452 w 9759834"/>
                <a:gd name="connsiteY3105" fmla="*/ 936625 h 1762127"/>
                <a:gd name="connsiteX3106" fmla="*/ 3187584 w 9759834"/>
                <a:gd name="connsiteY3106" fmla="*/ 970757 h 1762127"/>
                <a:gd name="connsiteX3107" fmla="*/ 3153452 w 9759834"/>
                <a:gd name="connsiteY3107" fmla="*/ 1004889 h 1762127"/>
                <a:gd name="connsiteX3108" fmla="*/ 3119320 w 9759834"/>
                <a:gd name="connsiteY3108" fmla="*/ 970757 h 1762127"/>
                <a:gd name="connsiteX3109" fmla="*/ 3153452 w 9759834"/>
                <a:gd name="connsiteY3109" fmla="*/ 936625 h 1762127"/>
                <a:gd name="connsiteX3110" fmla="*/ 3068520 w 9759834"/>
                <a:gd name="connsiteY3110" fmla="*/ 936625 h 1762127"/>
                <a:gd name="connsiteX3111" fmla="*/ 3103445 w 9759834"/>
                <a:gd name="connsiteY3111" fmla="*/ 970757 h 1762127"/>
                <a:gd name="connsiteX3112" fmla="*/ 3068520 w 9759834"/>
                <a:gd name="connsiteY3112" fmla="*/ 1004889 h 1762127"/>
                <a:gd name="connsiteX3113" fmla="*/ 3033595 w 9759834"/>
                <a:gd name="connsiteY3113" fmla="*/ 970757 h 1762127"/>
                <a:gd name="connsiteX3114" fmla="*/ 3068520 w 9759834"/>
                <a:gd name="connsiteY3114" fmla="*/ 936625 h 1762127"/>
                <a:gd name="connsiteX3115" fmla="*/ 2983590 w 9759834"/>
                <a:gd name="connsiteY3115" fmla="*/ 936625 h 1762127"/>
                <a:gd name="connsiteX3116" fmla="*/ 3017722 w 9759834"/>
                <a:gd name="connsiteY3116" fmla="*/ 970757 h 1762127"/>
                <a:gd name="connsiteX3117" fmla="*/ 2983590 w 9759834"/>
                <a:gd name="connsiteY3117" fmla="*/ 1004889 h 1762127"/>
                <a:gd name="connsiteX3118" fmla="*/ 2949458 w 9759834"/>
                <a:gd name="connsiteY3118" fmla="*/ 970757 h 1762127"/>
                <a:gd name="connsiteX3119" fmla="*/ 2983590 w 9759834"/>
                <a:gd name="connsiteY3119" fmla="*/ 936625 h 1762127"/>
                <a:gd name="connsiteX3120" fmla="*/ 2814521 w 9759834"/>
                <a:gd name="connsiteY3120" fmla="*/ 936625 h 1762127"/>
                <a:gd name="connsiteX3121" fmla="*/ 2851034 w 9759834"/>
                <a:gd name="connsiteY3121" fmla="*/ 970757 h 1762127"/>
                <a:gd name="connsiteX3122" fmla="*/ 2814521 w 9759834"/>
                <a:gd name="connsiteY3122" fmla="*/ 1004889 h 1762127"/>
                <a:gd name="connsiteX3123" fmla="*/ 2778008 w 9759834"/>
                <a:gd name="connsiteY3123" fmla="*/ 970757 h 1762127"/>
                <a:gd name="connsiteX3124" fmla="*/ 2814521 w 9759834"/>
                <a:gd name="connsiteY3124" fmla="*/ 936625 h 1762127"/>
                <a:gd name="connsiteX3125" fmla="*/ 2731998 w 9759834"/>
                <a:gd name="connsiteY3125" fmla="*/ 936625 h 1762127"/>
                <a:gd name="connsiteX3126" fmla="*/ 2766922 w 9759834"/>
                <a:gd name="connsiteY3126" fmla="*/ 970757 h 1762127"/>
                <a:gd name="connsiteX3127" fmla="*/ 2731998 w 9759834"/>
                <a:gd name="connsiteY3127" fmla="*/ 1004889 h 1762127"/>
                <a:gd name="connsiteX3128" fmla="*/ 2697073 w 9759834"/>
                <a:gd name="connsiteY3128" fmla="*/ 970757 h 1762127"/>
                <a:gd name="connsiteX3129" fmla="*/ 2731998 w 9759834"/>
                <a:gd name="connsiteY3129" fmla="*/ 936625 h 1762127"/>
                <a:gd name="connsiteX3130" fmla="*/ 2561352 w 9759834"/>
                <a:gd name="connsiteY3130" fmla="*/ 936625 h 1762127"/>
                <a:gd name="connsiteX3131" fmla="*/ 2595485 w 9759834"/>
                <a:gd name="connsiteY3131" fmla="*/ 970757 h 1762127"/>
                <a:gd name="connsiteX3132" fmla="*/ 2561352 w 9759834"/>
                <a:gd name="connsiteY3132" fmla="*/ 1004889 h 1762127"/>
                <a:gd name="connsiteX3133" fmla="*/ 2527220 w 9759834"/>
                <a:gd name="connsiteY3133" fmla="*/ 970757 h 1762127"/>
                <a:gd name="connsiteX3134" fmla="*/ 2561352 w 9759834"/>
                <a:gd name="connsiteY3134" fmla="*/ 936625 h 1762127"/>
                <a:gd name="connsiteX3135" fmla="*/ 2475627 w 9759834"/>
                <a:gd name="connsiteY3135" fmla="*/ 936625 h 1762127"/>
                <a:gd name="connsiteX3136" fmla="*/ 2509759 w 9759834"/>
                <a:gd name="connsiteY3136" fmla="*/ 970757 h 1762127"/>
                <a:gd name="connsiteX3137" fmla="*/ 2475627 w 9759834"/>
                <a:gd name="connsiteY3137" fmla="*/ 1004889 h 1762127"/>
                <a:gd name="connsiteX3138" fmla="*/ 2441494 w 9759834"/>
                <a:gd name="connsiteY3138" fmla="*/ 970757 h 1762127"/>
                <a:gd name="connsiteX3139" fmla="*/ 2475627 w 9759834"/>
                <a:gd name="connsiteY3139" fmla="*/ 936625 h 1762127"/>
                <a:gd name="connsiteX3140" fmla="*/ 2309735 w 9759834"/>
                <a:gd name="connsiteY3140" fmla="*/ 936625 h 1762127"/>
                <a:gd name="connsiteX3141" fmla="*/ 2344660 w 9759834"/>
                <a:gd name="connsiteY3141" fmla="*/ 970757 h 1762127"/>
                <a:gd name="connsiteX3142" fmla="*/ 2309735 w 9759834"/>
                <a:gd name="connsiteY3142" fmla="*/ 1004889 h 1762127"/>
                <a:gd name="connsiteX3143" fmla="*/ 2274810 w 9759834"/>
                <a:gd name="connsiteY3143" fmla="*/ 970757 h 1762127"/>
                <a:gd name="connsiteX3144" fmla="*/ 2309735 w 9759834"/>
                <a:gd name="connsiteY3144" fmla="*/ 936625 h 1762127"/>
                <a:gd name="connsiteX3145" fmla="*/ 2224804 w 9759834"/>
                <a:gd name="connsiteY3145" fmla="*/ 936625 h 1762127"/>
                <a:gd name="connsiteX3146" fmla="*/ 2258936 w 9759834"/>
                <a:gd name="connsiteY3146" fmla="*/ 970757 h 1762127"/>
                <a:gd name="connsiteX3147" fmla="*/ 2224804 w 9759834"/>
                <a:gd name="connsiteY3147" fmla="*/ 1004889 h 1762127"/>
                <a:gd name="connsiteX3148" fmla="*/ 2190671 w 9759834"/>
                <a:gd name="connsiteY3148" fmla="*/ 970757 h 1762127"/>
                <a:gd name="connsiteX3149" fmla="*/ 2224804 w 9759834"/>
                <a:gd name="connsiteY3149" fmla="*/ 936625 h 1762127"/>
                <a:gd name="connsiteX3150" fmla="*/ 2139055 w 9759834"/>
                <a:gd name="connsiteY3150" fmla="*/ 936625 h 1762127"/>
                <a:gd name="connsiteX3151" fmla="*/ 2173187 w 9759834"/>
                <a:gd name="connsiteY3151" fmla="*/ 970757 h 1762127"/>
                <a:gd name="connsiteX3152" fmla="*/ 2139055 w 9759834"/>
                <a:gd name="connsiteY3152" fmla="*/ 1004889 h 1762127"/>
                <a:gd name="connsiteX3153" fmla="*/ 2104924 w 9759834"/>
                <a:gd name="connsiteY3153" fmla="*/ 970757 h 1762127"/>
                <a:gd name="connsiteX3154" fmla="*/ 2139055 w 9759834"/>
                <a:gd name="connsiteY3154" fmla="*/ 936625 h 1762127"/>
                <a:gd name="connsiteX3155" fmla="*/ 1888238 w 9759834"/>
                <a:gd name="connsiteY3155" fmla="*/ 936625 h 1762127"/>
                <a:gd name="connsiteX3156" fmla="*/ 1922370 w 9759834"/>
                <a:gd name="connsiteY3156" fmla="*/ 970757 h 1762127"/>
                <a:gd name="connsiteX3157" fmla="*/ 1888238 w 9759834"/>
                <a:gd name="connsiteY3157" fmla="*/ 1004889 h 1762127"/>
                <a:gd name="connsiteX3158" fmla="*/ 1854106 w 9759834"/>
                <a:gd name="connsiteY3158" fmla="*/ 970757 h 1762127"/>
                <a:gd name="connsiteX3159" fmla="*/ 1888238 w 9759834"/>
                <a:gd name="connsiteY3159" fmla="*/ 936625 h 1762127"/>
                <a:gd name="connsiteX3160" fmla="*/ 1802514 w 9759834"/>
                <a:gd name="connsiteY3160" fmla="*/ 936625 h 1762127"/>
                <a:gd name="connsiteX3161" fmla="*/ 1836646 w 9759834"/>
                <a:gd name="connsiteY3161" fmla="*/ 970757 h 1762127"/>
                <a:gd name="connsiteX3162" fmla="*/ 1802514 w 9759834"/>
                <a:gd name="connsiteY3162" fmla="*/ 1004889 h 1762127"/>
                <a:gd name="connsiteX3163" fmla="*/ 1768382 w 9759834"/>
                <a:gd name="connsiteY3163" fmla="*/ 970757 h 1762127"/>
                <a:gd name="connsiteX3164" fmla="*/ 1802514 w 9759834"/>
                <a:gd name="connsiteY3164" fmla="*/ 936625 h 1762127"/>
                <a:gd name="connsiteX3165" fmla="*/ 1719169 w 9759834"/>
                <a:gd name="connsiteY3165" fmla="*/ 936625 h 1762127"/>
                <a:gd name="connsiteX3166" fmla="*/ 1755682 w 9759834"/>
                <a:gd name="connsiteY3166" fmla="*/ 970757 h 1762127"/>
                <a:gd name="connsiteX3167" fmla="*/ 1719169 w 9759834"/>
                <a:gd name="connsiteY3167" fmla="*/ 1004889 h 1762127"/>
                <a:gd name="connsiteX3168" fmla="*/ 1682656 w 9759834"/>
                <a:gd name="connsiteY3168" fmla="*/ 970757 h 1762127"/>
                <a:gd name="connsiteX3169" fmla="*/ 1719169 w 9759834"/>
                <a:gd name="connsiteY3169" fmla="*/ 936625 h 1762127"/>
                <a:gd name="connsiteX3170" fmla="*/ 1636603 w 9759834"/>
                <a:gd name="connsiteY3170" fmla="*/ 936625 h 1762127"/>
                <a:gd name="connsiteX3171" fmla="*/ 1671528 w 9759834"/>
                <a:gd name="connsiteY3171" fmla="*/ 970757 h 1762127"/>
                <a:gd name="connsiteX3172" fmla="*/ 1636603 w 9759834"/>
                <a:gd name="connsiteY3172" fmla="*/ 1004889 h 1762127"/>
                <a:gd name="connsiteX3173" fmla="*/ 1601678 w 9759834"/>
                <a:gd name="connsiteY3173" fmla="*/ 970757 h 1762127"/>
                <a:gd name="connsiteX3174" fmla="*/ 1636603 w 9759834"/>
                <a:gd name="connsiteY3174" fmla="*/ 936625 h 1762127"/>
                <a:gd name="connsiteX3175" fmla="*/ 1551672 w 9759834"/>
                <a:gd name="connsiteY3175" fmla="*/ 936625 h 1762127"/>
                <a:gd name="connsiteX3176" fmla="*/ 1585804 w 9759834"/>
                <a:gd name="connsiteY3176" fmla="*/ 970757 h 1762127"/>
                <a:gd name="connsiteX3177" fmla="*/ 1551672 w 9759834"/>
                <a:gd name="connsiteY3177" fmla="*/ 1004889 h 1762127"/>
                <a:gd name="connsiteX3178" fmla="*/ 1517540 w 9759834"/>
                <a:gd name="connsiteY3178" fmla="*/ 970757 h 1762127"/>
                <a:gd name="connsiteX3179" fmla="*/ 1551672 w 9759834"/>
                <a:gd name="connsiteY3179" fmla="*/ 936625 h 1762127"/>
                <a:gd name="connsiteX3180" fmla="*/ 1465946 w 9759834"/>
                <a:gd name="connsiteY3180" fmla="*/ 936625 h 1762127"/>
                <a:gd name="connsiteX3181" fmla="*/ 1500078 w 9759834"/>
                <a:gd name="connsiteY3181" fmla="*/ 970757 h 1762127"/>
                <a:gd name="connsiteX3182" fmla="*/ 1465946 w 9759834"/>
                <a:gd name="connsiteY3182" fmla="*/ 1004889 h 1762127"/>
                <a:gd name="connsiteX3183" fmla="*/ 1431814 w 9759834"/>
                <a:gd name="connsiteY3183" fmla="*/ 970757 h 1762127"/>
                <a:gd name="connsiteX3184" fmla="*/ 1465946 w 9759834"/>
                <a:gd name="connsiteY3184" fmla="*/ 936625 h 1762127"/>
                <a:gd name="connsiteX3185" fmla="*/ 1380229 w 9759834"/>
                <a:gd name="connsiteY3185" fmla="*/ 936625 h 1762127"/>
                <a:gd name="connsiteX3186" fmla="*/ 1414361 w 9759834"/>
                <a:gd name="connsiteY3186" fmla="*/ 970757 h 1762127"/>
                <a:gd name="connsiteX3187" fmla="*/ 1380229 w 9759834"/>
                <a:gd name="connsiteY3187" fmla="*/ 1004889 h 1762127"/>
                <a:gd name="connsiteX3188" fmla="*/ 1346096 w 9759834"/>
                <a:gd name="connsiteY3188" fmla="*/ 970757 h 1762127"/>
                <a:gd name="connsiteX3189" fmla="*/ 1380229 w 9759834"/>
                <a:gd name="connsiteY3189" fmla="*/ 936625 h 1762127"/>
                <a:gd name="connsiteX3190" fmla="*/ 1300222 w 9759834"/>
                <a:gd name="connsiteY3190" fmla="*/ 936625 h 1762127"/>
                <a:gd name="connsiteX3191" fmla="*/ 1335148 w 9759834"/>
                <a:gd name="connsiteY3191" fmla="*/ 970757 h 1762127"/>
                <a:gd name="connsiteX3192" fmla="*/ 1300222 w 9759834"/>
                <a:gd name="connsiteY3192" fmla="*/ 1004889 h 1762127"/>
                <a:gd name="connsiteX3193" fmla="*/ 1265297 w 9759834"/>
                <a:gd name="connsiteY3193" fmla="*/ 970757 h 1762127"/>
                <a:gd name="connsiteX3194" fmla="*/ 1300222 w 9759834"/>
                <a:gd name="connsiteY3194" fmla="*/ 936625 h 1762127"/>
                <a:gd name="connsiteX3195" fmla="*/ 1214500 w 9759834"/>
                <a:gd name="connsiteY3195" fmla="*/ 936625 h 1762127"/>
                <a:gd name="connsiteX3196" fmla="*/ 1249422 w 9759834"/>
                <a:gd name="connsiteY3196" fmla="*/ 970757 h 1762127"/>
                <a:gd name="connsiteX3197" fmla="*/ 1214500 w 9759834"/>
                <a:gd name="connsiteY3197" fmla="*/ 1004889 h 1762127"/>
                <a:gd name="connsiteX3198" fmla="*/ 1179573 w 9759834"/>
                <a:gd name="connsiteY3198" fmla="*/ 970757 h 1762127"/>
                <a:gd name="connsiteX3199" fmla="*/ 1214500 w 9759834"/>
                <a:gd name="connsiteY3199" fmla="*/ 936625 h 1762127"/>
                <a:gd name="connsiteX3200" fmla="*/ 707116 w 9759834"/>
                <a:gd name="connsiteY3200" fmla="*/ 936625 h 1762127"/>
                <a:gd name="connsiteX3201" fmla="*/ 741248 w 9759834"/>
                <a:gd name="connsiteY3201" fmla="*/ 970757 h 1762127"/>
                <a:gd name="connsiteX3202" fmla="*/ 707116 w 9759834"/>
                <a:gd name="connsiteY3202" fmla="*/ 1004889 h 1762127"/>
                <a:gd name="connsiteX3203" fmla="*/ 672984 w 9759834"/>
                <a:gd name="connsiteY3203" fmla="*/ 970757 h 1762127"/>
                <a:gd name="connsiteX3204" fmla="*/ 707116 w 9759834"/>
                <a:gd name="connsiteY3204" fmla="*/ 936625 h 1762127"/>
                <a:gd name="connsiteX3205" fmla="*/ 9389152 w 9759834"/>
                <a:gd name="connsiteY3205" fmla="*/ 849313 h 1762127"/>
                <a:gd name="connsiteX3206" fmla="*/ 9423284 w 9759834"/>
                <a:gd name="connsiteY3206" fmla="*/ 884238 h 1762127"/>
                <a:gd name="connsiteX3207" fmla="*/ 9389152 w 9759834"/>
                <a:gd name="connsiteY3207" fmla="*/ 919163 h 1762127"/>
                <a:gd name="connsiteX3208" fmla="*/ 9355020 w 9759834"/>
                <a:gd name="connsiteY3208" fmla="*/ 884238 h 1762127"/>
                <a:gd name="connsiteX3209" fmla="*/ 9389152 w 9759834"/>
                <a:gd name="connsiteY3209" fmla="*/ 849313 h 1762127"/>
                <a:gd name="connsiteX3210" fmla="*/ 9138327 w 9759834"/>
                <a:gd name="connsiteY3210" fmla="*/ 849313 h 1762127"/>
                <a:gd name="connsiteX3211" fmla="*/ 9172459 w 9759834"/>
                <a:gd name="connsiteY3211" fmla="*/ 884238 h 1762127"/>
                <a:gd name="connsiteX3212" fmla="*/ 9138327 w 9759834"/>
                <a:gd name="connsiteY3212" fmla="*/ 919163 h 1762127"/>
                <a:gd name="connsiteX3213" fmla="*/ 9104195 w 9759834"/>
                <a:gd name="connsiteY3213" fmla="*/ 884238 h 1762127"/>
                <a:gd name="connsiteX3214" fmla="*/ 9138327 w 9759834"/>
                <a:gd name="connsiteY3214" fmla="*/ 849313 h 1762127"/>
                <a:gd name="connsiteX3215" fmla="*/ 9052602 w 9759834"/>
                <a:gd name="connsiteY3215" fmla="*/ 849313 h 1762127"/>
                <a:gd name="connsiteX3216" fmla="*/ 9086734 w 9759834"/>
                <a:gd name="connsiteY3216" fmla="*/ 884238 h 1762127"/>
                <a:gd name="connsiteX3217" fmla="*/ 9052602 w 9759834"/>
                <a:gd name="connsiteY3217" fmla="*/ 919163 h 1762127"/>
                <a:gd name="connsiteX3218" fmla="*/ 9018470 w 9759834"/>
                <a:gd name="connsiteY3218" fmla="*/ 884238 h 1762127"/>
                <a:gd name="connsiteX3219" fmla="*/ 9052602 w 9759834"/>
                <a:gd name="connsiteY3219" fmla="*/ 849313 h 1762127"/>
                <a:gd name="connsiteX3220" fmla="*/ 8966877 w 9759834"/>
                <a:gd name="connsiteY3220" fmla="*/ 849313 h 1762127"/>
                <a:gd name="connsiteX3221" fmla="*/ 9001009 w 9759834"/>
                <a:gd name="connsiteY3221" fmla="*/ 884238 h 1762127"/>
                <a:gd name="connsiteX3222" fmla="*/ 8966877 w 9759834"/>
                <a:gd name="connsiteY3222" fmla="*/ 919163 h 1762127"/>
                <a:gd name="connsiteX3223" fmla="*/ 8932745 w 9759834"/>
                <a:gd name="connsiteY3223" fmla="*/ 884238 h 1762127"/>
                <a:gd name="connsiteX3224" fmla="*/ 8966877 w 9759834"/>
                <a:gd name="connsiteY3224" fmla="*/ 849313 h 1762127"/>
                <a:gd name="connsiteX3225" fmla="*/ 8884327 w 9759834"/>
                <a:gd name="connsiteY3225" fmla="*/ 849313 h 1762127"/>
                <a:gd name="connsiteX3226" fmla="*/ 8921634 w 9759834"/>
                <a:gd name="connsiteY3226" fmla="*/ 884238 h 1762127"/>
                <a:gd name="connsiteX3227" fmla="*/ 8884327 w 9759834"/>
                <a:gd name="connsiteY3227" fmla="*/ 919163 h 1762127"/>
                <a:gd name="connsiteX3228" fmla="*/ 8847020 w 9759834"/>
                <a:gd name="connsiteY3228" fmla="*/ 884238 h 1762127"/>
                <a:gd name="connsiteX3229" fmla="*/ 8884327 w 9759834"/>
                <a:gd name="connsiteY3229" fmla="*/ 849313 h 1762127"/>
                <a:gd name="connsiteX3230" fmla="*/ 8801777 w 9759834"/>
                <a:gd name="connsiteY3230" fmla="*/ 849313 h 1762127"/>
                <a:gd name="connsiteX3231" fmla="*/ 8835909 w 9759834"/>
                <a:gd name="connsiteY3231" fmla="*/ 884238 h 1762127"/>
                <a:gd name="connsiteX3232" fmla="*/ 8801777 w 9759834"/>
                <a:gd name="connsiteY3232" fmla="*/ 919163 h 1762127"/>
                <a:gd name="connsiteX3233" fmla="*/ 8767645 w 9759834"/>
                <a:gd name="connsiteY3233" fmla="*/ 884238 h 1762127"/>
                <a:gd name="connsiteX3234" fmla="*/ 8801777 w 9759834"/>
                <a:gd name="connsiteY3234" fmla="*/ 849313 h 1762127"/>
                <a:gd name="connsiteX3235" fmla="*/ 8716052 w 9759834"/>
                <a:gd name="connsiteY3235" fmla="*/ 849313 h 1762127"/>
                <a:gd name="connsiteX3236" fmla="*/ 8750184 w 9759834"/>
                <a:gd name="connsiteY3236" fmla="*/ 884238 h 1762127"/>
                <a:gd name="connsiteX3237" fmla="*/ 8716052 w 9759834"/>
                <a:gd name="connsiteY3237" fmla="*/ 919163 h 1762127"/>
                <a:gd name="connsiteX3238" fmla="*/ 8681920 w 9759834"/>
                <a:gd name="connsiteY3238" fmla="*/ 884238 h 1762127"/>
                <a:gd name="connsiteX3239" fmla="*/ 8716052 w 9759834"/>
                <a:gd name="connsiteY3239" fmla="*/ 849313 h 1762127"/>
                <a:gd name="connsiteX3240" fmla="*/ 8630327 w 9759834"/>
                <a:gd name="connsiteY3240" fmla="*/ 849313 h 1762127"/>
                <a:gd name="connsiteX3241" fmla="*/ 8664459 w 9759834"/>
                <a:gd name="connsiteY3241" fmla="*/ 884238 h 1762127"/>
                <a:gd name="connsiteX3242" fmla="*/ 8630327 w 9759834"/>
                <a:gd name="connsiteY3242" fmla="*/ 919163 h 1762127"/>
                <a:gd name="connsiteX3243" fmla="*/ 8596195 w 9759834"/>
                <a:gd name="connsiteY3243" fmla="*/ 884238 h 1762127"/>
                <a:gd name="connsiteX3244" fmla="*/ 8630327 w 9759834"/>
                <a:gd name="connsiteY3244" fmla="*/ 849313 h 1762127"/>
                <a:gd name="connsiteX3245" fmla="*/ 8544602 w 9759834"/>
                <a:gd name="connsiteY3245" fmla="*/ 849313 h 1762127"/>
                <a:gd name="connsiteX3246" fmla="*/ 8578734 w 9759834"/>
                <a:gd name="connsiteY3246" fmla="*/ 884238 h 1762127"/>
                <a:gd name="connsiteX3247" fmla="*/ 8544602 w 9759834"/>
                <a:gd name="connsiteY3247" fmla="*/ 919163 h 1762127"/>
                <a:gd name="connsiteX3248" fmla="*/ 8510470 w 9759834"/>
                <a:gd name="connsiteY3248" fmla="*/ 884238 h 1762127"/>
                <a:gd name="connsiteX3249" fmla="*/ 8544602 w 9759834"/>
                <a:gd name="connsiteY3249" fmla="*/ 849313 h 1762127"/>
                <a:gd name="connsiteX3250" fmla="*/ 8465227 w 9759834"/>
                <a:gd name="connsiteY3250" fmla="*/ 849313 h 1762127"/>
                <a:gd name="connsiteX3251" fmla="*/ 8499359 w 9759834"/>
                <a:gd name="connsiteY3251" fmla="*/ 884238 h 1762127"/>
                <a:gd name="connsiteX3252" fmla="*/ 8465227 w 9759834"/>
                <a:gd name="connsiteY3252" fmla="*/ 919163 h 1762127"/>
                <a:gd name="connsiteX3253" fmla="*/ 8431095 w 9759834"/>
                <a:gd name="connsiteY3253" fmla="*/ 884238 h 1762127"/>
                <a:gd name="connsiteX3254" fmla="*/ 8465227 w 9759834"/>
                <a:gd name="connsiteY3254" fmla="*/ 849313 h 1762127"/>
                <a:gd name="connsiteX3255" fmla="*/ 8379502 w 9759834"/>
                <a:gd name="connsiteY3255" fmla="*/ 849313 h 1762127"/>
                <a:gd name="connsiteX3256" fmla="*/ 8413634 w 9759834"/>
                <a:gd name="connsiteY3256" fmla="*/ 884238 h 1762127"/>
                <a:gd name="connsiteX3257" fmla="*/ 8379502 w 9759834"/>
                <a:gd name="connsiteY3257" fmla="*/ 919163 h 1762127"/>
                <a:gd name="connsiteX3258" fmla="*/ 8345370 w 9759834"/>
                <a:gd name="connsiteY3258" fmla="*/ 884238 h 1762127"/>
                <a:gd name="connsiteX3259" fmla="*/ 8379502 w 9759834"/>
                <a:gd name="connsiteY3259" fmla="*/ 849313 h 1762127"/>
                <a:gd name="connsiteX3260" fmla="*/ 8293777 w 9759834"/>
                <a:gd name="connsiteY3260" fmla="*/ 849313 h 1762127"/>
                <a:gd name="connsiteX3261" fmla="*/ 8327909 w 9759834"/>
                <a:gd name="connsiteY3261" fmla="*/ 884238 h 1762127"/>
                <a:gd name="connsiteX3262" fmla="*/ 8293777 w 9759834"/>
                <a:gd name="connsiteY3262" fmla="*/ 919163 h 1762127"/>
                <a:gd name="connsiteX3263" fmla="*/ 8259645 w 9759834"/>
                <a:gd name="connsiteY3263" fmla="*/ 884238 h 1762127"/>
                <a:gd name="connsiteX3264" fmla="*/ 8293777 w 9759834"/>
                <a:gd name="connsiteY3264" fmla="*/ 849313 h 1762127"/>
                <a:gd name="connsiteX3265" fmla="*/ 8208052 w 9759834"/>
                <a:gd name="connsiteY3265" fmla="*/ 849313 h 1762127"/>
                <a:gd name="connsiteX3266" fmla="*/ 8242184 w 9759834"/>
                <a:gd name="connsiteY3266" fmla="*/ 884238 h 1762127"/>
                <a:gd name="connsiteX3267" fmla="*/ 8208052 w 9759834"/>
                <a:gd name="connsiteY3267" fmla="*/ 919163 h 1762127"/>
                <a:gd name="connsiteX3268" fmla="*/ 8173920 w 9759834"/>
                <a:gd name="connsiteY3268" fmla="*/ 884238 h 1762127"/>
                <a:gd name="connsiteX3269" fmla="*/ 8208052 w 9759834"/>
                <a:gd name="connsiteY3269" fmla="*/ 849313 h 1762127"/>
                <a:gd name="connsiteX3270" fmla="*/ 8125502 w 9759834"/>
                <a:gd name="connsiteY3270" fmla="*/ 849313 h 1762127"/>
                <a:gd name="connsiteX3271" fmla="*/ 8162809 w 9759834"/>
                <a:gd name="connsiteY3271" fmla="*/ 884238 h 1762127"/>
                <a:gd name="connsiteX3272" fmla="*/ 8125502 w 9759834"/>
                <a:gd name="connsiteY3272" fmla="*/ 919163 h 1762127"/>
                <a:gd name="connsiteX3273" fmla="*/ 8088195 w 9759834"/>
                <a:gd name="connsiteY3273" fmla="*/ 884238 h 1762127"/>
                <a:gd name="connsiteX3274" fmla="*/ 8125502 w 9759834"/>
                <a:gd name="connsiteY3274" fmla="*/ 849313 h 1762127"/>
                <a:gd name="connsiteX3275" fmla="*/ 8042952 w 9759834"/>
                <a:gd name="connsiteY3275" fmla="*/ 849313 h 1762127"/>
                <a:gd name="connsiteX3276" fmla="*/ 8077084 w 9759834"/>
                <a:gd name="connsiteY3276" fmla="*/ 884238 h 1762127"/>
                <a:gd name="connsiteX3277" fmla="*/ 8042952 w 9759834"/>
                <a:gd name="connsiteY3277" fmla="*/ 919163 h 1762127"/>
                <a:gd name="connsiteX3278" fmla="*/ 8008820 w 9759834"/>
                <a:gd name="connsiteY3278" fmla="*/ 884238 h 1762127"/>
                <a:gd name="connsiteX3279" fmla="*/ 8042952 w 9759834"/>
                <a:gd name="connsiteY3279" fmla="*/ 849313 h 1762127"/>
                <a:gd name="connsiteX3280" fmla="*/ 7957227 w 9759834"/>
                <a:gd name="connsiteY3280" fmla="*/ 849313 h 1762127"/>
                <a:gd name="connsiteX3281" fmla="*/ 7991359 w 9759834"/>
                <a:gd name="connsiteY3281" fmla="*/ 884238 h 1762127"/>
                <a:gd name="connsiteX3282" fmla="*/ 7957227 w 9759834"/>
                <a:gd name="connsiteY3282" fmla="*/ 919163 h 1762127"/>
                <a:gd name="connsiteX3283" fmla="*/ 7923095 w 9759834"/>
                <a:gd name="connsiteY3283" fmla="*/ 884238 h 1762127"/>
                <a:gd name="connsiteX3284" fmla="*/ 7957227 w 9759834"/>
                <a:gd name="connsiteY3284" fmla="*/ 849313 h 1762127"/>
                <a:gd name="connsiteX3285" fmla="*/ 7871502 w 9759834"/>
                <a:gd name="connsiteY3285" fmla="*/ 849313 h 1762127"/>
                <a:gd name="connsiteX3286" fmla="*/ 7905634 w 9759834"/>
                <a:gd name="connsiteY3286" fmla="*/ 884238 h 1762127"/>
                <a:gd name="connsiteX3287" fmla="*/ 7871502 w 9759834"/>
                <a:gd name="connsiteY3287" fmla="*/ 919163 h 1762127"/>
                <a:gd name="connsiteX3288" fmla="*/ 7837370 w 9759834"/>
                <a:gd name="connsiteY3288" fmla="*/ 884238 h 1762127"/>
                <a:gd name="connsiteX3289" fmla="*/ 7871502 w 9759834"/>
                <a:gd name="connsiteY3289" fmla="*/ 849313 h 1762127"/>
                <a:gd name="connsiteX3290" fmla="*/ 7785777 w 9759834"/>
                <a:gd name="connsiteY3290" fmla="*/ 849313 h 1762127"/>
                <a:gd name="connsiteX3291" fmla="*/ 7819909 w 9759834"/>
                <a:gd name="connsiteY3291" fmla="*/ 884238 h 1762127"/>
                <a:gd name="connsiteX3292" fmla="*/ 7785777 w 9759834"/>
                <a:gd name="connsiteY3292" fmla="*/ 919163 h 1762127"/>
                <a:gd name="connsiteX3293" fmla="*/ 7751645 w 9759834"/>
                <a:gd name="connsiteY3293" fmla="*/ 884238 h 1762127"/>
                <a:gd name="connsiteX3294" fmla="*/ 7785777 w 9759834"/>
                <a:gd name="connsiteY3294" fmla="*/ 849313 h 1762127"/>
                <a:gd name="connsiteX3295" fmla="*/ 7706402 w 9759834"/>
                <a:gd name="connsiteY3295" fmla="*/ 849313 h 1762127"/>
                <a:gd name="connsiteX3296" fmla="*/ 7740534 w 9759834"/>
                <a:gd name="connsiteY3296" fmla="*/ 884238 h 1762127"/>
                <a:gd name="connsiteX3297" fmla="*/ 7706402 w 9759834"/>
                <a:gd name="connsiteY3297" fmla="*/ 919163 h 1762127"/>
                <a:gd name="connsiteX3298" fmla="*/ 7672270 w 9759834"/>
                <a:gd name="connsiteY3298" fmla="*/ 884238 h 1762127"/>
                <a:gd name="connsiteX3299" fmla="*/ 7706402 w 9759834"/>
                <a:gd name="connsiteY3299" fmla="*/ 849313 h 1762127"/>
                <a:gd name="connsiteX3300" fmla="*/ 7620677 w 9759834"/>
                <a:gd name="connsiteY3300" fmla="*/ 849313 h 1762127"/>
                <a:gd name="connsiteX3301" fmla="*/ 7654809 w 9759834"/>
                <a:gd name="connsiteY3301" fmla="*/ 884238 h 1762127"/>
                <a:gd name="connsiteX3302" fmla="*/ 7620677 w 9759834"/>
                <a:gd name="connsiteY3302" fmla="*/ 919163 h 1762127"/>
                <a:gd name="connsiteX3303" fmla="*/ 7586545 w 9759834"/>
                <a:gd name="connsiteY3303" fmla="*/ 884238 h 1762127"/>
                <a:gd name="connsiteX3304" fmla="*/ 7620677 w 9759834"/>
                <a:gd name="connsiteY3304" fmla="*/ 849313 h 1762127"/>
                <a:gd name="connsiteX3305" fmla="*/ 7534952 w 9759834"/>
                <a:gd name="connsiteY3305" fmla="*/ 849313 h 1762127"/>
                <a:gd name="connsiteX3306" fmla="*/ 7569084 w 9759834"/>
                <a:gd name="connsiteY3306" fmla="*/ 884238 h 1762127"/>
                <a:gd name="connsiteX3307" fmla="*/ 7534952 w 9759834"/>
                <a:gd name="connsiteY3307" fmla="*/ 919163 h 1762127"/>
                <a:gd name="connsiteX3308" fmla="*/ 7500820 w 9759834"/>
                <a:gd name="connsiteY3308" fmla="*/ 884238 h 1762127"/>
                <a:gd name="connsiteX3309" fmla="*/ 7534952 w 9759834"/>
                <a:gd name="connsiteY3309" fmla="*/ 849313 h 1762127"/>
                <a:gd name="connsiteX3310" fmla="*/ 7449227 w 9759834"/>
                <a:gd name="connsiteY3310" fmla="*/ 849313 h 1762127"/>
                <a:gd name="connsiteX3311" fmla="*/ 7483359 w 9759834"/>
                <a:gd name="connsiteY3311" fmla="*/ 884238 h 1762127"/>
                <a:gd name="connsiteX3312" fmla="*/ 7449227 w 9759834"/>
                <a:gd name="connsiteY3312" fmla="*/ 919163 h 1762127"/>
                <a:gd name="connsiteX3313" fmla="*/ 7415095 w 9759834"/>
                <a:gd name="connsiteY3313" fmla="*/ 884238 h 1762127"/>
                <a:gd name="connsiteX3314" fmla="*/ 7449227 w 9759834"/>
                <a:gd name="connsiteY3314" fmla="*/ 849313 h 1762127"/>
                <a:gd name="connsiteX3315" fmla="*/ 7366677 w 9759834"/>
                <a:gd name="connsiteY3315" fmla="*/ 849313 h 1762127"/>
                <a:gd name="connsiteX3316" fmla="*/ 7403984 w 9759834"/>
                <a:gd name="connsiteY3316" fmla="*/ 884238 h 1762127"/>
                <a:gd name="connsiteX3317" fmla="*/ 7366677 w 9759834"/>
                <a:gd name="connsiteY3317" fmla="*/ 919163 h 1762127"/>
                <a:gd name="connsiteX3318" fmla="*/ 7329370 w 9759834"/>
                <a:gd name="connsiteY3318" fmla="*/ 884238 h 1762127"/>
                <a:gd name="connsiteX3319" fmla="*/ 7366677 w 9759834"/>
                <a:gd name="connsiteY3319" fmla="*/ 849313 h 1762127"/>
                <a:gd name="connsiteX3320" fmla="*/ 7284127 w 9759834"/>
                <a:gd name="connsiteY3320" fmla="*/ 849313 h 1762127"/>
                <a:gd name="connsiteX3321" fmla="*/ 7318259 w 9759834"/>
                <a:gd name="connsiteY3321" fmla="*/ 884238 h 1762127"/>
                <a:gd name="connsiteX3322" fmla="*/ 7284127 w 9759834"/>
                <a:gd name="connsiteY3322" fmla="*/ 919163 h 1762127"/>
                <a:gd name="connsiteX3323" fmla="*/ 7249995 w 9759834"/>
                <a:gd name="connsiteY3323" fmla="*/ 884238 h 1762127"/>
                <a:gd name="connsiteX3324" fmla="*/ 7284127 w 9759834"/>
                <a:gd name="connsiteY3324" fmla="*/ 849313 h 1762127"/>
                <a:gd name="connsiteX3325" fmla="*/ 7198402 w 9759834"/>
                <a:gd name="connsiteY3325" fmla="*/ 849313 h 1762127"/>
                <a:gd name="connsiteX3326" fmla="*/ 7232534 w 9759834"/>
                <a:gd name="connsiteY3326" fmla="*/ 884238 h 1762127"/>
                <a:gd name="connsiteX3327" fmla="*/ 7198402 w 9759834"/>
                <a:gd name="connsiteY3327" fmla="*/ 919163 h 1762127"/>
                <a:gd name="connsiteX3328" fmla="*/ 7164270 w 9759834"/>
                <a:gd name="connsiteY3328" fmla="*/ 884238 h 1762127"/>
                <a:gd name="connsiteX3329" fmla="*/ 7198402 w 9759834"/>
                <a:gd name="connsiteY3329" fmla="*/ 849313 h 1762127"/>
                <a:gd name="connsiteX3330" fmla="*/ 7112677 w 9759834"/>
                <a:gd name="connsiteY3330" fmla="*/ 849313 h 1762127"/>
                <a:gd name="connsiteX3331" fmla="*/ 7146809 w 9759834"/>
                <a:gd name="connsiteY3331" fmla="*/ 884238 h 1762127"/>
                <a:gd name="connsiteX3332" fmla="*/ 7112677 w 9759834"/>
                <a:gd name="connsiteY3332" fmla="*/ 919163 h 1762127"/>
                <a:gd name="connsiteX3333" fmla="*/ 7078545 w 9759834"/>
                <a:gd name="connsiteY3333" fmla="*/ 884238 h 1762127"/>
                <a:gd name="connsiteX3334" fmla="*/ 7112677 w 9759834"/>
                <a:gd name="connsiteY3334" fmla="*/ 849313 h 1762127"/>
                <a:gd name="connsiteX3335" fmla="*/ 7027745 w 9759834"/>
                <a:gd name="connsiteY3335" fmla="*/ 849313 h 1762127"/>
                <a:gd name="connsiteX3336" fmla="*/ 7062670 w 9759834"/>
                <a:gd name="connsiteY3336" fmla="*/ 884238 h 1762127"/>
                <a:gd name="connsiteX3337" fmla="*/ 7027745 w 9759834"/>
                <a:gd name="connsiteY3337" fmla="*/ 919163 h 1762127"/>
                <a:gd name="connsiteX3338" fmla="*/ 6992820 w 9759834"/>
                <a:gd name="connsiteY3338" fmla="*/ 884238 h 1762127"/>
                <a:gd name="connsiteX3339" fmla="*/ 7027745 w 9759834"/>
                <a:gd name="connsiteY3339" fmla="*/ 849313 h 1762127"/>
                <a:gd name="connsiteX3340" fmla="*/ 6947577 w 9759834"/>
                <a:gd name="connsiteY3340" fmla="*/ 849313 h 1762127"/>
                <a:gd name="connsiteX3341" fmla="*/ 6981709 w 9759834"/>
                <a:gd name="connsiteY3341" fmla="*/ 884238 h 1762127"/>
                <a:gd name="connsiteX3342" fmla="*/ 6947577 w 9759834"/>
                <a:gd name="connsiteY3342" fmla="*/ 919163 h 1762127"/>
                <a:gd name="connsiteX3343" fmla="*/ 6913445 w 9759834"/>
                <a:gd name="connsiteY3343" fmla="*/ 884238 h 1762127"/>
                <a:gd name="connsiteX3344" fmla="*/ 6947577 w 9759834"/>
                <a:gd name="connsiteY3344" fmla="*/ 849313 h 1762127"/>
                <a:gd name="connsiteX3345" fmla="*/ 6861852 w 9759834"/>
                <a:gd name="connsiteY3345" fmla="*/ 849313 h 1762127"/>
                <a:gd name="connsiteX3346" fmla="*/ 6895984 w 9759834"/>
                <a:gd name="connsiteY3346" fmla="*/ 884238 h 1762127"/>
                <a:gd name="connsiteX3347" fmla="*/ 6861852 w 9759834"/>
                <a:gd name="connsiteY3347" fmla="*/ 919163 h 1762127"/>
                <a:gd name="connsiteX3348" fmla="*/ 6827720 w 9759834"/>
                <a:gd name="connsiteY3348" fmla="*/ 884238 h 1762127"/>
                <a:gd name="connsiteX3349" fmla="*/ 6861852 w 9759834"/>
                <a:gd name="connsiteY3349" fmla="*/ 849313 h 1762127"/>
                <a:gd name="connsiteX3350" fmla="*/ 6691195 w 9759834"/>
                <a:gd name="connsiteY3350" fmla="*/ 849313 h 1762127"/>
                <a:gd name="connsiteX3351" fmla="*/ 6726120 w 9759834"/>
                <a:gd name="connsiteY3351" fmla="*/ 884238 h 1762127"/>
                <a:gd name="connsiteX3352" fmla="*/ 6691195 w 9759834"/>
                <a:gd name="connsiteY3352" fmla="*/ 919163 h 1762127"/>
                <a:gd name="connsiteX3353" fmla="*/ 6656270 w 9759834"/>
                <a:gd name="connsiteY3353" fmla="*/ 884238 h 1762127"/>
                <a:gd name="connsiteX3354" fmla="*/ 6691195 w 9759834"/>
                <a:gd name="connsiteY3354" fmla="*/ 849313 h 1762127"/>
                <a:gd name="connsiteX3355" fmla="*/ 6607852 w 9759834"/>
                <a:gd name="connsiteY3355" fmla="*/ 849313 h 1762127"/>
                <a:gd name="connsiteX3356" fmla="*/ 6645159 w 9759834"/>
                <a:gd name="connsiteY3356" fmla="*/ 884238 h 1762127"/>
                <a:gd name="connsiteX3357" fmla="*/ 6607852 w 9759834"/>
                <a:gd name="connsiteY3357" fmla="*/ 919163 h 1762127"/>
                <a:gd name="connsiteX3358" fmla="*/ 6570545 w 9759834"/>
                <a:gd name="connsiteY3358" fmla="*/ 884238 h 1762127"/>
                <a:gd name="connsiteX3359" fmla="*/ 6607852 w 9759834"/>
                <a:gd name="connsiteY3359" fmla="*/ 849313 h 1762127"/>
                <a:gd name="connsiteX3360" fmla="*/ 6525302 w 9759834"/>
                <a:gd name="connsiteY3360" fmla="*/ 849313 h 1762127"/>
                <a:gd name="connsiteX3361" fmla="*/ 6559434 w 9759834"/>
                <a:gd name="connsiteY3361" fmla="*/ 884238 h 1762127"/>
                <a:gd name="connsiteX3362" fmla="*/ 6525302 w 9759834"/>
                <a:gd name="connsiteY3362" fmla="*/ 919163 h 1762127"/>
                <a:gd name="connsiteX3363" fmla="*/ 6491170 w 9759834"/>
                <a:gd name="connsiteY3363" fmla="*/ 884238 h 1762127"/>
                <a:gd name="connsiteX3364" fmla="*/ 6525302 w 9759834"/>
                <a:gd name="connsiteY3364" fmla="*/ 849313 h 1762127"/>
                <a:gd name="connsiteX3365" fmla="*/ 6439577 w 9759834"/>
                <a:gd name="connsiteY3365" fmla="*/ 849313 h 1762127"/>
                <a:gd name="connsiteX3366" fmla="*/ 6473709 w 9759834"/>
                <a:gd name="connsiteY3366" fmla="*/ 884238 h 1762127"/>
                <a:gd name="connsiteX3367" fmla="*/ 6439577 w 9759834"/>
                <a:gd name="connsiteY3367" fmla="*/ 919163 h 1762127"/>
                <a:gd name="connsiteX3368" fmla="*/ 6405445 w 9759834"/>
                <a:gd name="connsiteY3368" fmla="*/ 884238 h 1762127"/>
                <a:gd name="connsiteX3369" fmla="*/ 6439577 w 9759834"/>
                <a:gd name="connsiteY3369" fmla="*/ 849313 h 1762127"/>
                <a:gd name="connsiteX3370" fmla="*/ 6353852 w 9759834"/>
                <a:gd name="connsiteY3370" fmla="*/ 849313 h 1762127"/>
                <a:gd name="connsiteX3371" fmla="*/ 6387984 w 9759834"/>
                <a:gd name="connsiteY3371" fmla="*/ 884238 h 1762127"/>
                <a:gd name="connsiteX3372" fmla="*/ 6353852 w 9759834"/>
                <a:gd name="connsiteY3372" fmla="*/ 919163 h 1762127"/>
                <a:gd name="connsiteX3373" fmla="*/ 6319720 w 9759834"/>
                <a:gd name="connsiteY3373" fmla="*/ 884238 h 1762127"/>
                <a:gd name="connsiteX3374" fmla="*/ 6353852 w 9759834"/>
                <a:gd name="connsiteY3374" fmla="*/ 849313 h 1762127"/>
                <a:gd name="connsiteX3375" fmla="*/ 6268920 w 9759834"/>
                <a:gd name="connsiteY3375" fmla="*/ 849313 h 1762127"/>
                <a:gd name="connsiteX3376" fmla="*/ 6303845 w 9759834"/>
                <a:gd name="connsiteY3376" fmla="*/ 884238 h 1762127"/>
                <a:gd name="connsiteX3377" fmla="*/ 6268920 w 9759834"/>
                <a:gd name="connsiteY3377" fmla="*/ 919163 h 1762127"/>
                <a:gd name="connsiteX3378" fmla="*/ 6233995 w 9759834"/>
                <a:gd name="connsiteY3378" fmla="*/ 884238 h 1762127"/>
                <a:gd name="connsiteX3379" fmla="*/ 6268920 w 9759834"/>
                <a:gd name="connsiteY3379" fmla="*/ 849313 h 1762127"/>
                <a:gd name="connsiteX3380" fmla="*/ 6103027 w 9759834"/>
                <a:gd name="connsiteY3380" fmla="*/ 849313 h 1762127"/>
                <a:gd name="connsiteX3381" fmla="*/ 6137159 w 9759834"/>
                <a:gd name="connsiteY3381" fmla="*/ 884238 h 1762127"/>
                <a:gd name="connsiteX3382" fmla="*/ 6103027 w 9759834"/>
                <a:gd name="connsiteY3382" fmla="*/ 919163 h 1762127"/>
                <a:gd name="connsiteX3383" fmla="*/ 6068895 w 9759834"/>
                <a:gd name="connsiteY3383" fmla="*/ 884238 h 1762127"/>
                <a:gd name="connsiteX3384" fmla="*/ 6103027 w 9759834"/>
                <a:gd name="connsiteY3384" fmla="*/ 849313 h 1762127"/>
                <a:gd name="connsiteX3385" fmla="*/ 5849821 w 9759834"/>
                <a:gd name="connsiteY3385" fmla="*/ 849313 h 1762127"/>
                <a:gd name="connsiteX3386" fmla="*/ 5886334 w 9759834"/>
                <a:gd name="connsiteY3386" fmla="*/ 884238 h 1762127"/>
                <a:gd name="connsiteX3387" fmla="*/ 5849821 w 9759834"/>
                <a:gd name="connsiteY3387" fmla="*/ 919163 h 1762127"/>
                <a:gd name="connsiteX3388" fmla="*/ 5813308 w 9759834"/>
                <a:gd name="connsiteY3388" fmla="*/ 884238 h 1762127"/>
                <a:gd name="connsiteX3389" fmla="*/ 5849821 w 9759834"/>
                <a:gd name="connsiteY3389" fmla="*/ 849313 h 1762127"/>
                <a:gd name="connsiteX3390" fmla="*/ 5766477 w 9759834"/>
                <a:gd name="connsiteY3390" fmla="*/ 849313 h 1762127"/>
                <a:gd name="connsiteX3391" fmla="*/ 5800609 w 9759834"/>
                <a:gd name="connsiteY3391" fmla="*/ 884238 h 1762127"/>
                <a:gd name="connsiteX3392" fmla="*/ 5766477 w 9759834"/>
                <a:gd name="connsiteY3392" fmla="*/ 919163 h 1762127"/>
                <a:gd name="connsiteX3393" fmla="*/ 5732345 w 9759834"/>
                <a:gd name="connsiteY3393" fmla="*/ 884238 h 1762127"/>
                <a:gd name="connsiteX3394" fmla="*/ 5766477 w 9759834"/>
                <a:gd name="connsiteY3394" fmla="*/ 849313 h 1762127"/>
                <a:gd name="connsiteX3395" fmla="*/ 5680752 w 9759834"/>
                <a:gd name="connsiteY3395" fmla="*/ 849313 h 1762127"/>
                <a:gd name="connsiteX3396" fmla="*/ 5714884 w 9759834"/>
                <a:gd name="connsiteY3396" fmla="*/ 884238 h 1762127"/>
                <a:gd name="connsiteX3397" fmla="*/ 5680752 w 9759834"/>
                <a:gd name="connsiteY3397" fmla="*/ 919163 h 1762127"/>
                <a:gd name="connsiteX3398" fmla="*/ 5646620 w 9759834"/>
                <a:gd name="connsiteY3398" fmla="*/ 884238 h 1762127"/>
                <a:gd name="connsiteX3399" fmla="*/ 5680752 w 9759834"/>
                <a:gd name="connsiteY3399" fmla="*/ 849313 h 1762127"/>
                <a:gd name="connsiteX3400" fmla="*/ 5595820 w 9759834"/>
                <a:gd name="connsiteY3400" fmla="*/ 849313 h 1762127"/>
                <a:gd name="connsiteX3401" fmla="*/ 5630745 w 9759834"/>
                <a:gd name="connsiteY3401" fmla="*/ 884238 h 1762127"/>
                <a:gd name="connsiteX3402" fmla="*/ 5595820 w 9759834"/>
                <a:gd name="connsiteY3402" fmla="*/ 919163 h 1762127"/>
                <a:gd name="connsiteX3403" fmla="*/ 5560895 w 9759834"/>
                <a:gd name="connsiteY3403" fmla="*/ 884238 h 1762127"/>
                <a:gd name="connsiteX3404" fmla="*/ 5595820 w 9759834"/>
                <a:gd name="connsiteY3404" fmla="*/ 849313 h 1762127"/>
                <a:gd name="connsiteX3405" fmla="*/ 5510095 w 9759834"/>
                <a:gd name="connsiteY3405" fmla="*/ 849313 h 1762127"/>
                <a:gd name="connsiteX3406" fmla="*/ 5545020 w 9759834"/>
                <a:gd name="connsiteY3406" fmla="*/ 884238 h 1762127"/>
                <a:gd name="connsiteX3407" fmla="*/ 5510095 w 9759834"/>
                <a:gd name="connsiteY3407" fmla="*/ 919163 h 1762127"/>
                <a:gd name="connsiteX3408" fmla="*/ 5475170 w 9759834"/>
                <a:gd name="connsiteY3408" fmla="*/ 884238 h 1762127"/>
                <a:gd name="connsiteX3409" fmla="*/ 5510095 w 9759834"/>
                <a:gd name="connsiteY3409" fmla="*/ 849313 h 1762127"/>
                <a:gd name="connsiteX3410" fmla="*/ 4163895 w 9759834"/>
                <a:gd name="connsiteY3410" fmla="*/ 849313 h 1762127"/>
                <a:gd name="connsiteX3411" fmla="*/ 4198820 w 9759834"/>
                <a:gd name="connsiteY3411" fmla="*/ 884238 h 1762127"/>
                <a:gd name="connsiteX3412" fmla="*/ 4163895 w 9759834"/>
                <a:gd name="connsiteY3412" fmla="*/ 919163 h 1762127"/>
                <a:gd name="connsiteX3413" fmla="*/ 4128970 w 9759834"/>
                <a:gd name="connsiteY3413" fmla="*/ 884238 h 1762127"/>
                <a:gd name="connsiteX3414" fmla="*/ 4163895 w 9759834"/>
                <a:gd name="connsiteY3414" fmla="*/ 849313 h 1762127"/>
                <a:gd name="connsiteX3415" fmla="*/ 4078170 w 9759834"/>
                <a:gd name="connsiteY3415" fmla="*/ 849313 h 1762127"/>
                <a:gd name="connsiteX3416" fmla="*/ 4113095 w 9759834"/>
                <a:gd name="connsiteY3416" fmla="*/ 884238 h 1762127"/>
                <a:gd name="connsiteX3417" fmla="*/ 4078170 w 9759834"/>
                <a:gd name="connsiteY3417" fmla="*/ 919163 h 1762127"/>
                <a:gd name="connsiteX3418" fmla="*/ 4043245 w 9759834"/>
                <a:gd name="connsiteY3418" fmla="*/ 884238 h 1762127"/>
                <a:gd name="connsiteX3419" fmla="*/ 4078170 w 9759834"/>
                <a:gd name="connsiteY3419" fmla="*/ 849313 h 1762127"/>
                <a:gd name="connsiteX3420" fmla="*/ 3993240 w 9759834"/>
                <a:gd name="connsiteY3420" fmla="*/ 849313 h 1762127"/>
                <a:gd name="connsiteX3421" fmla="*/ 4027372 w 9759834"/>
                <a:gd name="connsiteY3421" fmla="*/ 884238 h 1762127"/>
                <a:gd name="connsiteX3422" fmla="*/ 3993240 w 9759834"/>
                <a:gd name="connsiteY3422" fmla="*/ 919163 h 1762127"/>
                <a:gd name="connsiteX3423" fmla="*/ 3959108 w 9759834"/>
                <a:gd name="connsiteY3423" fmla="*/ 884238 h 1762127"/>
                <a:gd name="connsiteX3424" fmla="*/ 3993240 w 9759834"/>
                <a:gd name="connsiteY3424" fmla="*/ 849313 h 1762127"/>
                <a:gd name="connsiteX3425" fmla="*/ 3912277 w 9759834"/>
                <a:gd name="connsiteY3425" fmla="*/ 849313 h 1762127"/>
                <a:gd name="connsiteX3426" fmla="*/ 3946409 w 9759834"/>
                <a:gd name="connsiteY3426" fmla="*/ 884238 h 1762127"/>
                <a:gd name="connsiteX3427" fmla="*/ 3912277 w 9759834"/>
                <a:gd name="connsiteY3427" fmla="*/ 919163 h 1762127"/>
                <a:gd name="connsiteX3428" fmla="*/ 3878145 w 9759834"/>
                <a:gd name="connsiteY3428" fmla="*/ 884238 h 1762127"/>
                <a:gd name="connsiteX3429" fmla="*/ 3912277 w 9759834"/>
                <a:gd name="connsiteY3429" fmla="*/ 849313 h 1762127"/>
                <a:gd name="connsiteX3430" fmla="*/ 3826552 w 9759834"/>
                <a:gd name="connsiteY3430" fmla="*/ 849313 h 1762127"/>
                <a:gd name="connsiteX3431" fmla="*/ 3860684 w 9759834"/>
                <a:gd name="connsiteY3431" fmla="*/ 884238 h 1762127"/>
                <a:gd name="connsiteX3432" fmla="*/ 3826552 w 9759834"/>
                <a:gd name="connsiteY3432" fmla="*/ 919163 h 1762127"/>
                <a:gd name="connsiteX3433" fmla="*/ 3792420 w 9759834"/>
                <a:gd name="connsiteY3433" fmla="*/ 884238 h 1762127"/>
                <a:gd name="connsiteX3434" fmla="*/ 3826552 w 9759834"/>
                <a:gd name="connsiteY3434" fmla="*/ 849313 h 1762127"/>
                <a:gd name="connsiteX3435" fmla="*/ 3741620 w 9759834"/>
                <a:gd name="connsiteY3435" fmla="*/ 849313 h 1762127"/>
                <a:gd name="connsiteX3436" fmla="*/ 3776545 w 9759834"/>
                <a:gd name="connsiteY3436" fmla="*/ 884238 h 1762127"/>
                <a:gd name="connsiteX3437" fmla="*/ 3741620 w 9759834"/>
                <a:gd name="connsiteY3437" fmla="*/ 919163 h 1762127"/>
                <a:gd name="connsiteX3438" fmla="*/ 3706695 w 9759834"/>
                <a:gd name="connsiteY3438" fmla="*/ 884238 h 1762127"/>
                <a:gd name="connsiteX3439" fmla="*/ 3741620 w 9759834"/>
                <a:gd name="connsiteY3439" fmla="*/ 849313 h 1762127"/>
                <a:gd name="connsiteX3440" fmla="*/ 3320140 w 9759834"/>
                <a:gd name="connsiteY3440" fmla="*/ 849313 h 1762127"/>
                <a:gd name="connsiteX3441" fmla="*/ 3354272 w 9759834"/>
                <a:gd name="connsiteY3441" fmla="*/ 884238 h 1762127"/>
                <a:gd name="connsiteX3442" fmla="*/ 3320140 w 9759834"/>
                <a:gd name="connsiteY3442" fmla="*/ 919163 h 1762127"/>
                <a:gd name="connsiteX3443" fmla="*/ 3286008 w 9759834"/>
                <a:gd name="connsiteY3443" fmla="*/ 884238 h 1762127"/>
                <a:gd name="connsiteX3444" fmla="*/ 3320140 w 9759834"/>
                <a:gd name="connsiteY3444" fmla="*/ 849313 h 1762127"/>
                <a:gd name="connsiteX3445" fmla="*/ 3234415 w 9759834"/>
                <a:gd name="connsiteY3445" fmla="*/ 849313 h 1762127"/>
                <a:gd name="connsiteX3446" fmla="*/ 3268547 w 9759834"/>
                <a:gd name="connsiteY3446" fmla="*/ 884238 h 1762127"/>
                <a:gd name="connsiteX3447" fmla="*/ 3234415 w 9759834"/>
                <a:gd name="connsiteY3447" fmla="*/ 919163 h 1762127"/>
                <a:gd name="connsiteX3448" fmla="*/ 3200283 w 9759834"/>
                <a:gd name="connsiteY3448" fmla="*/ 884238 h 1762127"/>
                <a:gd name="connsiteX3449" fmla="*/ 3234415 w 9759834"/>
                <a:gd name="connsiteY3449" fmla="*/ 849313 h 1762127"/>
                <a:gd name="connsiteX3450" fmla="*/ 3153452 w 9759834"/>
                <a:gd name="connsiteY3450" fmla="*/ 849313 h 1762127"/>
                <a:gd name="connsiteX3451" fmla="*/ 3187584 w 9759834"/>
                <a:gd name="connsiteY3451" fmla="*/ 884238 h 1762127"/>
                <a:gd name="connsiteX3452" fmla="*/ 3153452 w 9759834"/>
                <a:gd name="connsiteY3452" fmla="*/ 919163 h 1762127"/>
                <a:gd name="connsiteX3453" fmla="*/ 3119320 w 9759834"/>
                <a:gd name="connsiteY3453" fmla="*/ 884238 h 1762127"/>
                <a:gd name="connsiteX3454" fmla="*/ 3153452 w 9759834"/>
                <a:gd name="connsiteY3454" fmla="*/ 849313 h 1762127"/>
                <a:gd name="connsiteX3455" fmla="*/ 2646273 w 9759834"/>
                <a:gd name="connsiteY3455" fmla="*/ 849313 h 1762127"/>
                <a:gd name="connsiteX3456" fmla="*/ 2681197 w 9759834"/>
                <a:gd name="connsiteY3456" fmla="*/ 884238 h 1762127"/>
                <a:gd name="connsiteX3457" fmla="*/ 2646273 w 9759834"/>
                <a:gd name="connsiteY3457" fmla="*/ 919163 h 1762127"/>
                <a:gd name="connsiteX3458" fmla="*/ 2611348 w 9759834"/>
                <a:gd name="connsiteY3458" fmla="*/ 884238 h 1762127"/>
                <a:gd name="connsiteX3459" fmla="*/ 2646273 w 9759834"/>
                <a:gd name="connsiteY3459" fmla="*/ 849313 h 1762127"/>
                <a:gd name="connsiteX3460" fmla="*/ 2561352 w 9759834"/>
                <a:gd name="connsiteY3460" fmla="*/ 849313 h 1762127"/>
                <a:gd name="connsiteX3461" fmla="*/ 2595485 w 9759834"/>
                <a:gd name="connsiteY3461" fmla="*/ 884238 h 1762127"/>
                <a:gd name="connsiteX3462" fmla="*/ 2561352 w 9759834"/>
                <a:gd name="connsiteY3462" fmla="*/ 919163 h 1762127"/>
                <a:gd name="connsiteX3463" fmla="*/ 2527220 w 9759834"/>
                <a:gd name="connsiteY3463" fmla="*/ 884238 h 1762127"/>
                <a:gd name="connsiteX3464" fmla="*/ 2561352 w 9759834"/>
                <a:gd name="connsiteY3464" fmla="*/ 849313 h 1762127"/>
                <a:gd name="connsiteX3465" fmla="*/ 2394666 w 9759834"/>
                <a:gd name="connsiteY3465" fmla="*/ 849313 h 1762127"/>
                <a:gd name="connsiteX3466" fmla="*/ 2428797 w 9759834"/>
                <a:gd name="connsiteY3466" fmla="*/ 884238 h 1762127"/>
                <a:gd name="connsiteX3467" fmla="*/ 2394666 w 9759834"/>
                <a:gd name="connsiteY3467" fmla="*/ 919163 h 1762127"/>
                <a:gd name="connsiteX3468" fmla="*/ 2360533 w 9759834"/>
                <a:gd name="connsiteY3468" fmla="*/ 884238 h 1762127"/>
                <a:gd name="connsiteX3469" fmla="*/ 2394666 w 9759834"/>
                <a:gd name="connsiteY3469" fmla="*/ 849313 h 1762127"/>
                <a:gd name="connsiteX3470" fmla="*/ 2309735 w 9759834"/>
                <a:gd name="connsiteY3470" fmla="*/ 849313 h 1762127"/>
                <a:gd name="connsiteX3471" fmla="*/ 2344660 w 9759834"/>
                <a:gd name="connsiteY3471" fmla="*/ 884238 h 1762127"/>
                <a:gd name="connsiteX3472" fmla="*/ 2309735 w 9759834"/>
                <a:gd name="connsiteY3472" fmla="*/ 919163 h 1762127"/>
                <a:gd name="connsiteX3473" fmla="*/ 2274810 w 9759834"/>
                <a:gd name="connsiteY3473" fmla="*/ 884238 h 1762127"/>
                <a:gd name="connsiteX3474" fmla="*/ 2309735 w 9759834"/>
                <a:gd name="connsiteY3474" fmla="*/ 849313 h 1762127"/>
                <a:gd name="connsiteX3475" fmla="*/ 2224804 w 9759834"/>
                <a:gd name="connsiteY3475" fmla="*/ 849313 h 1762127"/>
                <a:gd name="connsiteX3476" fmla="*/ 2258936 w 9759834"/>
                <a:gd name="connsiteY3476" fmla="*/ 884238 h 1762127"/>
                <a:gd name="connsiteX3477" fmla="*/ 2224804 w 9759834"/>
                <a:gd name="connsiteY3477" fmla="*/ 919163 h 1762127"/>
                <a:gd name="connsiteX3478" fmla="*/ 2190671 w 9759834"/>
                <a:gd name="connsiteY3478" fmla="*/ 884238 h 1762127"/>
                <a:gd name="connsiteX3479" fmla="*/ 2224804 w 9759834"/>
                <a:gd name="connsiteY3479" fmla="*/ 849313 h 1762127"/>
                <a:gd name="connsiteX3480" fmla="*/ 2055721 w 9759834"/>
                <a:gd name="connsiteY3480" fmla="*/ 849313 h 1762127"/>
                <a:gd name="connsiteX3481" fmla="*/ 2092234 w 9759834"/>
                <a:gd name="connsiteY3481" fmla="*/ 884238 h 1762127"/>
                <a:gd name="connsiteX3482" fmla="*/ 2055721 w 9759834"/>
                <a:gd name="connsiteY3482" fmla="*/ 919163 h 1762127"/>
                <a:gd name="connsiteX3483" fmla="*/ 2019209 w 9759834"/>
                <a:gd name="connsiteY3483" fmla="*/ 884238 h 1762127"/>
                <a:gd name="connsiteX3484" fmla="*/ 2055721 w 9759834"/>
                <a:gd name="connsiteY3484" fmla="*/ 849313 h 1762127"/>
                <a:gd name="connsiteX3485" fmla="*/ 1973171 w 9759834"/>
                <a:gd name="connsiteY3485" fmla="*/ 849313 h 1762127"/>
                <a:gd name="connsiteX3486" fmla="*/ 2008096 w 9759834"/>
                <a:gd name="connsiteY3486" fmla="*/ 884238 h 1762127"/>
                <a:gd name="connsiteX3487" fmla="*/ 1973171 w 9759834"/>
                <a:gd name="connsiteY3487" fmla="*/ 919163 h 1762127"/>
                <a:gd name="connsiteX3488" fmla="*/ 1938246 w 9759834"/>
                <a:gd name="connsiteY3488" fmla="*/ 884238 h 1762127"/>
                <a:gd name="connsiteX3489" fmla="*/ 1973171 w 9759834"/>
                <a:gd name="connsiteY3489" fmla="*/ 849313 h 1762127"/>
                <a:gd name="connsiteX3490" fmla="*/ 1802514 w 9759834"/>
                <a:gd name="connsiteY3490" fmla="*/ 849313 h 1762127"/>
                <a:gd name="connsiteX3491" fmla="*/ 1836646 w 9759834"/>
                <a:gd name="connsiteY3491" fmla="*/ 884238 h 1762127"/>
                <a:gd name="connsiteX3492" fmla="*/ 1802514 w 9759834"/>
                <a:gd name="connsiteY3492" fmla="*/ 919163 h 1762127"/>
                <a:gd name="connsiteX3493" fmla="*/ 1768382 w 9759834"/>
                <a:gd name="connsiteY3493" fmla="*/ 884238 h 1762127"/>
                <a:gd name="connsiteX3494" fmla="*/ 1802514 w 9759834"/>
                <a:gd name="connsiteY3494" fmla="*/ 849313 h 1762127"/>
                <a:gd name="connsiteX3495" fmla="*/ 1719170 w 9759834"/>
                <a:gd name="connsiteY3495" fmla="*/ 849313 h 1762127"/>
                <a:gd name="connsiteX3496" fmla="*/ 1755684 w 9759834"/>
                <a:gd name="connsiteY3496" fmla="*/ 884238 h 1762127"/>
                <a:gd name="connsiteX3497" fmla="*/ 1719170 w 9759834"/>
                <a:gd name="connsiteY3497" fmla="*/ 919163 h 1762127"/>
                <a:gd name="connsiteX3498" fmla="*/ 1682658 w 9759834"/>
                <a:gd name="connsiteY3498" fmla="*/ 884238 h 1762127"/>
                <a:gd name="connsiteX3499" fmla="*/ 1719170 w 9759834"/>
                <a:gd name="connsiteY3499" fmla="*/ 849313 h 1762127"/>
                <a:gd name="connsiteX3500" fmla="*/ 1636620 w 9759834"/>
                <a:gd name="connsiteY3500" fmla="*/ 849313 h 1762127"/>
                <a:gd name="connsiteX3501" fmla="*/ 1671545 w 9759834"/>
                <a:gd name="connsiteY3501" fmla="*/ 884238 h 1762127"/>
                <a:gd name="connsiteX3502" fmla="*/ 1636620 w 9759834"/>
                <a:gd name="connsiteY3502" fmla="*/ 919163 h 1762127"/>
                <a:gd name="connsiteX3503" fmla="*/ 1601695 w 9759834"/>
                <a:gd name="connsiteY3503" fmla="*/ 884238 h 1762127"/>
                <a:gd name="connsiteX3504" fmla="*/ 1636620 w 9759834"/>
                <a:gd name="connsiteY3504" fmla="*/ 849313 h 1762127"/>
                <a:gd name="connsiteX3505" fmla="*/ 1551690 w 9759834"/>
                <a:gd name="connsiteY3505" fmla="*/ 849313 h 1762127"/>
                <a:gd name="connsiteX3506" fmla="*/ 1585821 w 9759834"/>
                <a:gd name="connsiteY3506" fmla="*/ 884238 h 1762127"/>
                <a:gd name="connsiteX3507" fmla="*/ 1551690 w 9759834"/>
                <a:gd name="connsiteY3507" fmla="*/ 919163 h 1762127"/>
                <a:gd name="connsiteX3508" fmla="*/ 1517557 w 9759834"/>
                <a:gd name="connsiteY3508" fmla="*/ 884238 h 1762127"/>
                <a:gd name="connsiteX3509" fmla="*/ 1551690 w 9759834"/>
                <a:gd name="connsiteY3509" fmla="*/ 849313 h 1762127"/>
                <a:gd name="connsiteX3510" fmla="*/ 1465955 w 9759834"/>
                <a:gd name="connsiteY3510" fmla="*/ 849313 h 1762127"/>
                <a:gd name="connsiteX3511" fmla="*/ 1500086 w 9759834"/>
                <a:gd name="connsiteY3511" fmla="*/ 884238 h 1762127"/>
                <a:gd name="connsiteX3512" fmla="*/ 1465955 w 9759834"/>
                <a:gd name="connsiteY3512" fmla="*/ 919163 h 1762127"/>
                <a:gd name="connsiteX3513" fmla="*/ 1431822 w 9759834"/>
                <a:gd name="connsiteY3513" fmla="*/ 884238 h 1762127"/>
                <a:gd name="connsiteX3514" fmla="*/ 1465955 w 9759834"/>
                <a:gd name="connsiteY3514" fmla="*/ 849313 h 1762127"/>
                <a:gd name="connsiteX3515" fmla="*/ 1380229 w 9759834"/>
                <a:gd name="connsiteY3515" fmla="*/ 849313 h 1762127"/>
                <a:gd name="connsiteX3516" fmla="*/ 1414361 w 9759834"/>
                <a:gd name="connsiteY3516" fmla="*/ 884238 h 1762127"/>
                <a:gd name="connsiteX3517" fmla="*/ 1380229 w 9759834"/>
                <a:gd name="connsiteY3517" fmla="*/ 919163 h 1762127"/>
                <a:gd name="connsiteX3518" fmla="*/ 1346096 w 9759834"/>
                <a:gd name="connsiteY3518" fmla="*/ 884238 h 1762127"/>
                <a:gd name="connsiteX3519" fmla="*/ 1380229 w 9759834"/>
                <a:gd name="connsiteY3519" fmla="*/ 849313 h 1762127"/>
                <a:gd name="connsiteX3520" fmla="*/ 1300050 w 9759834"/>
                <a:gd name="connsiteY3520" fmla="*/ 849313 h 1762127"/>
                <a:gd name="connsiteX3521" fmla="*/ 1334975 w 9759834"/>
                <a:gd name="connsiteY3521" fmla="*/ 884238 h 1762127"/>
                <a:gd name="connsiteX3522" fmla="*/ 1300050 w 9759834"/>
                <a:gd name="connsiteY3522" fmla="*/ 919163 h 1762127"/>
                <a:gd name="connsiteX3523" fmla="*/ 1265125 w 9759834"/>
                <a:gd name="connsiteY3523" fmla="*/ 884238 h 1762127"/>
                <a:gd name="connsiteX3524" fmla="*/ 1300050 w 9759834"/>
                <a:gd name="connsiteY3524" fmla="*/ 849313 h 1762127"/>
                <a:gd name="connsiteX3525" fmla="*/ 1214500 w 9759834"/>
                <a:gd name="connsiteY3525" fmla="*/ 849313 h 1762127"/>
                <a:gd name="connsiteX3526" fmla="*/ 1249422 w 9759834"/>
                <a:gd name="connsiteY3526" fmla="*/ 884238 h 1762127"/>
                <a:gd name="connsiteX3527" fmla="*/ 1214500 w 9759834"/>
                <a:gd name="connsiteY3527" fmla="*/ 919163 h 1762127"/>
                <a:gd name="connsiteX3528" fmla="*/ 1179573 w 9759834"/>
                <a:gd name="connsiteY3528" fmla="*/ 884238 h 1762127"/>
                <a:gd name="connsiteX3529" fmla="*/ 1214500 w 9759834"/>
                <a:gd name="connsiteY3529" fmla="*/ 849313 h 1762127"/>
                <a:gd name="connsiteX3530" fmla="*/ 1129569 w 9759834"/>
                <a:gd name="connsiteY3530" fmla="*/ 849313 h 1762127"/>
                <a:gd name="connsiteX3531" fmla="*/ 1163703 w 9759834"/>
                <a:gd name="connsiteY3531" fmla="*/ 884238 h 1762127"/>
                <a:gd name="connsiteX3532" fmla="*/ 1129569 w 9759834"/>
                <a:gd name="connsiteY3532" fmla="*/ 919163 h 1762127"/>
                <a:gd name="connsiteX3533" fmla="*/ 1095440 w 9759834"/>
                <a:gd name="connsiteY3533" fmla="*/ 884238 h 1762127"/>
                <a:gd name="connsiteX3534" fmla="*/ 1129569 w 9759834"/>
                <a:gd name="connsiteY3534" fmla="*/ 849313 h 1762127"/>
                <a:gd name="connsiteX3535" fmla="*/ 960493 w 9759834"/>
                <a:gd name="connsiteY3535" fmla="*/ 849313 h 1762127"/>
                <a:gd name="connsiteX3536" fmla="*/ 997009 w 9759834"/>
                <a:gd name="connsiteY3536" fmla="*/ 884238 h 1762127"/>
                <a:gd name="connsiteX3537" fmla="*/ 960493 w 9759834"/>
                <a:gd name="connsiteY3537" fmla="*/ 919163 h 1762127"/>
                <a:gd name="connsiteX3538" fmla="*/ 923978 w 9759834"/>
                <a:gd name="connsiteY3538" fmla="*/ 884238 h 1762127"/>
                <a:gd name="connsiteX3539" fmla="*/ 960493 w 9759834"/>
                <a:gd name="connsiteY3539" fmla="*/ 849313 h 1762127"/>
                <a:gd name="connsiteX3540" fmla="*/ 877939 w 9759834"/>
                <a:gd name="connsiteY3540" fmla="*/ 849313 h 1762127"/>
                <a:gd name="connsiteX3541" fmla="*/ 912864 w 9759834"/>
                <a:gd name="connsiteY3541" fmla="*/ 884238 h 1762127"/>
                <a:gd name="connsiteX3542" fmla="*/ 877939 w 9759834"/>
                <a:gd name="connsiteY3542" fmla="*/ 919163 h 1762127"/>
                <a:gd name="connsiteX3543" fmla="*/ 843014 w 9759834"/>
                <a:gd name="connsiteY3543" fmla="*/ 884238 h 1762127"/>
                <a:gd name="connsiteX3544" fmla="*/ 877939 w 9759834"/>
                <a:gd name="connsiteY3544" fmla="*/ 849313 h 1762127"/>
                <a:gd name="connsiteX3545" fmla="*/ 793002 w 9759834"/>
                <a:gd name="connsiteY3545" fmla="*/ 849313 h 1762127"/>
                <a:gd name="connsiteX3546" fmla="*/ 827137 w 9759834"/>
                <a:gd name="connsiteY3546" fmla="*/ 884238 h 1762127"/>
                <a:gd name="connsiteX3547" fmla="*/ 793002 w 9759834"/>
                <a:gd name="connsiteY3547" fmla="*/ 919163 h 1762127"/>
                <a:gd name="connsiteX3548" fmla="*/ 758871 w 9759834"/>
                <a:gd name="connsiteY3548" fmla="*/ 884238 h 1762127"/>
                <a:gd name="connsiteX3549" fmla="*/ 793002 w 9759834"/>
                <a:gd name="connsiteY3549" fmla="*/ 849313 h 1762127"/>
                <a:gd name="connsiteX3550" fmla="*/ 707275 w 9759834"/>
                <a:gd name="connsiteY3550" fmla="*/ 849313 h 1762127"/>
                <a:gd name="connsiteX3551" fmla="*/ 741409 w 9759834"/>
                <a:gd name="connsiteY3551" fmla="*/ 884238 h 1762127"/>
                <a:gd name="connsiteX3552" fmla="*/ 707275 w 9759834"/>
                <a:gd name="connsiteY3552" fmla="*/ 919163 h 1762127"/>
                <a:gd name="connsiteX3553" fmla="*/ 673133 w 9759834"/>
                <a:gd name="connsiteY3553" fmla="*/ 884238 h 1762127"/>
                <a:gd name="connsiteX3554" fmla="*/ 707275 w 9759834"/>
                <a:gd name="connsiteY3554" fmla="*/ 849313 h 1762127"/>
                <a:gd name="connsiteX3555" fmla="*/ 621537 w 9759834"/>
                <a:gd name="connsiteY3555" fmla="*/ 849313 h 1762127"/>
                <a:gd name="connsiteX3556" fmla="*/ 655670 w 9759834"/>
                <a:gd name="connsiteY3556" fmla="*/ 884238 h 1762127"/>
                <a:gd name="connsiteX3557" fmla="*/ 621537 w 9759834"/>
                <a:gd name="connsiteY3557" fmla="*/ 919163 h 1762127"/>
                <a:gd name="connsiteX3558" fmla="*/ 587405 w 9759834"/>
                <a:gd name="connsiteY3558" fmla="*/ 884238 h 1762127"/>
                <a:gd name="connsiteX3559" fmla="*/ 621537 w 9759834"/>
                <a:gd name="connsiteY3559" fmla="*/ 849313 h 1762127"/>
                <a:gd name="connsiteX3560" fmla="*/ 9138327 w 9759834"/>
                <a:gd name="connsiteY3560" fmla="*/ 763588 h 1762127"/>
                <a:gd name="connsiteX3561" fmla="*/ 9172459 w 9759834"/>
                <a:gd name="connsiteY3561" fmla="*/ 797720 h 1762127"/>
                <a:gd name="connsiteX3562" fmla="*/ 9138327 w 9759834"/>
                <a:gd name="connsiteY3562" fmla="*/ 831852 h 1762127"/>
                <a:gd name="connsiteX3563" fmla="*/ 9104195 w 9759834"/>
                <a:gd name="connsiteY3563" fmla="*/ 797720 h 1762127"/>
                <a:gd name="connsiteX3564" fmla="*/ 9138327 w 9759834"/>
                <a:gd name="connsiteY3564" fmla="*/ 763588 h 1762127"/>
                <a:gd name="connsiteX3565" fmla="*/ 9052602 w 9759834"/>
                <a:gd name="connsiteY3565" fmla="*/ 763588 h 1762127"/>
                <a:gd name="connsiteX3566" fmla="*/ 9086734 w 9759834"/>
                <a:gd name="connsiteY3566" fmla="*/ 797720 h 1762127"/>
                <a:gd name="connsiteX3567" fmla="*/ 9052602 w 9759834"/>
                <a:gd name="connsiteY3567" fmla="*/ 831852 h 1762127"/>
                <a:gd name="connsiteX3568" fmla="*/ 9018470 w 9759834"/>
                <a:gd name="connsiteY3568" fmla="*/ 797720 h 1762127"/>
                <a:gd name="connsiteX3569" fmla="*/ 9052602 w 9759834"/>
                <a:gd name="connsiteY3569" fmla="*/ 763588 h 1762127"/>
                <a:gd name="connsiteX3570" fmla="*/ 8966877 w 9759834"/>
                <a:gd name="connsiteY3570" fmla="*/ 763588 h 1762127"/>
                <a:gd name="connsiteX3571" fmla="*/ 9001009 w 9759834"/>
                <a:gd name="connsiteY3571" fmla="*/ 797720 h 1762127"/>
                <a:gd name="connsiteX3572" fmla="*/ 8966877 w 9759834"/>
                <a:gd name="connsiteY3572" fmla="*/ 831852 h 1762127"/>
                <a:gd name="connsiteX3573" fmla="*/ 8932745 w 9759834"/>
                <a:gd name="connsiteY3573" fmla="*/ 797720 h 1762127"/>
                <a:gd name="connsiteX3574" fmla="*/ 8966877 w 9759834"/>
                <a:gd name="connsiteY3574" fmla="*/ 763588 h 1762127"/>
                <a:gd name="connsiteX3575" fmla="*/ 8884327 w 9759834"/>
                <a:gd name="connsiteY3575" fmla="*/ 763588 h 1762127"/>
                <a:gd name="connsiteX3576" fmla="*/ 8921634 w 9759834"/>
                <a:gd name="connsiteY3576" fmla="*/ 797720 h 1762127"/>
                <a:gd name="connsiteX3577" fmla="*/ 8884327 w 9759834"/>
                <a:gd name="connsiteY3577" fmla="*/ 831852 h 1762127"/>
                <a:gd name="connsiteX3578" fmla="*/ 8847020 w 9759834"/>
                <a:gd name="connsiteY3578" fmla="*/ 797720 h 1762127"/>
                <a:gd name="connsiteX3579" fmla="*/ 8884327 w 9759834"/>
                <a:gd name="connsiteY3579" fmla="*/ 763588 h 1762127"/>
                <a:gd name="connsiteX3580" fmla="*/ 8801777 w 9759834"/>
                <a:gd name="connsiteY3580" fmla="*/ 763588 h 1762127"/>
                <a:gd name="connsiteX3581" fmla="*/ 8835909 w 9759834"/>
                <a:gd name="connsiteY3581" fmla="*/ 797720 h 1762127"/>
                <a:gd name="connsiteX3582" fmla="*/ 8801777 w 9759834"/>
                <a:gd name="connsiteY3582" fmla="*/ 831852 h 1762127"/>
                <a:gd name="connsiteX3583" fmla="*/ 8767645 w 9759834"/>
                <a:gd name="connsiteY3583" fmla="*/ 797720 h 1762127"/>
                <a:gd name="connsiteX3584" fmla="*/ 8801777 w 9759834"/>
                <a:gd name="connsiteY3584" fmla="*/ 763588 h 1762127"/>
                <a:gd name="connsiteX3585" fmla="*/ 8716052 w 9759834"/>
                <a:gd name="connsiteY3585" fmla="*/ 763588 h 1762127"/>
                <a:gd name="connsiteX3586" fmla="*/ 8750184 w 9759834"/>
                <a:gd name="connsiteY3586" fmla="*/ 797720 h 1762127"/>
                <a:gd name="connsiteX3587" fmla="*/ 8716052 w 9759834"/>
                <a:gd name="connsiteY3587" fmla="*/ 831852 h 1762127"/>
                <a:gd name="connsiteX3588" fmla="*/ 8681920 w 9759834"/>
                <a:gd name="connsiteY3588" fmla="*/ 797720 h 1762127"/>
                <a:gd name="connsiteX3589" fmla="*/ 8716052 w 9759834"/>
                <a:gd name="connsiteY3589" fmla="*/ 763588 h 1762127"/>
                <a:gd name="connsiteX3590" fmla="*/ 8630327 w 9759834"/>
                <a:gd name="connsiteY3590" fmla="*/ 763588 h 1762127"/>
                <a:gd name="connsiteX3591" fmla="*/ 8664459 w 9759834"/>
                <a:gd name="connsiteY3591" fmla="*/ 797720 h 1762127"/>
                <a:gd name="connsiteX3592" fmla="*/ 8630327 w 9759834"/>
                <a:gd name="connsiteY3592" fmla="*/ 831852 h 1762127"/>
                <a:gd name="connsiteX3593" fmla="*/ 8596195 w 9759834"/>
                <a:gd name="connsiteY3593" fmla="*/ 797720 h 1762127"/>
                <a:gd name="connsiteX3594" fmla="*/ 8630327 w 9759834"/>
                <a:gd name="connsiteY3594" fmla="*/ 763588 h 1762127"/>
                <a:gd name="connsiteX3595" fmla="*/ 8544602 w 9759834"/>
                <a:gd name="connsiteY3595" fmla="*/ 763588 h 1762127"/>
                <a:gd name="connsiteX3596" fmla="*/ 8578734 w 9759834"/>
                <a:gd name="connsiteY3596" fmla="*/ 797720 h 1762127"/>
                <a:gd name="connsiteX3597" fmla="*/ 8544602 w 9759834"/>
                <a:gd name="connsiteY3597" fmla="*/ 831852 h 1762127"/>
                <a:gd name="connsiteX3598" fmla="*/ 8510470 w 9759834"/>
                <a:gd name="connsiteY3598" fmla="*/ 797720 h 1762127"/>
                <a:gd name="connsiteX3599" fmla="*/ 8544602 w 9759834"/>
                <a:gd name="connsiteY3599" fmla="*/ 763588 h 1762127"/>
                <a:gd name="connsiteX3600" fmla="*/ 8465227 w 9759834"/>
                <a:gd name="connsiteY3600" fmla="*/ 763588 h 1762127"/>
                <a:gd name="connsiteX3601" fmla="*/ 8499359 w 9759834"/>
                <a:gd name="connsiteY3601" fmla="*/ 797720 h 1762127"/>
                <a:gd name="connsiteX3602" fmla="*/ 8465227 w 9759834"/>
                <a:gd name="connsiteY3602" fmla="*/ 831852 h 1762127"/>
                <a:gd name="connsiteX3603" fmla="*/ 8431095 w 9759834"/>
                <a:gd name="connsiteY3603" fmla="*/ 797720 h 1762127"/>
                <a:gd name="connsiteX3604" fmla="*/ 8465227 w 9759834"/>
                <a:gd name="connsiteY3604" fmla="*/ 763588 h 1762127"/>
                <a:gd name="connsiteX3605" fmla="*/ 8379502 w 9759834"/>
                <a:gd name="connsiteY3605" fmla="*/ 763588 h 1762127"/>
                <a:gd name="connsiteX3606" fmla="*/ 8413634 w 9759834"/>
                <a:gd name="connsiteY3606" fmla="*/ 797720 h 1762127"/>
                <a:gd name="connsiteX3607" fmla="*/ 8379502 w 9759834"/>
                <a:gd name="connsiteY3607" fmla="*/ 831852 h 1762127"/>
                <a:gd name="connsiteX3608" fmla="*/ 8345370 w 9759834"/>
                <a:gd name="connsiteY3608" fmla="*/ 797720 h 1762127"/>
                <a:gd name="connsiteX3609" fmla="*/ 8379502 w 9759834"/>
                <a:gd name="connsiteY3609" fmla="*/ 763588 h 1762127"/>
                <a:gd name="connsiteX3610" fmla="*/ 8293777 w 9759834"/>
                <a:gd name="connsiteY3610" fmla="*/ 763588 h 1762127"/>
                <a:gd name="connsiteX3611" fmla="*/ 8327909 w 9759834"/>
                <a:gd name="connsiteY3611" fmla="*/ 797720 h 1762127"/>
                <a:gd name="connsiteX3612" fmla="*/ 8293777 w 9759834"/>
                <a:gd name="connsiteY3612" fmla="*/ 831852 h 1762127"/>
                <a:gd name="connsiteX3613" fmla="*/ 8259645 w 9759834"/>
                <a:gd name="connsiteY3613" fmla="*/ 797720 h 1762127"/>
                <a:gd name="connsiteX3614" fmla="*/ 8293777 w 9759834"/>
                <a:gd name="connsiteY3614" fmla="*/ 763588 h 1762127"/>
                <a:gd name="connsiteX3615" fmla="*/ 8208052 w 9759834"/>
                <a:gd name="connsiteY3615" fmla="*/ 763588 h 1762127"/>
                <a:gd name="connsiteX3616" fmla="*/ 8242184 w 9759834"/>
                <a:gd name="connsiteY3616" fmla="*/ 797720 h 1762127"/>
                <a:gd name="connsiteX3617" fmla="*/ 8208052 w 9759834"/>
                <a:gd name="connsiteY3617" fmla="*/ 831852 h 1762127"/>
                <a:gd name="connsiteX3618" fmla="*/ 8173920 w 9759834"/>
                <a:gd name="connsiteY3618" fmla="*/ 797720 h 1762127"/>
                <a:gd name="connsiteX3619" fmla="*/ 8208052 w 9759834"/>
                <a:gd name="connsiteY3619" fmla="*/ 763588 h 1762127"/>
                <a:gd name="connsiteX3620" fmla="*/ 8125502 w 9759834"/>
                <a:gd name="connsiteY3620" fmla="*/ 763588 h 1762127"/>
                <a:gd name="connsiteX3621" fmla="*/ 8162809 w 9759834"/>
                <a:gd name="connsiteY3621" fmla="*/ 797720 h 1762127"/>
                <a:gd name="connsiteX3622" fmla="*/ 8125502 w 9759834"/>
                <a:gd name="connsiteY3622" fmla="*/ 831852 h 1762127"/>
                <a:gd name="connsiteX3623" fmla="*/ 8088195 w 9759834"/>
                <a:gd name="connsiteY3623" fmla="*/ 797720 h 1762127"/>
                <a:gd name="connsiteX3624" fmla="*/ 8125502 w 9759834"/>
                <a:gd name="connsiteY3624" fmla="*/ 763588 h 1762127"/>
                <a:gd name="connsiteX3625" fmla="*/ 8042952 w 9759834"/>
                <a:gd name="connsiteY3625" fmla="*/ 763588 h 1762127"/>
                <a:gd name="connsiteX3626" fmla="*/ 8077084 w 9759834"/>
                <a:gd name="connsiteY3626" fmla="*/ 797720 h 1762127"/>
                <a:gd name="connsiteX3627" fmla="*/ 8042952 w 9759834"/>
                <a:gd name="connsiteY3627" fmla="*/ 831852 h 1762127"/>
                <a:gd name="connsiteX3628" fmla="*/ 8008820 w 9759834"/>
                <a:gd name="connsiteY3628" fmla="*/ 797720 h 1762127"/>
                <a:gd name="connsiteX3629" fmla="*/ 8042952 w 9759834"/>
                <a:gd name="connsiteY3629" fmla="*/ 763588 h 1762127"/>
                <a:gd name="connsiteX3630" fmla="*/ 7957227 w 9759834"/>
                <a:gd name="connsiteY3630" fmla="*/ 763588 h 1762127"/>
                <a:gd name="connsiteX3631" fmla="*/ 7991359 w 9759834"/>
                <a:gd name="connsiteY3631" fmla="*/ 797720 h 1762127"/>
                <a:gd name="connsiteX3632" fmla="*/ 7957227 w 9759834"/>
                <a:gd name="connsiteY3632" fmla="*/ 831852 h 1762127"/>
                <a:gd name="connsiteX3633" fmla="*/ 7923095 w 9759834"/>
                <a:gd name="connsiteY3633" fmla="*/ 797720 h 1762127"/>
                <a:gd name="connsiteX3634" fmla="*/ 7957227 w 9759834"/>
                <a:gd name="connsiteY3634" fmla="*/ 763588 h 1762127"/>
                <a:gd name="connsiteX3635" fmla="*/ 7871502 w 9759834"/>
                <a:gd name="connsiteY3635" fmla="*/ 763588 h 1762127"/>
                <a:gd name="connsiteX3636" fmla="*/ 7905634 w 9759834"/>
                <a:gd name="connsiteY3636" fmla="*/ 797720 h 1762127"/>
                <a:gd name="connsiteX3637" fmla="*/ 7871502 w 9759834"/>
                <a:gd name="connsiteY3637" fmla="*/ 831852 h 1762127"/>
                <a:gd name="connsiteX3638" fmla="*/ 7837370 w 9759834"/>
                <a:gd name="connsiteY3638" fmla="*/ 797720 h 1762127"/>
                <a:gd name="connsiteX3639" fmla="*/ 7871502 w 9759834"/>
                <a:gd name="connsiteY3639" fmla="*/ 763588 h 1762127"/>
                <a:gd name="connsiteX3640" fmla="*/ 7785777 w 9759834"/>
                <a:gd name="connsiteY3640" fmla="*/ 763588 h 1762127"/>
                <a:gd name="connsiteX3641" fmla="*/ 7819909 w 9759834"/>
                <a:gd name="connsiteY3641" fmla="*/ 797720 h 1762127"/>
                <a:gd name="connsiteX3642" fmla="*/ 7785777 w 9759834"/>
                <a:gd name="connsiteY3642" fmla="*/ 831852 h 1762127"/>
                <a:gd name="connsiteX3643" fmla="*/ 7751645 w 9759834"/>
                <a:gd name="connsiteY3643" fmla="*/ 797720 h 1762127"/>
                <a:gd name="connsiteX3644" fmla="*/ 7785777 w 9759834"/>
                <a:gd name="connsiteY3644" fmla="*/ 763588 h 1762127"/>
                <a:gd name="connsiteX3645" fmla="*/ 7706402 w 9759834"/>
                <a:gd name="connsiteY3645" fmla="*/ 763588 h 1762127"/>
                <a:gd name="connsiteX3646" fmla="*/ 7740534 w 9759834"/>
                <a:gd name="connsiteY3646" fmla="*/ 797720 h 1762127"/>
                <a:gd name="connsiteX3647" fmla="*/ 7706402 w 9759834"/>
                <a:gd name="connsiteY3647" fmla="*/ 831852 h 1762127"/>
                <a:gd name="connsiteX3648" fmla="*/ 7672270 w 9759834"/>
                <a:gd name="connsiteY3648" fmla="*/ 797720 h 1762127"/>
                <a:gd name="connsiteX3649" fmla="*/ 7706402 w 9759834"/>
                <a:gd name="connsiteY3649" fmla="*/ 763588 h 1762127"/>
                <a:gd name="connsiteX3650" fmla="*/ 7620677 w 9759834"/>
                <a:gd name="connsiteY3650" fmla="*/ 763588 h 1762127"/>
                <a:gd name="connsiteX3651" fmla="*/ 7654809 w 9759834"/>
                <a:gd name="connsiteY3651" fmla="*/ 797720 h 1762127"/>
                <a:gd name="connsiteX3652" fmla="*/ 7620677 w 9759834"/>
                <a:gd name="connsiteY3652" fmla="*/ 831852 h 1762127"/>
                <a:gd name="connsiteX3653" fmla="*/ 7586545 w 9759834"/>
                <a:gd name="connsiteY3653" fmla="*/ 797720 h 1762127"/>
                <a:gd name="connsiteX3654" fmla="*/ 7620677 w 9759834"/>
                <a:gd name="connsiteY3654" fmla="*/ 763588 h 1762127"/>
                <a:gd name="connsiteX3655" fmla="*/ 7534952 w 9759834"/>
                <a:gd name="connsiteY3655" fmla="*/ 763588 h 1762127"/>
                <a:gd name="connsiteX3656" fmla="*/ 7569084 w 9759834"/>
                <a:gd name="connsiteY3656" fmla="*/ 797720 h 1762127"/>
                <a:gd name="connsiteX3657" fmla="*/ 7534952 w 9759834"/>
                <a:gd name="connsiteY3657" fmla="*/ 831852 h 1762127"/>
                <a:gd name="connsiteX3658" fmla="*/ 7500820 w 9759834"/>
                <a:gd name="connsiteY3658" fmla="*/ 797720 h 1762127"/>
                <a:gd name="connsiteX3659" fmla="*/ 7534952 w 9759834"/>
                <a:gd name="connsiteY3659" fmla="*/ 763588 h 1762127"/>
                <a:gd name="connsiteX3660" fmla="*/ 7449227 w 9759834"/>
                <a:gd name="connsiteY3660" fmla="*/ 763588 h 1762127"/>
                <a:gd name="connsiteX3661" fmla="*/ 7483359 w 9759834"/>
                <a:gd name="connsiteY3661" fmla="*/ 797720 h 1762127"/>
                <a:gd name="connsiteX3662" fmla="*/ 7449227 w 9759834"/>
                <a:gd name="connsiteY3662" fmla="*/ 831852 h 1762127"/>
                <a:gd name="connsiteX3663" fmla="*/ 7415095 w 9759834"/>
                <a:gd name="connsiteY3663" fmla="*/ 797720 h 1762127"/>
                <a:gd name="connsiteX3664" fmla="*/ 7449227 w 9759834"/>
                <a:gd name="connsiteY3664" fmla="*/ 763588 h 1762127"/>
                <a:gd name="connsiteX3665" fmla="*/ 7366677 w 9759834"/>
                <a:gd name="connsiteY3665" fmla="*/ 763588 h 1762127"/>
                <a:gd name="connsiteX3666" fmla="*/ 7403984 w 9759834"/>
                <a:gd name="connsiteY3666" fmla="*/ 797720 h 1762127"/>
                <a:gd name="connsiteX3667" fmla="*/ 7366677 w 9759834"/>
                <a:gd name="connsiteY3667" fmla="*/ 831852 h 1762127"/>
                <a:gd name="connsiteX3668" fmla="*/ 7329370 w 9759834"/>
                <a:gd name="connsiteY3668" fmla="*/ 797720 h 1762127"/>
                <a:gd name="connsiteX3669" fmla="*/ 7366677 w 9759834"/>
                <a:gd name="connsiteY3669" fmla="*/ 763588 h 1762127"/>
                <a:gd name="connsiteX3670" fmla="*/ 7284127 w 9759834"/>
                <a:gd name="connsiteY3670" fmla="*/ 763588 h 1762127"/>
                <a:gd name="connsiteX3671" fmla="*/ 7318259 w 9759834"/>
                <a:gd name="connsiteY3671" fmla="*/ 797720 h 1762127"/>
                <a:gd name="connsiteX3672" fmla="*/ 7284127 w 9759834"/>
                <a:gd name="connsiteY3672" fmla="*/ 831852 h 1762127"/>
                <a:gd name="connsiteX3673" fmla="*/ 7249995 w 9759834"/>
                <a:gd name="connsiteY3673" fmla="*/ 797720 h 1762127"/>
                <a:gd name="connsiteX3674" fmla="*/ 7284127 w 9759834"/>
                <a:gd name="connsiteY3674" fmla="*/ 763588 h 1762127"/>
                <a:gd name="connsiteX3675" fmla="*/ 7198402 w 9759834"/>
                <a:gd name="connsiteY3675" fmla="*/ 763588 h 1762127"/>
                <a:gd name="connsiteX3676" fmla="*/ 7232534 w 9759834"/>
                <a:gd name="connsiteY3676" fmla="*/ 797720 h 1762127"/>
                <a:gd name="connsiteX3677" fmla="*/ 7198402 w 9759834"/>
                <a:gd name="connsiteY3677" fmla="*/ 831852 h 1762127"/>
                <a:gd name="connsiteX3678" fmla="*/ 7164270 w 9759834"/>
                <a:gd name="connsiteY3678" fmla="*/ 797720 h 1762127"/>
                <a:gd name="connsiteX3679" fmla="*/ 7198402 w 9759834"/>
                <a:gd name="connsiteY3679" fmla="*/ 763588 h 1762127"/>
                <a:gd name="connsiteX3680" fmla="*/ 7112677 w 9759834"/>
                <a:gd name="connsiteY3680" fmla="*/ 763588 h 1762127"/>
                <a:gd name="connsiteX3681" fmla="*/ 7146809 w 9759834"/>
                <a:gd name="connsiteY3681" fmla="*/ 797720 h 1762127"/>
                <a:gd name="connsiteX3682" fmla="*/ 7112677 w 9759834"/>
                <a:gd name="connsiteY3682" fmla="*/ 831852 h 1762127"/>
                <a:gd name="connsiteX3683" fmla="*/ 7078545 w 9759834"/>
                <a:gd name="connsiteY3683" fmla="*/ 797720 h 1762127"/>
                <a:gd name="connsiteX3684" fmla="*/ 7112677 w 9759834"/>
                <a:gd name="connsiteY3684" fmla="*/ 763588 h 1762127"/>
                <a:gd name="connsiteX3685" fmla="*/ 7027745 w 9759834"/>
                <a:gd name="connsiteY3685" fmla="*/ 763588 h 1762127"/>
                <a:gd name="connsiteX3686" fmla="*/ 7062670 w 9759834"/>
                <a:gd name="connsiteY3686" fmla="*/ 797720 h 1762127"/>
                <a:gd name="connsiteX3687" fmla="*/ 7027745 w 9759834"/>
                <a:gd name="connsiteY3687" fmla="*/ 831852 h 1762127"/>
                <a:gd name="connsiteX3688" fmla="*/ 6992820 w 9759834"/>
                <a:gd name="connsiteY3688" fmla="*/ 797720 h 1762127"/>
                <a:gd name="connsiteX3689" fmla="*/ 7027745 w 9759834"/>
                <a:gd name="connsiteY3689" fmla="*/ 763588 h 1762127"/>
                <a:gd name="connsiteX3690" fmla="*/ 6861852 w 9759834"/>
                <a:gd name="connsiteY3690" fmla="*/ 763588 h 1762127"/>
                <a:gd name="connsiteX3691" fmla="*/ 6895984 w 9759834"/>
                <a:gd name="connsiteY3691" fmla="*/ 797720 h 1762127"/>
                <a:gd name="connsiteX3692" fmla="*/ 6861852 w 9759834"/>
                <a:gd name="connsiteY3692" fmla="*/ 831852 h 1762127"/>
                <a:gd name="connsiteX3693" fmla="*/ 6827720 w 9759834"/>
                <a:gd name="connsiteY3693" fmla="*/ 797720 h 1762127"/>
                <a:gd name="connsiteX3694" fmla="*/ 6861852 w 9759834"/>
                <a:gd name="connsiteY3694" fmla="*/ 763588 h 1762127"/>
                <a:gd name="connsiteX3695" fmla="*/ 6776127 w 9759834"/>
                <a:gd name="connsiteY3695" fmla="*/ 763588 h 1762127"/>
                <a:gd name="connsiteX3696" fmla="*/ 6810259 w 9759834"/>
                <a:gd name="connsiteY3696" fmla="*/ 797720 h 1762127"/>
                <a:gd name="connsiteX3697" fmla="*/ 6776127 w 9759834"/>
                <a:gd name="connsiteY3697" fmla="*/ 831852 h 1762127"/>
                <a:gd name="connsiteX3698" fmla="*/ 6741995 w 9759834"/>
                <a:gd name="connsiteY3698" fmla="*/ 797720 h 1762127"/>
                <a:gd name="connsiteX3699" fmla="*/ 6776127 w 9759834"/>
                <a:gd name="connsiteY3699" fmla="*/ 763588 h 1762127"/>
                <a:gd name="connsiteX3700" fmla="*/ 6607852 w 9759834"/>
                <a:gd name="connsiteY3700" fmla="*/ 763588 h 1762127"/>
                <a:gd name="connsiteX3701" fmla="*/ 6645159 w 9759834"/>
                <a:gd name="connsiteY3701" fmla="*/ 797720 h 1762127"/>
                <a:gd name="connsiteX3702" fmla="*/ 6607852 w 9759834"/>
                <a:gd name="connsiteY3702" fmla="*/ 831852 h 1762127"/>
                <a:gd name="connsiteX3703" fmla="*/ 6570545 w 9759834"/>
                <a:gd name="connsiteY3703" fmla="*/ 797720 h 1762127"/>
                <a:gd name="connsiteX3704" fmla="*/ 6607852 w 9759834"/>
                <a:gd name="connsiteY3704" fmla="*/ 763588 h 1762127"/>
                <a:gd name="connsiteX3705" fmla="*/ 6525302 w 9759834"/>
                <a:gd name="connsiteY3705" fmla="*/ 763588 h 1762127"/>
                <a:gd name="connsiteX3706" fmla="*/ 6559434 w 9759834"/>
                <a:gd name="connsiteY3706" fmla="*/ 797720 h 1762127"/>
                <a:gd name="connsiteX3707" fmla="*/ 6525302 w 9759834"/>
                <a:gd name="connsiteY3707" fmla="*/ 831852 h 1762127"/>
                <a:gd name="connsiteX3708" fmla="*/ 6491170 w 9759834"/>
                <a:gd name="connsiteY3708" fmla="*/ 797720 h 1762127"/>
                <a:gd name="connsiteX3709" fmla="*/ 6525302 w 9759834"/>
                <a:gd name="connsiteY3709" fmla="*/ 763588 h 1762127"/>
                <a:gd name="connsiteX3710" fmla="*/ 6188752 w 9759834"/>
                <a:gd name="connsiteY3710" fmla="*/ 763588 h 1762127"/>
                <a:gd name="connsiteX3711" fmla="*/ 6222884 w 9759834"/>
                <a:gd name="connsiteY3711" fmla="*/ 797720 h 1762127"/>
                <a:gd name="connsiteX3712" fmla="*/ 6188752 w 9759834"/>
                <a:gd name="connsiteY3712" fmla="*/ 831852 h 1762127"/>
                <a:gd name="connsiteX3713" fmla="*/ 6154620 w 9759834"/>
                <a:gd name="connsiteY3713" fmla="*/ 797720 h 1762127"/>
                <a:gd name="connsiteX3714" fmla="*/ 6188752 w 9759834"/>
                <a:gd name="connsiteY3714" fmla="*/ 763588 h 1762127"/>
                <a:gd name="connsiteX3715" fmla="*/ 5680752 w 9759834"/>
                <a:gd name="connsiteY3715" fmla="*/ 763588 h 1762127"/>
                <a:gd name="connsiteX3716" fmla="*/ 5714884 w 9759834"/>
                <a:gd name="connsiteY3716" fmla="*/ 797720 h 1762127"/>
                <a:gd name="connsiteX3717" fmla="*/ 5680752 w 9759834"/>
                <a:gd name="connsiteY3717" fmla="*/ 831852 h 1762127"/>
                <a:gd name="connsiteX3718" fmla="*/ 5646620 w 9759834"/>
                <a:gd name="connsiteY3718" fmla="*/ 797720 h 1762127"/>
                <a:gd name="connsiteX3719" fmla="*/ 5680752 w 9759834"/>
                <a:gd name="connsiteY3719" fmla="*/ 763588 h 1762127"/>
                <a:gd name="connsiteX3720" fmla="*/ 5595820 w 9759834"/>
                <a:gd name="connsiteY3720" fmla="*/ 763588 h 1762127"/>
                <a:gd name="connsiteX3721" fmla="*/ 5630745 w 9759834"/>
                <a:gd name="connsiteY3721" fmla="*/ 797720 h 1762127"/>
                <a:gd name="connsiteX3722" fmla="*/ 5595820 w 9759834"/>
                <a:gd name="connsiteY3722" fmla="*/ 831852 h 1762127"/>
                <a:gd name="connsiteX3723" fmla="*/ 5560895 w 9759834"/>
                <a:gd name="connsiteY3723" fmla="*/ 797720 h 1762127"/>
                <a:gd name="connsiteX3724" fmla="*/ 5595820 w 9759834"/>
                <a:gd name="connsiteY3724" fmla="*/ 763588 h 1762127"/>
                <a:gd name="connsiteX3725" fmla="*/ 4332171 w 9759834"/>
                <a:gd name="connsiteY3725" fmla="*/ 763588 h 1762127"/>
                <a:gd name="connsiteX3726" fmla="*/ 4368684 w 9759834"/>
                <a:gd name="connsiteY3726" fmla="*/ 797720 h 1762127"/>
                <a:gd name="connsiteX3727" fmla="*/ 4332171 w 9759834"/>
                <a:gd name="connsiteY3727" fmla="*/ 831852 h 1762127"/>
                <a:gd name="connsiteX3728" fmla="*/ 4295658 w 9759834"/>
                <a:gd name="connsiteY3728" fmla="*/ 797720 h 1762127"/>
                <a:gd name="connsiteX3729" fmla="*/ 4332171 w 9759834"/>
                <a:gd name="connsiteY3729" fmla="*/ 763588 h 1762127"/>
                <a:gd name="connsiteX3730" fmla="*/ 4248827 w 9759834"/>
                <a:gd name="connsiteY3730" fmla="*/ 763588 h 1762127"/>
                <a:gd name="connsiteX3731" fmla="*/ 4282959 w 9759834"/>
                <a:gd name="connsiteY3731" fmla="*/ 797720 h 1762127"/>
                <a:gd name="connsiteX3732" fmla="*/ 4248827 w 9759834"/>
                <a:gd name="connsiteY3732" fmla="*/ 831852 h 1762127"/>
                <a:gd name="connsiteX3733" fmla="*/ 4214695 w 9759834"/>
                <a:gd name="connsiteY3733" fmla="*/ 797720 h 1762127"/>
                <a:gd name="connsiteX3734" fmla="*/ 4248827 w 9759834"/>
                <a:gd name="connsiteY3734" fmla="*/ 763588 h 1762127"/>
                <a:gd name="connsiteX3735" fmla="*/ 4163895 w 9759834"/>
                <a:gd name="connsiteY3735" fmla="*/ 763588 h 1762127"/>
                <a:gd name="connsiteX3736" fmla="*/ 4198820 w 9759834"/>
                <a:gd name="connsiteY3736" fmla="*/ 797720 h 1762127"/>
                <a:gd name="connsiteX3737" fmla="*/ 4163895 w 9759834"/>
                <a:gd name="connsiteY3737" fmla="*/ 831852 h 1762127"/>
                <a:gd name="connsiteX3738" fmla="*/ 4128970 w 9759834"/>
                <a:gd name="connsiteY3738" fmla="*/ 797720 h 1762127"/>
                <a:gd name="connsiteX3739" fmla="*/ 4163895 w 9759834"/>
                <a:gd name="connsiteY3739" fmla="*/ 763588 h 1762127"/>
                <a:gd name="connsiteX3740" fmla="*/ 4078170 w 9759834"/>
                <a:gd name="connsiteY3740" fmla="*/ 763588 h 1762127"/>
                <a:gd name="connsiteX3741" fmla="*/ 4113095 w 9759834"/>
                <a:gd name="connsiteY3741" fmla="*/ 797720 h 1762127"/>
                <a:gd name="connsiteX3742" fmla="*/ 4078170 w 9759834"/>
                <a:gd name="connsiteY3742" fmla="*/ 831852 h 1762127"/>
                <a:gd name="connsiteX3743" fmla="*/ 4043245 w 9759834"/>
                <a:gd name="connsiteY3743" fmla="*/ 797720 h 1762127"/>
                <a:gd name="connsiteX3744" fmla="*/ 4078170 w 9759834"/>
                <a:gd name="connsiteY3744" fmla="*/ 763588 h 1762127"/>
                <a:gd name="connsiteX3745" fmla="*/ 3993240 w 9759834"/>
                <a:gd name="connsiteY3745" fmla="*/ 763588 h 1762127"/>
                <a:gd name="connsiteX3746" fmla="*/ 4027372 w 9759834"/>
                <a:gd name="connsiteY3746" fmla="*/ 797720 h 1762127"/>
                <a:gd name="connsiteX3747" fmla="*/ 3993240 w 9759834"/>
                <a:gd name="connsiteY3747" fmla="*/ 831852 h 1762127"/>
                <a:gd name="connsiteX3748" fmla="*/ 3959108 w 9759834"/>
                <a:gd name="connsiteY3748" fmla="*/ 797720 h 1762127"/>
                <a:gd name="connsiteX3749" fmla="*/ 3993240 w 9759834"/>
                <a:gd name="connsiteY3749" fmla="*/ 763588 h 1762127"/>
                <a:gd name="connsiteX3750" fmla="*/ 3912277 w 9759834"/>
                <a:gd name="connsiteY3750" fmla="*/ 763588 h 1762127"/>
                <a:gd name="connsiteX3751" fmla="*/ 3946409 w 9759834"/>
                <a:gd name="connsiteY3751" fmla="*/ 797720 h 1762127"/>
                <a:gd name="connsiteX3752" fmla="*/ 3912277 w 9759834"/>
                <a:gd name="connsiteY3752" fmla="*/ 831852 h 1762127"/>
                <a:gd name="connsiteX3753" fmla="*/ 3878145 w 9759834"/>
                <a:gd name="connsiteY3753" fmla="*/ 797720 h 1762127"/>
                <a:gd name="connsiteX3754" fmla="*/ 3912277 w 9759834"/>
                <a:gd name="connsiteY3754" fmla="*/ 763588 h 1762127"/>
                <a:gd name="connsiteX3755" fmla="*/ 3826552 w 9759834"/>
                <a:gd name="connsiteY3755" fmla="*/ 763588 h 1762127"/>
                <a:gd name="connsiteX3756" fmla="*/ 3860684 w 9759834"/>
                <a:gd name="connsiteY3756" fmla="*/ 797720 h 1762127"/>
                <a:gd name="connsiteX3757" fmla="*/ 3826552 w 9759834"/>
                <a:gd name="connsiteY3757" fmla="*/ 831852 h 1762127"/>
                <a:gd name="connsiteX3758" fmla="*/ 3792420 w 9759834"/>
                <a:gd name="connsiteY3758" fmla="*/ 797720 h 1762127"/>
                <a:gd name="connsiteX3759" fmla="*/ 3826552 w 9759834"/>
                <a:gd name="connsiteY3759" fmla="*/ 763588 h 1762127"/>
                <a:gd name="connsiteX3760" fmla="*/ 3234415 w 9759834"/>
                <a:gd name="connsiteY3760" fmla="*/ 763588 h 1762127"/>
                <a:gd name="connsiteX3761" fmla="*/ 3268547 w 9759834"/>
                <a:gd name="connsiteY3761" fmla="*/ 797720 h 1762127"/>
                <a:gd name="connsiteX3762" fmla="*/ 3234415 w 9759834"/>
                <a:gd name="connsiteY3762" fmla="*/ 831852 h 1762127"/>
                <a:gd name="connsiteX3763" fmla="*/ 3200283 w 9759834"/>
                <a:gd name="connsiteY3763" fmla="*/ 797720 h 1762127"/>
                <a:gd name="connsiteX3764" fmla="*/ 3234415 w 9759834"/>
                <a:gd name="connsiteY3764" fmla="*/ 763588 h 1762127"/>
                <a:gd name="connsiteX3765" fmla="*/ 3068520 w 9759834"/>
                <a:gd name="connsiteY3765" fmla="*/ 763588 h 1762127"/>
                <a:gd name="connsiteX3766" fmla="*/ 3103445 w 9759834"/>
                <a:gd name="connsiteY3766" fmla="*/ 797720 h 1762127"/>
                <a:gd name="connsiteX3767" fmla="*/ 3068520 w 9759834"/>
                <a:gd name="connsiteY3767" fmla="*/ 831852 h 1762127"/>
                <a:gd name="connsiteX3768" fmla="*/ 3033595 w 9759834"/>
                <a:gd name="connsiteY3768" fmla="*/ 797720 h 1762127"/>
                <a:gd name="connsiteX3769" fmla="*/ 3068520 w 9759834"/>
                <a:gd name="connsiteY3769" fmla="*/ 763588 h 1762127"/>
                <a:gd name="connsiteX3770" fmla="*/ 2897865 w 9759834"/>
                <a:gd name="connsiteY3770" fmla="*/ 763588 h 1762127"/>
                <a:gd name="connsiteX3771" fmla="*/ 2931997 w 9759834"/>
                <a:gd name="connsiteY3771" fmla="*/ 797720 h 1762127"/>
                <a:gd name="connsiteX3772" fmla="*/ 2897865 w 9759834"/>
                <a:gd name="connsiteY3772" fmla="*/ 831852 h 1762127"/>
                <a:gd name="connsiteX3773" fmla="*/ 2863733 w 9759834"/>
                <a:gd name="connsiteY3773" fmla="*/ 797720 h 1762127"/>
                <a:gd name="connsiteX3774" fmla="*/ 2897865 w 9759834"/>
                <a:gd name="connsiteY3774" fmla="*/ 763588 h 1762127"/>
                <a:gd name="connsiteX3775" fmla="*/ 2814521 w 9759834"/>
                <a:gd name="connsiteY3775" fmla="*/ 763588 h 1762127"/>
                <a:gd name="connsiteX3776" fmla="*/ 2851034 w 9759834"/>
                <a:gd name="connsiteY3776" fmla="*/ 797720 h 1762127"/>
                <a:gd name="connsiteX3777" fmla="*/ 2814521 w 9759834"/>
                <a:gd name="connsiteY3777" fmla="*/ 831852 h 1762127"/>
                <a:gd name="connsiteX3778" fmla="*/ 2778008 w 9759834"/>
                <a:gd name="connsiteY3778" fmla="*/ 797720 h 1762127"/>
                <a:gd name="connsiteX3779" fmla="*/ 2814521 w 9759834"/>
                <a:gd name="connsiteY3779" fmla="*/ 763588 h 1762127"/>
                <a:gd name="connsiteX3780" fmla="*/ 2732006 w 9759834"/>
                <a:gd name="connsiteY3780" fmla="*/ 763588 h 1762127"/>
                <a:gd name="connsiteX3781" fmla="*/ 2766930 w 9759834"/>
                <a:gd name="connsiteY3781" fmla="*/ 797720 h 1762127"/>
                <a:gd name="connsiteX3782" fmla="*/ 2732006 w 9759834"/>
                <a:gd name="connsiteY3782" fmla="*/ 831852 h 1762127"/>
                <a:gd name="connsiteX3783" fmla="*/ 2697081 w 9759834"/>
                <a:gd name="connsiteY3783" fmla="*/ 797720 h 1762127"/>
                <a:gd name="connsiteX3784" fmla="*/ 2732006 w 9759834"/>
                <a:gd name="connsiteY3784" fmla="*/ 763588 h 1762127"/>
                <a:gd name="connsiteX3785" fmla="*/ 2646283 w 9759834"/>
                <a:gd name="connsiteY3785" fmla="*/ 763588 h 1762127"/>
                <a:gd name="connsiteX3786" fmla="*/ 2681207 w 9759834"/>
                <a:gd name="connsiteY3786" fmla="*/ 797720 h 1762127"/>
                <a:gd name="connsiteX3787" fmla="*/ 2646283 w 9759834"/>
                <a:gd name="connsiteY3787" fmla="*/ 831852 h 1762127"/>
                <a:gd name="connsiteX3788" fmla="*/ 2611358 w 9759834"/>
                <a:gd name="connsiteY3788" fmla="*/ 797720 h 1762127"/>
                <a:gd name="connsiteX3789" fmla="*/ 2646283 w 9759834"/>
                <a:gd name="connsiteY3789" fmla="*/ 763588 h 1762127"/>
                <a:gd name="connsiteX3790" fmla="*/ 2561353 w 9759834"/>
                <a:gd name="connsiteY3790" fmla="*/ 763588 h 1762127"/>
                <a:gd name="connsiteX3791" fmla="*/ 2595485 w 9759834"/>
                <a:gd name="connsiteY3791" fmla="*/ 797720 h 1762127"/>
                <a:gd name="connsiteX3792" fmla="*/ 2561353 w 9759834"/>
                <a:gd name="connsiteY3792" fmla="*/ 831852 h 1762127"/>
                <a:gd name="connsiteX3793" fmla="*/ 2527220 w 9759834"/>
                <a:gd name="connsiteY3793" fmla="*/ 797720 h 1762127"/>
                <a:gd name="connsiteX3794" fmla="*/ 2561353 w 9759834"/>
                <a:gd name="connsiteY3794" fmla="*/ 763588 h 1762127"/>
                <a:gd name="connsiteX3795" fmla="*/ 2475627 w 9759834"/>
                <a:gd name="connsiteY3795" fmla="*/ 763588 h 1762127"/>
                <a:gd name="connsiteX3796" fmla="*/ 2509761 w 9759834"/>
                <a:gd name="connsiteY3796" fmla="*/ 797720 h 1762127"/>
                <a:gd name="connsiteX3797" fmla="*/ 2475627 w 9759834"/>
                <a:gd name="connsiteY3797" fmla="*/ 831852 h 1762127"/>
                <a:gd name="connsiteX3798" fmla="*/ 2441496 w 9759834"/>
                <a:gd name="connsiteY3798" fmla="*/ 797720 h 1762127"/>
                <a:gd name="connsiteX3799" fmla="*/ 2475627 w 9759834"/>
                <a:gd name="connsiteY3799" fmla="*/ 763588 h 1762127"/>
                <a:gd name="connsiteX3800" fmla="*/ 2394666 w 9759834"/>
                <a:gd name="connsiteY3800" fmla="*/ 763588 h 1762127"/>
                <a:gd name="connsiteX3801" fmla="*/ 2428797 w 9759834"/>
                <a:gd name="connsiteY3801" fmla="*/ 797720 h 1762127"/>
                <a:gd name="connsiteX3802" fmla="*/ 2394666 w 9759834"/>
                <a:gd name="connsiteY3802" fmla="*/ 831852 h 1762127"/>
                <a:gd name="connsiteX3803" fmla="*/ 2360533 w 9759834"/>
                <a:gd name="connsiteY3803" fmla="*/ 797720 h 1762127"/>
                <a:gd name="connsiteX3804" fmla="*/ 2394666 w 9759834"/>
                <a:gd name="connsiteY3804" fmla="*/ 763588 h 1762127"/>
                <a:gd name="connsiteX3805" fmla="*/ 2309733 w 9759834"/>
                <a:gd name="connsiteY3805" fmla="*/ 763588 h 1762127"/>
                <a:gd name="connsiteX3806" fmla="*/ 2344659 w 9759834"/>
                <a:gd name="connsiteY3806" fmla="*/ 797720 h 1762127"/>
                <a:gd name="connsiteX3807" fmla="*/ 2309733 w 9759834"/>
                <a:gd name="connsiteY3807" fmla="*/ 831852 h 1762127"/>
                <a:gd name="connsiteX3808" fmla="*/ 2274806 w 9759834"/>
                <a:gd name="connsiteY3808" fmla="*/ 797720 h 1762127"/>
                <a:gd name="connsiteX3809" fmla="*/ 2309733 w 9759834"/>
                <a:gd name="connsiteY3809" fmla="*/ 763588 h 1762127"/>
                <a:gd name="connsiteX3810" fmla="*/ 2224804 w 9759834"/>
                <a:gd name="connsiteY3810" fmla="*/ 763588 h 1762127"/>
                <a:gd name="connsiteX3811" fmla="*/ 2258936 w 9759834"/>
                <a:gd name="connsiteY3811" fmla="*/ 797720 h 1762127"/>
                <a:gd name="connsiteX3812" fmla="*/ 2224804 w 9759834"/>
                <a:gd name="connsiteY3812" fmla="*/ 831852 h 1762127"/>
                <a:gd name="connsiteX3813" fmla="*/ 2190671 w 9759834"/>
                <a:gd name="connsiteY3813" fmla="*/ 797720 h 1762127"/>
                <a:gd name="connsiteX3814" fmla="*/ 2224804 w 9759834"/>
                <a:gd name="connsiteY3814" fmla="*/ 763588 h 1762127"/>
                <a:gd name="connsiteX3815" fmla="*/ 2139081 w 9759834"/>
                <a:gd name="connsiteY3815" fmla="*/ 763588 h 1762127"/>
                <a:gd name="connsiteX3816" fmla="*/ 2173211 w 9759834"/>
                <a:gd name="connsiteY3816" fmla="*/ 797720 h 1762127"/>
                <a:gd name="connsiteX3817" fmla="*/ 2139081 w 9759834"/>
                <a:gd name="connsiteY3817" fmla="*/ 831852 h 1762127"/>
                <a:gd name="connsiteX3818" fmla="*/ 2104948 w 9759834"/>
                <a:gd name="connsiteY3818" fmla="*/ 797720 h 1762127"/>
                <a:gd name="connsiteX3819" fmla="*/ 2139081 w 9759834"/>
                <a:gd name="connsiteY3819" fmla="*/ 763588 h 1762127"/>
                <a:gd name="connsiteX3820" fmla="*/ 2055721 w 9759834"/>
                <a:gd name="connsiteY3820" fmla="*/ 763588 h 1762127"/>
                <a:gd name="connsiteX3821" fmla="*/ 2092234 w 9759834"/>
                <a:gd name="connsiteY3821" fmla="*/ 797720 h 1762127"/>
                <a:gd name="connsiteX3822" fmla="*/ 2055721 w 9759834"/>
                <a:gd name="connsiteY3822" fmla="*/ 831852 h 1762127"/>
                <a:gd name="connsiteX3823" fmla="*/ 2019209 w 9759834"/>
                <a:gd name="connsiteY3823" fmla="*/ 797720 h 1762127"/>
                <a:gd name="connsiteX3824" fmla="*/ 2055721 w 9759834"/>
                <a:gd name="connsiteY3824" fmla="*/ 763588 h 1762127"/>
                <a:gd name="connsiteX3825" fmla="*/ 1973171 w 9759834"/>
                <a:gd name="connsiteY3825" fmla="*/ 763588 h 1762127"/>
                <a:gd name="connsiteX3826" fmla="*/ 2008096 w 9759834"/>
                <a:gd name="connsiteY3826" fmla="*/ 797720 h 1762127"/>
                <a:gd name="connsiteX3827" fmla="*/ 1973171 w 9759834"/>
                <a:gd name="connsiteY3827" fmla="*/ 831852 h 1762127"/>
                <a:gd name="connsiteX3828" fmla="*/ 1938247 w 9759834"/>
                <a:gd name="connsiteY3828" fmla="*/ 797720 h 1762127"/>
                <a:gd name="connsiteX3829" fmla="*/ 1973171 w 9759834"/>
                <a:gd name="connsiteY3829" fmla="*/ 763588 h 1762127"/>
                <a:gd name="connsiteX3830" fmla="*/ 1888243 w 9759834"/>
                <a:gd name="connsiteY3830" fmla="*/ 763588 h 1762127"/>
                <a:gd name="connsiteX3831" fmla="*/ 1922374 w 9759834"/>
                <a:gd name="connsiteY3831" fmla="*/ 797720 h 1762127"/>
                <a:gd name="connsiteX3832" fmla="*/ 1888243 w 9759834"/>
                <a:gd name="connsiteY3832" fmla="*/ 831852 h 1762127"/>
                <a:gd name="connsiteX3833" fmla="*/ 1854111 w 9759834"/>
                <a:gd name="connsiteY3833" fmla="*/ 797720 h 1762127"/>
                <a:gd name="connsiteX3834" fmla="*/ 1888243 w 9759834"/>
                <a:gd name="connsiteY3834" fmla="*/ 763588 h 1762127"/>
                <a:gd name="connsiteX3835" fmla="*/ 1802519 w 9759834"/>
                <a:gd name="connsiteY3835" fmla="*/ 763588 h 1762127"/>
                <a:gd name="connsiteX3836" fmla="*/ 1836651 w 9759834"/>
                <a:gd name="connsiteY3836" fmla="*/ 797720 h 1762127"/>
                <a:gd name="connsiteX3837" fmla="*/ 1802519 w 9759834"/>
                <a:gd name="connsiteY3837" fmla="*/ 831852 h 1762127"/>
                <a:gd name="connsiteX3838" fmla="*/ 1768387 w 9759834"/>
                <a:gd name="connsiteY3838" fmla="*/ 797720 h 1762127"/>
                <a:gd name="connsiteX3839" fmla="*/ 1802519 w 9759834"/>
                <a:gd name="connsiteY3839" fmla="*/ 763588 h 1762127"/>
                <a:gd name="connsiteX3840" fmla="*/ 1719175 w 9759834"/>
                <a:gd name="connsiteY3840" fmla="*/ 763588 h 1762127"/>
                <a:gd name="connsiteX3841" fmla="*/ 1755688 w 9759834"/>
                <a:gd name="connsiteY3841" fmla="*/ 797720 h 1762127"/>
                <a:gd name="connsiteX3842" fmla="*/ 1719175 w 9759834"/>
                <a:gd name="connsiteY3842" fmla="*/ 831852 h 1762127"/>
                <a:gd name="connsiteX3843" fmla="*/ 1682662 w 9759834"/>
                <a:gd name="connsiteY3843" fmla="*/ 797720 h 1762127"/>
                <a:gd name="connsiteX3844" fmla="*/ 1719175 w 9759834"/>
                <a:gd name="connsiteY3844" fmla="*/ 763588 h 1762127"/>
                <a:gd name="connsiteX3845" fmla="*/ 1636620 w 9759834"/>
                <a:gd name="connsiteY3845" fmla="*/ 763588 h 1762127"/>
                <a:gd name="connsiteX3846" fmla="*/ 1671546 w 9759834"/>
                <a:gd name="connsiteY3846" fmla="*/ 797720 h 1762127"/>
                <a:gd name="connsiteX3847" fmla="*/ 1636620 w 9759834"/>
                <a:gd name="connsiteY3847" fmla="*/ 831852 h 1762127"/>
                <a:gd name="connsiteX3848" fmla="*/ 1601695 w 9759834"/>
                <a:gd name="connsiteY3848" fmla="*/ 797720 h 1762127"/>
                <a:gd name="connsiteX3849" fmla="*/ 1636620 w 9759834"/>
                <a:gd name="connsiteY3849" fmla="*/ 763588 h 1762127"/>
                <a:gd name="connsiteX3850" fmla="*/ 1551690 w 9759834"/>
                <a:gd name="connsiteY3850" fmla="*/ 763588 h 1762127"/>
                <a:gd name="connsiteX3851" fmla="*/ 1585822 w 9759834"/>
                <a:gd name="connsiteY3851" fmla="*/ 797720 h 1762127"/>
                <a:gd name="connsiteX3852" fmla="*/ 1551690 w 9759834"/>
                <a:gd name="connsiteY3852" fmla="*/ 831852 h 1762127"/>
                <a:gd name="connsiteX3853" fmla="*/ 1517557 w 9759834"/>
                <a:gd name="connsiteY3853" fmla="*/ 797720 h 1762127"/>
                <a:gd name="connsiteX3854" fmla="*/ 1551690 w 9759834"/>
                <a:gd name="connsiteY3854" fmla="*/ 763588 h 1762127"/>
                <a:gd name="connsiteX3855" fmla="*/ 1465955 w 9759834"/>
                <a:gd name="connsiteY3855" fmla="*/ 763588 h 1762127"/>
                <a:gd name="connsiteX3856" fmla="*/ 1500087 w 9759834"/>
                <a:gd name="connsiteY3856" fmla="*/ 797720 h 1762127"/>
                <a:gd name="connsiteX3857" fmla="*/ 1465955 w 9759834"/>
                <a:gd name="connsiteY3857" fmla="*/ 831852 h 1762127"/>
                <a:gd name="connsiteX3858" fmla="*/ 1431822 w 9759834"/>
                <a:gd name="connsiteY3858" fmla="*/ 797720 h 1762127"/>
                <a:gd name="connsiteX3859" fmla="*/ 1465955 w 9759834"/>
                <a:gd name="connsiteY3859" fmla="*/ 763588 h 1762127"/>
                <a:gd name="connsiteX3860" fmla="*/ 1380218 w 9759834"/>
                <a:gd name="connsiteY3860" fmla="*/ 763588 h 1762127"/>
                <a:gd name="connsiteX3861" fmla="*/ 1414351 w 9759834"/>
                <a:gd name="connsiteY3861" fmla="*/ 797720 h 1762127"/>
                <a:gd name="connsiteX3862" fmla="*/ 1380218 w 9759834"/>
                <a:gd name="connsiteY3862" fmla="*/ 831852 h 1762127"/>
                <a:gd name="connsiteX3863" fmla="*/ 1346087 w 9759834"/>
                <a:gd name="connsiteY3863" fmla="*/ 797720 h 1762127"/>
                <a:gd name="connsiteX3864" fmla="*/ 1380218 w 9759834"/>
                <a:gd name="connsiteY3864" fmla="*/ 763588 h 1762127"/>
                <a:gd name="connsiteX3865" fmla="*/ 1300049 w 9759834"/>
                <a:gd name="connsiteY3865" fmla="*/ 763588 h 1762127"/>
                <a:gd name="connsiteX3866" fmla="*/ 1334974 w 9759834"/>
                <a:gd name="connsiteY3866" fmla="*/ 797720 h 1762127"/>
                <a:gd name="connsiteX3867" fmla="*/ 1300049 w 9759834"/>
                <a:gd name="connsiteY3867" fmla="*/ 831852 h 1762127"/>
                <a:gd name="connsiteX3868" fmla="*/ 1265124 w 9759834"/>
                <a:gd name="connsiteY3868" fmla="*/ 797720 h 1762127"/>
                <a:gd name="connsiteX3869" fmla="*/ 1300049 w 9759834"/>
                <a:gd name="connsiteY3869" fmla="*/ 763588 h 1762127"/>
                <a:gd name="connsiteX3870" fmla="*/ 1214324 w 9759834"/>
                <a:gd name="connsiteY3870" fmla="*/ 763588 h 1762127"/>
                <a:gd name="connsiteX3871" fmla="*/ 1249249 w 9759834"/>
                <a:gd name="connsiteY3871" fmla="*/ 797720 h 1762127"/>
                <a:gd name="connsiteX3872" fmla="*/ 1214324 w 9759834"/>
                <a:gd name="connsiteY3872" fmla="*/ 831852 h 1762127"/>
                <a:gd name="connsiteX3873" fmla="*/ 1179399 w 9759834"/>
                <a:gd name="connsiteY3873" fmla="*/ 797720 h 1762127"/>
                <a:gd name="connsiteX3874" fmla="*/ 1214324 w 9759834"/>
                <a:gd name="connsiteY3874" fmla="*/ 763588 h 1762127"/>
                <a:gd name="connsiteX3875" fmla="*/ 1129569 w 9759834"/>
                <a:gd name="connsiteY3875" fmla="*/ 763588 h 1762127"/>
                <a:gd name="connsiteX3876" fmla="*/ 1163703 w 9759834"/>
                <a:gd name="connsiteY3876" fmla="*/ 797720 h 1762127"/>
                <a:gd name="connsiteX3877" fmla="*/ 1129569 w 9759834"/>
                <a:gd name="connsiteY3877" fmla="*/ 831852 h 1762127"/>
                <a:gd name="connsiteX3878" fmla="*/ 1095440 w 9759834"/>
                <a:gd name="connsiteY3878" fmla="*/ 797720 h 1762127"/>
                <a:gd name="connsiteX3879" fmla="*/ 1129569 w 9759834"/>
                <a:gd name="connsiteY3879" fmla="*/ 763588 h 1762127"/>
                <a:gd name="connsiteX3880" fmla="*/ 1043844 w 9759834"/>
                <a:gd name="connsiteY3880" fmla="*/ 763588 h 1762127"/>
                <a:gd name="connsiteX3881" fmla="*/ 1077977 w 9759834"/>
                <a:gd name="connsiteY3881" fmla="*/ 797720 h 1762127"/>
                <a:gd name="connsiteX3882" fmla="*/ 1043844 w 9759834"/>
                <a:gd name="connsiteY3882" fmla="*/ 831852 h 1762127"/>
                <a:gd name="connsiteX3883" fmla="*/ 1009710 w 9759834"/>
                <a:gd name="connsiteY3883" fmla="*/ 797720 h 1762127"/>
                <a:gd name="connsiteX3884" fmla="*/ 1043844 w 9759834"/>
                <a:gd name="connsiteY3884" fmla="*/ 763588 h 1762127"/>
                <a:gd name="connsiteX3885" fmla="*/ 960493 w 9759834"/>
                <a:gd name="connsiteY3885" fmla="*/ 763588 h 1762127"/>
                <a:gd name="connsiteX3886" fmla="*/ 997009 w 9759834"/>
                <a:gd name="connsiteY3886" fmla="*/ 797720 h 1762127"/>
                <a:gd name="connsiteX3887" fmla="*/ 960493 w 9759834"/>
                <a:gd name="connsiteY3887" fmla="*/ 831852 h 1762127"/>
                <a:gd name="connsiteX3888" fmla="*/ 923978 w 9759834"/>
                <a:gd name="connsiteY3888" fmla="*/ 797720 h 1762127"/>
                <a:gd name="connsiteX3889" fmla="*/ 960493 w 9759834"/>
                <a:gd name="connsiteY3889" fmla="*/ 763588 h 1762127"/>
                <a:gd name="connsiteX3890" fmla="*/ 877939 w 9759834"/>
                <a:gd name="connsiteY3890" fmla="*/ 763588 h 1762127"/>
                <a:gd name="connsiteX3891" fmla="*/ 912864 w 9759834"/>
                <a:gd name="connsiteY3891" fmla="*/ 797720 h 1762127"/>
                <a:gd name="connsiteX3892" fmla="*/ 877939 w 9759834"/>
                <a:gd name="connsiteY3892" fmla="*/ 831852 h 1762127"/>
                <a:gd name="connsiteX3893" fmla="*/ 843014 w 9759834"/>
                <a:gd name="connsiteY3893" fmla="*/ 797720 h 1762127"/>
                <a:gd name="connsiteX3894" fmla="*/ 877939 w 9759834"/>
                <a:gd name="connsiteY3894" fmla="*/ 763588 h 1762127"/>
                <a:gd name="connsiteX3895" fmla="*/ 793002 w 9759834"/>
                <a:gd name="connsiteY3895" fmla="*/ 763588 h 1762127"/>
                <a:gd name="connsiteX3896" fmla="*/ 827137 w 9759834"/>
                <a:gd name="connsiteY3896" fmla="*/ 797720 h 1762127"/>
                <a:gd name="connsiteX3897" fmla="*/ 793002 w 9759834"/>
                <a:gd name="connsiteY3897" fmla="*/ 831852 h 1762127"/>
                <a:gd name="connsiteX3898" fmla="*/ 758871 w 9759834"/>
                <a:gd name="connsiteY3898" fmla="*/ 797720 h 1762127"/>
                <a:gd name="connsiteX3899" fmla="*/ 793002 w 9759834"/>
                <a:gd name="connsiteY3899" fmla="*/ 763588 h 1762127"/>
                <a:gd name="connsiteX3900" fmla="*/ 707116 w 9759834"/>
                <a:gd name="connsiteY3900" fmla="*/ 763588 h 1762127"/>
                <a:gd name="connsiteX3901" fmla="*/ 741248 w 9759834"/>
                <a:gd name="connsiteY3901" fmla="*/ 797720 h 1762127"/>
                <a:gd name="connsiteX3902" fmla="*/ 707116 w 9759834"/>
                <a:gd name="connsiteY3902" fmla="*/ 831852 h 1762127"/>
                <a:gd name="connsiteX3903" fmla="*/ 672984 w 9759834"/>
                <a:gd name="connsiteY3903" fmla="*/ 797720 h 1762127"/>
                <a:gd name="connsiteX3904" fmla="*/ 707116 w 9759834"/>
                <a:gd name="connsiteY3904" fmla="*/ 763588 h 1762127"/>
                <a:gd name="connsiteX3905" fmla="*/ 621537 w 9759834"/>
                <a:gd name="connsiteY3905" fmla="*/ 763588 h 1762127"/>
                <a:gd name="connsiteX3906" fmla="*/ 655670 w 9759834"/>
                <a:gd name="connsiteY3906" fmla="*/ 797720 h 1762127"/>
                <a:gd name="connsiteX3907" fmla="*/ 621537 w 9759834"/>
                <a:gd name="connsiteY3907" fmla="*/ 831852 h 1762127"/>
                <a:gd name="connsiteX3908" fmla="*/ 587405 w 9759834"/>
                <a:gd name="connsiteY3908" fmla="*/ 797720 h 1762127"/>
                <a:gd name="connsiteX3909" fmla="*/ 621537 w 9759834"/>
                <a:gd name="connsiteY3909" fmla="*/ 763588 h 1762127"/>
                <a:gd name="connsiteX3910" fmla="*/ 541221 w 9759834"/>
                <a:gd name="connsiteY3910" fmla="*/ 763588 h 1762127"/>
                <a:gd name="connsiteX3911" fmla="*/ 576146 w 9759834"/>
                <a:gd name="connsiteY3911" fmla="*/ 797720 h 1762127"/>
                <a:gd name="connsiteX3912" fmla="*/ 541221 w 9759834"/>
                <a:gd name="connsiteY3912" fmla="*/ 831852 h 1762127"/>
                <a:gd name="connsiteX3913" fmla="*/ 506297 w 9759834"/>
                <a:gd name="connsiteY3913" fmla="*/ 797720 h 1762127"/>
                <a:gd name="connsiteX3914" fmla="*/ 541221 w 9759834"/>
                <a:gd name="connsiteY3914" fmla="*/ 763588 h 1762127"/>
                <a:gd name="connsiteX3915" fmla="*/ 9138327 w 9759834"/>
                <a:gd name="connsiteY3915" fmla="*/ 677863 h 1762127"/>
                <a:gd name="connsiteX3916" fmla="*/ 9172459 w 9759834"/>
                <a:gd name="connsiteY3916" fmla="*/ 711995 h 1762127"/>
                <a:gd name="connsiteX3917" fmla="*/ 9138327 w 9759834"/>
                <a:gd name="connsiteY3917" fmla="*/ 746127 h 1762127"/>
                <a:gd name="connsiteX3918" fmla="*/ 9104195 w 9759834"/>
                <a:gd name="connsiteY3918" fmla="*/ 711995 h 1762127"/>
                <a:gd name="connsiteX3919" fmla="*/ 9138327 w 9759834"/>
                <a:gd name="connsiteY3919" fmla="*/ 677863 h 1762127"/>
                <a:gd name="connsiteX3920" fmla="*/ 9052602 w 9759834"/>
                <a:gd name="connsiteY3920" fmla="*/ 677863 h 1762127"/>
                <a:gd name="connsiteX3921" fmla="*/ 9086734 w 9759834"/>
                <a:gd name="connsiteY3921" fmla="*/ 711995 h 1762127"/>
                <a:gd name="connsiteX3922" fmla="*/ 9052602 w 9759834"/>
                <a:gd name="connsiteY3922" fmla="*/ 746127 h 1762127"/>
                <a:gd name="connsiteX3923" fmla="*/ 9018470 w 9759834"/>
                <a:gd name="connsiteY3923" fmla="*/ 711995 h 1762127"/>
                <a:gd name="connsiteX3924" fmla="*/ 9052602 w 9759834"/>
                <a:gd name="connsiteY3924" fmla="*/ 677863 h 1762127"/>
                <a:gd name="connsiteX3925" fmla="*/ 8966877 w 9759834"/>
                <a:gd name="connsiteY3925" fmla="*/ 677863 h 1762127"/>
                <a:gd name="connsiteX3926" fmla="*/ 9001009 w 9759834"/>
                <a:gd name="connsiteY3926" fmla="*/ 711995 h 1762127"/>
                <a:gd name="connsiteX3927" fmla="*/ 8966877 w 9759834"/>
                <a:gd name="connsiteY3927" fmla="*/ 746127 h 1762127"/>
                <a:gd name="connsiteX3928" fmla="*/ 8932745 w 9759834"/>
                <a:gd name="connsiteY3928" fmla="*/ 711995 h 1762127"/>
                <a:gd name="connsiteX3929" fmla="*/ 8966877 w 9759834"/>
                <a:gd name="connsiteY3929" fmla="*/ 677863 h 1762127"/>
                <a:gd name="connsiteX3930" fmla="*/ 8884327 w 9759834"/>
                <a:gd name="connsiteY3930" fmla="*/ 677863 h 1762127"/>
                <a:gd name="connsiteX3931" fmla="*/ 8921634 w 9759834"/>
                <a:gd name="connsiteY3931" fmla="*/ 711995 h 1762127"/>
                <a:gd name="connsiteX3932" fmla="*/ 8884327 w 9759834"/>
                <a:gd name="connsiteY3932" fmla="*/ 746127 h 1762127"/>
                <a:gd name="connsiteX3933" fmla="*/ 8847020 w 9759834"/>
                <a:gd name="connsiteY3933" fmla="*/ 711995 h 1762127"/>
                <a:gd name="connsiteX3934" fmla="*/ 8884327 w 9759834"/>
                <a:gd name="connsiteY3934" fmla="*/ 677863 h 1762127"/>
                <a:gd name="connsiteX3935" fmla="*/ 8801777 w 9759834"/>
                <a:gd name="connsiteY3935" fmla="*/ 677863 h 1762127"/>
                <a:gd name="connsiteX3936" fmla="*/ 8835909 w 9759834"/>
                <a:gd name="connsiteY3936" fmla="*/ 711995 h 1762127"/>
                <a:gd name="connsiteX3937" fmla="*/ 8801777 w 9759834"/>
                <a:gd name="connsiteY3937" fmla="*/ 746127 h 1762127"/>
                <a:gd name="connsiteX3938" fmla="*/ 8767645 w 9759834"/>
                <a:gd name="connsiteY3938" fmla="*/ 711995 h 1762127"/>
                <a:gd name="connsiteX3939" fmla="*/ 8801777 w 9759834"/>
                <a:gd name="connsiteY3939" fmla="*/ 677863 h 1762127"/>
                <a:gd name="connsiteX3940" fmla="*/ 8716052 w 9759834"/>
                <a:gd name="connsiteY3940" fmla="*/ 677863 h 1762127"/>
                <a:gd name="connsiteX3941" fmla="*/ 8750184 w 9759834"/>
                <a:gd name="connsiteY3941" fmla="*/ 711995 h 1762127"/>
                <a:gd name="connsiteX3942" fmla="*/ 8716052 w 9759834"/>
                <a:gd name="connsiteY3942" fmla="*/ 746127 h 1762127"/>
                <a:gd name="connsiteX3943" fmla="*/ 8681920 w 9759834"/>
                <a:gd name="connsiteY3943" fmla="*/ 711995 h 1762127"/>
                <a:gd name="connsiteX3944" fmla="*/ 8716052 w 9759834"/>
                <a:gd name="connsiteY3944" fmla="*/ 677863 h 1762127"/>
                <a:gd name="connsiteX3945" fmla="*/ 8630327 w 9759834"/>
                <a:gd name="connsiteY3945" fmla="*/ 677863 h 1762127"/>
                <a:gd name="connsiteX3946" fmla="*/ 8664459 w 9759834"/>
                <a:gd name="connsiteY3946" fmla="*/ 711995 h 1762127"/>
                <a:gd name="connsiteX3947" fmla="*/ 8630327 w 9759834"/>
                <a:gd name="connsiteY3947" fmla="*/ 746127 h 1762127"/>
                <a:gd name="connsiteX3948" fmla="*/ 8596195 w 9759834"/>
                <a:gd name="connsiteY3948" fmla="*/ 711995 h 1762127"/>
                <a:gd name="connsiteX3949" fmla="*/ 8630327 w 9759834"/>
                <a:gd name="connsiteY3949" fmla="*/ 677863 h 1762127"/>
                <a:gd name="connsiteX3950" fmla="*/ 8544602 w 9759834"/>
                <a:gd name="connsiteY3950" fmla="*/ 677863 h 1762127"/>
                <a:gd name="connsiteX3951" fmla="*/ 8578734 w 9759834"/>
                <a:gd name="connsiteY3951" fmla="*/ 711995 h 1762127"/>
                <a:gd name="connsiteX3952" fmla="*/ 8544602 w 9759834"/>
                <a:gd name="connsiteY3952" fmla="*/ 746127 h 1762127"/>
                <a:gd name="connsiteX3953" fmla="*/ 8510470 w 9759834"/>
                <a:gd name="connsiteY3953" fmla="*/ 711995 h 1762127"/>
                <a:gd name="connsiteX3954" fmla="*/ 8544602 w 9759834"/>
                <a:gd name="connsiteY3954" fmla="*/ 677863 h 1762127"/>
                <a:gd name="connsiteX3955" fmla="*/ 8465227 w 9759834"/>
                <a:gd name="connsiteY3955" fmla="*/ 677863 h 1762127"/>
                <a:gd name="connsiteX3956" fmla="*/ 8499359 w 9759834"/>
                <a:gd name="connsiteY3956" fmla="*/ 711995 h 1762127"/>
                <a:gd name="connsiteX3957" fmla="*/ 8465227 w 9759834"/>
                <a:gd name="connsiteY3957" fmla="*/ 746127 h 1762127"/>
                <a:gd name="connsiteX3958" fmla="*/ 8431095 w 9759834"/>
                <a:gd name="connsiteY3958" fmla="*/ 711995 h 1762127"/>
                <a:gd name="connsiteX3959" fmla="*/ 8465227 w 9759834"/>
                <a:gd name="connsiteY3959" fmla="*/ 677863 h 1762127"/>
                <a:gd name="connsiteX3960" fmla="*/ 8379502 w 9759834"/>
                <a:gd name="connsiteY3960" fmla="*/ 677863 h 1762127"/>
                <a:gd name="connsiteX3961" fmla="*/ 8413634 w 9759834"/>
                <a:gd name="connsiteY3961" fmla="*/ 711995 h 1762127"/>
                <a:gd name="connsiteX3962" fmla="*/ 8379502 w 9759834"/>
                <a:gd name="connsiteY3962" fmla="*/ 746127 h 1762127"/>
                <a:gd name="connsiteX3963" fmla="*/ 8345370 w 9759834"/>
                <a:gd name="connsiteY3963" fmla="*/ 711995 h 1762127"/>
                <a:gd name="connsiteX3964" fmla="*/ 8379502 w 9759834"/>
                <a:gd name="connsiteY3964" fmla="*/ 677863 h 1762127"/>
                <a:gd name="connsiteX3965" fmla="*/ 8293777 w 9759834"/>
                <a:gd name="connsiteY3965" fmla="*/ 677863 h 1762127"/>
                <a:gd name="connsiteX3966" fmla="*/ 8327909 w 9759834"/>
                <a:gd name="connsiteY3966" fmla="*/ 711995 h 1762127"/>
                <a:gd name="connsiteX3967" fmla="*/ 8293777 w 9759834"/>
                <a:gd name="connsiteY3967" fmla="*/ 746127 h 1762127"/>
                <a:gd name="connsiteX3968" fmla="*/ 8259645 w 9759834"/>
                <a:gd name="connsiteY3968" fmla="*/ 711995 h 1762127"/>
                <a:gd name="connsiteX3969" fmla="*/ 8293777 w 9759834"/>
                <a:gd name="connsiteY3969" fmla="*/ 677863 h 1762127"/>
                <a:gd name="connsiteX3970" fmla="*/ 8208052 w 9759834"/>
                <a:gd name="connsiteY3970" fmla="*/ 677863 h 1762127"/>
                <a:gd name="connsiteX3971" fmla="*/ 8242184 w 9759834"/>
                <a:gd name="connsiteY3971" fmla="*/ 711995 h 1762127"/>
                <a:gd name="connsiteX3972" fmla="*/ 8208052 w 9759834"/>
                <a:gd name="connsiteY3972" fmla="*/ 746127 h 1762127"/>
                <a:gd name="connsiteX3973" fmla="*/ 8173920 w 9759834"/>
                <a:gd name="connsiteY3973" fmla="*/ 711995 h 1762127"/>
                <a:gd name="connsiteX3974" fmla="*/ 8208052 w 9759834"/>
                <a:gd name="connsiteY3974" fmla="*/ 677863 h 1762127"/>
                <a:gd name="connsiteX3975" fmla="*/ 8125502 w 9759834"/>
                <a:gd name="connsiteY3975" fmla="*/ 677863 h 1762127"/>
                <a:gd name="connsiteX3976" fmla="*/ 8162809 w 9759834"/>
                <a:gd name="connsiteY3976" fmla="*/ 711995 h 1762127"/>
                <a:gd name="connsiteX3977" fmla="*/ 8125502 w 9759834"/>
                <a:gd name="connsiteY3977" fmla="*/ 746127 h 1762127"/>
                <a:gd name="connsiteX3978" fmla="*/ 8088195 w 9759834"/>
                <a:gd name="connsiteY3978" fmla="*/ 711995 h 1762127"/>
                <a:gd name="connsiteX3979" fmla="*/ 8125502 w 9759834"/>
                <a:gd name="connsiteY3979" fmla="*/ 677863 h 1762127"/>
                <a:gd name="connsiteX3980" fmla="*/ 8042952 w 9759834"/>
                <a:gd name="connsiteY3980" fmla="*/ 677863 h 1762127"/>
                <a:gd name="connsiteX3981" fmla="*/ 8077084 w 9759834"/>
                <a:gd name="connsiteY3981" fmla="*/ 711995 h 1762127"/>
                <a:gd name="connsiteX3982" fmla="*/ 8042952 w 9759834"/>
                <a:gd name="connsiteY3982" fmla="*/ 746127 h 1762127"/>
                <a:gd name="connsiteX3983" fmla="*/ 8008820 w 9759834"/>
                <a:gd name="connsiteY3983" fmla="*/ 711995 h 1762127"/>
                <a:gd name="connsiteX3984" fmla="*/ 8042952 w 9759834"/>
                <a:gd name="connsiteY3984" fmla="*/ 677863 h 1762127"/>
                <a:gd name="connsiteX3985" fmla="*/ 7957227 w 9759834"/>
                <a:gd name="connsiteY3985" fmla="*/ 677863 h 1762127"/>
                <a:gd name="connsiteX3986" fmla="*/ 7991359 w 9759834"/>
                <a:gd name="connsiteY3986" fmla="*/ 711995 h 1762127"/>
                <a:gd name="connsiteX3987" fmla="*/ 7957227 w 9759834"/>
                <a:gd name="connsiteY3987" fmla="*/ 746127 h 1762127"/>
                <a:gd name="connsiteX3988" fmla="*/ 7923095 w 9759834"/>
                <a:gd name="connsiteY3988" fmla="*/ 711995 h 1762127"/>
                <a:gd name="connsiteX3989" fmla="*/ 7957227 w 9759834"/>
                <a:gd name="connsiteY3989" fmla="*/ 677863 h 1762127"/>
                <a:gd name="connsiteX3990" fmla="*/ 7871502 w 9759834"/>
                <a:gd name="connsiteY3990" fmla="*/ 677863 h 1762127"/>
                <a:gd name="connsiteX3991" fmla="*/ 7905634 w 9759834"/>
                <a:gd name="connsiteY3991" fmla="*/ 711995 h 1762127"/>
                <a:gd name="connsiteX3992" fmla="*/ 7871502 w 9759834"/>
                <a:gd name="connsiteY3992" fmla="*/ 746127 h 1762127"/>
                <a:gd name="connsiteX3993" fmla="*/ 7837370 w 9759834"/>
                <a:gd name="connsiteY3993" fmla="*/ 711995 h 1762127"/>
                <a:gd name="connsiteX3994" fmla="*/ 7871502 w 9759834"/>
                <a:gd name="connsiteY3994" fmla="*/ 677863 h 1762127"/>
                <a:gd name="connsiteX3995" fmla="*/ 7785777 w 9759834"/>
                <a:gd name="connsiteY3995" fmla="*/ 677863 h 1762127"/>
                <a:gd name="connsiteX3996" fmla="*/ 7819909 w 9759834"/>
                <a:gd name="connsiteY3996" fmla="*/ 711995 h 1762127"/>
                <a:gd name="connsiteX3997" fmla="*/ 7785777 w 9759834"/>
                <a:gd name="connsiteY3997" fmla="*/ 746127 h 1762127"/>
                <a:gd name="connsiteX3998" fmla="*/ 7751645 w 9759834"/>
                <a:gd name="connsiteY3998" fmla="*/ 711995 h 1762127"/>
                <a:gd name="connsiteX3999" fmla="*/ 7785777 w 9759834"/>
                <a:gd name="connsiteY3999" fmla="*/ 677863 h 1762127"/>
                <a:gd name="connsiteX4000" fmla="*/ 7706402 w 9759834"/>
                <a:gd name="connsiteY4000" fmla="*/ 677863 h 1762127"/>
                <a:gd name="connsiteX4001" fmla="*/ 7740534 w 9759834"/>
                <a:gd name="connsiteY4001" fmla="*/ 711995 h 1762127"/>
                <a:gd name="connsiteX4002" fmla="*/ 7706402 w 9759834"/>
                <a:gd name="connsiteY4002" fmla="*/ 746127 h 1762127"/>
                <a:gd name="connsiteX4003" fmla="*/ 7672270 w 9759834"/>
                <a:gd name="connsiteY4003" fmla="*/ 711995 h 1762127"/>
                <a:gd name="connsiteX4004" fmla="*/ 7706402 w 9759834"/>
                <a:gd name="connsiteY4004" fmla="*/ 677863 h 1762127"/>
                <a:gd name="connsiteX4005" fmla="*/ 7620677 w 9759834"/>
                <a:gd name="connsiteY4005" fmla="*/ 677863 h 1762127"/>
                <a:gd name="connsiteX4006" fmla="*/ 7654809 w 9759834"/>
                <a:gd name="connsiteY4006" fmla="*/ 711995 h 1762127"/>
                <a:gd name="connsiteX4007" fmla="*/ 7620677 w 9759834"/>
                <a:gd name="connsiteY4007" fmla="*/ 746127 h 1762127"/>
                <a:gd name="connsiteX4008" fmla="*/ 7586545 w 9759834"/>
                <a:gd name="connsiteY4008" fmla="*/ 711995 h 1762127"/>
                <a:gd name="connsiteX4009" fmla="*/ 7620677 w 9759834"/>
                <a:gd name="connsiteY4009" fmla="*/ 677863 h 1762127"/>
                <a:gd name="connsiteX4010" fmla="*/ 7534952 w 9759834"/>
                <a:gd name="connsiteY4010" fmla="*/ 677863 h 1762127"/>
                <a:gd name="connsiteX4011" fmla="*/ 7569084 w 9759834"/>
                <a:gd name="connsiteY4011" fmla="*/ 711995 h 1762127"/>
                <a:gd name="connsiteX4012" fmla="*/ 7534952 w 9759834"/>
                <a:gd name="connsiteY4012" fmla="*/ 746127 h 1762127"/>
                <a:gd name="connsiteX4013" fmla="*/ 7500820 w 9759834"/>
                <a:gd name="connsiteY4013" fmla="*/ 711995 h 1762127"/>
                <a:gd name="connsiteX4014" fmla="*/ 7534952 w 9759834"/>
                <a:gd name="connsiteY4014" fmla="*/ 677863 h 1762127"/>
                <a:gd name="connsiteX4015" fmla="*/ 7449227 w 9759834"/>
                <a:gd name="connsiteY4015" fmla="*/ 677863 h 1762127"/>
                <a:gd name="connsiteX4016" fmla="*/ 7483359 w 9759834"/>
                <a:gd name="connsiteY4016" fmla="*/ 711995 h 1762127"/>
                <a:gd name="connsiteX4017" fmla="*/ 7449227 w 9759834"/>
                <a:gd name="connsiteY4017" fmla="*/ 746127 h 1762127"/>
                <a:gd name="connsiteX4018" fmla="*/ 7415095 w 9759834"/>
                <a:gd name="connsiteY4018" fmla="*/ 711995 h 1762127"/>
                <a:gd name="connsiteX4019" fmla="*/ 7449227 w 9759834"/>
                <a:gd name="connsiteY4019" fmla="*/ 677863 h 1762127"/>
                <a:gd name="connsiteX4020" fmla="*/ 7366677 w 9759834"/>
                <a:gd name="connsiteY4020" fmla="*/ 677863 h 1762127"/>
                <a:gd name="connsiteX4021" fmla="*/ 7403984 w 9759834"/>
                <a:gd name="connsiteY4021" fmla="*/ 711995 h 1762127"/>
                <a:gd name="connsiteX4022" fmla="*/ 7366677 w 9759834"/>
                <a:gd name="connsiteY4022" fmla="*/ 746127 h 1762127"/>
                <a:gd name="connsiteX4023" fmla="*/ 7329370 w 9759834"/>
                <a:gd name="connsiteY4023" fmla="*/ 711995 h 1762127"/>
                <a:gd name="connsiteX4024" fmla="*/ 7366677 w 9759834"/>
                <a:gd name="connsiteY4024" fmla="*/ 677863 h 1762127"/>
                <a:gd name="connsiteX4025" fmla="*/ 7284127 w 9759834"/>
                <a:gd name="connsiteY4025" fmla="*/ 677863 h 1762127"/>
                <a:gd name="connsiteX4026" fmla="*/ 7318259 w 9759834"/>
                <a:gd name="connsiteY4026" fmla="*/ 711995 h 1762127"/>
                <a:gd name="connsiteX4027" fmla="*/ 7284127 w 9759834"/>
                <a:gd name="connsiteY4027" fmla="*/ 746127 h 1762127"/>
                <a:gd name="connsiteX4028" fmla="*/ 7249995 w 9759834"/>
                <a:gd name="connsiteY4028" fmla="*/ 711995 h 1762127"/>
                <a:gd name="connsiteX4029" fmla="*/ 7284127 w 9759834"/>
                <a:gd name="connsiteY4029" fmla="*/ 677863 h 1762127"/>
                <a:gd name="connsiteX4030" fmla="*/ 7198402 w 9759834"/>
                <a:gd name="connsiteY4030" fmla="*/ 677863 h 1762127"/>
                <a:gd name="connsiteX4031" fmla="*/ 7232534 w 9759834"/>
                <a:gd name="connsiteY4031" fmla="*/ 711995 h 1762127"/>
                <a:gd name="connsiteX4032" fmla="*/ 7198402 w 9759834"/>
                <a:gd name="connsiteY4032" fmla="*/ 746127 h 1762127"/>
                <a:gd name="connsiteX4033" fmla="*/ 7164270 w 9759834"/>
                <a:gd name="connsiteY4033" fmla="*/ 711995 h 1762127"/>
                <a:gd name="connsiteX4034" fmla="*/ 7198402 w 9759834"/>
                <a:gd name="connsiteY4034" fmla="*/ 677863 h 1762127"/>
                <a:gd name="connsiteX4035" fmla="*/ 7112677 w 9759834"/>
                <a:gd name="connsiteY4035" fmla="*/ 677863 h 1762127"/>
                <a:gd name="connsiteX4036" fmla="*/ 7146809 w 9759834"/>
                <a:gd name="connsiteY4036" fmla="*/ 711995 h 1762127"/>
                <a:gd name="connsiteX4037" fmla="*/ 7112677 w 9759834"/>
                <a:gd name="connsiteY4037" fmla="*/ 746127 h 1762127"/>
                <a:gd name="connsiteX4038" fmla="*/ 7078545 w 9759834"/>
                <a:gd name="connsiteY4038" fmla="*/ 711995 h 1762127"/>
                <a:gd name="connsiteX4039" fmla="*/ 7112677 w 9759834"/>
                <a:gd name="connsiteY4039" fmla="*/ 677863 h 1762127"/>
                <a:gd name="connsiteX4040" fmla="*/ 7027745 w 9759834"/>
                <a:gd name="connsiteY4040" fmla="*/ 677863 h 1762127"/>
                <a:gd name="connsiteX4041" fmla="*/ 7062670 w 9759834"/>
                <a:gd name="connsiteY4041" fmla="*/ 711995 h 1762127"/>
                <a:gd name="connsiteX4042" fmla="*/ 7027745 w 9759834"/>
                <a:gd name="connsiteY4042" fmla="*/ 746127 h 1762127"/>
                <a:gd name="connsiteX4043" fmla="*/ 6992820 w 9759834"/>
                <a:gd name="connsiteY4043" fmla="*/ 711995 h 1762127"/>
                <a:gd name="connsiteX4044" fmla="*/ 7027745 w 9759834"/>
                <a:gd name="connsiteY4044" fmla="*/ 677863 h 1762127"/>
                <a:gd name="connsiteX4045" fmla="*/ 6947577 w 9759834"/>
                <a:gd name="connsiteY4045" fmla="*/ 677863 h 1762127"/>
                <a:gd name="connsiteX4046" fmla="*/ 6981709 w 9759834"/>
                <a:gd name="connsiteY4046" fmla="*/ 711995 h 1762127"/>
                <a:gd name="connsiteX4047" fmla="*/ 6947577 w 9759834"/>
                <a:gd name="connsiteY4047" fmla="*/ 746127 h 1762127"/>
                <a:gd name="connsiteX4048" fmla="*/ 6913445 w 9759834"/>
                <a:gd name="connsiteY4048" fmla="*/ 711995 h 1762127"/>
                <a:gd name="connsiteX4049" fmla="*/ 6947577 w 9759834"/>
                <a:gd name="connsiteY4049" fmla="*/ 677863 h 1762127"/>
                <a:gd name="connsiteX4050" fmla="*/ 6691195 w 9759834"/>
                <a:gd name="connsiteY4050" fmla="*/ 677863 h 1762127"/>
                <a:gd name="connsiteX4051" fmla="*/ 6726120 w 9759834"/>
                <a:gd name="connsiteY4051" fmla="*/ 711995 h 1762127"/>
                <a:gd name="connsiteX4052" fmla="*/ 6691195 w 9759834"/>
                <a:gd name="connsiteY4052" fmla="*/ 746127 h 1762127"/>
                <a:gd name="connsiteX4053" fmla="*/ 6656270 w 9759834"/>
                <a:gd name="connsiteY4053" fmla="*/ 711995 h 1762127"/>
                <a:gd name="connsiteX4054" fmla="*/ 6691195 w 9759834"/>
                <a:gd name="connsiteY4054" fmla="*/ 677863 h 1762127"/>
                <a:gd name="connsiteX4055" fmla="*/ 6353852 w 9759834"/>
                <a:gd name="connsiteY4055" fmla="*/ 677863 h 1762127"/>
                <a:gd name="connsiteX4056" fmla="*/ 6387984 w 9759834"/>
                <a:gd name="connsiteY4056" fmla="*/ 711995 h 1762127"/>
                <a:gd name="connsiteX4057" fmla="*/ 6353852 w 9759834"/>
                <a:gd name="connsiteY4057" fmla="*/ 746127 h 1762127"/>
                <a:gd name="connsiteX4058" fmla="*/ 6319720 w 9759834"/>
                <a:gd name="connsiteY4058" fmla="*/ 711995 h 1762127"/>
                <a:gd name="connsiteX4059" fmla="*/ 6353852 w 9759834"/>
                <a:gd name="connsiteY4059" fmla="*/ 677863 h 1762127"/>
                <a:gd name="connsiteX4060" fmla="*/ 4415515 w 9759834"/>
                <a:gd name="connsiteY4060" fmla="*/ 677863 h 1762127"/>
                <a:gd name="connsiteX4061" fmla="*/ 4449647 w 9759834"/>
                <a:gd name="connsiteY4061" fmla="*/ 711995 h 1762127"/>
                <a:gd name="connsiteX4062" fmla="*/ 4415515 w 9759834"/>
                <a:gd name="connsiteY4062" fmla="*/ 746127 h 1762127"/>
                <a:gd name="connsiteX4063" fmla="*/ 4381383 w 9759834"/>
                <a:gd name="connsiteY4063" fmla="*/ 711995 h 1762127"/>
                <a:gd name="connsiteX4064" fmla="*/ 4415515 w 9759834"/>
                <a:gd name="connsiteY4064" fmla="*/ 677863 h 1762127"/>
                <a:gd name="connsiteX4065" fmla="*/ 4248827 w 9759834"/>
                <a:gd name="connsiteY4065" fmla="*/ 677863 h 1762127"/>
                <a:gd name="connsiteX4066" fmla="*/ 4282959 w 9759834"/>
                <a:gd name="connsiteY4066" fmla="*/ 711995 h 1762127"/>
                <a:gd name="connsiteX4067" fmla="*/ 4248827 w 9759834"/>
                <a:gd name="connsiteY4067" fmla="*/ 746127 h 1762127"/>
                <a:gd name="connsiteX4068" fmla="*/ 4214695 w 9759834"/>
                <a:gd name="connsiteY4068" fmla="*/ 711995 h 1762127"/>
                <a:gd name="connsiteX4069" fmla="*/ 4248827 w 9759834"/>
                <a:gd name="connsiteY4069" fmla="*/ 677863 h 1762127"/>
                <a:gd name="connsiteX4070" fmla="*/ 4163895 w 9759834"/>
                <a:gd name="connsiteY4070" fmla="*/ 677863 h 1762127"/>
                <a:gd name="connsiteX4071" fmla="*/ 4198820 w 9759834"/>
                <a:gd name="connsiteY4071" fmla="*/ 711995 h 1762127"/>
                <a:gd name="connsiteX4072" fmla="*/ 4163895 w 9759834"/>
                <a:gd name="connsiteY4072" fmla="*/ 746127 h 1762127"/>
                <a:gd name="connsiteX4073" fmla="*/ 4128970 w 9759834"/>
                <a:gd name="connsiteY4073" fmla="*/ 711995 h 1762127"/>
                <a:gd name="connsiteX4074" fmla="*/ 4163895 w 9759834"/>
                <a:gd name="connsiteY4074" fmla="*/ 677863 h 1762127"/>
                <a:gd name="connsiteX4075" fmla="*/ 4078170 w 9759834"/>
                <a:gd name="connsiteY4075" fmla="*/ 677863 h 1762127"/>
                <a:gd name="connsiteX4076" fmla="*/ 4113095 w 9759834"/>
                <a:gd name="connsiteY4076" fmla="*/ 711995 h 1762127"/>
                <a:gd name="connsiteX4077" fmla="*/ 4078170 w 9759834"/>
                <a:gd name="connsiteY4077" fmla="*/ 746127 h 1762127"/>
                <a:gd name="connsiteX4078" fmla="*/ 4043245 w 9759834"/>
                <a:gd name="connsiteY4078" fmla="*/ 711995 h 1762127"/>
                <a:gd name="connsiteX4079" fmla="*/ 4078170 w 9759834"/>
                <a:gd name="connsiteY4079" fmla="*/ 677863 h 1762127"/>
                <a:gd name="connsiteX4080" fmla="*/ 3993240 w 9759834"/>
                <a:gd name="connsiteY4080" fmla="*/ 677863 h 1762127"/>
                <a:gd name="connsiteX4081" fmla="*/ 4027372 w 9759834"/>
                <a:gd name="connsiteY4081" fmla="*/ 711995 h 1762127"/>
                <a:gd name="connsiteX4082" fmla="*/ 3993240 w 9759834"/>
                <a:gd name="connsiteY4082" fmla="*/ 746127 h 1762127"/>
                <a:gd name="connsiteX4083" fmla="*/ 3959108 w 9759834"/>
                <a:gd name="connsiteY4083" fmla="*/ 711995 h 1762127"/>
                <a:gd name="connsiteX4084" fmla="*/ 3993240 w 9759834"/>
                <a:gd name="connsiteY4084" fmla="*/ 677863 h 1762127"/>
                <a:gd name="connsiteX4085" fmla="*/ 3912277 w 9759834"/>
                <a:gd name="connsiteY4085" fmla="*/ 677863 h 1762127"/>
                <a:gd name="connsiteX4086" fmla="*/ 3946409 w 9759834"/>
                <a:gd name="connsiteY4086" fmla="*/ 711995 h 1762127"/>
                <a:gd name="connsiteX4087" fmla="*/ 3912277 w 9759834"/>
                <a:gd name="connsiteY4087" fmla="*/ 746127 h 1762127"/>
                <a:gd name="connsiteX4088" fmla="*/ 3878145 w 9759834"/>
                <a:gd name="connsiteY4088" fmla="*/ 711995 h 1762127"/>
                <a:gd name="connsiteX4089" fmla="*/ 3912277 w 9759834"/>
                <a:gd name="connsiteY4089" fmla="*/ 677863 h 1762127"/>
                <a:gd name="connsiteX4090" fmla="*/ 3826552 w 9759834"/>
                <a:gd name="connsiteY4090" fmla="*/ 677863 h 1762127"/>
                <a:gd name="connsiteX4091" fmla="*/ 3860684 w 9759834"/>
                <a:gd name="connsiteY4091" fmla="*/ 711995 h 1762127"/>
                <a:gd name="connsiteX4092" fmla="*/ 3826552 w 9759834"/>
                <a:gd name="connsiteY4092" fmla="*/ 746127 h 1762127"/>
                <a:gd name="connsiteX4093" fmla="*/ 3792420 w 9759834"/>
                <a:gd name="connsiteY4093" fmla="*/ 711995 h 1762127"/>
                <a:gd name="connsiteX4094" fmla="*/ 3826552 w 9759834"/>
                <a:gd name="connsiteY4094" fmla="*/ 677863 h 1762127"/>
                <a:gd name="connsiteX4095" fmla="*/ 3741620 w 9759834"/>
                <a:gd name="connsiteY4095" fmla="*/ 677863 h 1762127"/>
                <a:gd name="connsiteX4096" fmla="*/ 3776545 w 9759834"/>
                <a:gd name="connsiteY4096" fmla="*/ 711995 h 1762127"/>
                <a:gd name="connsiteX4097" fmla="*/ 3741620 w 9759834"/>
                <a:gd name="connsiteY4097" fmla="*/ 746127 h 1762127"/>
                <a:gd name="connsiteX4098" fmla="*/ 3706695 w 9759834"/>
                <a:gd name="connsiteY4098" fmla="*/ 711995 h 1762127"/>
                <a:gd name="connsiteX4099" fmla="*/ 3741620 w 9759834"/>
                <a:gd name="connsiteY4099" fmla="*/ 677863 h 1762127"/>
                <a:gd name="connsiteX4100" fmla="*/ 3656690 w 9759834"/>
                <a:gd name="connsiteY4100" fmla="*/ 677863 h 1762127"/>
                <a:gd name="connsiteX4101" fmla="*/ 3690822 w 9759834"/>
                <a:gd name="connsiteY4101" fmla="*/ 711995 h 1762127"/>
                <a:gd name="connsiteX4102" fmla="*/ 3656690 w 9759834"/>
                <a:gd name="connsiteY4102" fmla="*/ 746127 h 1762127"/>
                <a:gd name="connsiteX4103" fmla="*/ 3622558 w 9759834"/>
                <a:gd name="connsiteY4103" fmla="*/ 711995 h 1762127"/>
                <a:gd name="connsiteX4104" fmla="*/ 3656690 w 9759834"/>
                <a:gd name="connsiteY4104" fmla="*/ 677863 h 1762127"/>
                <a:gd name="connsiteX4105" fmla="*/ 3320140 w 9759834"/>
                <a:gd name="connsiteY4105" fmla="*/ 677863 h 1762127"/>
                <a:gd name="connsiteX4106" fmla="*/ 3354272 w 9759834"/>
                <a:gd name="connsiteY4106" fmla="*/ 711995 h 1762127"/>
                <a:gd name="connsiteX4107" fmla="*/ 3320140 w 9759834"/>
                <a:gd name="connsiteY4107" fmla="*/ 746127 h 1762127"/>
                <a:gd name="connsiteX4108" fmla="*/ 3286008 w 9759834"/>
                <a:gd name="connsiteY4108" fmla="*/ 711995 h 1762127"/>
                <a:gd name="connsiteX4109" fmla="*/ 3320140 w 9759834"/>
                <a:gd name="connsiteY4109" fmla="*/ 677863 h 1762127"/>
                <a:gd name="connsiteX4110" fmla="*/ 3234415 w 9759834"/>
                <a:gd name="connsiteY4110" fmla="*/ 677863 h 1762127"/>
                <a:gd name="connsiteX4111" fmla="*/ 3268547 w 9759834"/>
                <a:gd name="connsiteY4111" fmla="*/ 711995 h 1762127"/>
                <a:gd name="connsiteX4112" fmla="*/ 3234415 w 9759834"/>
                <a:gd name="connsiteY4112" fmla="*/ 746127 h 1762127"/>
                <a:gd name="connsiteX4113" fmla="*/ 3200283 w 9759834"/>
                <a:gd name="connsiteY4113" fmla="*/ 711995 h 1762127"/>
                <a:gd name="connsiteX4114" fmla="*/ 3234415 w 9759834"/>
                <a:gd name="connsiteY4114" fmla="*/ 677863 h 1762127"/>
                <a:gd name="connsiteX4115" fmla="*/ 2897865 w 9759834"/>
                <a:gd name="connsiteY4115" fmla="*/ 677863 h 1762127"/>
                <a:gd name="connsiteX4116" fmla="*/ 2931997 w 9759834"/>
                <a:gd name="connsiteY4116" fmla="*/ 711995 h 1762127"/>
                <a:gd name="connsiteX4117" fmla="*/ 2897865 w 9759834"/>
                <a:gd name="connsiteY4117" fmla="*/ 746127 h 1762127"/>
                <a:gd name="connsiteX4118" fmla="*/ 2863733 w 9759834"/>
                <a:gd name="connsiteY4118" fmla="*/ 711995 h 1762127"/>
                <a:gd name="connsiteX4119" fmla="*/ 2897865 w 9759834"/>
                <a:gd name="connsiteY4119" fmla="*/ 677863 h 1762127"/>
                <a:gd name="connsiteX4120" fmla="*/ 2732006 w 9759834"/>
                <a:gd name="connsiteY4120" fmla="*/ 677863 h 1762127"/>
                <a:gd name="connsiteX4121" fmla="*/ 2766931 w 9759834"/>
                <a:gd name="connsiteY4121" fmla="*/ 711995 h 1762127"/>
                <a:gd name="connsiteX4122" fmla="*/ 2732006 w 9759834"/>
                <a:gd name="connsiteY4122" fmla="*/ 746127 h 1762127"/>
                <a:gd name="connsiteX4123" fmla="*/ 2697081 w 9759834"/>
                <a:gd name="connsiteY4123" fmla="*/ 711995 h 1762127"/>
                <a:gd name="connsiteX4124" fmla="*/ 2732006 w 9759834"/>
                <a:gd name="connsiteY4124" fmla="*/ 677863 h 1762127"/>
                <a:gd name="connsiteX4125" fmla="*/ 2646281 w 9759834"/>
                <a:gd name="connsiteY4125" fmla="*/ 677863 h 1762127"/>
                <a:gd name="connsiteX4126" fmla="*/ 2681205 w 9759834"/>
                <a:gd name="connsiteY4126" fmla="*/ 711995 h 1762127"/>
                <a:gd name="connsiteX4127" fmla="*/ 2646281 w 9759834"/>
                <a:gd name="connsiteY4127" fmla="*/ 746127 h 1762127"/>
                <a:gd name="connsiteX4128" fmla="*/ 2611356 w 9759834"/>
                <a:gd name="connsiteY4128" fmla="*/ 711995 h 1762127"/>
                <a:gd name="connsiteX4129" fmla="*/ 2646281 w 9759834"/>
                <a:gd name="connsiteY4129" fmla="*/ 677863 h 1762127"/>
                <a:gd name="connsiteX4130" fmla="*/ 2561353 w 9759834"/>
                <a:gd name="connsiteY4130" fmla="*/ 677863 h 1762127"/>
                <a:gd name="connsiteX4131" fmla="*/ 2595485 w 9759834"/>
                <a:gd name="connsiteY4131" fmla="*/ 711995 h 1762127"/>
                <a:gd name="connsiteX4132" fmla="*/ 2561353 w 9759834"/>
                <a:gd name="connsiteY4132" fmla="*/ 746127 h 1762127"/>
                <a:gd name="connsiteX4133" fmla="*/ 2527221 w 9759834"/>
                <a:gd name="connsiteY4133" fmla="*/ 711995 h 1762127"/>
                <a:gd name="connsiteX4134" fmla="*/ 2561353 w 9759834"/>
                <a:gd name="connsiteY4134" fmla="*/ 677863 h 1762127"/>
                <a:gd name="connsiteX4135" fmla="*/ 2475628 w 9759834"/>
                <a:gd name="connsiteY4135" fmla="*/ 677863 h 1762127"/>
                <a:gd name="connsiteX4136" fmla="*/ 2509761 w 9759834"/>
                <a:gd name="connsiteY4136" fmla="*/ 711995 h 1762127"/>
                <a:gd name="connsiteX4137" fmla="*/ 2475628 w 9759834"/>
                <a:gd name="connsiteY4137" fmla="*/ 746127 h 1762127"/>
                <a:gd name="connsiteX4138" fmla="*/ 2441497 w 9759834"/>
                <a:gd name="connsiteY4138" fmla="*/ 711995 h 1762127"/>
                <a:gd name="connsiteX4139" fmla="*/ 2475628 w 9759834"/>
                <a:gd name="connsiteY4139" fmla="*/ 677863 h 1762127"/>
                <a:gd name="connsiteX4140" fmla="*/ 2394666 w 9759834"/>
                <a:gd name="connsiteY4140" fmla="*/ 677863 h 1762127"/>
                <a:gd name="connsiteX4141" fmla="*/ 2428798 w 9759834"/>
                <a:gd name="connsiteY4141" fmla="*/ 711995 h 1762127"/>
                <a:gd name="connsiteX4142" fmla="*/ 2394666 w 9759834"/>
                <a:gd name="connsiteY4142" fmla="*/ 746127 h 1762127"/>
                <a:gd name="connsiteX4143" fmla="*/ 2360533 w 9759834"/>
                <a:gd name="connsiteY4143" fmla="*/ 711995 h 1762127"/>
                <a:gd name="connsiteX4144" fmla="*/ 2394666 w 9759834"/>
                <a:gd name="connsiteY4144" fmla="*/ 677863 h 1762127"/>
                <a:gd name="connsiteX4145" fmla="*/ 2309733 w 9759834"/>
                <a:gd name="connsiteY4145" fmla="*/ 677863 h 1762127"/>
                <a:gd name="connsiteX4146" fmla="*/ 2344659 w 9759834"/>
                <a:gd name="connsiteY4146" fmla="*/ 711995 h 1762127"/>
                <a:gd name="connsiteX4147" fmla="*/ 2309733 w 9759834"/>
                <a:gd name="connsiteY4147" fmla="*/ 746127 h 1762127"/>
                <a:gd name="connsiteX4148" fmla="*/ 2274806 w 9759834"/>
                <a:gd name="connsiteY4148" fmla="*/ 711995 h 1762127"/>
                <a:gd name="connsiteX4149" fmla="*/ 2309733 w 9759834"/>
                <a:gd name="connsiteY4149" fmla="*/ 677863 h 1762127"/>
                <a:gd name="connsiteX4150" fmla="*/ 2224804 w 9759834"/>
                <a:gd name="connsiteY4150" fmla="*/ 677863 h 1762127"/>
                <a:gd name="connsiteX4151" fmla="*/ 2258936 w 9759834"/>
                <a:gd name="connsiteY4151" fmla="*/ 711995 h 1762127"/>
                <a:gd name="connsiteX4152" fmla="*/ 2224804 w 9759834"/>
                <a:gd name="connsiteY4152" fmla="*/ 746127 h 1762127"/>
                <a:gd name="connsiteX4153" fmla="*/ 2190671 w 9759834"/>
                <a:gd name="connsiteY4153" fmla="*/ 711995 h 1762127"/>
                <a:gd name="connsiteX4154" fmla="*/ 2224804 w 9759834"/>
                <a:gd name="connsiteY4154" fmla="*/ 677863 h 1762127"/>
                <a:gd name="connsiteX4155" fmla="*/ 2139081 w 9759834"/>
                <a:gd name="connsiteY4155" fmla="*/ 677863 h 1762127"/>
                <a:gd name="connsiteX4156" fmla="*/ 2173212 w 9759834"/>
                <a:gd name="connsiteY4156" fmla="*/ 711995 h 1762127"/>
                <a:gd name="connsiteX4157" fmla="*/ 2139081 w 9759834"/>
                <a:gd name="connsiteY4157" fmla="*/ 746127 h 1762127"/>
                <a:gd name="connsiteX4158" fmla="*/ 2104949 w 9759834"/>
                <a:gd name="connsiteY4158" fmla="*/ 711995 h 1762127"/>
                <a:gd name="connsiteX4159" fmla="*/ 2139081 w 9759834"/>
                <a:gd name="connsiteY4159" fmla="*/ 677863 h 1762127"/>
                <a:gd name="connsiteX4160" fmla="*/ 2055738 w 9759834"/>
                <a:gd name="connsiteY4160" fmla="*/ 677863 h 1762127"/>
                <a:gd name="connsiteX4161" fmla="*/ 2092250 w 9759834"/>
                <a:gd name="connsiteY4161" fmla="*/ 711995 h 1762127"/>
                <a:gd name="connsiteX4162" fmla="*/ 2055738 w 9759834"/>
                <a:gd name="connsiteY4162" fmla="*/ 746127 h 1762127"/>
                <a:gd name="connsiteX4163" fmla="*/ 2019226 w 9759834"/>
                <a:gd name="connsiteY4163" fmla="*/ 711995 h 1762127"/>
                <a:gd name="connsiteX4164" fmla="*/ 2055738 w 9759834"/>
                <a:gd name="connsiteY4164" fmla="*/ 677863 h 1762127"/>
                <a:gd name="connsiteX4165" fmla="*/ 1802519 w 9759834"/>
                <a:gd name="connsiteY4165" fmla="*/ 677863 h 1762127"/>
                <a:gd name="connsiteX4166" fmla="*/ 1836651 w 9759834"/>
                <a:gd name="connsiteY4166" fmla="*/ 711995 h 1762127"/>
                <a:gd name="connsiteX4167" fmla="*/ 1802519 w 9759834"/>
                <a:gd name="connsiteY4167" fmla="*/ 746127 h 1762127"/>
                <a:gd name="connsiteX4168" fmla="*/ 1768387 w 9759834"/>
                <a:gd name="connsiteY4168" fmla="*/ 711995 h 1762127"/>
                <a:gd name="connsiteX4169" fmla="*/ 1802519 w 9759834"/>
                <a:gd name="connsiteY4169" fmla="*/ 677863 h 1762127"/>
                <a:gd name="connsiteX4170" fmla="*/ 1719175 w 9759834"/>
                <a:gd name="connsiteY4170" fmla="*/ 677863 h 1762127"/>
                <a:gd name="connsiteX4171" fmla="*/ 1755688 w 9759834"/>
                <a:gd name="connsiteY4171" fmla="*/ 711995 h 1762127"/>
                <a:gd name="connsiteX4172" fmla="*/ 1719175 w 9759834"/>
                <a:gd name="connsiteY4172" fmla="*/ 746127 h 1762127"/>
                <a:gd name="connsiteX4173" fmla="*/ 1682663 w 9759834"/>
                <a:gd name="connsiteY4173" fmla="*/ 711995 h 1762127"/>
                <a:gd name="connsiteX4174" fmla="*/ 1719175 w 9759834"/>
                <a:gd name="connsiteY4174" fmla="*/ 677863 h 1762127"/>
                <a:gd name="connsiteX4175" fmla="*/ 1636620 w 9759834"/>
                <a:gd name="connsiteY4175" fmla="*/ 677863 h 1762127"/>
                <a:gd name="connsiteX4176" fmla="*/ 1671546 w 9759834"/>
                <a:gd name="connsiteY4176" fmla="*/ 711995 h 1762127"/>
                <a:gd name="connsiteX4177" fmla="*/ 1636620 w 9759834"/>
                <a:gd name="connsiteY4177" fmla="*/ 746127 h 1762127"/>
                <a:gd name="connsiteX4178" fmla="*/ 1601695 w 9759834"/>
                <a:gd name="connsiteY4178" fmla="*/ 711995 h 1762127"/>
                <a:gd name="connsiteX4179" fmla="*/ 1636620 w 9759834"/>
                <a:gd name="connsiteY4179" fmla="*/ 677863 h 1762127"/>
                <a:gd name="connsiteX4180" fmla="*/ 1551691 w 9759834"/>
                <a:gd name="connsiteY4180" fmla="*/ 677863 h 1762127"/>
                <a:gd name="connsiteX4181" fmla="*/ 1585823 w 9759834"/>
                <a:gd name="connsiteY4181" fmla="*/ 711995 h 1762127"/>
                <a:gd name="connsiteX4182" fmla="*/ 1551691 w 9759834"/>
                <a:gd name="connsiteY4182" fmla="*/ 746127 h 1762127"/>
                <a:gd name="connsiteX4183" fmla="*/ 1517558 w 9759834"/>
                <a:gd name="connsiteY4183" fmla="*/ 711995 h 1762127"/>
                <a:gd name="connsiteX4184" fmla="*/ 1551691 w 9759834"/>
                <a:gd name="connsiteY4184" fmla="*/ 677863 h 1762127"/>
                <a:gd name="connsiteX4185" fmla="*/ 1465965 w 9759834"/>
                <a:gd name="connsiteY4185" fmla="*/ 677863 h 1762127"/>
                <a:gd name="connsiteX4186" fmla="*/ 1500097 w 9759834"/>
                <a:gd name="connsiteY4186" fmla="*/ 711995 h 1762127"/>
                <a:gd name="connsiteX4187" fmla="*/ 1465965 w 9759834"/>
                <a:gd name="connsiteY4187" fmla="*/ 746127 h 1762127"/>
                <a:gd name="connsiteX4188" fmla="*/ 1431832 w 9759834"/>
                <a:gd name="connsiteY4188" fmla="*/ 711995 h 1762127"/>
                <a:gd name="connsiteX4189" fmla="*/ 1465965 w 9759834"/>
                <a:gd name="connsiteY4189" fmla="*/ 677863 h 1762127"/>
                <a:gd name="connsiteX4190" fmla="*/ 1380239 w 9759834"/>
                <a:gd name="connsiteY4190" fmla="*/ 677863 h 1762127"/>
                <a:gd name="connsiteX4191" fmla="*/ 1414372 w 9759834"/>
                <a:gd name="connsiteY4191" fmla="*/ 711995 h 1762127"/>
                <a:gd name="connsiteX4192" fmla="*/ 1380239 w 9759834"/>
                <a:gd name="connsiteY4192" fmla="*/ 746127 h 1762127"/>
                <a:gd name="connsiteX4193" fmla="*/ 1346107 w 9759834"/>
                <a:gd name="connsiteY4193" fmla="*/ 711995 h 1762127"/>
                <a:gd name="connsiteX4194" fmla="*/ 1380239 w 9759834"/>
                <a:gd name="connsiteY4194" fmla="*/ 677863 h 1762127"/>
                <a:gd name="connsiteX4195" fmla="*/ 1300069 w 9759834"/>
                <a:gd name="connsiteY4195" fmla="*/ 677863 h 1762127"/>
                <a:gd name="connsiteX4196" fmla="*/ 1334994 w 9759834"/>
                <a:gd name="connsiteY4196" fmla="*/ 711995 h 1762127"/>
                <a:gd name="connsiteX4197" fmla="*/ 1300069 w 9759834"/>
                <a:gd name="connsiteY4197" fmla="*/ 746127 h 1762127"/>
                <a:gd name="connsiteX4198" fmla="*/ 1265143 w 9759834"/>
                <a:gd name="connsiteY4198" fmla="*/ 711995 h 1762127"/>
                <a:gd name="connsiteX4199" fmla="*/ 1300069 w 9759834"/>
                <a:gd name="connsiteY4199" fmla="*/ 677863 h 1762127"/>
                <a:gd name="connsiteX4200" fmla="*/ 1214323 w 9759834"/>
                <a:gd name="connsiteY4200" fmla="*/ 677863 h 1762127"/>
                <a:gd name="connsiteX4201" fmla="*/ 1249248 w 9759834"/>
                <a:gd name="connsiteY4201" fmla="*/ 711995 h 1762127"/>
                <a:gd name="connsiteX4202" fmla="*/ 1214323 w 9759834"/>
                <a:gd name="connsiteY4202" fmla="*/ 746127 h 1762127"/>
                <a:gd name="connsiteX4203" fmla="*/ 1179398 w 9759834"/>
                <a:gd name="connsiteY4203" fmla="*/ 711995 h 1762127"/>
                <a:gd name="connsiteX4204" fmla="*/ 1214323 w 9759834"/>
                <a:gd name="connsiteY4204" fmla="*/ 677863 h 1762127"/>
                <a:gd name="connsiteX4205" fmla="*/ 1129391 w 9759834"/>
                <a:gd name="connsiteY4205" fmla="*/ 677863 h 1762127"/>
                <a:gd name="connsiteX4206" fmla="*/ 1163524 w 9759834"/>
                <a:gd name="connsiteY4206" fmla="*/ 711995 h 1762127"/>
                <a:gd name="connsiteX4207" fmla="*/ 1129391 w 9759834"/>
                <a:gd name="connsiteY4207" fmla="*/ 746127 h 1762127"/>
                <a:gd name="connsiteX4208" fmla="*/ 1095259 w 9759834"/>
                <a:gd name="connsiteY4208" fmla="*/ 711995 h 1762127"/>
                <a:gd name="connsiteX4209" fmla="*/ 1129391 w 9759834"/>
                <a:gd name="connsiteY4209" fmla="*/ 677863 h 1762127"/>
                <a:gd name="connsiteX4210" fmla="*/ 1043844 w 9759834"/>
                <a:gd name="connsiteY4210" fmla="*/ 677863 h 1762127"/>
                <a:gd name="connsiteX4211" fmla="*/ 1077977 w 9759834"/>
                <a:gd name="connsiteY4211" fmla="*/ 711995 h 1762127"/>
                <a:gd name="connsiteX4212" fmla="*/ 1043844 w 9759834"/>
                <a:gd name="connsiteY4212" fmla="*/ 746127 h 1762127"/>
                <a:gd name="connsiteX4213" fmla="*/ 1009710 w 9759834"/>
                <a:gd name="connsiteY4213" fmla="*/ 711995 h 1762127"/>
                <a:gd name="connsiteX4214" fmla="*/ 1043844 w 9759834"/>
                <a:gd name="connsiteY4214" fmla="*/ 677863 h 1762127"/>
                <a:gd name="connsiteX4215" fmla="*/ 960493 w 9759834"/>
                <a:gd name="connsiteY4215" fmla="*/ 677863 h 1762127"/>
                <a:gd name="connsiteX4216" fmla="*/ 997009 w 9759834"/>
                <a:gd name="connsiteY4216" fmla="*/ 711995 h 1762127"/>
                <a:gd name="connsiteX4217" fmla="*/ 960493 w 9759834"/>
                <a:gd name="connsiteY4217" fmla="*/ 746127 h 1762127"/>
                <a:gd name="connsiteX4218" fmla="*/ 923978 w 9759834"/>
                <a:gd name="connsiteY4218" fmla="*/ 711995 h 1762127"/>
                <a:gd name="connsiteX4219" fmla="*/ 960493 w 9759834"/>
                <a:gd name="connsiteY4219" fmla="*/ 677863 h 1762127"/>
                <a:gd name="connsiteX4220" fmla="*/ 877939 w 9759834"/>
                <a:gd name="connsiteY4220" fmla="*/ 677863 h 1762127"/>
                <a:gd name="connsiteX4221" fmla="*/ 912864 w 9759834"/>
                <a:gd name="connsiteY4221" fmla="*/ 711995 h 1762127"/>
                <a:gd name="connsiteX4222" fmla="*/ 877939 w 9759834"/>
                <a:gd name="connsiteY4222" fmla="*/ 746127 h 1762127"/>
                <a:gd name="connsiteX4223" fmla="*/ 843014 w 9759834"/>
                <a:gd name="connsiteY4223" fmla="*/ 711995 h 1762127"/>
                <a:gd name="connsiteX4224" fmla="*/ 877939 w 9759834"/>
                <a:gd name="connsiteY4224" fmla="*/ 677863 h 1762127"/>
                <a:gd name="connsiteX4225" fmla="*/ 793002 w 9759834"/>
                <a:gd name="connsiteY4225" fmla="*/ 677863 h 1762127"/>
                <a:gd name="connsiteX4226" fmla="*/ 827137 w 9759834"/>
                <a:gd name="connsiteY4226" fmla="*/ 711995 h 1762127"/>
                <a:gd name="connsiteX4227" fmla="*/ 793002 w 9759834"/>
                <a:gd name="connsiteY4227" fmla="*/ 746127 h 1762127"/>
                <a:gd name="connsiteX4228" fmla="*/ 758871 w 9759834"/>
                <a:gd name="connsiteY4228" fmla="*/ 711995 h 1762127"/>
                <a:gd name="connsiteX4229" fmla="*/ 793002 w 9759834"/>
                <a:gd name="connsiteY4229" fmla="*/ 677863 h 1762127"/>
                <a:gd name="connsiteX4230" fmla="*/ 707275 w 9759834"/>
                <a:gd name="connsiteY4230" fmla="*/ 677863 h 1762127"/>
                <a:gd name="connsiteX4231" fmla="*/ 741409 w 9759834"/>
                <a:gd name="connsiteY4231" fmla="*/ 711995 h 1762127"/>
                <a:gd name="connsiteX4232" fmla="*/ 707275 w 9759834"/>
                <a:gd name="connsiteY4232" fmla="*/ 746127 h 1762127"/>
                <a:gd name="connsiteX4233" fmla="*/ 673133 w 9759834"/>
                <a:gd name="connsiteY4233" fmla="*/ 711995 h 1762127"/>
                <a:gd name="connsiteX4234" fmla="*/ 707275 w 9759834"/>
                <a:gd name="connsiteY4234" fmla="*/ 677863 h 1762127"/>
                <a:gd name="connsiteX4235" fmla="*/ 621537 w 9759834"/>
                <a:gd name="connsiteY4235" fmla="*/ 677863 h 1762127"/>
                <a:gd name="connsiteX4236" fmla="*/ 655670 w 9759834"/>
                <a:gd name="connsiteY4236" fmla="*/ 711995 h 1762127"/>
                <a:gd name="connsiteX4237" fmla="*/ 621537 w 9759834"/>
                <a:gd name="connsiteY4237" fmla="*/ 746127 h 1762127"/>
                <a:gd name="connsiteX4238" fmla="*/ 587405 w 9759834"/>
                <a:gd name="connsiteY4238" fmla="*/ 711995 h 1762127"/>
                <a:gd name="connsiteX4239" fmla="*/ 621537 w 9759834"/>
                <a:gd name="connsiteY4239" fmla="*/ 677863 h 1762127"/>
                <a:gd name="connsiteX4240" fmla="*/ 8966877 w 9759834"/>
                <a:gd name="connsiteY4240" fmla="*/ 596900 h 1762127"/>
                <a:gd name="connsiteX4241" fmla="*/ 9001009 w 9759834"/>
                <a:gd name="connsiteY4241" fmla="*/ 631825 h 1762127"/>
                <a:gd name="connsiteX4242" fmla="*/ 8966877 w 9759834"/>
                <a:gd name="connsiteY4242" fmla="*/ 666750 h 1762127"/>
                <a:gd name="connsiteX4243" fmla="*/ 8932745 w 9759834"/>
                <a:gd name="connsiteY4243" fmla="*/ 631825 h 1762127"/>
                <a:gd name="connsiteX4244" fmla="*/ 8966877 w 9759834"/>
                <a:gd name="connsiteY4244" fmla="*/ 596900 h 1762127"/>
                <a:gd name="connsiteX4245" fmla="*/ 8884327 w 9759834"/>
                <a:gd name="connsiteY4245" fmla="*/ 596900 h 1762127"/>
                <a:gd name="connsiteX4246" fmla="*/ 8921634 w 9759834"/>
                <a:gd name="connsiteY4246" fmla="*/ 631825 h 1762127"/>
                <a:gd name="connsiteX4247" fmla="*/ 8884327 w 9759834"/>
                <a:gd name="connsiteY4247" fmla="*/ 666750 h 1762127"/>
                <a:gd name="connsiteX4248" fmla="*/ 8847020 w 9759834"/>
                <a:gd name="connsiteY4248" fmla="*/ 631825 h 1762127"/>
                <a:gd name="connsiteX4249" fmla="*/ 8884327 w 9759834"/>
                <a:gd name="connsiteY4249" fmla="*/ 596900 h 1762127"/>
                <a:gd name="connsiteX4250" fmla="*/ 8801777 w 9759834"/>
                <a:gd name="connsiteY4250" fmla="*/ 596900 h 1762127"/>
                <a:gd name="connsiteX4251" fmla="*/ 8835909 w 9759834"/>
                <a:gd name="connsiteY4251" fmla="*/ 631825 h 1762127"/>
                <a:gd name="connsiteX4252" fmla="*/ 8801777 w 9759834"/>
                <a:gd name="connsiteY4252" fmla="*/ 666750 h 1762127"/>
                <a:gd name="connsiteX4253" fmla="*/ 8767645 w 9759834"/>
                <a:gd name="connsiteY4253" fmla="*/ 631825 h 1762127"/>
                <a:gd name="connsiteX4254" fmla="*/ 8801777 w 9759834"/>
                <a:gd name="connsiteY4254" fmla="*/ 596900 h 1762127"/>
                <a:gd name="connsiteX4255" fmla="*/ 8716052 w 9759834"/>
                <a:gd name="connsiteY4255" fmla="*/ 596900 h 1762127"/>
                <a:gd name="connsiteX4256" fmla="*/ 8750184 w 9759834"/>
                <a:gd name="connsiteY4256" fmla="*/ 631825 h 1762127"/>
                <a:gd name="connsiteX4257" fmla="*/ 8716052 w 9759834"/>
                <a:gd name="connsiteY4257" fmla="*/ 666750 h 1762127"/>
                <a:gd name="connsiteX4258" fmla="*/ 8681920 w 9759834"/>
                <a:gd name="connsiteY4258" fmla="*/ 631825 h 1762127"/>
                <a:gd name="connsiteX4259" fmla="*/ 8716052 w 9759834"/>
                <a:gd name="connsiteY4259" fmla="*/ 596900 h 1762127"/>
                <a:gd name="connsiteX4260" fmla="*/ 8630327 w 9759834"/>
                <a:gd name="connsiteY4260" fmla="*/ 596900 h 1762127"/>
                <a:gd name="connsiteX4261" fmla="*/ 8664459 w 9759834"/>
                <a:gd name="connsiteY4261" fmla="*/ 631825 h 1762127"/>
                <a:gd name="connsiteX4262" fmla="*/ 8630327 w 9759834"/>
                <a:gd name="connsiteY4262" fmla="*/ 666750 h 1762127"/>
                <a:gd name="connsiteX4263" fmla="*/ 8596195 w 9759834"/>
                <a:gd name="connsiteY4263" fmla="*/ 631825 h 1762127"/>
                <a:gd name="connsiteX4264" fmla="*/ 8630327 w 9759834"/>
                <a:gd name="connsiteY4264" fmla="*/ 596900 h 1762127"/>
                <a:gd name="connsiteX4265" fmla="*/ 8544602 w 9759834"/>
                <a:gd name="connsiteY4265" fmla="*/ 596900 h 1762127"/>
                <a:gd name="connsiteX4266" fmla="*/ 8578734 w 9759834"/>
                <a:gd name="connsiteY4266" fmla="*/ 631825 h 1762127"/>
                <a:gd name="connsiteX4267" fmla="*/ 8544602 w 9759834"/>
                <a:gd name="connsiteY4267" fmla="*/ 666750 h 1762127"/>
                <a:gd name="connsiteX4268" fmla="*/ 8510470 w 9759834"/>
                <a:gd name="connsiteY4268" fmla="*/ 631825 h 1762127"/>
                <a:gd name="connsiteX4269" fmla="*/ 8544602 w 9759834"/>
                <a:gd name="connsiteY4269" fmla="*/ 596900 h 1762127"/>
                <a:gd name="connsiteX4270" fmla="*/ 8465227 w 9759834"/>
                <a:gd name="connsiteY4270" fmla="*/ 596900 h 1762127"/>
                <a:gd name="connsiteX4271" fmla="*/ 8499359 w 9759834"/>
                <a:gd name="connsiteY4271" fmla="*/ 631825 h 1762127"/>
                <a:gd name="connsiteX4272" fmla="*/ 8465227 w 9759834"/>
                <a:gd name="connsiteY4272" fmla="*/ 666750 h 1762127"/>
                <a:gd name="connsiteX4273" fmla="*/ 8431095 w 9759834"/>
                <a:gd name="connsiteY4273" fmla="*/ 631825 h 1762127"/>
                <a:gd name="connsiteX4274" fmla="*/ 8465227 w 9759834"/>
                <a:gd name="connsiteY4274" fmla="*/ 596900 h 1762127"/>
                <a:gd name="connsiteX4275" fmla="*/ 8379502 w 9759834"/>
                <a:gd name="connsiteY4275" fmla="*/ 596900 h 1762127"/>
                <a:gd name="connsiteX4276" fmla="*/ 8413634 w 9759834"/>
                <a:gd name="connsiteY4276" fmla="*/ 631825 h 1762127"/>
                <a:gd name="connsiteX4277" fmla="*/ 8379502 w 9759834"/>
                <a:gd name="connsiteY4277" fmla="*/ 666750 h 1762127"/>
                <a:gd name="connsiteX4278" fmla="*/ 8345370 w 9759834"/>
                <a:gd name="connsiteY4278" fmla="*/ 631825 h 1762127"/>
                <a:gd name="connsiteX4279" fmla="*/ 8379502 w 9759834"/>
                <a:gd name="connsiteY4279" fmla="*/ 596900 h 1762127"/>
                <a:gd name="connsiteX4280" fmla="*/ 8293777 w 9759834"/>
                <a:gd name="connsiteY4280" fmla="*/ 596900 h 1762127"/>
                <a:gd name="connsiteX4281" fmla="*/ 8327909 w 9759834"/>
                <a:gd name="connsiteY4281" fmla="*/ 631825 h 1762127"/>
                <a:gd name="connsiteX4282" fmla="*/ 8293777 w 9759834"/>
                <a:gd name="connsiteY4282" fmla="*/ 666750 h 1762127"/>
                <a:gd name="connsiteX4283" fmla="*/ 8259645 w 9759834"/>
                <a:gd name="connsiteY4283" fmla="*/ 631825 h 1762127"/>
                <a:gd name="connsiteX4284" fmla="*/ 8293777 w 9759834"/>
                <a:gd name="connsiteY4284" fmla="*/ 596900 h 1762127"/>
                <a:gd name="connsiteX4285" fmla="*/ 8208052 w 9759834"/>
                <a:gd name="connsiteY4285" fmla="*/ 596900 h 1762127"/>
                <a:gd name="connsiteX4286" fmla="*/ 8242184 w 9759834"/>
                <a:gd name="connsiteY4286" fmla="*/ 631825 h 1762127"/>
                <a:gd name="connsiteX4287" fmla="*/ 8208052 w 9759834"/>
                <a:gd name="connsiteY4287" fmla="*/ 666750 h 1762127"/>
                <a:gd name="connsiteX4288" fmla="*/ 8173920 w 9759834"/>
                <a:gd name="connsiteY4288" fmla="*/ 631825 h 1762127"/>
                <a:gd name="connsiteX4289" fmla="*/ 8208052 w 9759834"/>
                <a:gd name="connsiteY4289" fmla="*/ 596900 h 1762127"/>
                <a:gd name="connsiteX4290" fmla="*/ 8125502 w 9759834"/>
                <a:gd name="connsiteY4290" fmla="*/ 596900 h 1762127"/>
                <a:gd name="connsiteX4291" fmla="*/ 8162809 w 9759834"/>
                <a:gd name="connsiteY4291" fmla="*/ 631825 h 1762127"/>
                <a:gd name="connsiteX4292" fmla="*/ 8125502 w 9759834"/>
                <a:gd name="connsiteY4292" fmla="*/ 666750 h 1762127"/>
                <a:gd name="connsiteX4293" fmla="*/ 8088195 w 9759834"/>
                <a:gd name="connsiteY4293" fmla="*/ 631825 h 1762127"/>
                <a:gd name="connsiteX4294" fmla="*/ 8125502 w 9759834"/>
                <a:gd name="connsiteY4294" fmla="*/ 596900 h 1762127"/>
                <a:gd name="connsiteX4295" fmla="*/ 8042952 w 9759834"/>
                <a:gd name="connsiteY4295" fmla="*/ 596900 h 1762127"/>
                <a:gd name="connsiteX4296" fmla="*/ 8077084 w 9759834"/>
                <a:gd name="connsiteY4296" fmla="*/ 631825 h 1762127"/>
                <a:gd name="connsiteX4297" fmla="*/ 8042952 w 9759834"/>
                <a:gd name="connsiteY4297" fmla="*/ 666750 h 1762127"/>
                <a:gd name="connsiteX4298" fmla="*/ 8008820 w 9759834"/>
                <a:gd name="connsiteY4298" fmla="*/ 631825 h 1762127"/>
                <a:gd name="connsiteX4299" fmla="*/ 8042952 w 9759834"/>
                <a:gd name="connsiteY4299" fmla="*/ 596900 h 1762127"/>
                <a:gd name="connsiteX4300" fmla="*/ 7957227 w 9759834"/>
                <a:gd name="connsiteY4300" fmla="*/ 596900 h 1762127"/>
                <a:gd name="connsiteX4301" fmla="*/ 7991359 w 9759834"/>
                <a:gd name="connsiteY4301" fmla="*/ 631825 h 1762127"/>
                <a:gd name="connsiteX4302" fmla="*/ 7957227 w 9759834"/>
                <a:gd name="connsiteY4302" fmla="*/ 666750 h 1762127"/>
                <a:gd name="connsiteX4303" fmla="*/ 7923095 w 9759834"/>
                <a:gd name="connsiteY4303" fmla="*/ 631825 h 1762127"/>
                <a:gd name="connsiteX4304" fmla="*/ 7957227 w 9759834"/>
                <a:gd name="connsiteY4304" fmla="*/ 596900 h 1762127"/>
                <a:gd name="connsiteX4305" fmla="*/ 7871502 w 9759834"/>
                <a:gd name="connsiteY4305" fmla="*/ 596900 h 1762127"/>
                <a:gd name="connsiteX4306" fmla="*/ 7905634 w 9759834"/>
                <a:gd name="connsiteY4306" fmla="*/ 631825 h 1762127"/>
                <a:gd name="connsiteX4307" fmla="*/ 7871502 w 9759834"/>
                <a:gd name="connsiteY4307" fmla="*/ 666750 h 1762127"/>
                <a:gd name="connsiteX4308" fmla="*/ 7837370 w 9759834"/>
                <a:gd name="connsiteY4308" fmla="*/ 631825 h 1762127"/>
                <a:gd name="connsiteX4309" fmla="*/ 7871502 w 9759834"/>
                <a:gd name="connsiteY4309" fmla="*/ 596900 h 1762127"/>
                <a:gd name="connsiteX4310" fmla="*/ 7785777 w 9759834"/>
                <a:gd name="connsiteY4310" fmla="*/ 596900 h 1762127"/>
                <a:gd name="connsiteX4311" fmla="*/ 7819909 w 9759834"/>
                <a:gd name="connsiteY4311" fmla="*/ 631825 h 1762127"/>
                <a:gd name="connsiteX4312" fmla="*/ 7785777 w 9759834"/>
                <a:gd name="connsiteY4312" fmla="*/ 666750 h 1762127"/>
                <a:gd name="connsiteX4313" fmla="*/ 7751645 w 9759834"/>
                <a:gd name="connsiteY4313" fmla="*/ 631825 h 1762127"/>
                <a:gd name="connsiteX4314" fmla="*/ 7785777 w 9759834"/>
                <a:gd name="connsiteY4314" fmla="*/ 596900 h 1762127"/>
                <a:gd name="connsiteX4315" fmla="*/ 7706402 w 9759834"/>
                <a:gd name="connsiteY4315" fmla="*/ 596900 h 1762127"/>
                <a:gd name="connsiteX4316" fmla="*/ 7740534 w 9759834"/>
                <a:gd name="connsiteY4316" fmla="*/ 631825 h 1762127"/>
                <a:gd name="connsiteX4317" fmla="*/ 7706402 w 9759834"/>
                <a:gd name="connsiteY4317" fmla="*/ 666750 h 1762127"/>
                <a:gd name="connsiteX4318" fmla="*/ 7672270 w 9759834"/>
                <a:gd name="connsiteY4318" fmla="*/ 631825 h 1762127"/>
                <a:gd name="connsiteX4319" fmla="*/ 7706402 w 9759834"/>
                <a:gd name="connsiteY4319" fmla="*/ 596900 h 1762127"/>
                <a:gd name="connsiteX4320" fmla="*/ 7620677 w 9759834"/>
                <a:gd name="connsiteY4320" fmla="*/ 596900 h 1762127"/>
                <a:gd name="connsiteX4321" fmla="*/ 7654809 w 9759834"/>
                <a:gd name="connsiteY4321" fmla="*/ 631825 h 1762127"/>
                <a:gd name="connsiteX4322" fmla="*/ 7620677 w 9759834"/>
                <a:gd name="connsiteY4322" fmla="*/ 666750 h 1762127"/>
                <a:gd name="connsiteX4323" fmla="*/ 7586545 w 9759834"/>
                <a:gd name="connsiteY4323" fmla="*/ 631825 h 1762127"/>
                <a:gd name="connsiteX4324" fmla="*/ 7620677 w 9759834"/>
                <a:gd name="connsiteY4324" fmla="*/ 596900 h 1762127"/>
                <a:gd name="connsiteX4325" fmla="*/ 7534952 w 9759834"/>
                <a:gd name="connsiteY4325" fmla="*/ 596900 h 1762127"/>
                <a:gd name="connsiteX4326" fmla="*/ 7569084 w 9759834"/>
                <a:gd name="connsiteY4326" fmla="*/ 631825 h 1762127"/>
                <a:gd name="connsiteX4327" fmla="*/ 7534952 w 9759834"/>
                <a:gd name="connsiteY4327" fmla="*/ 666750 h 1762127"/>
                <a:gd name="connsiteX4328" fmla="*/ 7500820 w 9759834"/>
                <a:gd name="connsiteY4328" fmla="*/ 631825 h 1762127"/>
                <a:gd name="connsiteX4329" fmla="*/ 7534952 w 9759834"/>
                <a:gd name="connsiteY4329" fmla="*/ 596900 h 1762127"/>
                <a:gd name="connsiteX4330" fmla="*/ 7449227 w 9759834"/>
                <a:gd name="connsiteY4330" fmla="*/ 596900 h 1762127"/>
                <a:gd name="connsiteX4331" fmla="*/ 7483359 w 9759834"/>
                <a:gd name="connsiteY4331" fmla="*/ 631825 h 1762127"/>
                <a:gd name="connsiteX4332" fmla="*/ 7449227 w 9759834"/>
                <a:gd name="connsiteY4332" fmla="*/ 666750 h 1762127"/>
                <a:gd name="connsiteX4333" fmla="*/ 7415095 w 9759834"/>
                <a:gd name="connsiteY4333" fmla="*/ 631825 h 1762127"/>
                <a:gd name="connsiteX4334" fmla="*/ 7449227 w 9759834"/>
                <a:gd name="connsiteY4334" fmla="*/ 596900 h 1762127"/>
                <a:gd name="connsiteX4335" fmla="*/ 7366677 w 9759834"/>
                <a:gd name="connsiteY4335" fmla="*/ 596900 h 1762127"/>
                <a:gd name="connsiteX4336" fmla="*/ 7403984 w 9759834"/>
                <a:gd name="connsiteY4336" fmla="*/ 631825 h 1762127"/>
                <a:gd name="connsiteX4337" fmla="*/ 7366677 w 9759834"/>
                <a:gd name="connsiteY4337" fmla="*/ 666750 h 1762127"/>
                <a:gd name="connsiteX4338" fmla="*/ 7329370 w 9759834"/>
                <a:gd name="connsiteY4338" fmla="*/ 631825 h 1762127"/>
                <a:gd name="connsiteX4339" fmla="*/ 7366677 w 9759834"/>
                <a:gd name="connsiteY4339" fmla="*/ 596900 h 1762127"/>
                <a:gd name="connsiteX4340" fmla="*/ 7284127 w 9759834"/>
                <a:gd name="connsiteY4340" fmla="*/ 596900 h 1762127"/>
                <a:gd name="connsiteX4341" fmla="*/ 7318259 w 9759834"/>
                <a:gd name="connsiteY4341" fmla="*/ 631825 h 1762127"/>
                <a:gd name="connsiteX4342" fmla="*/ 7284127 w 9759834"/>
                <a:gd name="connsiteY4342" fmla="*/ 666750 h 1762127"/>
                <a:gd name="connsiteX4343" fmla="*/ 7249995 w 9759834"/>
                <a:gd name="connsiteY4343" fmla="*/ 631825 h 1762127"/>
                <a:gd name="connsiteX4344" fmla="*/ 7284127 w 9759834"/>
                <a:gd name="connsiteY4344" fmla="*/ 596900 h 1762127"/>
                <a:gd name="connsiteX4345" fmla="*/ 7198402 w 9759834"/>
                <a:gd name="connsiteY4345" fmla="*/ 596900 h 1762127"/>
                <a:gd name="connsiteX4346" fmla="*/ 7232534 w 9759834"/>
                <a:gd name="connsiteY4346" fmla="*/ 631825 h 1762127"/>
                <a:gd name="connsiteX4347" fmla="*/ 7198402 w 9759834"/>
                <a:gd name="connsiteY4347" fmla="*/ 666750 h 1762127"/>
                <a:gd name="connsiteX4348" fmla="*/ 7164270 w 9759834"/>
                <a:gd name="connsiteY4348" fmla="*/ 631825 h 1762127"/>
                <a:gd name="connsiteX4349" fmla="*/ 7198402 w 9759834"/>
                <a:gd name="connsiteY4349" fmla="*/ 596900 h 1762127"/>
                <a:gd name="connsiteX4350" fmla="*/ 7112677 w 9759834"/>
                <a:gd name="connsiteY4350" fmla="*/ 596900 h 1762127"/>
                <a:gd name="connsiteX4351" fmla="*/ 7146809 w 9759834"/>
                <a:gd name="connsiteY4351" fmla="*/ 631825 h 1762127"/>
                <a:gd name="connsiteX4352" fmla="*/ 7112677 w 9759834"/>
                <a:gd name="connsiteY4352" fmla="*/ 666750 h 1762127"/>
                <a:gd name="connsiteX4353" fmla="*/ 7078545 w 9759834"/>
                <a:gd name="connsiteY4353" fmla="*/ 631825 h 1762127"/>
                <a:gd name="connsiteX4354" fmla="*/ 7112677 w 9759834"/>
                <a:gd name="connsiteY4354" fmla="*/ 596900 h 1762127"/>
                <a:gd name="connsiteX4355" fmla="*/ 6947577 w 9759834"/>
                <a:gd name="connsiteY4355" fmla="*/ 596900 h 1762127"/>
                <a:gd name="connsiteX4356" fmla="*/ 6981709 w 9759834"/>
                <a:gd name="connsiteY4356" fmla="*/ 631825 h 1762127"/>
                <a:gd name="connsiteX4357" fmla="*/ 6947577 w 9759834"/>
                <a:gd name="connsiteY4357" fmla="*/ 666750 h 1762127"/>
                <a:gd name="connsiteX4358" fmla="*/ 6913445 w 9759834"/>
                <a:gd name="connsiteY4358" fmla="*/ 631825 h 1762127"/>
                <a:gd name="connsiteX4359" fmla="*/ 6947577 w 9759834"/>
                <a:gd name="connsiteY4359" fmla="*/ 596900 h 1762127"/>
                <a:gd name="connsiteX4360" fmla="*/ 6861852 w 9759834"/>
                <a:gd name="connsiteY4360" fmla="*/ 596900 h 1762127"/>
                <a:gd name="connsiteX4361" fmla="*/ 6895984 w 9759834"/>
                <a:gd name="connsiteY4361" fmla="*/ 631825 h 1762127"/>
                <a:gd name="connsiteX4362" fmla="*/ 6861852 w 9759834"/>
                <a:gd name="connsiteY4362" fmla="*/ 666750 h 1762127"/>
                <a:gd name="connsiteX4363" fmla="*/ 6827720 w 9759834"/>
                <a:gd name="connsiteY4363" fmla="*/ 631825 h 1762127"/>
                <a:gd name="connsiteX4364" fmla="*/ 6861852 w 9759834"/>
                <a:gd name="connsiteY4364" fmla="*/ 596900 h 1762127"/>
                <a:gd name="connsiteX4365" fmla="*/ 6691195 w 9759834"/>
                <a:gd name="connsiteY4365" fmla="*/ 596900 h 1762127"/>
                <a:gd name="connsiteX4366" fmla="*/ 6726120 w 9759834"/>
                <a:gd name="connsiteY4366" fmla="*/ 631825 h 1762127"/>
                <a:gd name="connsiteX4367" fmla="*/ 6691195 w 9759834"/>
                <a:gd name="connsiteY4367" fmla="*/ 666750 h 1762127"/>
                <a:gd name="connsiteX4368" fmla="*/ 6656270 w 9759834"/>
                <a:gd name="connsiteY4368" fmla="*/ 631825 h 1762127"/>
                <a:gd name="connsiteX4369" fmla="*/ 6691195 w 9759834"/>
                <a:gd name="connsiteY4369" fmla="*/ 596900 h 1762127"/>
                <a:gd name="connsiteX4370" fmla="*/ 6607852 w 9759834"/>
                <a:gd name="connsiteY4370" fmla="*/ 596900 h 1762127"/>
                <a:gd name="connsiteX4371" fmla="*/ 6645159 w 9759834"/>
                <a:gd name="connsiteY4371" fmla="*/ 631825 h 1762127"/>
                <a:gd name="connsiteX4372" fmla="*/ 6607852 w 9759834"/>
                <a:gd name="connsiteY4372" fmla="*/ 666750 h 1762127"/>
                <a:gd name="connsiteX4373" fmla="*/ 6570545 w 9759834"/>
                <a:gd name="connsiteY4373" fmla="*/ 631825 h 1762127"/>
                <a:gd name="connsiteX4374" fmla="*/ 6607852 w 9759834"/>
                <a:gd name="connsiteY4374" fmla="*/ 596900 h 1762127"/>
                <a:gd name="connsiteX4375" fmla="*/ 6268920 w 9759834"/>
                <a:gd name="connsiteY4375" fmla="*/ 596900 h 1762127"/>
                <a:gd name="connsiteX4376" fmla="*/ 6303845 w 9759834"/>
                <a:gd name="connsiteY4376" fmla="*/ 631825 h 1762127"/>
                <a:gd name="connsiteX4377" fmla="*/ 6268920 w 9759834"/>
                <a:gd name="connsiteY4377" fmla="*/ 666750 h 1762127"/>
                <a:gd name="connsiteX4378" fmla="*/ 6233995 w 9759834"/>
                <a:gd name="connsiteY4378" fmla="*/ 631825 h 1762127"/>
                <a:gd name="connsiteX4379" fmla="*/ 6268920 w 9759834"/>
                <a:gd name="connsiteY4379" fmla="*/ 596900 h 1762127"/>
                <a:gd name="connsiteX4380" fmla="*/ 4332171 w 9759834"/>
                <a:gd name="connsiteY4380" fmla="*/ 596900 h 1762127"/>
                <a:gd name="connsiteX4381" fmla="*/ 4368684 w 9759834"/>
                <a:gd name="connsiteY4381" fmla="*/ 631825 h 1762127"/>
                <a:gd name="connsiteX4382" fmla="*/ 4332171 w 9759834"/>
                <a:gd name="connsiteY4382" fmla="*/ 666750 h 1762127"/>
                <a:gd name="connsiteX4383" fmla="*/ 4295658 w 9759834"/>
                <a:gd name="connsiteY4383" fmla="*/ 631825 h 1762127"/>
                <a:gd name="connsiteX4384" fmla="*/ 4332171 w 9759834"/>
                <a:gd name="connsiteY4384" fmla="*/ 596900 h 1762127"/>
                <a:gd name="connsiteX4385" fmla="*/ 4248827 w 9759834"/>
                <a:gd name="connsiteY4385" fmla="*/ 596900 h 1762127"/>
                <a:gd name="connsiteX4386" fmla="*/ 4282959 w 9759834"/>
                <a:gd name="connsiteY4386" fmla="*/ 631825 h 1762127"/>
                <a:gd name="connsiteX4387" fmla="*/ 4248827 w 9759834"/>
                <a:gd name="connsiteY4387" fmla="*/ 666750 h 1762127"/>
                <a:gd name="connsiteX4388" fmla="*/ 4214695 w 9759834"/>
                <a:gd name="connsiteY4388" fmla="*/ 631825 h 1762127"/>
                <a:gd name="connsiteX4389" fmla="*/ 4248827 w 9759834"/>
                <a:gd name="connsiteY4389" fmla="*/ 596900 h 1762127"/>
                <a:gd name="connsiteX4390" fmla="*/ 4163895 w 9759834"/>
                <a:gd name="connsiteY4390" fmla="*/ 596900 h 1762127"/>
                <a:gd name="connsiteX4391" fmla="*/ 4198820 w 9759834"/>
                <a:gd name="connsiteY4391" fmla="*/ 631825 h 1762127"/>
                <a:gd name="connsiteX4392" fmla="*/ 4163895 w 9759834"/>
                <a:gd name="connsiteY4392" fmla="*/ 666750 h 1762127"/>
                <a:gd name="connsiteX4393" fmla="*/ 4128970 w 9759834"/>
                <a:gd name="connsiteY4393" fmla="*/ 631825 h 1762127"/>
                <a:gd name="connsiteX4394" fmla="*/ 4163895 w 9759834"/>
                <a:gd name="connsiteY4394" fmla="*/ 596900 h 1762127"/>
                <a:gd name="connsiteX4395" fmla="*/ 4078170 w 9759834"/>
                <a:gd name="connsiteY4395" fmla="*/ 596900 h 1762127"/>
                <a:gd name="connsiteX4396" fmla="*/ 4113095 w 9759834"/>
                <a:gd name="connsiteY4396" fmla="*/ 631825 h 1762127"/>
                <a:gd name="connsiteX4397" fmla="*/ 4078170 w 9759834"/>
                <a:gd name="connsiteY4397" fmla="*/ 666750 h 1762127"/>
                <a:gd name="connsiteX4398" fmla="*/ 4043245 w 9759834"/>
                <a:gd name="connsiteY4398" fmla="*/ 631825 h 1762127"/>
                <a:gd name="connsiteX4399" fmla="*/ 4078170 w 9759834"/>
                <a:gd name="connsiteY4399" fmla="*/ 596900 h 1762127"/>
                <a:gd name="connsiteX4400" fmla="*/ 3993240 w 9759834"/>
                <a:gd name="connsiteY4400" fmla="*/ 596900 h 1762127"/>
                <a:gd name="connsiteX4401" fmla="*/ 4027372 w 9759834"/>
                <a:gd name="connsiteY4401" fmla="*/ 631825 h 1762127"/>
                <a:gd name="connsiteX4402" fmla="*/ 3993240 w 9759834"/>
                <a:gd name="connsiteY4402" fmla="*/ 666750 h 1762127"/>
                <a:gd name="connsiteX4403" fmla="*/ 3959108 w 9759834"/>
                <a:gd name="connsiteY4403" fmla="*/ 631825 h 1762127"/>
                <a:gd name="connsiteX4404" fmla="*/ 3993240 w 9759834"/>
                <a:gd name="connsiteY4404" fmla="*/ 596900 h 1762127"/>
                <a:gd name="connsiteX4405" fmla="*/ 3912277 w 9759834"/>
                <a:gd name="connsiteY4405" fmla="*/ 596900 h 1762127"/>
                <a:gd name="connsiteX4406" fmla="*/ 3946409 w 9759834"/>
                <a:gd name="connsiteY4406" fmla="*/ 631825 h 1762127"/>
                <a:gd name="connsiteX4407" fmla="*/ 3912277 w 9759834"/>
                <a:gd name="connsiteY4407" fmla="*/ 666750 h 1762127"/>
                <a:gd name="connsiteX4408" fmla="*/ 3878145 w 9759834"/>
                <a:gd name="connsiteY4408" fmla="*/ 631825 h 1762127"/>
                <a:gd name="connsiteX4409" fmla="*/ 3912277 w 9759834"/>
                <a:gd name="connsiteY4409" fmla="*/ 596900 h 1762127"/>
                <a:gd name="connsiteX4410" fmla="*/ 3826552 w 9759834"/>
                <a:gd name="connsiteY4410" fmla="*/ 596900 h 1762127"/>
                <a:gd name="connsiteX4411" fmla="*/ 3860684 w 9759834"/>
                <a:gd name="connsiteY4411" fmla="*/ 631825 h 1762127"/>
                <a:gd name="connsiteX4412" fmla="*/ 3826552 w 9759834"/>
                <a:gd name="connsiteY4412" fmla="*/ 666750 h 1762127"/>
                <a:gd name="connsiteX4413" fmla="*/ 3792420 w 9759834"/>
                <a:gd name="connsiteY4413" fmla="*/ 631825 h 1762127"/>
                <a:gd name="connsiteX4414" fmla="*/ 3826552 w 9759834"/>
                <a:gd name="connsiteY4414" fmla="*/ 596900 h 1762127"/>
                <a:gd name="connsiteX4415" fmla="*/ 3741620 w 9759834"/>
                <a:gd name="connsiteY4415" fmla="*/ 596900 h 1762127"/>
                <a:gd name="connsiteX4416" fmla="*/ 3776545 w 9759834"/>
                <a:gd name="connsiteY4416" fmla="*/ 631825 h 1762127"/>
                <a:gd name="connsiteX4417" fmla="*/ 3741620 w 9759834"/>
                <a:gd name="connsiteY4417" fmla="*/ 666750 h 1762127"/>
                <a:gd name="connsiteX4418" fmla="*/ 3706695 w 9759834"/>
                <a:gd name="connsiteY4418" fmla="*/ 631825 h 1762127"/>
                <a:gd name="connsiteX4419" fmla="*/ 3741620 w 9759834"/>
                <a:gd name="connsiteY4419" fmla="*/ 596900 h 1762127"/>
                <a:gd name="connsiteX4420" fmla="*/ 3234415 w 9759834"/>
                <a:gd name="connsiteY4420" fmla="*/ 596900 h 1762127"/>
                <a:gd name="connsiteX4421" fmla="*/ 3268547 w 9759834"/>
                <a:gd name="connsiteY4421" fmla="*/ 631825 h 1762127"/>
                <a:gd name="connsiteX4422" fmla="*/ 3234415 w 9759834"/>
                <a:gd name="connsiteY4422" fmla="*/ 666750 h 1762127"/>
                <a:gd name="connsiteX4423" fmla="*/ 3200283 w 9759834"/>
                <a:gd name="connsiteY4423" fmla="*/ 631825 h 1762127"/>
                <a:gd name="connsiteX4424" fmla="*/ 3234415 w 9759834"/>
                <a:gd name="connsiteY4424" fmla="*/ 596900 h 1762127"/>
                <a:gd name="connsiteX4425" fmla="*/ 3153452 w 9759834"/>
                <a:gd name="connsiteY4425" fmla="*/ 596900 h 1762127"/>
                <a:gd name="connsiteX4426" fmla="*/ 3187584 w 9759834"/>
                <a:gd name="connsiteY4426" fmla="*/ 631825 h 1762127"/>
                <a:gd name="connsiteX4427" fmla="*/ 3153452 w 9759834"/>
                <a:gd name="connsiteY4427" fmla="*/ 666750 h 1762127"/>
                <a:gd name="connsiteX4428" fmla="*/ 3119320 w 9759834"/>
                <a:gd name="connsiteY4428" fmla="*/ 631825 h 1762127"/>
                <a:gd name="connsiteX4429" fmla="*/ 3153452 w 9759834"/>
                <a:gd name="connsiteY4429" fmla="*/ 596900 h 1762127"/>
                <a:gd name="connsiteX4430" fmla="*/ 2983590 w 9759834"/>
                <a:gd name="connsiteY4430" fmla="*/ 596900 h 1762127"/>
                <a:gd name="connsiteX4431" fmla="*/ 3017722 w 9759834"/>
                <a:gd name="connsiteY4431" fmla="*/ 631825 h 1762127"/>
                <a:gd name="connsiteX4432" fmla="*/ 2983590 w 9759834"/>
                <a:gd name="connsiteY4432" fmla="*/ 666750 h 1762127"/>
                <a:gd name="connsiteX4433" fmla="*/ 2949458 w 9759834"/>
                <a:gd name="connsiteY4433" fmla="*/ 631825 h 1762127"/>
                <a:gd name="connsiteX4434" fmla="*/ 2983590 w 9759834"/>
                <a:gd name="connsiteY4434" fmla="*/ 596900 h 1762127"/>
                <a:gd name="connsiteX4435" fmla="*/ 2561353 w 9759834"/>
                <a:gd name="connsiteY4435" fmla="*/ 596900 h 1762127"/>
                <a:gd name="connsiteX4436" fmla="*/ 2595485 w 9759834"/>
                <a:gd name="connsiteY4436" fmla="*/ 631825 h 1762127"/>
                <a:gd name="connsiteX4437" fmla="*/ 2561353 w 9759834"/>
                <a:gd name="connsiteY4437" fmla="*/ 666750 h 1762127"/>
                <a:gd name="connsiteX4438" fmla="*/ 2527221 w 9759834"/>
                <a:gd name="connsiteY4438" fmla="*/ 631825 h 1762127"/>
                <a:gd name="connsiteX4439" fmla="*/ 2561353 w 9759834"/>
                <a:gd name="connsiteY4439" fmla="*/ 596900 h 1762127"/>
                <a:gd name="connsiteX4440" fmla="*/ 2309732 w 9759834"/>
                <a:gd name="connsiteY4440" fmla="*/ 596900 h 1762127"/>
                <a:gd name="connsiteX4441" fmla="*/ 2344659 w 9759834"/>
                <a:gd name="connsiteY4441" fmla="*/ 631825 h 1762127"/>
                <a:gd name="connsiteX4442" fmla="*/ 2309732 w 9759834"/>
                <a:gd name="connsiteY4442" fmla="*/ 666750 h 1762127"/>
                <a:gd name="connsiteX4443" fmla="*/ 2274806 w 9759834"/>
                <a:gd name="connsiteY4443" fmla="*/ 631825 h 1762127"/>
                <a:gd name="connsiteX4444" fmla="*/ 2309732 w 9759834"/>
                <a:gd name="connsiteY4444" fmla="*/ 596900 h 1762127"/>
                <a:gd name="connsiteX4445" fmla="*/ 2224804 w 9759834"/>
                <a:gd name="connsiteY4445" fmla="*/ 596900 h 1762127"/>
                <a:gd name="connsiteX4446" fmla="*/ 2258936 w 9759834"/>
                <a:gd name="connsiteY4446" fmla="*/ 631825 h 1762127"/>
                <a:gd name="connsiteX4447" fmla="*/ 2224804 w 9759834"/>
                <a:gd name="connsiteY4447" fmla="*/ 666750 h 1762127"/>
                <a:gd name="connsiteX4448" fmla="*/ 2190671 w 9759834"/>
                <a:gd name="connsiteY4448" fmla="*/ 631825 h 1762127"/>
                <a:gd name="connsiteX4449" fmla="*/ 2224804 w 9759834"/>
                <a:gd name="connsiteY4449" fmla="*/ 596900 h 1762127"/>
                <a:gd name="connsiteX4450" fmla="*/ 2055738 w 9759834"/>
                <a:gd name="connsiteY4450" fmla="*/ 596900 h 1762127"/>
                <a:gd name="connsiteX4451" fmla="*/ 2092252 w 9759834"/>
                <a:gd name="connsiteY4451" fmla="*/ 631825 h 1762127"/>
                <a:gd name="connsiteX4452" fmla="*/ 2055738 w 9759834"/>
                <a:gd name="connsiteY4452" fmla="*/ 666750 h 1762127"/>
                <a:gd name="connsiteX4453" fmla="*/ 2019226 w 9759834"/>
                <a:gd name="connsiteY4453" fmla="*/ 631825 h 1762127"/>
                <a:gd name="connsiteX4454" fmla="*/ 2055738 w 9759834"/>
                <a:gd name="connsiteY4454" fmla="*/ 596900 h 1762127"/>
                <a:gd name="connsiteX4455" fmla="*/ 1973301 w 9759834"/>
                <a:gd name="connsiteY4455" fmla="*/ 596900 h 1762127"/>
                <a:gd name="connsiteX4456" fmla="*/ 2008227 w 9759834"/>
                <a:gd name="connsiteY4456" fmla="*/ 631825 h 1762127"/>
                <a:gd name="connsiteX4457" fmla="*/ 1973301 w 9759834"/>
                <a:gd name="connsiteY4457" fmla="*/ 666750 h 1762127"/>
                <a:gd name="connsiteX4458" fmla="*/ 1938380 w 9759834"/>
                <a:gd name="connsiteY4458" fmla="*/ 631825 h 1762127"/>
                <a:gd name="connsiteX4459" fmla="*/ 1973301 w 9759834"/>
                <a:gd name="connsiteY4459" fmla="*/ 596900 h 1762127"/>
                <a:gd name="connsiteX4460" fmla="*/ 1888373 w 9759834"/>
                <a:gd name="connsiteY4460" fmla="*/ 596900 h 1762127"/>
                <a:gd name="connsiteX4461" fmla="*/ 1922503 w 9759834"/>
                <a:gd name="connsiteY4461" fmla="*/ 631825 h 1762127"/>
                <a:gd name="connsiteX4462" fmla="*/ 1888373 w 9759834"/>
                <a:gd name="connsiteY4462" fmla="*/ 666750 h 1762127"/>
                <a:gd name="connsiteX4463" fmla="*/ 1854243 w 9759834"/>
                <a:gd name="connsiteY4463" fmla="*/ 631825 h 1762127"/>
                <a:gd name="connsiteX4464" fmla="*/ 1888373 w 9759834"/>
                <a:gd name="connsiteY4464" fmla="*/ 596900 h 1762127"/>
                <a:gd name="connsiteX4465" fmla="*/ 1719175 w 9759834"/>
                <a:gd name="connsiteY4465" fmla="*/ 596900 h 1762127"/>
                <a:gd name="connsiteX4466" fmla="*/ 1755688 w 9759834"/>
                <a:gd name="connsiteY4466" fmla="*/ 631825 h 1762127"/>
                <a:gd name="connsiteX4467" fmla="*/ 1719175 w 9759834"/>
                <a:gd name="connsiteY4467" fmla="*/ 666750 h 1762127"/>
                <a:gd name="connsiteX4468" fmla="*/ 1682663 w 9759834"/>
                <a:gd name="connsiteY4468" fmla="*/ 631825 h 1762127"/>
                <a:gd name="connsiteX4469" fmla="*/ 1719175 w 9759834"/>
                <a:gd name="connsiteY4469" fmla="*/ 596900 h 1762127"/>
                <a:gd name="connsiteX4470" fmla="*/ 1636625 w 9759834"/>
                <a:gd name="connsiteY4470" fmla="*/ 596900 h 1762127"/>
                <a:gd name="connsiteX4471" fmla="*/ 1671551 w 9759834"/>
                <a:gd name="connsiteY4471" fmla="*/ 631825 h 1762127"/>
                <a:gd name="connsiteX4472" fmla="*/ 1636625 w 9759834"/>
                <a:gd name="connsiteY4472" fmla="*/ 666750 h 1762127"/>
                <a:gd name="connsiteX4473" fmla="*/ 1601700 w 9759834"/>
                <a:gd name="connsiteY4473" fmla="*/ 631825 h 1762127"/>
                <a:gd name="connsiteX4474" fmla="*/ 1636625 w 9759834"/>
                <a:gd name="connsiteY4474" fmla="*/ 596900 h 1762127"/>
                <a:gd name="connsiteX4475" fmla="*/ 1551694 w 9759834"/>
                <a:gd name="connsiteY4475" fmla="*/ 596900 h 1762127"/>
                <a:gd name="connsiteX4476" fmla="*/ 1585827 w 9759834"/>
                <a:gd name="connsiteY4476" fmla="*/ 631825 h 1762127"/>
                <a:gd name="connsiteX4477" fmla="*/ 1551694 w 9759834"/>
                <a:gd name="connsiteY4477" fmla="*/ 666750 h 1762127"/>
                <a:gd name="connsiteX4478" fmla="*/ 1517562 w 9759834"/>
                <a:gd name="connsiteY4478" fmla="*/ 631825 h 1762127"/>
                <a:gd name="connsiteX4479" fmla="*/ 1551694 w 9759834"/>
                <a:gd name="connsiteY4479" fmla="*/ 596900 h 1762127"/>
                <a:gd name="connsiteX4480" fmla="*/ 1465966 w 9759834"/>
                <a:gd name="connsiteY4480" fmla="*/ 596900 h 1762127"/>
                <a:gd name="connsiteX4481" fmla="*/ 1500098 w 9759834"/>
                <a:gd name="connsiteY4481" fmla="*/ 631825 h 1762127"/>
                <a:gd name="connsiteX4482" fmla="*/ 1465966 w 9759834"/>
                <a:gd name="connsiteY4482" fmla="*/ 666750 h 1762127"/>
                <a:gd name="connsiteX4483" fmla="*/ 1431834 w 9759834"/>
                <a:gd name="connsiteY4483" fmla="*/ 631825 h 1762127"/>
                <a:gd name="connsiteX4484" fmla="*/ 1465966 w 9759834"/>
                <a:gd name="connsiteY4484" fmla="*/ 596900 h 1762127"/>
                <a:gd name="connsiteX4485" fmla="*/ 1380239 w 9759834"/>
                <a:gd name="connsiteY4485" fmla="*/ 596900 h 1762127"/>
                <a:gd name="connsiteX4486" fmla="*/ 1414372 w 9759834"/>
                <a:gd name="connsiteY4486" fmla="*/ 631825 h 1762127"/>
                <a:gd name="connsiteX4487" fmla="*/ 1380239 w 9759834"/>
                <a:gd name="connsiteY4487" fmla="*/ 666750 h 1762127"/>
                <a:gd name="connsiteX4488" fmla="*/ 1346108 w 9759834"/>
                <a:gd name="connsiteY4488" fmla="*/ 631825 h 1762127"/>
                <a:gd name="connsiteX4489" fmla="*/ 1380239 w 9759834"/>
                <a:gd name="connsiteY4489" fmla="*/ 596900 h 1762127"/>
                <a:gd name="connsiteX4490" fmla="*/ 1300069 w 9759834"/>
                <a:gd name="connsiteY4490" fmla="*/ 596900 h 1762127"/>
                <a:gd name="connsiteX4491" fmla="*/ 1334994 w 9759834"/>
                <a:gd name="connsiteY4491" fmla="*/ 631825 h 1762127"/>
                <a:gd name="connsiteX4492" fmla="*/ 1300069 w 9759834"/>
                <a:gd name="connsiteY4492" fmla="*/ 666750 h 1762127"/>
                <a:gd name="connsiteX4493" fmla="*/ 1265143 w 9759834"/>
                <a:gd name="connsiteY4493" fmla="*/ 631825 h 1762127"/>
                <a:gd name="connsiteX4494" fmla="*/ 1300069 w 9759834"/>
                <a:gd name="connsiteY4494" fmla="*/ 596900 h 1762127"/>
                <a:gd name="connsiteX4495" fmla="*/ 1214323 w 9759834"/>
                <a:gd name="connsiteY4495" fmla="*/ 596900 h 1762127"/>
                <a:gd name="connsiteX4496" fmla="*/ 1249248 w 9759834"/>
                <a:gd name="connsiteY4496" fmla="*/ 631825 h 1762127"/>
                <a:gd name="connsiteX4497" fmla="*/ 1214323 w 9759834"/>
                <a:gd name="connsiteY4497" fmla="*/ 666750 h 1762127"/>
                <a:gd name="connsiteX4498" fmla="*/ 1179398 w 9759834"/>
                <a:gd name="connsiteY4498" fmla="*/ 631825 h 1762127"/>
                <a:gd name="connsiteX4499" fmla="*/ 1214323 w 9759834"/>
                <a:gd name="connsiteY4499" fmla="*/ 596900 h 1762127"/>
                <a:gd name="connsiteX4500" fmla="*/ 1129392 w 9759834"/>
                <a:gd name="connsiteY4500" fmla="*/ 596900 h 1762127"/>
                <a:gd name="connsiteX4501" fmla="*/ 1163524 w 9759834"/>
                <a:gd name="connsiteY4501" fmla="*/ 631825 h 1762127"/>
                <a:gd name="connsiteX4502" fmla="*/ 1129392 w 9759834"/>
                <a:gd name="connsiteY4502" fmla="*/ 666750 h 1762127"/>
                <a:gd name="connsiteX4503" fmla="*/ 1095260 w 9759834"/>
                <a:gd name="connsiteY4503" fmla="*/ 631825 h 1762127"/>
                <a:gd name="connsiteX4504" fmla="*/ 1129392 w 9759834"/>
                <a:gd name="connsiteY4504" fmla="*/ 596900 h 1762127"/>
                <a:gd name="connsiteX4505" fmla="*/ 1043667 w 9759834"/>
                <a:gd name="connsiteY4505" fmla="*/ 596900 h 1762127"/>
                <a:gd name="connsiteX4506" fmla="*/ 1077799 w 9759834"/>
                <a:gd name="connsiteY4506" fmla="*/ 631825 h 1762127"/>
                <a:gd name="connsiteX4507" fmla="*/ 1043667 w 9759834"/>
                <a:gd name="connsiteY4507" fmla="*/ 666750 h 1762127"/>
                <a:gd name="connsiteX4508" fmla="*/ 1009535 w 9759834"/>
                <a:gd name="connsiteY4508" fmla="*/ 631825 h 1762127"/>
                <a:gd name="connsiteX4509" fmla="*/ 1043667 w 9759834"/>
                <a:gd name="connsiteY4509" fmla="*/ 596900 h 1762127"/>
                <a:gd name="connsiteX4510" fmla="*/ 960324 w 9759834"/>
                <a:gd name="connsiteY4510" fmla="*/ 596900 h 1762127"/>
                <a:gd name="connsiteX4511" fmla="*/ 996836 w 9759834"/>
                <a:gd name="connsiteY4511" fmla="*/ 631825 h 1762127"/>
                <a:gd name="connsiteX4512" fmla="*/ 960324 w 9759834"/>
                <a:gd name="connsiteY4512" fmla="*/ 666750 h 1762127"/>
                <a:gd name="connsiteX4513" fmla="*/ 923810 w 9759834"/>
                <a:gd name="connsiteY4513" fmla="*/ 631825 h 1762127"/>
                <a:gd name="connsiteX4514" fmla="*/ 960324 w 9759834"/>
                <a:gd name="connsiteY4514" fmla="*/ 596900 h 1762127"/>
                <a:gd name="connsiteX4515" fmla="*/ 877939 w 9759834"/>
                <a:gd name="connsiteY4515" fmla="*/ 596900 h 1762127"/>
                <a:gd name="connsiteX4516" fmla="*/ 912864 w 9759834"/>
                <a:gd name="connsiteY4516" fmla="*/ 631825 h 1762127"/>
                <a:gd name="connsiteX4517" fmla="*/ 877939 w 9759834"/>
                <a:gd name="connsiteY4517" fmla="*/ 666750 h 1762127"/>
                <a:gd name="connsiteX4518" fmla="*/ 843014 w 9759834"/>
                <a:gd name="connsiteY4518" fmla="*/ 631825 h 1762127"/>
                <a:gd name="connsiteX4519" fmla="*/ 877939 w 9759834"/>
                <a:gd name="connsiteY4519" fmla="*/ 596900 h 1762127"/>
                <a:gd name="connsiteX4520" fmla="*/ 793002 w 9759834"/>
                <a:gd name="connsiteY4520" fmla="*/ 596900 h 1762127"/>
                <a:gd name="connsiteX4521" fmla="*/ 827137 w 9759834"/>
                <a:gd name="connsiteY4521" fmla="*/ 631825 h 1762127"/>
                <a:gd name="connsiteX4522" fmla="*/ 793002 w 9759834"/>
                <a:gd name="connsiteY4522" fmla="*/ 666750 h 1762127"/>
                <a:gd name="connsiteX4523" fmla="*/ 758871 w 9759834"/>
                <a:gd name="connsiteY4523" fmla="*/ 631825 h 1762127"/>
                <a:gd name="connsiteX4524" fmla="*/ 793002 w 9759834"/>
                <a:gd name="connsiteY4524" fmla="*/ 596900 h 1762127"/>
                <a:gd name="connsiteX4525" fmla="*/ 707275 w 9759834"/>
                <a:gd name="connsiteY4525" fmla="*/ 596900 h 1762127"/>
                <a:gd name="connsiteX4526" fmla="*/ 741409 w 9759834"/>
                <a:gd name="connsiteY4526" fmla="*/ 631825 h 1762127"/>
                <a:gd name="connsiteX4527" fmla="*/ 707275 w 9759834"/>
                <a:gd name="connsiteY4527" fmla="*/ 666750 h 1762127"/>
                <a:gd name="connsiteX4528" fmla="*/ 673133 w 9759834"/>
                <a:gd name="connsiteY4528" fmla="*/ 631825 h 1762127"/>
                <a:gd name="connsiteX4529" fmla="*/ 707275 w 9759834"/>
                <a:gd name="connsiteY4529" fmla="*/ 596900 h 1762127"/>
                <a:gd name="connsiteX4530" fmla="*/ 8716052 w 9759834"/>
                <a:gd name="connsiteY4530" fmla="*/ 511175 h 1762127"/>
                <a:gd name="connsiteX4531" fmla="*/ 8750184 w 9759834"/>
                <a:gd name="connsiteY4531" fmla="*/ 545307 h 1762127"/>
                <a:gd name="connsiteX4532" fmla="*/ 8716052 w 9759834"/>
                <a:gd name="connsiteY4532" fmla="*/ 579439 h 1762127"/>
                <a:gd name="connsiteX4533" fmla="*/ 8681920 w 9759834"/>
                <a:gd name="connsiteY4533" fmla="*/ 545307 h 1762127"/>
                <a:gd name="connsiteX4534" fmla="*/ 8716052 w 9759834"/>
                <a:gd name="connsiteY4534" fmla="*/ 511175 h 1762127"/>
                <a:gd name="connsiteX4535" fmla="*/ 8630327 w 9759834"/>
                <a:gd name="connsiteY4535" fmla="*/ 511175 h 1762127"/>
                <a:gd name="connsiteX4536" fmla="*/ 8664459 w 9759834"/>
                <a:gd name="connsiteY4536" fmla="*/ 545307 h 1762127"/>
                <a:gd name="connsiteX4537" fmla="*/ 8630327 w 9759834"/>
                <a:gd name="connsiteY4537" fmla="*/ 579439 h 1762127"/>
                <a:gd name="connsiteX4538" fmla="*/ 8596195 w 9759834"/>
                <a:gd name="connsiteY4538" fmla="*/ 545307 h 1762127"/>
                <a:gd name="connsiteX4539" fmla="*/ 8630327 w 9759834"/>
                <a:gd name="connsiteY4539" fmla="*/ 511175 h 1762127"/>
                <a:gd name="connsiteX4540" fmla="*/ 8544602 w 9759834"/>
                <a:gd name="connsiteY4540" fmla="*/ 511175 h 1762127"/>
                <a:gd name="connsiteX4541" fmla="*/ 8578734 w 9759834"/>
                <a:gd name="connsiteY4541" fmla="*/ 545307 h 1762127"/>
                <a:gd name="connsiteX4542" fmla="*/ 8544602 w 9759834"/>
                <a:gd name="connsiteY4542" fmla="*/ 579439 h 1762127"/>
                <a:gd name="connsiteX4543" fmla="*/ 8510470 w 9759834"/>
                <a:gd name="connsiteY4543" fmla="*/ 545307 h 1762127"/>
                <a:gd name="connsiteX4544" fmla="*/ 8544602 w 9759834"/>
                <a:gd name="connsiteY4544" fmla="*/ 511175 h 1762127"/>
                <a:gd name="connsiteX4545" fmla="*/ 8465227 w 9759834"/>
                <a:gd name="connsiteY4545" fmla="*/ 511175 h 1762127"/>
                <a:gd name="connsiteX4546" fmla="*/ 8499359 w 9759834"/>
                <a:gd name="connsiteY4546" fmla="*/ 545307 h 1762127"/>
                <a:gd name="connsiteX4547" fmla="*/ 8465227 w 9759834"/>
                <a:gd name="connsiteY4547" fmla="*/ 579439 h 1762127"/>
                <a:gd name="connsiteX4548" fmla="*/ 8431095 w 9759834"/>
                <a:gd name="connsiteY4548" fmla="*/ 545307 h 1762127"/>
                <a:gd name="connsiteX4549" fmla="*/ 8465227 w 9759834"/>
                <a:gd name="connsiteY4549" fmla="*/ 511175 h 1762127"/>
                <a:gd name="connsiteX4550" fmla="*/ 8379502 w 9759834"/>
                <a:gd name="connsiteY4550" fmla="*/ 511175 h 1762127"/>
                <a:gd name="connsiteX4551" fmla="*/ 8413634 w 9759834"/>
                <a:gd name="connsiteY4551" fmla="*/ 545307 h 1762127"/>
                <a:gd name="connsiteX4552" fmla="*/ 8379502 w 9759834"/>
                <a:gd name="connsiteY4552" fmla="*/ 579439 h 1762127"/>
                <a:gd name="connsiteX4553" fmla="*/ 8345370 w 9759834"/>
                <a:gd name="connsiteY4553" fmla="*/ 545307 h 1762127"/>
                <a:gd name="connsiteX4554" fmla="*/ 8379502 w 9759834"/>
                <a:gd name="connsiteY4554" fmla="*/ 511175 h 1762127"/>
                <a:gd name="connsiteX4555" fmla="*/ 8293777 w 9759834"/>
                <a:gd name="connsiteY4555" fmla="*/ 511175 h 1762127"/>
                <a:gd name="connsiteX4556" fmla="*/ 8327909 w 9759834"/>
                <a:gd name="connsiteY4556" fmla="*/ 545307 h 1762127"/>
                <a:gd name="connsiteX4557" fmla="*/ 8293777 w 9759834"/>
                <a:gd name="connsiteY4557" fmla="*/ 579439 h 1762127"/>
                <a:gd name="connsiteX4558" fmla="*/ 8259645 w 9759834"/>
                <a:gd name="connsiteY4558" fmla="*/ 545307 h 1762127"/>
                <a:gd name="connsiteX4559" fmla="*/ 8293777 w 9759834"/>
                <a:gd name="connsiteY4559" fmla="*/ 511175 h 1762127"/>
                <a:gd name="connsiteX4560" fmla="*/ 8208052 w 9759834"/>
                <a:gd name="connsiteY4560" fmla="*/ 511175 h 1762127"/>
                <a:gd name="connsiteX4561" fmla="*/ 8242184 w 9759834"/>
                <a:gd name="connsiteY4561" fmla="*/ 545307 h 1762127"/>
                <a:gd name="connsiteX4562" fmla="*/ 8208052 w 9759834"/>
                <a:gd name="connsiteY4562" fmla="*/ 579439 h 1762127"/>
                <a:gd name="connsiteX4563" fmla="*/ 8173920 w 9759834"/>
                <a:gd name="connsiteY4563" fmla="*/ 545307 h 1762127"/>
                <a:gd name="connsiteX4564" fmla="*/ 8208052 w 9759834"/>
                <a:gd name="connsiteY4564" fmla="*/ 511175 h 1762127"/>
                <a:gd name="connsiteX4565" fmla="*/ 8125502 w 9759834"/>
                <a:gd name="connsiteY4565" fmla="*/ 511175 h 1762127"/>
                <a:gd name="connsiteX4566" fmla="*/ 8162809 w 9759834"/>
                <a:gd name="connsiteY4566" fmla="*/ 545307 h 1762127"/>
                <a:gd name="connsiteX4567" fmla="*/ 8125502 w 9759834"/>
                <a:gd name="connsiteY4567" fmla="*/ 579439 h 1762127"/>
                <a:gd name="connsiteX4568" fmla="*/ 8088195 w 9759834"/>
                <a:gd name="connsiteY4568" fmla="*/ 545307 h 1762127"/>
                <a:gd name="connsiteX4569" fmla="*/ 8125502 w 9759834"/>
                <a:gd name="connsiteY4569" fmla="*/ 511175 h 1762127"/>
                <a:gd name="connsiteX4570" fmla="*/ 8042952 w 9759834"/>
                <a:gd name="connsiteY4570" fmla="*/ 511175 h 1762127"/>
                <a:gd name="connsiteX4571" fmla="*/ 8077084 w 9759834"/>
                <a:gd name="connsiteY4571" fmla="*/ 545307 h 1762127"/>
                <a:gd name="connsiteX4572" fmla="*/ 8042952 w 9759834"/>
                <a:gd name="connsiteY4572" fmla="*/ 579439 h 1762127"/>
                <a:gd name="connsiteX4573" fmla="*/ 8008820 w 9759834"/>
                <a:gd name="connsiteY4573" fmla="*/ 545307 h 1762127"/>
                <a:gd name="connsiteX4574" fmla="*/ 8042952 w 9759834"/>
                <a:gd name="connsiteY4574" fmla="*/ 511175 h 1762127"/>
                <a:gd name="connsiteX4575" fmla="*/ 7957227 w 9759834"/>
                <a:gd name="connsiteY4575" fmla="*/ 511175 h 1762127"/>
                <a:gd name="connsiteX4576" fmla="*/ 7991359 w 9759834"/>
                <a:gd name="connsiteY4576" fmla="*/ 545307 h 1762127"/>
                <a:gd name="connsiteX4577" fmla="*/ 7957227 w 9759834"/>
                <a:gd name="connsiteY4577" fmla="*/ 579439 h 1762127"/>
                <a:gd name="connsiteX4578" fmla="*/ 7923095 w 9759834"/>
                <a:gd name="connsiteY4578" fmla="*/ 545307 h 1762127"/>
                <a:gd name="connsiteX4579" fmla="*/ 7957227 w 9759834"/>
                <a:gd name="connsiteY4579" fmla="*/ 511175 h 1762127"/>
                <a:gd name="connsiteX4580" fmla="*/ 7871502 w 9759834"/>
                <a:gd name="connsiteY4580" fmla="*/ 511175 h 1762127"/>
                <a:gd name="connsiteX4581" fmla="*/ 7905634 w 9759834"/>
                <a:gd name="connsiteY4581" fmla="*/ 545307 h 1762127"/>
                <a:gd name="connsiteX4582" fmla="*/ 7871502 w 9759834"/>
                <a:gd name="connsiteY4582" fmla="*/ 579439 h 1762127"/>
                <a:gd name="connsiteX4583" fmla="*/ 7837370 w 9759834"/>
                <a:gd name="connsiteY4583" fmla="*/ 545307 h 1762127"/>
                <a:gd name="connsiteX4584" fmla="*/ 7871502 w 9759834"/>
                <a:gd name="connsiteY4584" fmla="*/ 511175 h 1762127"/>
                <a:gd name="connsiteX4585" fmla="*/ 7785777 w 9759834"/>
                <a:gd name="connsiteY4585" fmla="*/ 511175 h 1762127"/>
                <a:gd name="connsiteX4586" fmla="*/ 7819909 w 9759834"/>
                <a:gd name="connsiteY4586" fmla="*/ 545307 h 1762127"/>
                <a:gd name="connsiteX4587" fmla="*/ 7785777 w 9759834"/>
                <a:gd name="connsiteY4587" fmla="*/ 579439 h 1762127"/>
                <a:gd name="connsiteX4588" fmla="*/ 7751645 w 9759834"/>
                <a:gd name="connsiteY4588" fmla="*/ 545307 h 1762127"/>
                <a:gd name="connsiteX4589" fmla="*/ 7785777 w 9759834"/>
                <a:gd name="connsiteY4589" fmla="*/ 511175 h 1762127"/>
                <a:gd name="connsiteX4590" fmla="*/ 7706402 w 9759834"/>
                <a:gd name="connsiteY4590" fmla="*/ 511175 h 1762127"/>
                <a:gd name="connsiteX4591" fmla="*/ 7740534 w 9759834"/>
                <a:gd name="connsiteY4591" fmla="*/ 545307 h 1762127"/>
                <a:gd name="connsiteX4592" fmla="*/ 7706402 w 9759834"/>
                <a:gd name="connsiteY4592" fmla="*/ 579439 h 1762127"/>
                <a:gd name="connsiteX4593" fmla="*/ 7672270 w 9759834"/>
                <a:gd name="connsiteY4593" fmla="*/ 545307 h 1762127"/>
                <a:gd name="connsiteX4594" fmla="*/ 7706402 w 9759834"/>
                <a:gd name="connsiteY4594" fmla="*/ 511175 h 1762127"/>
                <a:gd name="connsiteX4595" fmla="*/ 7620677 w 9759834"/>
                <a:gd name="connsiteY4595" fmla="*/ 511175 h 1762127"/>
                <a:gd name="connsiteX4596" fmla="*/ 7654809 w 9759834"/>
                <a:gd name="connsiteY4596" fmla="*/ 545307 h 1762127"/>
                <a:gd name="connsiteX4597" fmla="*/ 7620677 w 9759834"/>
                <a:gd name="connsiteY4597" fmla="*/ 579439 h 1762127"/>
                <a:gd name="connsiteX4598" fmla="*/ 7586545 w 9759834"/>
                <a:gd name="connsiteY4598" fmla="*/ 545307 h 1762127"/>
                <a:gd name="connsiteX4599" fmla="*/ 7620677 w 9759834"/>
                <a:gd name="connsiteY4599" fmla="*/ 511175 h 1762127"/>
                <a:gd name="connsiteX4600" fmla="*/ 7534952 w 9759834"/>
                <a:gd name="connsiteY4600" fmla="*/ 511175 h 1762127"/>
                <a:gd name="connsiteX4601" fmla="*/ 7569084 w 9759834"/>
                <a:gd name="connsiteY4601" fmla="*/ 545307 h 1762127"/>
                <a:gd name="connsiteX4602" fmla="*/ 7534952 w 9759834"/>
                <a:gd name="connsiteY4602" fmla="*/ 579439 h 1762127"/>
                <a:gd name="connsiteX4603" fmla="*/ 7500820 w 9759834"/>
                <a:gd name="connsiteY4603" fmla="*/ 545307 h 1762127"/>
                <a:gd name="connsiteX4604" fmla="*/ 7534952 w 9759834"/>
                <a:gd name="connsiteY4604" fmla="*/ 511175 h 1762127"/>
                <a:gd name="connsiteX4605" fmla="*/ 7449227 w 9759834"/>
                <a:gd name="connsiteY4605" fmla="*/ 511175 h 1762127"/>
                <a:gd name="connsiteX4606" fmla="*/ 7483359 w 9759834"/>
                <a:gd name="connsiteY4606" fmla="*/ 545307 h 1762127"/>
                <a:gd name="connsiteX4607" fmla="*/ 7449227 w 9759834"/>
                <a:gd name="connsiteY4607" fmla="*/ 579439 h 1762127"/>
                <a:gd name="connsiteX4608" fmla="*/ 7415095 w 9759834"/>
                <a:gd name="connsiteY4608" fmla="*/ 545307 h 1762127"/>
                <a:gd name="connsiteX4609" fmla="*/ 7449227 w 9759834"/>
                <a:gd name="connsiteY4609" fmla="*/ 511175 h 1762127"/>
                <a:gd name="connsiteX4610" fmla="*/ 7366677 w 9759834"/>
                <a:gd name="connsiteY4610" fmla="*/ 511175 h 1762127"/>
                <a:gd name="connsiteX4611" fmla="*/ 7403984 w 9759834"/>
                <a:gd name="connsiteY4611" fmla="*/ 545307 h 1762127"/>
                <a:gd name="connsiteX4612" fmla="*/ 7366677 w 9759834"/>
                <a:gd name="connsiteY4612" fmla="*/ 579439 h 1762127"/>
                <a:gd name="connsiteX4613" fmla="*/ 7329370 w 9759834"/>
                <a:gd name="connsiteY4613" fmla="*/ 545307 h 1762127"/>
                <a:gd name="connsiteX4614" fmla="*/ 7366677 w 9759834"/>
                <a:gd name="connsiteY4614" fmla="*/ 511175 h 1762127"/>
                <a:gd name="connsiteX4615" fmla="*/ 7284127 w 9759834"/>
                <a:gd name="connsiteY4615" fmla="*/ 511175 h 1762127"/>
                <a:gd name="connsiteX4616" fmla="*/ 7318259 w 9759834"/>
                <a:gd name="connsiteY4616" fmla="*/ 545307 h 1762127"/>
                <a:gd name="connsiteX4617" fmla="*/ 7284127 w 9759834"/>
                <a:gd name="connsiteY4617" fmla="*/ 579439 h 1762127"/>
                <a:gd name="connsiteX4618" fmla="*/ 7249995 w 9759834"/>
                <a:gd name="connsiteY4618" fmla="*/ 545307 h 1762127"/>
                <a:gd name="connsiteX4619" fmla="*/ 7284127 w 9759834"/>
                <a:gd name="connsiteY4619" fmla="*/ 511175 h 1762127"/>
                <a:gd name="connsiteX4620" fmla="*/ 7198402 w 9759834"/>
                <a:gd name="connsiteY4620" fmla="*/ 511175 h 1762127"/>
                <a:gd name="connsiteX4621" fmla="*/ 7232534 w 9759834"/>
                <a:gd name="connsiteY4621" fmla="*/ 545307 h 1762127"/>
                <a:gd name="connsiteX4622" fmla="*/ 7198402 w 9759834"/>
                <a:gd name="connsiteY4622" fmla="*/ 579439 h 1762127"/>
                <a:gd name="connsiteX4623" fmla="*/ 7164270 w 9759834"/>
                <a:gd name="connsiteY4623" fmla="*/ 545307 h 1762127"/>
                <a:gd name="connsiteX4624" fmla="*/ 7198402 w 9759834"/>
                <a:gd name="connsiteY4624" fmla="*/ 511175 h 1762127"/>
                <a:gd name="connsiteX4625" fmla="*/ 7112677 w 9759834"/>
                <a:gd name="connsiteY4625" fmla="*/ 511175 h 1762127"/>
                <a:gd name="connsiteX4626" fmla="*/ 7146809 w 9759834"/>
                <a:gd name="connsiteY4626" fmla="*/ 545307 h 1762127"/>
                <a:gd name="connsiteX4627" fmla="*/ 7112677 w 9759834"/>
                <a:gd name="connsiteY4627" fmla="*/ 579439 h 1762127"/>
                <a:gd name="connsiteX4628" fmla="*/ 7078545 w 9759834"/>
                <a:gd name="connsiteY4628" fmla="*/ 545307 h 1762127"/>
                <a:gd name="connsiteX4629" fmla="*/ 7112677 w 9759834"/>
                <a:gd name="connsiteY4629" fmla="*/ 511175 h 1762127"/>
                <a:gd name="connsiteX4630" fmla="*/ 7027745 w 9759834"/>
                <a:gd name="connsiteY4630" fmla="*/ 511175 h 1762127"/>
                <a:gd name="connsiteX4631" fmla="*/ 7062670 w 9759834"/>
                <a:gd name="connsiteY4631" fmla="*/ 545307 h 1762127"/>
                <a:gd name="connsiteX4632" fmla="*/ 7027745 w 9759834"/>
                <a:gd name="connsiteY4632" fmla="*/ 579439 h 1762127"/>
                <a:gd name="connsiteX4633" fmla="*/ 6992820 w 9759834"/>
                <a:gd name="connsiteY4633" fmla="*/ 545307 h 1762127"/>
                <a:gd name="connsiteX4634" fmla="*/ 7027745 w 9759834"/>
                <a:gd name="connsiteY4634" fmla="*/ 511175 h 1762127"/>
                <a:gd name="connsiteX4635" fmla="*/ 6861852 w 9759834"/>
                <a:gd name="connsiteY4635" fmla="*/ 511175 h 1762127"/>
                <a:gd name="connsiteX4636" fmla="*/ 6895984 w 9759834"/>
                <a:gd name="connsiteY4636" fmla="*/ 545307 h 1762127"/>
                <a:gd name="connsiteX4637" fmla="*/ 6861852 w 9759834"/>
                <a:gd name="connsiteY4637" fmla="*/ 579439 h 1762127"/>
                <a:gd name="connsiteX4638" fmla="*/ 6827720 w 9759834"/>
                <a:gd name="connsiteY4638" fmla="*/ 545307 h 1762127"/>
                <a:gd name="connsiteX4639" fmla="*/ 6861852 w 9759834"/>
                <a:gd name="connsiteY4639" fmla="*/ 511175 h 1762127"/>
                <a:gd name="connsiteX4640" fmla="*/ 6776127 w 9759834"/>
                <a:gd name="connsiteY4640" fmla="*/ 511175 h 1762127"/>
                <a:gd name="connsiteX4641" fmla="*/ 6810259 w 9759834"/>
                <a:gd name="connsiteY4641" fmla="*/ 545307 h 1762127"/>
                <a:gd name="connsiteX4642" fmla="*/ 6776127 w 9759834"/>
                <a:gd name="connsiteY4642" fmla="*/ 579439 h 1762127"/>
                <a:gd name="connsiteX4643" fmla="*/ 6741995 w 9759834"/>
                <a:gd name="connsiteY4643" fmla="*/ 545307 h 1762127"/>
                <a:gd name="connsiteX4644" fmla="*/ 6776127 w 9759834"/>
                <a:gd name="connsiteY4644" fmla="*/ 511175 h 1762127"/>
                <a:gd name="connsiteX4645" fmla="*/ 6691195 w 9759834"/>
                <a:gd name="connsiteY4645" fmla="*/ 511175 h 1762127"/>
                <a:gd name="connsiteX4646" fmla="*/ 6726120 w 9759834"/>
                <a:gd name="connsiteY4646" fmla="*/ 545307 h 1762127"/>
                <a:gd name="connsiteX4647" fmla="*/ 6691195 w 9759834"/>
                <a:gd name="connsiteY4647" fmla="*/ 579439 h 1762127"/>
                <a:gd name="connsiteX4648" fmla="*/ 6656270 w 9759834"/>
                <a:gd name="connsiteY4648" fmla="*/ 545307 h 1762127"/>
                <a:gd name="connsiteX4649" fmla="*/ 6691195 w 9759834"/>
                <a:gd name="connsiteY4649" fmla="*/ 511175 h 1762127"/>
                <a:gd name="connsiteX4650" fmla="*/ 6268920 w 9759834"/>
                <a:gd name="connsiteY4650" fmla="*/ 511175 h 1762127"/>
                <a:gd name="connsiteX4651" fmla="*/ 6303845 w 9759834"/>
                <a:gd name="connsiteY4651" fmla="*/ 545307 h 1762127"/>
                <a:gd name="connsiteX4652" fmla="*/ 6268920 w 9759834"/>
                <a:gd name="connsiteY4652" fmla="*/ 579439 h 1762127"/>
                <a:gd name="connsiteX4653" fmla="*/ 6233995 w 9759834"/>
                <a:gd name="connsiteY4653" fmla="*/ 545307 h 1762127"/>
                <a:gd name="connsiteX4654" fmla="*/ 6268920 w 9759834"/>
                <a:gd name="connsiteY4654" fmla="*/ 511175 h 1762127"/>
                <a:gd name="connsiteX4655" fmla="*/ 4332171 w 9759834"/>
                <a:gd name="connsiteY4655" fmla="*/ 511175 h 1762127"/>
                <a:gd name="connsiteX4656" fmla="*/ 4368684 w 9759834"/>
                <a:gd name="connsiteY4656" fmla="*/ 545307 h 1762127"/>
                <a:gd name="connsiteX4657" fmla="*/ 4332171 w 9759834"/>
                <a:gd name="connsiteY4657" fmla="*/ 579439 h 1762127"/>
                <a:gd name="connsiteX4658" fmla="*/ 4295658 w 9759834"/>
                <a:gd name="connsiteY4658" fmla="*/ 545307 h 1762127"/>
                <a:gd name="connsiteX4659" fmla="*/ 4332171 w 9759834"/>
                <a:gd name="connsiteY4659" fmla="*/ 511175 h 1762127"/>
                <a:gd name="connsiteX4660" fmla="*/ 4248827 w 9759834"/>
                <a:gd name="connsiteY4660" fmla="*/ 511175 h 1762127"/>
                <a:gd name="connsiteX4661" fmla="*/ 4282959 w 9759834"/>
                <a:gd name="connsiteY4661" fmla="*/ 545307 h 1762127"/>
                <a:gd name="connsiteX4662" fmla="*/ 4248827 w 9759834"/>
                <a:gd name="connsiteY4662" fmla="*/ 579439 h 1762127"/>
                <a:gd name="connsiteX4663" fmla="*/ 4214695 w 9759834"/>
                <a:gd name="connsiteY4663" fmla="*/ 545307 h 1762127"/>
                <a:gd name="connsiteX4664" fmla="*/ 4248827 w 9759834"/>
                <a:gd name="connsiteY4664" fmla="*/ 511175 h 1762127"/>
                <a:gd name="connsiteX4665" fmla="*/ 4163895 w 9759834"/>
                <a:gd name="connsiteY4665" fmla="*/ 511175 h 1762127"/>
                <a:gd name="connsiteX4666" fmla="*/ 4198820 w 9759834"/>
                <a:gd name="connsiteY4666" fmla="*/ 545307 h 1762127"/>
                <a:gd name="connsiteX4667" fmla="*/ 4163895 w 9759834"/>
                <a:gd name="connsiteY4667" fmla="*/ 579439 h 1762127"/>
                <a:gd name="connsiteX4668" fmla="*/ 4128970 w 9759834"/>
                <a:gd name="connsiteY4668" fmla="*/ 545307 h 1762127"/>
                <a:gd name="connsiteX4669" fmla="*/ 4163895 w 9759834"/>
                <a:gd name="connsiteY4669" fmla="*/ 511175 h 1762127"/>
                <a:gd name="connsiteX4670" fmla="*/ 4078170 w 9759834"/>
                <a:gd name="connsiteY4670" fmla="*/ 511175 h 1762127"/>
                <a:gd name="connsiteX4671" fmla="*/ 4113095 w 9759834"/>
                <a:gd name="connsiteY4671" fmla="*/ 545307 h 1762127"/>
                <a:gd name="connsiteX4672" fmla="*/ 4078170 w 9759834"/>
                <a:gd name="connsiteY4672" fmla="*/ 579439 h 1762127"/>
                <a:gd name="connsiteX4673" fmla="*/ 4043245 w 9759834"/>
                <a:gd name="connsiteY4673" fmla="*/ 545307 h 1762127"/>
                <a:gd name="connsiteX4674" fmla="*/ 4078170 w 9759834"/>
                <a:gd name="connsiteY4674" fmla="*/ 511175 h 1762127"/>
                <a:gd name="connsiteX4675" fmla="*/ 3993240 w 9759834"/>
                <a:gd name="connsiteY4675" fmla="*/ 511175 h 1762127"/>
                <a:gd name="connsiteX4676" fmla="*/ 4027372 w 9759834"/>
                <a:gd name="connsiteY4676" fmla="*/ 545307 h 1762127"/>
                <a:gd name="connsiteX4677" fmla="*/ 3993240 w 9759834"/>
                <a:gd name="connsiteY4677" fmla="*/ 579439 h 1762127"/>
                <a:gd name="connsiteX4678" fmla="*/ 3959108 w 9759834"/>
                <a:gd name="connsiteY4678" fmla="*/ 545307 h 1762127"/>
                <a:gd name="connsiteX4679" fmla="*/ 3993240 w 9759834"/>
                <a:gd name="connsiteY4679" fmla="*/ 511175 h 1762127"/>
                <a:gd name="connsiteX4680" fmla="*/ 3912277 w 9759834"/>
                <a:gd name="connsiteY4680" fmla="*/ 511175 h 1762127"/>
                <a:gd name="connsiteX4681" fmla="*/ 3946409 w 9759834"/>
                <a:gd name="connsiteY4681" fmla="*/ 545307 h 1762127"/>
                <a:gd name="connsiteX4682" fmla="*/ 3912277 w 9759834"/>
                <a:gd name="connsiteY4682" fmla="*/ 579439 h 1762127"/>
                <a:gd name="connsiteX4683" fmla="*/ 3878145 w 9759834"/>
                <a:gd name="connsiteY4683" fmla="*/ 545307 h 1762127"/>
                <a:gd name="connsiteX4684" fmla="*/ 3912277 w 9759834"/>
                <a:gd name="connsiteY4684" fmla="*/ 511175 h 1762127"/>
                <a:gd name="connsiteX4685" fmla="*/ 3826552 w 9759834"/>
                <a:gd name="connsiteY4685" fmla="*/ 511175 h 1762127"/>
                <a:gd name="connsiteX4686" fmla="*/ 3860684 w 9759834"/>
                <a:gd name="connsiteY4686" fmla="*/ 545307 h 1762127"/>
                <a:gd name="connsiteX4687" fmla="*/ 3826552 w 9759834"/>
                <a:gd name="connsiteY4687" fmla="*/ 579439 h 1762127"/>
                <a:gd name="connsiteX4688" fmla="*/ 3792420 w 9759834"/>
                <a:gd name="connsiteY4688" fmla="*/ 545307 h 1762127"/>
                <a:gd name="connsiteX4689" fmla="*/ 3826552 w 9759834"/>
                <a:gd name="connsiteY4689" fmla="*/ 511175 h 1762127"/>
                <a:gd name="connsiteX4690" fmla="*/ 3741620 w 9759834"/>
                <a:gd name="connsiteY4690" fmla="*/ 511175 h 1762127"/>
                <a:gd name="connsiteX4691" fmla="*/ 3776545 w 9759834"/>
                <a:gd name="connsiteY4691" fmla="*/ 545307 h 1762127"/>
                <a:gd name="connsiteX4692" fmla="*/ 3741620 w 9759834"/>
                <a:gd name="connsiteY4692" fmla="*/ 579439 h 1762127"/>
                <a:gd name="connsiteX4693" fmla="*/ 3706695 w 9759834"/>
                <a:gd name="connsiteY4693" fmla="*/ 545307 h 1762127"/>
                <a:gd name="connsiteX4694" fmla="*/ 3741620 w 9759834"/>
                <a:gd name="connsiteY4694" fmla="*/ 511175 h 1762127"/>
                <a:gd name="connsiteX4695" fmla="*/ 3153452 w 9759834"/>
                <a:gd name="connsiteY4695" fmla="*/ 511175 h 1762127"/>
                <a:gd name="connsiteX4696" fmla="*/ 3187584 w 9759834"/>
                <a:gd name="connsiteY4696" fmla="*/ 545307 h 1762127"/>
                <a:gd name="connsiteX4697" fmla="*/ 3153452 w 9759834"/>
                <a:gd name="connsiteY4697" fmla="*/ 579439 h 1762127"/>
                <a:gd name="connsiteX4698" fmla="*/ 3119320 w 9759834"/>
                <a:gd name="connsiteY4698" fmla="*/ 545307 h 1762127"/>
                <a:gd name="connsiteX4699" fmla="*/ 3153452 w 9759834"/>
                <a:gd name="connsiteY4699" fmla="*/ 511175 h 1762127"/>
                <a:gd name="connsiteX4700" fmla="*/ 3068520 w 9759834"/>
                <a:gd name="connsiteY4700" fmla="*/ 511175 h 1762127"/>
                <a:gd name="connsiteX4701" fmla="*/ 3103445 w 9759834"/>
                <a:gd name="connsiteY4701" fmla="*/ 545307 h 1762127"/>
                <a:gd name="connsiteX4702" fmla="*/ 3068520 w 9759834"/>
                <a:gd name="connsiteY4702" fmla="*/ 579439 h 1762127"/>
                <a:gd name="connsiteX4703" fmla="*/ 3033595 w 9759834"/>
                <a:gd name="connsiteY4703" fmla="*/ 545307 h 1762127"/>
                <a:gd name="connsiteX4704" fmla="*/ 3068520 w 9759834"/>
                <a:gd name="connsiteY4704" fmla="*/ 511175 h 1762127"/>
                <a:gd name="connsiteX4705" fmla="*/ 2983590 w 9759834"/>
                <a:gd name="connsiteY4705" fmla="*/ 511175 h 1762127"/>
                <a:gd name="connsiteX4706" fmla="*/ 3017722 w 9759834"/>
                <a:gd name="connsiteY4706" fmla="*/ 545307 h 1762127"/>
                <a:gd name="connsiteX4707" fmla="*/ 2983590 w 9759834"/>
                <a:gd name="connsiteY4707" fmla="*/ 579439 h 1762127"/>
                <a:gd name="connsiteX4708" fmla="*/ 2949458 w 9759834"/>
                <a:gd name="connsiteY4708" fmla="*/ 545307 h 1762127"/>
                <a:gd name="connsiteX4709" fmla="*/ 2983590 w 9759834"/>
                <a:gd name="connsiteY4709" fmla="*/ 511175 h 1762127"/>
                <a:gd name="connsiteX4710" fmla="*/ 2897865 w 9759834"/>
                <a:gd name="connsiteY4710" fmla="*/ 511175 h 1762127"/>
                <a:gd name="connsiteX4711" fmla="*/ 2931997 w 9759834"/>
                <a:gd name="connsiteY4711" fmla="*/ 545307 h 1762127"/>
                <a:gd name="connsiteX4712" fmla="*/ 2897865 w 9759834"/>
                <a:gd name="connsiteY4712" fmla="*/ 579439 h 1762127"/>
                <a:gd name="connsiteX4713" fmla="*/ 2863733 w 9759834"/>
                <a:gd name="connsiteY4713" fmla="*/ 545307 h 1762127"/>
                <a:gd name="connsiteX4714" fmla="*/ 2897865 w 9759834"/>
                <a:gd name="connsiteY4714" fmla="*/ 511175 h 1762127"/>
                <a:gd name="connsiteX4715" fmla="*/ 2732005 w 9759834"/>
                <a:gd name="connsiteY4715" fmla="*/ 511175 h 1762127"/>
                <a:gd name="connsiteX4716" fmla="*/ 2766929 w 9759834"/>
                <a:gd name="connsiteY4716" fmla="*/ 545307 h 1762127"/>
                <a:gd name="connsiteX4717" fmla="*/ 2732005 w 9759834"/>
                <a:gd name="connsiteY4717" fmla="*/ 579439 h 1762127"/>
                <a:gd name="connsiteX4718" fmla="*/ 2697079 w 9759834"/>
                <a:gd name="connsiteY4718" fmla="*/ 545307 h 1762127"/>
                <a:gd name="connsiteX4719" fmla="*/ 2732005 w 9759834"/>
                <a:gd name="connsiteY4719" fmla="*/ 511175 h 1762127"/>
                <a:gd name="connsiteX4720" fmla="*/ 2475754 w 9759834"/>
                <a:gd name="connsiteY4720" fmla="*/ 511175 h 1762127"/>
                <a:gd name="connsiteX4721" fmla="*/ 2509883 w 9759834"/>
                <a:gd name="connsiteY4721" fmla="*/ 545307 h 1762127"/>
                <a:gd name="connsiteX4722" fmla="*/ 2475754 w 9759834"/>
                <a:gd name="connsiteY4722" fmla="*/ 579439 h 1762127"/>
                <a:gd name="connsiteX4723" fmla="*/ 2441619 w 9759834"/>
                <a:gd name="connsiteY4723" fmla="*/ 545307 h 1762127"/>
                <a:gd name="connsiteX4724" fmla="*/ 2475754 w 9759834"/>
                <a:gd name="connsiteY4724" fmla="*/ 511175 h 1762127"/>
                <a:gd name="connsiteX4725" fmla="*/ 2309856 w 9759834"/>
                <a:gd name="connsiteY4725" fmla="*/ 511175 h 1762127"/>
                <a:gd name="connsiteX4726" fmla="*/ 2344781 w 9759834"/>
                <a:gd name="connsiteY4726" fmla="*/ 545307 h 1762127"/>
                <a:gd name="connsiteX4727" fmla="*/ 2309856 w 9759834"/>
                <a:gd name="connsiteY4727" fmla="*/ 579439 h 1762127"/>
                <a:gd name="connsiteX4728" fmla="*/ 2274920 w 9759834"/>
                <a:gd name="connsiteY4728" fmla="*/ 545307 h 1762127"/>
                <a:gd name="connsiteX4729" fmla="*/ 2309856 w 9759834"/>
                <a:gd name="connsiteY4729" fmla="*/ 511175 h 1762127"/>
                <a:gd name="connsiteX4730" fmla="*/ 2224919 w 9759834"/>
                <a:gd name="connsiteY4730" fmla="*/ 511175 h 1762127"/>
                <a:gd name="connsiteX4731" fmla="*/ 2259040 w 9759834"/>
                <a:gd name="connsiteY4731" fmla="*/ 545307 h 1762127"/>
                <a:gd name="connsiteX4732" fmla="*/ 2224919 w 9759834"/>
                <a:gd name="connsiteY4732" fmla="*/ 579439 h 1762127"/>
                <a:gd name="connsiteX4733" fmla="*/ 2190786 w 9759834"/>
                <a:gd name="connsiteY4733" fmla="*/ 545307 h 1762127"/>
                <a:gd name="connsiteX4734" fmla="*/ 2224919 w 9759834"/>
                <a:gd name="connsiteY4734" fmla="*/ 511175 h 1762127"/>
                <a:gd name="connsiteX4735" fmla="*/ 2055855 w 9759834"/>
                <a:gd name="connsiteY4735" fmla="*/ 511175 h 1762127"/>
                <a:gd name="connsiteX4736" fmla="*/ 2092362 w 9759834"/>
                <a:gd name="connsiteY4736" fmla="*/ 545307 h 1762127"/>
                <a:gd name="connsiteX4737" fmla="*/ 2055855 w 9759834"/>
                <a:gd name="connsiteY4737" fmla="*/ 579439 h 1762127"/>
                <a:gd name="connsiteX4738" fmla="*/ 2019341 w 9759834"/>
                <a:gd name="connsiteY4738" fmla="*/ 545307 h 1762127"/>
                <a:gd name="connsiteX4739" fmla="*/ 2055855 w 9759834"/>
                <a:gd name="connsiteY4739" fmla="*/ 511175 h 1762127"/>
                <a:gd name="connsiteX4740" fmla="*/ 1973301 w 9759834"/>
                <a:gd name="connsiteY4740" fmla="*/ 511175 h 1762127"/>
                <a:gd name="connsiteX4741" fmla="*/ 2008227 w 9759834"/>
                <a:gd name="connsiteY4741" fmla="*/ 545307 h 1762127"/>
                <a:gd name="connsiteX4742" fmla="*/ 1973301 w 9759834"/>
                <a:gd name="connsiteY4742" fmla="*/ 579439 h 1762127"/>
                <a:gd name="connsiteX4743" fmla="*/ 1938380 w 9759834"/>
                <a:gd name="connsiteY4743" fmla="*/ 545307 h 1762127"/>
                <a:gd name="connsiteX4744" fmla="*/ 1973301 w 9759834"/>
                <a:gd name="connsiteY4744" fmla="*/ 511175 h 1762127"/>
                <a:gd name="connsiteX4745" fmla="*/ 1888373 w 9759834"/>
                <a:gd name="connsiteY4745" fmla="*/ 511175 h 1762127"/>
                <a:gd name="connsiteX4746" fmla="*/ 1922503 w 9759834"/>
                <a:gd name="connsiteY4746" fmla="*/ 545307 h 1762127"/>
                <a:gd name="connsiteX4747" fmla="*/ 1888373 w 9759834"/>
                <a:gd name="connsiteY4747" fmla="*/ 579439 h 1762127"/>
                <a:gd name="connsiteX4748" fmla="*/ 1854243 w 9759834"/>
                <a:gd name="connsiteY4748" fmla="*/ 545307 h 1762127"/>
                <a:gd name="connsiteX4749" fmla="*/ 1888373 w 9759834"/>
                <a:gd name="connsiteY4749" fmla="*/ 511175 h 1762127"/>
                <a:gd name="connsiteX4750" fmla="*/ 1802656 w 9759834"/>
                <a:gd name="connsiteY4750" fmla="*/ 511175 h 1762127"/>
                <a:gd name="connsiteX4751" fmla="*/ 1836784 w 9759834"/>
                <a:gd name="connsiteY4751" fmla="*/ 545307 h 1762127"/>
                <a:gd name="connsiteX4752" fmla="*/ 1802656 w 9759834"/>
                <a:gd name="connsiteY4752" fmla="*/ 579439 h 1762127"/>
                <a:gd name="connsiteX4753" fmla="*/ 1768524 w 9759834"/>
                <a:gd name="connsiteY4753" fmla="*/ 545307 h 1762127"/>
                <a:gd name="connsiteX4754" fmla="*/ 1802656 w 9759834"/>
                <a:gd name="connsiteY4754" fmla="*/ 511175 h 1762127"/>
                <a:gd name="connsiteX4755" fmla="*/ 1719314 w 9759834"/>
                <a:gd name="connsiteY4755" fmla="*/ 511175 h 1762127"/>
                <a:gd name="connsiteX4756" fmla="*/ 1755825 w 9759834"/>
                <a:gd name="connsiteY4756" fmla="*/ 545307 h 1762127"/>
                <a:gd name="connsiteX4757" fmla="*/ 1719314 w 9759834"/>
                <a:gd name="connsiteY4757" fmla="*/ 579439 h 1762127"/>
                <a:gd name="connsiteX4758" fmla="*/ 1682803 w 9759834"/>
                <a:gd name="connsiteY4758" fmla="*/ 545307 h 1762127"/>
                <a:gd name="connsiteX4759" fmla="*/ 1719314 w 9759834"/>
                <a:gd name="connsiteY4759" fmla="*/ 511175 h 1762127"/>
                <a:gd name="connsiteX4760" fmla="*/ 1636768 w 9759834"/>
                <a:gd name="connsiteY4760" fmla="*/ 511175 h 1762127"/>
                <a:gd name="connsiteX4761" fmla="*/ 1671691 w 9759834"/>
                <a:gd name="connsiteY4761" fmla="*/ 545307 h 1762127"/>
                <a:gd name="connsiteX4762" fmla="*/ 1636768 w 9759834"/>
                <a:gd name="connsiteY4762" fmla="*/ 579439 h 1762127"/>
                <a:gd name="connsiteX4763" fmla="*/ 1601843 w 9759834"/>
                <a:gd name="connsiteY4763" fmla="*/ 545307 h 1762127"/>
                <a:gd name="connsiteX4764" fmla="*/ 1636768 w 9759834"/>
                <a:gd name="connsiteY4764" fmla="*/ 511175 h 1762127"/>
                <a:gd name="connsiteX4765" fmla="*/ 1551838 w 9759834"/>
                <a:gd name="connsiteY4765" fmla="*/ 511175 h 1762127"/>
                <a:gd name="connsiteX4766" fmla="*/ 1585970 w 9759834"/>
                <a:gd name="connsiteY4766" fmla="*/ 545307 h 1762127"/>
                <a:gd name="connsiteX4767" fmla="*/ 1551838 w 9759834"/>
                <a:gd name="connsiteY4767" fmla="*/ 579439 h 1762127"/>
                <a:gd name="connsiteX4768" fmla="*/ 1517707 w 9759834"/>
                <a:gd name="connsiteY4768" fmla="*/ 545307 h 1762127"/>
                <a:gd name="connsiteX4769" fmla="*/ 1551838 w 9759834"/>
                <a:gd name="connsiteY4769" fmla="*/ 511175 h 1762127"/>
                <a:gd name="connsiteX4770" fmla="*/ 1466114 w 9759834"/>
                <a:gd name="connsiteY4770" fmla="*/ 511175 h 1762127"/>
                <a:gd name="connsiteX4771" fmla="*/ 1500247 w 9759834"/>
                <a:gd name="connsiteY4771" fmla="*/ 545307 h 1762127"/>
                <a:gd name="connsiteX4772" fmla="*/ 1466114 w 9759834"/>
                <a:gd name="connsiteY4772" fmla="*/ 579439 h 1762127"/>
                <a:gd name="connsiteX4773" fmla="*/ 1431983 w 9759834"/>
                <a:gd name="connsiteY4773" fmla="*/ 545307 h 1762127"/>
                <a:gd name="connsiteX4774" fmla="*/ 1466114 w 9759834"/>
                <a:gd name="connsiteY4774" fmla="*/ 511175 h 1762127"/>
                <a:gd name="connsiteX4775" fmla="*/ 1380392 w 9759834"/>
                <a:gd name="connsiteY4775" fmla="*/ 511175 h 1762127"/>
                <a:gd name="connsiteX4776" fmla="*/ 1414522 w 9759834"/>
                <a:gd name="connsiteY4776" fmla="*/ 545307 h 1762127"/>
                <a:gd name="connsiteX4777" fmla="*/ 1380392 w 9759834"/>
                <a:gd name="connsiteY4777" fmla="*/ 579439 h 1762127"/>
                <a:gd name="connsiteX4778" fmla="*/ 1346258 w 9759834"/>
                <a:gd name="connsiteY4778" fmla="*/ 545307 h 1762127"/>
                <a:gd name="connsiteX4779" fmla="*/ 1380392 w 9759834"/>
                <a:gd name="connsiteY4779" fmla="*/ 511175 h 1762127"/>
                <a:gd name="connsiteX4780" fmla="*/ 1300222 w 9759834"/>
                <a:gd name="connsiteY4780" fmla="*/ 511175 h 1762127"/>
                <a:gd name="connsiteX4781" fmla="*/ 1335148 w 9759834"/>
                <a:gd name="connsiteY4781" fmla="*/ 545307 h 1762127"/>
                <a:gd name="connsiteX4782" fmla="*/ 1300222 w 9759834"/>
                <a:gd name="connsiteY4782" fmla="*/ 579439 h 1762127"/>
                <a:gd name="connsiteX4783" fmla="*/ 1265297 w 9759834"/>
                <a:gd name="connsiteY4783" fmla="*/ 545307 h 1762127"/>
                <a:gd name="connsiteX4784" fmla="*/ 1300222 w 9759834"/>
                <a:gd name="connsiteY4784" fmla="*/ 511175 h 1762127"/>
                <a:gd name="connsiteX4785" fmla="*/ 1214500 w 9759834"/>
                <a:gd name="connsiteY4785" fmla="*/ 511175 h 1762127"/>
                <a:gd name="connsiteX4786" fmla="*/ 1249422 w 9759834"/>
                <a:gd name="connsiteY4786" fmla="*/ 545307 h 1762127"/>
                <a:gd name="connsiteX4787" fmla="*/ 1214500 w 9759834"/>
                <a:gd name="connsiteY4787" fmla="*/ 579439 h 1762127"/>
                <a:gd name="connsiteX4788" fmla="*/ 1179573 w 9759834"/>
                <a:gd name="connsiteY4788" fmla="*/ 545307 h 1762127"/>
                <a:gd name="connsiteX4789" fmla="*/ 1214500 w 9759834"/>
                <a:gd name="connsiteY4789" fmla="*/ 511175 h 1762127"/>
                <a:gd name="connsiteX4790" fmla="*/ 1129569 w 9759834"/>
                <a:gd name="connsiteY4790" fmla="*/ 511175 h 1762127"/>
                <a:gd name="connsiteX4791" fmla="*/ 1163703 w 9759834"/>
                <a:gd name="connsiteY4791" fmla="*/ 545307 h 1762127"/>
                <a:gd name="connsiteX4792" fmla="*/ 1129569 w 9759834"/>
                <a:gd name="connsiteY4792" fmla="*/ 579439 h 1762127"/>
                <a:gd name="connsiteX4793" fmla="*/ 1095440 w 9759834"/>
                <a:gd name="connsiteY4793" fmla="*/ 545307 h 1762127"/>
                <a:gd name="connsiteX4794" fmla="*/ 1129569 w 9759834"/>
                <a:gd name="connsiteY4794" fmla="*/ 511175 h 1762127"/>
                <a:gd name="connsiteX4795" fmla="*/ 1043844 w 9759834"/>
                <a:gd name="connsiteY4795" fmla="*/ 511175 h 1762127"/>
                <a:gd name="connsiteX4796" fmla="*/ 1077977 w 9759834"/>
                <a:gd name="connsiteY4796" fmla="*/ 545307 h 1762127"/>
                <a:gd name="connsiteX4797" fmla="*/ 1043844 w 9759834"/>
                <a:gd name="connsiteY4797" fmla="*/ 579439 h 1762127"/>
                <a:gd name="connsiteX4798" fmla="*/ 1009710 w 9759834"/>
                <a:gd name="connsiteY4798" fmla="*/ 545307 h 1762127"/>
                <a:gd name="connsiteX4799" fmla="*/ 1043844 w 9759834"/>
                <a:gd name="connsiteY4799" fmla="*/ 511175 h 1762127"/>
                <a:gd name="connsiteX4800" fmla="*/ 960324 w 9759834"/>
                <a:gd name="connsiteY4800" fmla="*/ 511175 h 1762127"/>
                <a:gd name="connsiteX4801" fmla="*/ 996837 w 9759834"/>
                <a:gd name="connsiteY4801" fmla="*/ 545307 h 1762127"/>
                <a:gd name="connsiteX4802" fmla="*/ 960324 w 9759834"/>
                <a:gd name="connsiteY4802" fmla="*/ 579439 h 1762127"/>
                <a:gd name="connsiteX4803" fmla="*/ 923810 w 9759834"/>
                <a:gd name="connsiteY4803" fmla="*/ 545307 h 1762127"/>
                <a:gd name="connsiteX4804" fmla="*/ 960324 w 9759834"/>
                <a:gd name="connsiteY4804" fmla="*/ 511175 h 1762127"/>
                <a:gd name="connsiteX4805" fmla="*/ 877939 w 9759834"/>
                <a:gd name="connsiteY4805" fmla="*/ 511175 h 1762127"/>
                <a:gd name="connsiteX4806" fmla="*/ 912864 w 9759834"/>
                <a:gd name="connsiteY4806" fmla="*/ 545307 h 1762127"/>
                <a:gd name="connsiteX4807" fmla="*/ 877939 w 9759834"/>
                <a:gd name="connsiteY4807" fmla="*/ 579439 h 1762127"/>
                <a:gd name="connsiteX4808" fmla="*/ 843014 w 9759834"/>
                <a:gd name="connsiteY4808" fmla="*/ 545307 h 1762127"/>
                <a:gd name="connsiteX4809" fmla="*/ 877939 w 9759834"/>
                <a:gd name="connsiteY4809" fmla="*/ 511175 h 1762127"/>
                <a:gd name="connsiteX4810" fmla="*/ 8293777 w 9759834"/>
                <a:gd name="connsiteY4810" fmla="*/ 425450 h 1762127"/>
                <a:gd name="connsiteX4811" fmla="*/ 8327909 w 9759834"/>
                <a:gd name="connsiteY4811" fmla="*/ 459582 h 1762127"/>
                <a:gd name="connsiteX4812" fmla="*/ 8293777 w 9759834"/>
                <a:gd name="connsiteY4812" fmla="*/ 493714 h 1762127"/>
                <a:gd name="connsiteX4813" fmla="*/ 8259645 w 9759834"/>
                <a:gd name="connsiteY4813" fmla="*/ 459582 h 1762127"/>
                <a:gd name="connsiteX4814" fmla="*/ 8293777 w 9759834"/>
                <a:gd name="connsiteY4814" fmla="*/ 425450 h 1762127"/>
                <a:gd name="connsiteX4815" fmla="*/ 8208052 w 9759834"/>
                <a:gd name="connsiteY4815" fmla="*/ 425450 h 1762127"/>
                <a:gd name="connsiteX4816" fmla="*/ 8242184 w 9759834"/>
                <a:gd name="connsiteY4816" fmla="*/ 459582 h 1762127"/>
                <a:gd name="connsiteX4817" fmla="*/ 8208052 w 9759834"/>
                <a:gd name="connsiteY4817" fmla="*/ 493714 h 1762127"/>
                <a:gd name="connsiteX4818" fmla="*/ 8173920 w 9759834"/>
                <a:gd name="connsiteY4818" fmla="*/ 459582 h 1762127"/>
                <a:gd name="connsiteX4819" fmla="*/ 8208052 w 9759834"/>
                <a:gd name="connsiteY4819" fmla="*/ 425450 h 1762127"/>
                <a:gd name="connsiteX4820" fmla="*/ 8125502 w 9759834"/>
                <a:gd name="connsiteY4820" fmla="*/ 425450 h 1762127"/>
                <a:gd name="connsiteX4821" fmla="*/ 8162809 w 9759834"/>
                <a:gd name="connsiteY4821" fmla="*/ 459582 h 1762127"/>
                <a:gd name="connsiteX4822" fmla="*/ 8125502 w 9759834"/>
                <a:gd name="connsiteY4822" fmla="*/ 493714 h 1762127"/>
                <a:gd name="connsiteX4823" fmla="*/ 8088195 w 9759834"/>
                <a:gd name="connsiteY4823" fmla="*/ 459582 h 1762127"/>
                <a:gd name="connsiteX4824" fmla="*/ 8125502 w 9759834"/>
                <a:gd name="connsiteY4824" fmla="*/ 425450 h 1762127"/>
                <a:gd name="connsiteX4825" fmla="*/ 8042952 w 9759834"/>
                <a:gd name="connsiteY4825" fmla="*/ 425450 h 1762127"/>
                <a:gd name="connsiteX4826" fmla="*/ 8077084 w 9759834"/>
                <a:gd name="connsiteY4826" fmla="*/ 459582 h 1762127"/>
                <a:gd name="connsiteX4827" fmla="*/ 8042952 w 9759834"/>
                <a:gd name="connsiteY4827" fmla="*/ 493714 h 1762127"/>
                <a:gd name="connsiteX4828" fmla="*/ 8008820 w 9759834"/>
                <a:gd name="connsiteY4828" fmla="*/ 459582 h 1762127"/>
                <a:gd name="connsiteX4829" fmla="*/ 8042952 w 9759834"/>
                <a:gd name="connsiteY4829" fmla="*/ 425450 h 1762127"/>
                <a:gd name="connsiteX4830" fmla="*/ 7957227 w 9759834"/>
                <a:gd name="connsiteY4830" fmla="*/ 425450 h 1762127"/>
                <a:gd name="connsiteX4831" fmla="*/ 7991359 w 9759834"/>
                <a:gd name="connsiteY4831" fmla="*/ 459582 h 1762127"/>
                <a:gd name="connsiteX4832" fmla="*/ 7957227 w 9759834"/>
                <a:gd name="connsiteY4832" fmla="*/ 493714 h 1762127"/>
                <a:gd name="connsiteX4833" fmla="*/ 7923095 w 9759834"/>
                <a:gd name="connsiteY4833" fmla="*/ 459582 h 1762127"/>
                <a:gd name="connsiteX4834" fmla="*/ 7957227 w 9759834"/>
                <a:gd name="connsiteY4834" fmla="*/ 425450 h 1762127"/>
                <a:gd name="connsiteX4835" fmla="*/ 7871502 w 9759834"/>
                <a:gd name="connsiteY4835" fmla="*/ 425450 h 1762127"/>
                <a:gd name="connsiteX4836" fmla="*/ 7905634 w 9759834"/>
                <a:gd name="connsiteY4836" fmla="*/ 459582 h 1762127"/>
                <a:gd name="connsiteX4837" fmla="*/ 7871502 w 9759834"/>
                <a:gd name="connsiteY4837" fmla="*/ 493714 h 1762127"/>
                <a:gd name="connsiteX4838" fmla="*/ 7837370 w 9759834"/>
                <a:gd name="connsiteY4838" fmla="*/ 459582 h 1762127"/>
                <a:gd name="connsiteX4839" fmla="*/ 7871502 w 9759834"/>
                <a:gd name="connsiteY4839" fmla="*/ 425450 h 1762127"/>
                <a:gd name="connsiteX4840" fmla="*/ 7785777 w 9759834"/>
                <a:gd name="connsiteY4840" fmla="*/ 425450 h 1762127"/>
                <a:gd name="connsiteX4841" fmla="*/ 7819909 w 9759834"/>
                <a:gd name="connsiteY4841" fmla="*/ 459582 h 1762127"/>
                <a:gd name="connsiteX4842" fmla="*/ 7785777 w 9759834"/>
                <a:gd name="connsiteY4842" fmla="*/ 493714 h 1762127"/>
                <a:gd name="connsiteX4843" fmla="*/ 7751645 w 9759834"/>
                <a:gd name="connsiteY4843" fmla="*/ 459582 h 1762127"/>
                <a:gd name="connsiteX4844" fmla="*/ 7785777 w 9759834"/>
                <a:gd name="connsiteY4844" fmla="*/ 425450 h 1762127"/>
                <a:gd name="connsiteX4845" fmla="*/ 7706402 w 9759834"/>
                <a:gd name="connsiteY4845" fmla="*/ 425450 h 1762127"/>
                <a:gd name="connsiteX4846" fmla="*/ 7740534 w 9759834"/>
                <a:gd name="connsiteY4846" fmla="*/ 459582 h 1762127"/>
                <a:gd name="connsiteX4847" fmla="*/ 7706402 w 9759834"/>
                <a:gd name="connsiteY4847" fmla="*/ 493714 h 1762127"/>
                <a:gd name="connsiteX4848" fmla="*/ 7672270 w 9759834"/>
                <a:gd name="connsiteY4848" fmla="*/ 459582 h 1762127"/>
                <a:gd name="connsiteX4849" fmla="*/ 7706402 w 9759834"/>
                <a:gd name="connsiteY4849" fmla="*/ 425450 h 1762127"/>
                <a:gd name="connsiteX4850" fmla="*/ 7620677 w 9759834"/>
                <a:gd name="connsiteY4850" fmla="*/ 425450 h 1762127"/>
                <a:gd name="connsiteX4851" fmla="*/ 7654809 w 9759834"/>
                <a:gd name="connsiteY4851" fmla="*/ 459582 h 1762127"/>
                <a:gd name="connsiteX4852" fmla="*/ 7620677 w 9759834"/>
                <a:gd name="connsiteY4852" fmla="*/ 493714 h 1762127"/>
                <a:gd name="connsiteX4853" fmla="*/ 7586545 w 9759834"/>
                <a:gd name="connsiteY4853" fmla="*/ 459582 h 1762127"/>
                <a:gd name="connsiteX4854" fmla="*/ 7620677 w 9759834"/>
                <a:gd name="connsiteY4854" fmla="*/ 425450 h 1762127"/>
                <a:gd name="connsiteX4855" fmla="*/ 7534952 w 9759834"/>
                <a:gd name="connsiteY4855" fmla="*/ 425450 h 1762127"/>
                <a:gd name="connsiteX4856" fmla="*/ 7569084 w 9759834"/>
                <a:gd name="connsiteY4856" fmla="*/ 459582 h 1762127"/>
                <a:gd name="connsiteX4857" fmla="*/ 7534952 w 9759834"/>
                <a:gd name="connsiteY4857" fmla="*/ 493714 h 1762127"/>
                <a:gd name="connsiteX4858" fmla="*/ 7500820 w 9759834"/>
                <a:gd name="connsiteY4858" fmla="*/ 459582 h 1762127"/>
                <a:gd name="connsiteX4859" fmla="*/ 7534952 w 9759834"/>
                <a:gd name="connsiteY4859" fmla="*/ 425450 h 1762127"/>
                <a:gd name="connsiteX4860" fmla="*/ 7449227 w 9759834"/>
                <a:gd name="connsiteY4860" fmla="*/ 425450 h 1762127"/>
                <a:gd name="connsiteX4861" fmla="*/ 7483359 w 9759834"/>
                <a:gd name="connsiteY4861" fmla="*/ 459582 h 1762127"/>
                <a:gd name="connsiteX4862" fmla="*/ 7449227 w 9759834"/>
                <a:gd name="connsiteY4862" fmla="*/ 493714 h 1762127"/>
                <a:gd name="connsiteX4863" fmla="*/ 7415095 w 9759834"/>
                <a:gd name="connsiteY4863" fmla="*/ 459582 h 1762127"/>
                <a:gd name="connsiteX4864" fmla="*/ 7449227 w 9759834"/>
                <a:gd name="connsiteY4864" fmla="*/ 425450 h 1762127"/>
                <a:gd name="connsiteX4865" fmla="*/ 7366677 w 9759834"/>
                <a:gd name="connsiteY4865" fmla="*/ 425450 h 1762127"/>
                <a:gd name="connsiteX4866" fmla="*/ 7403984 w 9759834"/>
                <a:gd name="connsiteY4866" fmla="*/ 459582 h 1762127"/>
                <a:gd name="connsiteX4867" fmla="*/ 7366677 w 9759834"/>
                <a:gd name="connsiteY4867" fmla="*/ 493714 h 1762127"/>
                <a:gd name="connsiteX4868" fmla="*/ 7329370 w 9759834"/>
                <a:gd name="connsiteY4868" fmla="*/ 459582 h 1762127"/>
                <a:gd name="connsiteX4869" fmla="*/ 7366677 w 9759834"/>
                <a:gd name="connsiteY4869" fmla="*/ 425450 h 1762127"/>
                <a:gd name="connsiteX4870" fmla="*/ 7284127 w 9759834"/>
                <a:gd name="connsiteY4870" fmla="*/ 425450 h 1762127"/>
                <a:gd name="connsiteX4871" fmla="*/ 7318259 w 9759834"/>
                <a:gd name="connsiteY4871" fmla="*/ 459582 h 1762127"/>
                <a:gd name="connsiteX4872" fmla="*/ 7284127 w 9759834"/>
                <a:gd name="connsiteY4872" fmla="*/ 493714 h 1762127"/>
                <a:gd name="connsiteX4873" fmla="*/ 7249995 w 9759834"/>
                <a:gd name="connsiteY4873" fmla="*/ 459582 h 1762127"/>
                <a:gd name="connsiteX4874" fmla="*/ 7284127 w 9759834"/>
                <a:gd name="connsiteY4874" fmla="*/ 425450 h 1762127"/>
                <a:gd name="connsiteX4875" fmla="*/ 7198402 w 9759834"/>
                <a:gd name="connsiteY4875" fmla="*/ 425450 h 1762127"/>
                <a:gd name="connsiteX4876" fmla="*/ 7232534 w 9759834"/>
                <a:gd name="connsiteY4876" fmla="*/ 459582 h 1762127"/>
                <a:gd name="connsiteX4877" fmla="*/ 7198402 w 9759834"/>
                <a:gd name="connsiteY4877" fmla="*/ 493714 h 1762127"/>
                <a:gd name="connsiteX4878" fmla="*/ 7164270 w 9759834"/>
                <a:gd name="connsiteY4878" fmla="*/ 459582 h 1762127"/>
                <a:gd name="connsiteX4879" fmla="*/ 7198402 w 9759834"/>
                <a:gd name="connsiteY4879" fmla="*/ 425450 h 1762127"/>
                <a:gd name="connsiteX4880" fmla="*/ 7112677 w 9759834"/>
                <a:gd name="connsiteY4880" fmla="*/ 425450 h 1762127"/>
                <a:gd name="connsiteX4881" fmla="*/ 7146809 w 9759834"/>
                <a:gd name="connsiteY4881" fmla="*/ 459582 h 1762127"/>
                <a:gd name="connsiteX4882" fmla="*/ 7112677 w 9759834"/>
                <a:gd name="connsiteY4882" fmla="*/ 493714 h 1762127"/>
                <a:gd name="connsiteX4883" fmla="*/ 7078545 w 9759834"/>
                <a:gd name="connsiteY4883" fmla="*/ 459582 h 1762127"/>
                <a:gd name="connsiteX4884" fmla="*/ 7112677 w 9759834"/>
                <a:gd name="connsiteY4884" fmla="*/ 425450 h 1762127"/>
                <a:gd name="connsiteX4885" fmla="*/ 7027745 w 9759834"/>
                <a:gd name="connsiteY4885" fmla="*/ 425450 h 1762127"/>
                <a:gd name="connsiteX4886" fmla="*/ 7062670 w 9759834"/>
                <a:gd name="connsiteY4886" fmla="*/ 459582 h 1762127"/>
                <a:gd name="connsiteX4887" fmla="*/ 7027745 w 9759834"/>
                <a:gd name="connsiteY4887" fmla="*/ 493714 h 1762127"/>
                <a:gd name="connsiteX4888" fmla="*/ 6992820 w 9759834"/>
                <a:gd name="connsiteY4888" fmla="*/ 459582 h 1762127"/>
                <a:gd name="connsiteX4889" fmla="*/ 7027745 w 9759834"/>
                <a:gd name="connsiteY4889" fmla="*/ 425450 h 1762127"/>
                <a:gd name="connsiteX4890" fmla="*/ 6947577 w 9759834"/>
                <a:gd name="connsiteY4890" fmla="*/ 425450 h 1762127"/>
                <a:gd name="connsiteX4891" fmla="*/ 6981709 w 9759834"/>
                <a:gd name="connsiteY4891" fmla="*/ 459582 h 1762127"/>
                <a:gd name="connsiteX4892" fmla="*/ 6947577 w 9759834"/>
                <a:gd name="connsiteY4892" fmla="*/ 493714 h 1762127"/>
                <a:gd name="connsiteX4893" fmla="*/ 6913445 w 9759834"/>
                <a:gd name="connsiteY4893" fmla="*/ 459582 h 1762127"/>
                <a:gd name="connsiteX4894" fmla="*/ 6947577 w 9759834"/>
                <a:gd name="connsiteY4894" fmla="*/ 425450 h 1762127"/>
                <a:gd name="connsiteX4895" fmla="*/ 6607852 w 9759834"/>
                <a:gd name="connsiteY4895" fmla="*/ 425450 h 1762127"/>
                <a:gd name="connsiteX4896" fmla="*/ 6645159 w 9759834"/>
                <a:gd name="connsiteY4896" fmla="*/ 459582 h 1762127"/>
                <a:gd name="connsiteX4897" fmla="*/ 6607852 w 9759834"/>
                <a:gd name="connsiteY4897" fmla="*/ 493714 h 1762127"/>
                <a:gd name="connsiteX4898" fmla="*/ 6570545 w 9759834"/>
                <a:gd name="connsiteY4898" fmla="*/ 459582 h 1762127"/>
                <a:gd name="connsiteX4899" fmla="*/ 6607852 w 9759834"/>
                <a:gd name="connsiteY4899" fmla="*/ 425450 h 1762127"/>
                <a:gd name="connsiteX4900" fmla="*/ 6268920 w 9759834"/>
                <a:gd name="connsiteY4900" fmla="*/ 425450 h 1762127"/>
                <a:gd name="connsiteX4901" fmla="*/ 6303845 w 9759834"/>
                <a:gd name="connsiteY4901" fmla="*/ 459582 h 1762127"/>
                <a:gd name="connsiteX4902" fmla="*/ 6268920 w 9759834"/>
                <a:gd name="connsiteY4902" fmla="*/ 493714 h 1762127"/>
                <a:gd name="connsiteX4903" fmla="*/ 6233995 w 9759834"/>
                <a:gd name="connsiteY4903" fmla="*/ 459582 h 1762127"/>
                <a:gd name="connsiteX4904" fmla="*/ 6268920 w 9759834"/>
                <a:gd name="connsiteY4904" fmla="*/ 425450 h 1762127"/>
                <a:gd name="connsiteX4905" fmla="*/ 4500445 w 9759834"/>
                <a:gd name="connsiteY4905" fmla="*/ 425450 h 1762127"/>
                <a:gd name="connsiteX4906" fmla="*/ 4535370 w 9759834"/>
                <a:gd name="connsiteY4906" fmla="*/ 459582 h 1762127"/>
                <a:gd name="connsiteX4907" fmla="*/ 4500445 w 9759834"/>
                <a:gd name="connsiteY4907" fmla="*/ 493714 h 1762127"/>
                <a:gd name="connsiteX4908" fmla="*/ 4465520 w 9759834"/>
                <a:gd name="connsiteY4908" fmla="*/ 459582 h 1762127"/>
                <a:gd name="connsiteX4909" fmla="*/ 4500445 w 9759834"/>
                <a:gd name="connsiteY4909" fmla="*/ 425450 h 1762127"/>
                <a:gd name="connsiteX4910" fmla="*/ 4415515 w 9759834"/>
                <a:gd name="connsiteY4910" fmla="*/ 425450 h 1762127"/>
                <a:gd name="connsiteX4911" fmla="*/ 4449647 w 9759834"/>
                <a:gd name="connsiteY4911" fmla="*/ 459582 h 1762127"/>
                <a:gd name="connsiteX4912" fmla="*/ 4415515 w 9759834"/>
                <a:gd name="connsiteY4912" fmla="*/ 493714 h 1762127"/>
                <a:gd name="connsiteX4913" fmla="*/ 4381383 w 9759834"/>
                <a:gd name="connsiteY4913" fmla="*/ 459582 h 1762127"/>
                <a:gd name="connsiteX4914" fmla="*/ 4415515 w 9759834"/>
                <a:gd name="connsiteY4914" fmla="*/ 425450 h 1762127"/>
                <a:gd name="connsiteX4915" fmla="*/ 4332171 w 9759834"/>
                <a:gd name="connsiteY4915" fmla="*/ 425450 h 1762127"/>
                <a:gd name="connsiteX4916" fmla="*/ 4368684 w 9759834"/>
                <a:gd name="connsiteY4916" fmla="*/ 459582 h 1762127"/>
                <a:gd name="connsiteX4917" fmla="*/ 4332171 w 9759834"/>
                <a:gd name="connsiteY4917" fmla="*/ 493714 h 1762127"/>
                <a:gd name="connsiteX4918" fmla="*/ 4295658 w 9759834"/>
                <a:gd name="connsiteY4918" fmla="*/ 459582 h 1762127"/>
                <a:gd name="connsiteX4919" fmla="*/ 4332171 w 9759834"/>
                <a:gd name="connsiteY4919" fmla="*/ 425450 h 1762127"/>
                <a:gd name="connsiteX4920" fmla="*/ 4248827 w 9759834"/>
                <a:gd name="connsiteY4920" fmla="*/ 425450 h 1762127"/>
                <a:gd name="connsiteX4921" fmla="*/ 4282959 w 9759834"/>
                <a:gd name="connsiteY4921" fmla="*/ 459582 h 1762127"/>
                <a:gd name="connsiteX4922" fmla="*/ 4248827 w 9759834"/>
                <a:gd name="connsiteY4922" fmla="*/ 493714 h 1762127"/>
                <a:gd name="connsiteX4923" fmla="*/ 4214695 w 9759834"/>
                <a:gd name="connsiteY4923" fmla="*/ 459582 h 1762127"/>
                <a:gd name="connsiteX4924" fmla="*/ 4248827 w 9759834"/>
                <a:gd name="connsiteY4924" fmla="*/ 425450 h 1762127"/>
                <a:gd name="connsiteX4925" fmla="*/ 4163895 w 9759834"/>
                <a:gd name="connsiteY4925" fmla="*/ 425450 h 1762127"/>
                <a:gd name="connsiteX4926" fmla="*/ 4198820 w 9759834"/>
                <a:gd name="connsiteY4926" fmla="*/ 459582 h 1762127"/>
                <a:gd name="connsiteX4927" fmla="*/ 4163895 w 9759834"/>
                <a:gd name="connsiteY4927" fmla="*/ 493714 h 1762127"/>
                <a:gd name="connsiteX4928" fmla="*/ 4128970 w 9759834"/>
                <a:gd name="connsiteY4928" fmla="*/ 459582 h 1762127"/>
                <a:gd name="connsiteX4929" fmla="*/ 4163895 w 9759834"/>
                <a:gd name="connsiteY4929" fmla="*/ 425450 h 1762127"/>
                <a:gd name="connsiteX4930" fmla="*/ 4078170 w 9759834"/>
                <a:gd name="connsiteY4930" fmla="*/ 425450 h 1762127"/>
                <a:gd name="connsiteX4931" fmla="*/ 4113095 w 9759834"/>
                <a:gd name="connsiteY4931" fmla="*/ 459582 h 1762127"/>
                <a:gd name="connsiteX4932" fmla="*/ 4078170 w 9759834"/>
                <a:gd name="connsiteY4932" fmla="*/ 493714 h 1762127"/>
                <a:gd name="connsiteX4933" fmla="*/ 4043245 w 9759834"/>
                <a:gd name="connsiteY4933" fmla="*/ 459582 h 1762127"/>
                <a:gd name="connsiteX4934" fmla="*/ 4078170 w 9759834"/>
                <a:gd name="connsiteY4934" fmla="*/ 425450 h 1762127"/>
                <a:gd name="connsiteX4935" fmla="*/ 3993240 w 9759834"/>
                <a:gd name="connsiteY4935" fmla="*/ 425450 h 1762127"/>
                <a:gd name="connsiteX4936" fmla="*/ 4027372 w 9759834"/>
                <a:gd name="connsiteY4936" fmla="*/ 459582 h 1762127"/>
                <a:gd name="connsiteX4937" fmla="*/ 3993240 w 9759834"/>
                <a:gd name="connsiteY4937" fmla="*/ 493714 h 1762127"/>
                <a:gd name="connsiteX4938" fmla="*/ 3959108 w 9759834"/>
                <a:gd name="connsiteY4938" fmla="*/ 459582 h 1762127"/>
                <a:gd name="connsiteX4939" fmla="*/ 3993240 w 9759834"/>
                <a:gd name="connsiteY4939" fmla="*/ 425450 h 1762127"/>
                <a:gd name="connsiteX4940" fmla="*/ 3912277 w 9759834"/>
                <a:gd name="connsiteY4940" fmla="*/ 425450 h 1762127"/>
                <a:gd name="connsiteX4941" fmla="*/ 3946409 w 9759834"/>
                <a:gd name="connsiteY4941" fmla="*/ 459582 h 1762127"/>
                <a:gd name="connsiteX4942" fmla="*/ 3912277 w 9759834"/>
                <a:gd name="connsiteY4942" fmla="*/ 493714 h 1762127"/>
                <a:gd name="connsiteX4943" fmla="*/ 3878145 w 9759834"/>
                <a:gd name="connsiteY4943" fmla="*/ 459582 h 1762127"/>
                <a:gd name="connsiteX4944" fmla="*/ 3912277 w 9759834"/>
                <a:gd name="connsiteY4944" fmla="*/ 425450 h 1762127"/>
                <a:gd name="connsiteX4945" fmla="*/ 3826552 w 9759834"/>
                <a:gd name="connsiteY4945" fmla="*/ 425450 h 1762127"/>
                <a:gd name="connsiteX4946" fmla="*/ 3860684 w 9759834"/>
                <a:gd name="connsiteY4946" fmla="*/ 459582 h 1762127"/>
                <a:gd name="connsiteX4947" fmla="*/ 3826552 w 9759834"/>
                <a:gd name="connsiteY4947" fmla="*/ 493714 h 1762127"/>
                <a:gd name="connsiteX4948" fmla="*/ 3792420 w 9759834"/>
                <a:gd name="connsiteY4948" fmla="*/ 459582 h 1762127"/>
                <a:gd name="connsiteX4949" fmla="*/ 3826552 w 9759834"/>
                <a:gd name="connsiteY4949" fmla="*/ 425450 h 1762127"/>
                <a:gd name="connsiteX4950" fmla="*/ 3741620 w 9759834"/>
                <a:gd name="connsiteY4950" fmla="*/ 425450 h 1762127"/>
                <a:gd name="connsiteX4951" fmla="*/ 3776545 w 9759834"/>
                <a:gd name="connsiteY4951" fmla="*/ 459582 h 1762127"/>
                <a:gd name="connsiteX4952" fmla="*/ 3741620 w 9759834"/>
                <a:gd name="connsiteY4952" fmla="*/ 493714 h 1762127"/>
                <a:gd name="connsiteX4953" fmla="*/ 3706695 w 9759834"/>
                <a:gd name="connsiteY4953" fmla="*/ 459582 h 1762127"/>
                <a:gd name="connsiteX4954" fmla="*/ 3741620 w 9759834"/>
                <a:gd name="connsiteY4954" fmla="*/ 425450 h 1762127"/>
                <a:gd name="connsiteX4955" fmla="*/ 3153452 w 9759834"/>
                <a:gd name="connsiteY4955" fmla="*/ 425450 h 1762127"/>
                <a:gd name="connsiteX4956" fmla="*/ 3187584 w 9759834"/>
                <a:gd name="connsiteY4956" fmla="*/ 459582 h 1762127"/>
                <a:gd name="connsiteX4957" fmla="*/ 3153452 w 9759834"/>
                <a:gd name="connsiteY4957" fmla="*/ 493714 h 1762127"/>
                <a:gd name="connsiteX4958" fmla="*/ 3119320 w 9759834"/>
                <a:gd name="connsiteY4958" fmla="*/ 459582 h 1762127"/>
                <a:gd name="connsiteX4959" fmla="*/ 3153452 w 9759834"/>
                <a:gd name="connsiteY4959" fmla="*/ 425450 h 1762127"/>
                <a:gd name="connsiteX4960" fmla="*/ 3068520 w 9759834"/>
                <a:gd name="connsiteY4960" fmla="*/ 425450 h 1762127"/>
                <a:gd name="connsiteX4961" fmla="*/ 3103445 w 9759834"/>
                <a:gd name="connsiteY4961" fmla="*/ 459582 h 1762127"/>
                <a:gd name="connsiteX4962" fmla="*/ 3068520 w 9759834"/>
                <a:gd name="connsiteY4962" fmla="*/ 493714 h 1762127"/>
                <a:gd name="connsiteX4963" fmla="*/ 3033595 w 9759834"/>
                <a:gd name="connsiteY4963" fmla="*/ 459582 h 1762127"/>
                <a:gd name="connsiteX4964" fmla="*/ 3068520 w 9759834"/>
                <a:gd name="connsiteY4964" fmla="*/ 425450 h 1762127"/>
                <a:gd name="connsiteX4965" fmla="*/ 2897865 w 9759834"/>
                <a:gd name="connsiteY4965" fmla="*/ 425450 h 1762127"/>
                <a:gd name="connsiteX4966" fmla="*/ 2931997 w 9759834"/>
                <a:gd name="connsiteY4966" fmla="*/ 459582 h 1762127"/>
                <a:gd name="connsiteX4967" fmla="*/ 2897865 w 9759834"/>
                <a:gd name="connsiteY4967" fmla="*/ 493714 h 1762127"/>
                <a:gd name="connsiteX4968" fmla="*/ 2863733 w 9759834"/>
                <a:gd name="connsiteY4968" fmla="*/ 459582 h 1762127"/>
                <a:gd name="connsiteX4969" fmla="*/ 2897865 w 9759834"/>
                <a:gd name="connsiteY4969" fmla="*/ 425450 h 1762127"/>
                <a:gd name="connsiteX4970" fmla="*/ 2731999 w 9759834"/>
                <a:gd name="connsiteY4970" fmla="*/ 425450 h 1762127"/>
                <a:gd name="connsiteX4971" fmla="*/ 2766924 w 9759834"/>
                <a:gd name="connsiteY4971" fmla="*/ 459582 h 1762127"/>
                <a:gd name="connsiteX4972" fmla="*/ 2731999 w 9759834"/>
                <a:gd name="connsiteY4972" fmla="*/ 493714 h 1762127"/>
                <a:gd name="connsiteX4973" fmla="*/ 2697074 w 9759834"/>
                <a:gd name="connsiteY4973" fmla="*/ 459582 h 1762127"/>
                <a:gd name="connsiteX4974" fmla="*/ 2731999 w 9759834"/>
                <a:gd name="connsiteY4974" fmla="*/ 425450 h 1762127"/>
                <a:gd name="connsiteX4975" fmla="*/ 2394790 w 9759834"/>
                <a:gd name="connsiteY4975" fmla="*/ 425450 h 1762127"/>
                <a:gd name="connsiteX4976" fmla="*/ 2428919 w 9759834"/>
                <a:gd name="connsiteY4976" fmla="*/ 459582 h 1762127"/>
                <a:gd name="connsiteX4977" fmla="*/ 2394790 w 9759834"/>
                <a:gd name="connsiteY4977" fmla="*/ 493714 h 1762127"/>
                <a:gd name="connsiteX4978" fmla="*/ 2360656 w 9759834"/>
                <a:gd name="connsiteY4978" fmla="*/ 459582 h 1762127"/>
                <a:gd name="connsiteX4979" fmla="*/ 2394790 w 9759834"/>
                <a:gd name="connsiteY4979" fmla="*/ 425450 h 1762127"/>
                <a:gd name="connsiteX4980" fmla="*/ 2309856 w 9759834"/>
                <a:gd name="connsiteY4980" fmla="*/ 425450 h 1762127"/>
                <a:gd name="connsiteX4981" fmla="*/ 2344781 w 9759834"/>
                <a:gd name="connsiteY4981" fmla="*/ 459582 h 1762127"/>
                <a:gd name="connsiteX4982" fmla="*/ 2309856 w 9759834"/>
                <a:gd name="connsiteY4982" fmla="*/ 493714 h 1762127"/>
                <a:gd name="connsiteX4983" fmla="*/ 2274920 w 9759834"/>
                <a:gd name="connsiteY4983" fmla="*/ 459582 h 1762127"/>
                <a:gd name="connsiteX4984" fmla="*/ 2309856 w 9759834"/>
                <a:gd name="connsiteY4984" fmla="*/ 425450 h 1762127"/>
                <a:gd name="connsiteX4985" fmla="*/ 2224919 w 9759834"/>
                <a:gd name="connsiteY4985" fmla="*/ 425450 h 1762127"/>
                <a:gd name="connsiteX4986" fmla="*/ 2259040 w 9759834"/>
                <a:gd name="connsiteY4986" fmla="*/ 459582 h 1762127"/>
                <a:gd name="connsiteX4987" fmla="*/ 2224919 w 9759834"/>
                <a:gd name="connsiteY4987" fmla="*/ 493714 h 1762127"/>
                <a:gd name="connsiteX4988" fmla="*/ 2190786 w 9759834"/>
                <a:gd name="connsiteY4988" fmla="*/ 459582 h 1762127"/>
                <a:gd name="connsiteX4989" fmla="*/ 2224919 w 9759834"/>
                <a:gd name="connsiteY4989" fmla="*/ 425450 h 1762127"/>
                <a:gd name="connsiteX4990" fmla="*/ 2139203 w 9759834"/>
                <a:gd name="connsiteY4990" fmla="*/ 425450 h 1762127"/>
                <a:gd name="connsiteX4991" fmla="*/ 2173331 w 9759834"/>
                <a:gd name="connsiteY4991" fmla="*/ 459582 h 1762127"/>
                <a:gd name="connsiteX4992" fmla="*/ 2139203 w 9759834"/>
                <a:gd name="connsiteY4992" fmla="*/ 493714 h 1762127"/>
                <a:gd name="connsiteX4993" fmla="*/ 2105064 w 9759834"/>
                <a:gd name="connsiteY4993" fmla="*/ 459582 h 1762127"/>
                <a:gd name="connsiteX4994" fmla="*/ 2139203 w 9759834"/>
                <a:gd name="connsiteY4994" fmla="*/ 425450 h 1762127"/>
                <a:gd name="connsiteX4995" fmla="*/ 1973173 w 9759834"/>
                <a:gd name="connsiteY4995" fmla="*/ 425450 h 1762127"/>
                <a:gd name="connsiteX4996" fmla="*/ 2008098 w 9759834"/>
                <a:gd name="connsiteY4996" fmla="*/ 459582 h 1762127"/>
                <a:gd name="connsiteX4997" fmla="*/ 1973173 w 9759834"/>
                <a:gd name="connsiteY4997" fmla="*/ 493714 h 1762127"/>
                <a:gd name="connsiteX4998" fmla="*/ 1938249 w 9759834"/>
                <a:gd name="connsiteY4998" fmla="*/ 459582 h 1762127"/>
                <a:gd name="connsiteX4999" fmla="*/ 1973173 w 9759834"/>
                <a:gd name="connsiteY4999" fmla="*/ 425450 h 1762127"/>
                <a:gd name="connsiteX5000" fmla="*/ 1888373 w 9759834"/>
                <a:gd name="connsiteY5000" fmla="*/ 425450 h 1762127"/>
                <a:gd name="connsiteX5001" fmla="*/ 1922503 w 9759834"/>
                <a:gd name="connsiteY5001" fmla="*/ 459582 h 1762127"/>
                <a:gd name="connsiteX5002" fmla="*/ 1888373 w 9759834"/>
                <a:gd name="connsiteY5002" fmla="*/ 493714 h 1762127"/>
                <a:gd name="connsiteX5003" fmla="*/ 1854243 w 9759834"/>
                <a:gd name="connsiteY5003" fmla="*/ 459582 h 1762127"/>
                <a:gd name="connsiteX5004" fmla="*/ 1888373 w 9759834"/>
                <a:gd name="connsiteY5004" fmla="*/ 425450 h 1762127"/>
                <a:gd name="connsiteX5005" fmla="*/ 1802656 w 9759834"/>
                <a:gd name="connsiteY5005" fmla="*/ 425450 h 1762127"/>
                <a:gd name="connsiteX5006" fmla="*/ 1836784 w 9759834"/>
                <a:gd name="connsiteY5006" fmla="*/ 459582 h 1762127"/>
                <a:gd name="connsiteX5007" fmla="*/ 1802656 w 9759834"/>
                <a:gd name="connsiteY5007" fmla="*/ 493714 h 1762127"/>
                <a:gd name="connsiteX5008" fmla="*/ 1768524 w 9759834"/>
                <a:gd name="connsiteY5008" fmla="*/ 459582 h 1762127"/>
                <a:gd name="connsiteX5009" fmla="*/ 1802656 w 9759834"/>
                <a:gd name="connsiteY5009" fmla="*/ 425450 h 1762127"/>
                <a:gd name="connsiteX5010" fmla="*/ 1719314 w 9759834"/>
                <a:gd name="connsiteY5010" fmla="*/ 425450 h 1762127"/>
                <a:gd name="connsiteX5011" fmla="*/ 1755825 w 9759834"/>
                <a:gd name="connsiteY5011" fmla="*/ 459582 h 1762127"/>
                <a:gd name="connsiteX5012" fmla="*/ 1719314 w 9759834"/>
                <a:gd name="connsiteY5012" fmla="*/ 493714 h 1762127"/>
                <a:gd name="connsiteX5013" fmla="*/ 1682803 w 9759834"/>
                <a:gd name="connsiteY5013" fmla="*/ 459582 h 1762127"/>
                <a:gd name="connsiteX5014" fmla="*/ 1719314 w 9759834"/>
                <a:gd name="connsiteY5014" fmla="*/ 425450 h 1762127"/>
                <a:gd name="connsiteX5015" fmla="*/ 1636626 w 9759834"/>
                <a:gd name="connsiteY5015" fmla="*/ 425450 h 1762127"/>
                <a:gd name="connsiteX5016" fmla="*/ 1671551 w 9759834"/>
                <a:gd name="connsiteY5016" fmla="*/ 459582 h 1762127"/>
                <a:gd name="connsiteX5017" fmla="*/ 1636626 w 9759834"/>
                <a:gd name="connsiteY5017" fmla="*/ 493714 h 1762127"/>
                <a:gd name="connsiteX5018" fmla="*/ 1601701 w 9759834"/>
                <a:gd name="connsiteY5018" fmla="*/ 459582 h 1762127"/>
                <a:gd name="connsiteX5019" fmla="*/ 1636626 w 9759834"/>
                <a:gd name="connsiteY5019" fmla="*/ 425450 h 1762127"/>
                <a:gd name="connsiteX5020" fmla="*/ 1551838 w 9759834"/>
                <a:gd name="connsiteY5020" fmla="*/ 425450 h 1762127"/>
                <a:gd name="connsiteX5021" fmla="*/ 1585970 w 9759834"/>
                <a:gd name="connsiteY5021" fmla="*/ 459582 h 1762127"/>
                <a:gd name="connsiteX5022" fmla="*/ 1551838 w 9759834"/>
                <a:gd name="connsiteY5022" fmla="*/ 493714 h 1762127"/>
                <a:gd name="connsiteX5023" fmla="*/ 1517707 w 9759834"/>
                <a:gd name="connsiteY5023" fmla="*/ 459582 h 1762127"/>
                <a:gd name="connsiteX5024" fmla="*/ 1551838 w 9759834"/>
                <a:gd name="connsiteY5024" fmla="*/ 425450 h 1762127"/>
                <a:gd name="connsiteX5025" fmla="*/ 1466114 w 9759834"/>
                <a:gd name="connsiteY5025" fmla="*/ 425450 h 1762127"/>
                <a:gd name="connsiteX5026" fmla="*/ 1500247 w 9759834"/>
                <a:gd name="connsiteY5026" fmla="*/ 459582 h 1762127"/>
                <a:gd name="connsiteX5027" fmla="*/ 1466114 w 9759834"/>
                <a:gd name="connsiteY5027" fmla="*/ 493714 h 1762127"/>
                <a:gd name="connsiteX5028" fmla="*/ 1431983 w 9759834"/>
                <a:gd name="connsiteY5028" fmla="*/ 459582 h 1762127"/>
                <a:gd name="connsiteX5029" fmla="*/ 1466114 w 9759834"/>
                <a:gd name="connsiteY5029" fmla="*/ 425450 h 1762127"/>
                <a:gd name="connsiteX5030" fmla="*/ 1380392 w 9759834"/>
                <a:gd name="connsiteY5030" fmla="*/ 425450 h 1762127"/>
                <a:gd name="connsiteX5031" fmla="*/ 1414522 w 9759834"/>
                <a:gd name="connsiteY5031" fmla="*/ 459582 h 1762127"/>
                <a:gd name="connsiteX5032" fmla="*/ 1380392 w 9759834"/>
                <a:gd name="connsiteY5032" fmla="*/ 493714 h 1762127"/>
                <a:gd name="connsiteX5033" fmla="*/ 1346258 w 9759834"/>
                <a:gd name="connsiteY5033" fmla="*/ 459582 h 1762127"/>
                <a:gd name="connsiteX5034" fmla="*/ 1380392 w 9759834"/>
                <a:gd name="connsiteY5034" fmla="*/ 425450 h 1762127"/>
                <a:gd name="connsiteX5035" fmla="*/ 1300222 w 9759834"/>
                <a:gd name="connsiteY5035" fmla="*/ 425450 h 1762127"/>
                <a:gd name="connsiteX5036" fmla="*/ 1335148 w 9759834"/>
                <a:gd name="connsiteY5036" fmla="*/ 459582 h 1762127"/>
                <a:gd name="connsiteX5037" fmla="*/ 1300222 w 9759834"/>
                <a:gd name="connsiteY5037" fmla="*/ 493714 h 1762127"/>
                <a:gd name="connsiteX5038" fmla="*/ 1265297 w 9759834"/>
                <a:gd name="connsiteY5038" fmla="*/ 459582 h 1762127"/>
                <a:gd name="connsiteX5039" fmla="*/ 1300222 w 9759834"/>
                <a:gd name="connsiteY5039" fmla="*/ 425450 h 1762127"/>
                <a:gd name="connsiteX5040" fmla="*/ 1214500 w 9759834"/>
                <a:gd name="connsiteY5040" fmla="*/ 425450 h 1762127"/>
                <a:gd name="connsiteX5041" fmla="*/ 1249422 w 9759834"/>
                <a:gd name="connsiteY5041" fmla="*/ 459582 h 1762127"/>
                <a:gd name="connsiteX5042" fmla="*/ 1214500 w 9759834"/>
                <a:gd name="connsiteY5042" fmla="*/ 493714 h 1762127"/>
                <a:gd name="connsiteX5043" fmla="*/ 1179573 w 9759834"/>
                <a:gd name="connsiteY5043" fmla="*/ 459582 h 1762127"/>
                <a:gd name="connsiteX5044" fmla="*/ 1214500 w 9759834"/>
                <a:gd name="connsiteY5044" fmla="*/ 425450 h 1762127"/>
                <a:gd name="connsiteX5045" fmla="*/ 8042952 w 9759834"/>
                <a:gd name="connsiteY5045" fmla="*/ 339725 h 1762127"/>
                <a:gd name="connsiteX5046" fmla="*/ 8077084 w 9759834"/>
                <a:gd name="connsiteY5046" fmla="*/ 373857 h 1762127"/>
                <a:gd name="connsiteX5047" fmla="*/ 8042952 w 9759834"/>
                <a:gd name="connsiteY5047" fmla="*/ 407989 h 1762127"/>
                <a:gd name="connsiteX5048" fmla="*/ 8008820 w 9759834"/>
                <a:gd name="connsiteY5048" fmla="*/ 373857 h 1762127"/>
                <a:gd name="connsiteX5049" fmla="*/ 8042952 w 9759834"/>
                <a:gd name="connsiteY5049" fmla="*/ 339725 h 1762127"/>
                <a:gd name="connsiteX5050" fmla="*/ 7957227 w 9759834"/>
                <a:gd name="connsiteY5050" fmla="*/ 339725 h 1762127"/>
                <a:gd name="connsiteX5051" fmla="*/ 7991359 w 9759834"/>
                <a:gd name="connsiteY5051" fmla="*/ 373857 h 1762127"/>
                <a:gd name="connsiteX5052" fmla="*/ 7957227 w 9759834"/>
                <a:gd name="connsiteY5052" fmla="*/ 407989 h 1762127"/>
                <a:gd name="connsiteX5053" fmla="*/ 7923095 w 9759834"/>
                <a:gd name="connsiteY5053" fmla="*/ 373857 h 1762127"/>
                <a:gd name="connsiteX5054" fmla="*/ 7957227 w 9759834"/>
                <a:gd name="connsiteY5054" fmla="*/ 339725 h 1762127"/>
                <a:gd name="connsiteX5055" fmla="*/ 7871502 w 9759834"/>
                <a:gd name="connsiteY5055" fmla="*/ 339725 h 1762127"/>
                <a:gd name="connsiteX5056" fmla="*/ 7905634 w 9759834"/>
                <a:gd name="connsiteY5056" fmla="*/ 373857 h 1762127"/>
                <a:gd name="connsiteX5057" fmla="*/ 7871502 w 9759834"/>
                <a:gd name="connsiteY5057" fmla="*/ 407989 h 1762127"/>
                <a:gd name="connsiteX5058" fmla="*/ 7837370 w 9759834"/>
                <a:gd name="connsiteY5058" fmla="*/ 373857 h 1762127"/>
                <a:gd name="connsiteX5059" fmla="*/ 7871502 w 9759834"/>
                <a:gd name="connsiteY5059" fmla="*/ 339725 h 1762127"/>
                <a:gd name="connsiteX5060" fmla="*/ 7785777 w 9759834"/>
                <a:gd name="connsiteY5060" fmla="*/ 339725 h 1762127"/>
                <a:gd name="connsiteX5061" fmla="*/ 7819909 w 9759834"/>
                <a:gd name="connsiteY5061" fmla="*/ 373857 h 1762127"/>
                <a:gd name="connsiteX5062" fmla="*/ 7785777 w 9759834"/>
                <a:gd name="connsiteY5062" fmla="*/ 407989 h 1762127"/>
                <a:gd name="connsiteX5063" fmla="*/ 7751645 w 9759834"/>
                <a:gd name="connsiteY5063" fmla="*/ 373857 h 1762127"/>
                <a:gd name="connsiteX5064" fmla="*/ 7785777 w 9759834"/>
                <a:gd name="connsiteY5064" fmla="*/ 339725 h 1762127"/>
                <a:gd name="connsiteX5065" fmla="*/ 7706402 w 9759834"/>
                <a:gd name="connsiteY5065" fmla="*/ 339725 h 1762127"/>
                <a:gd name="connsiteX5066" fmla="*/ 7740534 w 9759834"/>
                <a:gd name="connsiteY5066" fmla="*/ 373857 h 1762127"/>
                <a:gd name="connsiteX5067" fmla="*/ 7706402 w 9759834"/>
                <a:gd name="connsiteY5067" fmla="*/ 407989 h 1762127"/>
                <a:gd name="connsiteX5068" fmla="*/ 7672270 w 9759834"/>
                <a:gd name="connsiteY5068" fmla="*/ 373857 h 1762127"/>
                <a:gd name="connsiteX5069" fmla="*/ 7706402 w 9759834"/>
                <a:gd name="connsiteY5069" fmla="*/ 339725 h 1762127"/>
                <a:gd name="connsiteX5070" fmla="*/ 7620677 w 9759834"/>
                <a:gd name="connsiteY5070" fmla="*/ 339725 h 1762127"/>
                <a:gd name="connsiteX5071" fmla="*/ 7654809 w 9759834"/>
                <a:gd name="connsiteY5071" fmla="*/ 373857 h 1762127"/>
                <a:gd name="connsiteX5072" fmla="*/ 7620677 w 9759834"/>
                <a:gd name="connsiteY5072" fmla="*/ 407989 h 1762127"/>
                <a:gd name="connsiteX5073" fmla="*/ 7586545 w 9759834"/>
                <a:gd name="connsiteY5073" fmla="*/ 373857 h 1762127"/>
                <a:gd name="connsiteX5074" fmla="*/ 7620677 w 9759834"/>
                <a:gd name="connsiteY5074" fmla="*/ 339725 h 1762127"/>
                <a:gd name="connsiteX5075" fmla="*/ 7534952 w 9759834"/>
                <a:gd name="connsiteY5075" fmla="*/ 339725 h 1762127"/>
                <a:gd name="connsiteX5076" fmla="*/ 7569084 w 9759834"/>
                <a:gd name="connsiteY5076" fmla="*/ 373857 h 1762127"/>
                <a:gd name="connsiteX5077" fmla="*/ 7534952 w 9759834"/>
                <a:gd name="connsiteY5077" fmla="*/ 407989 h 1762127"/>
                <a:gd name="connsiteX5078" fmla="*/ 7500820 w 9759834"/>
                <a:gd name="connsiteY5078" fmla="*/ 373857 h 1762127"/>
                <a:gd name="connsiteX5079" fmla="*/ 7534952 w 9759834"/>
                <a:gd name="connsiteY5079" fmla="*/ 339725 h 1762127"/>
                <a:gd name="connsiteX5080" fmla="*/ 7449227 w 9759834"/>
                <a:gd name="connsiteY5080" fmla="*/ 339725 h 1762127"/>
                <a:gd name="connsiteX5081" fmla="*/ 7483359 w 9759834"/>
                <a:gd name="connsiteY5081" fmla="*/ 373857 h 1762127"/>
                <a:gd name="connsiteX5082" fmla="*/ 7449227 w 9759834"/>
                <a:gd name="connsiteY5082" fmla="*/ 407989 h 1762127"/>
                <a:gd name="connsiteX5083" fmla="*/ 7415095 w 9759834"/>
                <a:gd name="connsiteY5083" fmla="*/ 373857 h 1762127"/>
                <a:gd name="connsiteX5084" fmla="*/ 7449227 w 9759834"/>
                <a:gd name="connsiteY5084" fmla="*/ 339725 h 1762127"/>
                <a:gd name="connsiteX5085" fmla="*/ 7366677 w 9759834"/>
                <a:gd name="connsiteY5085" fmla="*/ 339725 h 1762127"/>
                <a:gd name="connsiteX5086" fmla="*/ 7403984 w 9759834"/>
                <a:gd name="connsiteY5086" fmla="*/ 373857 h 1762127"/>
                <a:gd name="connsiteX5087" fmla="*/ 7366677 w 9759834"/>
                <a:gd name="connsiteY5087" fmla="*/ 407989 h 1762127"/>
                <a:gd name="connsiteX5088" fmla="*/ 7329370 w 9759834"/>
                <a:gd name="connsiteY5088" fmla="*/ 373857 h 1762127"/>
                <a:gd name="connsiteX5089" fmla="*/ 7366677 w 9759834"/>
                <a:gd name="connsiteY5089" fmla="*/ 339725 h 1762127"/>
                <a:gd name="connsiteX5090" fmla="*/ 7284127 w 9759834"/>
                <a:gd name="connsiteY5090" fmla="*/ 339725 h 1762127"/>
                <a:gd name="connsiteX5091" fmla="*/ 7318259 w 9759834"/>
                <a:gd name="connsiteY5091" fmla="*/ 373857 h 1762127"/>
                <a:gd name="connsiteX5092" fmla="*/ 7284127 w 9759834"/>
                <a:gd name="connsiteY5092" fmla="*/ 407989 h 1762127"/>
                <a:gd name="connsiteX5093" fmla="*/ 7249995 w 9759834"/>
                <a:gd name="connsiteY5093" fmla="*/ 373857 h 1762127"/>
                <a:gd name="connsiteX5094" fmla="*/ 7284127 w 9759834"/>
                <a:gd name="connsiteY5094" fmla="*/ 339725 h 1762127"/>
                <a:gd name="connsiteX5095" fmla="*/ 7198402 w 9759834"/>
                <a:gd name="connsiteY5095" fmla="*/ 339725 h 1762127"/>
                <a:gd name="connsiteX5096" fmla="*/ 7232534 w 9759834"/>
                <a:gd name="connsiteY5096" fmla="*/ 373857 h 1762127"/>
                <a:gd name="connsiteX5097" fmla="*/ 7198402 w 9759834"/>
                <a:gd name="connsiteY5097" fmla="*/ 407989 h 1762127"/>
                <a:gd name="connsiteX5098" fmla="*/ 7164270 w 9759834"/>
                <a:gd name="connsiteY5098" fmla="*/ 373857 h 1762127"/>
                <a:gd name="connsiteX5099" fmla="*/ 7198402 w 9759834"/>
                <a:gd name="connsiteY5099" fmla="*/ 339725 h 1762127"/>
                <a:gd name="connsiteX5100" fmla="*/ 7112677 w 9759834"/>
                <a:gd name="connsiteY5100" fmla="*/ 339725 h 1762127"/>
                <a:gd name="connsiteX5101" fmla="*/ 7146809 w 9759834"/>
                <a:gd name="connsiteY5101" fmla="*/ 373857 h 1762127"/>
                <a:gd name="connsiteX5102" fmla="*/ 7112677 w 9759834"/>
                <a:gd name="connsiteY5102" fmla="*/ 407989 h 1762127"/>
                <a:gd name="connsiteX5103" fmla="*/ 7078545 w 9759834"/>
                <a:gd name="connsiteY5103" fmla="*/ 373857 h 1762127"/>
                <a:gd name="connsiteX5104" fmla="*/ 7112677 w 9759834"/>
                <a:gd name="connsiteY5104" fmla="*/ 339725 h 1762127"/>
                <a:gd name="connsiteX5105" fmla="*/ 7027745 w 9759834"/>
                <a:gd name="connsiteY5105" fmla="*/ 339725 h 1762127"/>
                <a:gd name="connsiteX5106" fmla="*/ 7062670 w 9759834"/>
                <a:gd name="connsiteY5106" fmla="*/ 373857 h 1762127"/>
                <a:gd name="connsiteX5107" fmla="*/ 7027745 w 9759834"/>
                <a:gd name="connsiteY5107" fmla="*/ 407989 h 1762127"/>
                <a:gd name="connsiteX5108" fmla="*/ 6992820 w 9759834"/>
                <a:gd name="connsiteY5108" fmla="*/ 373857 h 1762127"/>
                <a:gd name="connsiteX5109" fmla="*/ 7027745 w 9759834"/>
                <a:gd name="connsiteY5109" fmla="*/ 339725 h 1762127"/>
                <a:gd name="connsiteX5110" fmla="*/ 6861852 w 9759834"/>
                <a:gd name="connsiteY5110" fmla="*/ 339725 h 1762127"/>
                <a:gd name="connsiteX5111" fmla="*/ 6895984 w 9759834"/>
                <a:gd name="connsiteY5111" fmla="*/ 373857 h 1762127"/>
                <a:gd name="connsiteX5112" fmla="*/ 6861852 w 9759834"/>
                <a:gd name="connsiteY5112" fmla="*/ 407989 h 1762127"/>
                <a:gd name="connsiteX5113" fmla="*/ 6827720 w 9759834"/>
                <a:gd name="connsiteY5113" fmla="*/ 373857 h 1762127"/>
                <a:gd name="connsiteX5114" fmla="*/ 6861852 w 9759834"/>
                <a:gd name="connsiteY5114" fmla="*/ 339725 h 1762127"/>
                <a:gd name="connsiteX5115" fmla="*/ 6268920 w 9759834"/>
                <a:gd name="connsiteY5115" fmla="*/ 339725 h 1762127"/>
                <a:gd name="connsiteX5116" fmla="*/ 6303845 w 9759834"/>
                <a:gd name="connsiteY5116" fmla="*/ 373857 h 1762127"/>
                <a:gd name="connsiteX5117" fmla="*/ 6268920 w 9759834"/>
                <a:gd name="connsiteY5117" fmla="*/ 407989 h 1762127"/>
                <a:gd name="connsiteX5118" fmla="*/ 6233995 w 9759834"/>
                <a:gd name="connsiteY5118" fmla="*/ 373857 h 1762127"/>
                <a:gd name="connsiteX5119" fmla="*/ 6268920 w 9759834"/>
                <a:gd name="connsiteY5119" fmla="*/ 339725 h 1762127"/>
                <a:gd name="connsiteX5120" fmla="*/ 4415515 w 9759834"/>
                <a:gd name="connsiteY5120" fmla="*/ 339725 h 1762127"/>
                <a:gd name="connsiteX5121" fmla="*/ 4449647 w 9759834"/>
                <a:gd name="connsiteY5121" fmla="*/ 373857 h 1762127"/>
                <a:gd name="connsiteX5122" fmla="*/ 4415515 w 9759834"/>
                <a:gd name="connsiteY5122" fmla="*/ 407989 h 1762127"/>
                <a:gd name="connsiteX5123" fmla="*/ 4381383 w 9759834"/>
                <a:gd name="connsiteY5123" fmla="*/ 373857 h 1762127"/>
                <a:gd name="connsiteX5124" fmla="*/ 4415515 w 9759834"/>
                <a:gd name="connsiteY5124" fmla="*/ 339725 h 1762127"/>
                <a:gd name="connsiteX5125" fmla="*/ 4332171 w 9759834"/>
                <a:gd name="connsiteY5125" fmla="*/ 339725 h 1762127"/>
                <a:gd name="connsiteX5126" fmla="*/ 4368684 w 9759834"/>
                <a:gd name="connsiteY5126" fmla="*/ 373857 h 1762127"/>
                <a:gd name="connsiteX5127" fmla="*/ 4332171 w 9759834"/>
                <a:gd name="connsiteY5127" fmla="*/ 407989 h 1762127"/>
                <a:gd name="connsiteX5128" fmla="*/ 4295658 w 9759834"/>
                <a:gd name="connsiteY5128" fmla="*/ 373857 h 1762127"/>
                <a:gd name="connsiteX5129" fmla="*/ 4332171 w 9759834"/>
                <a:gd name="connsiteY5129" fmla="*/ 339725 h 1762127"/>
                <a:gd name="connsiteX5130" fmla="*/ 4248827 w 9759834"/>
                <a:gd name="connsiteY5130" fmla="*/ 339725 h 1762127"/>
                <a:gd name="connsiteX5131" fmla="*/ 4282959 w 9759834"/>
                <a:gd name="connsiteY5131" fmla="*/ 373857 h 1762127"/>
                <a:gd name="connsiteX5132" fmla="*/ 4248827 w 9759834"/>
                <a:gd name="connsiteY5132" fmla="*/ 407989 h 1762127"/>
                <a:gd name="connsiteX5133" fmla="*/ 4214695 w 9759834"/>
                <a:gd name="connsiteY5133" fmla="*/ 373857 h 1762127"/>
                <a:gd name="connsiteX5134" fmla="*/ 4248827 w 9759834"/>
                <a:gd name="connsiteY5134" fmla="*/ 339725 h 1762127"/>
                <a:gd name="connsiteX5135" fmla="*/ 4163895 w 9759834"/>
                <a:gd name="connsiteY5135" fmla="*/ 339725 h 1762127"/>
                <a:gd name="connsiteX5136" fmla="*/ 4198820 w 9759834"/>
                <a:gd name="connsiteY5136" fmla="*/ 373857 h 1762127"/>
                <a:gd name="connsiteX5137" fmla="*/ 4163895 w 9759834"/>
                <a:gd name="connsiteY5137" fmla="*/ 407989 h 1762127"/>
                <a:gd name="connsiteX5138" fmla="*/ 4128970 w 9759834"/>
                <a:gd name="connsiteY5138" fmla="*/ 373857 h 1762127"/>
                <a:gd name="connsiteX5139" fmla="*/ 4163895 w 9759834"/>
                <a:gd name="connsiteY5139" fmla="*/ 339725 h 1762127"/>
                <a:gd name="connsiteX5140" fmla="*/ 4078170 w 9759834"/>
                <a:gd name="connsiteY5140" fmla="*/ 339725 h 1762127"/>
                <a:gd name="connsiteX5141" fmla="*/ 4113095 w 9759834"/>
                <a:gd name="connsiteY5141" fmla="*/ 373857 h 1762127"/>
                <a:gd name="connsiteX5142" fmla="*/ 4078170 w 9759834"/>
                <a:gd name="connsiteY5142" fmla="*/ 407989 h 1762127"/>
                <a:gd name="connsiteX5143" fmla="*/ 4043245 w 9759834"/>
                <a:gd name="connsiteY5143" fmla="*/ 373857 h 1762127"/>
                <a:gd name="connsiteX5144" fmla="*/ 4078170 w 9759834"/>
                <a:gd name="connsiteY5144" fmla="*/ 339725 h 1762127"/>
                <a:gd name="connsiteX5145" fmla="*/ 3993240 w 9759834"/>
                <a:gd name="connsiteY5145" fmla="*/ 339725 h 1762127"/>
                <a:gd name="connsiteX5146" fmla="*/ 4027372 w 9759834"/>
                <a:gd name="connsiteY5146" fmla="*/ 373857 h 1762127"/>
                <a:gd name="connsiteX5147" fmla="*/ 3993240 w 9759834"/>
                <a:gd name="connsiteY5147" fmla="*/ 407989 h 1762127"/>
                <a:gd name="connsiteX5148" fmla="*/ 3959108 w 9759834"/>
                <a:gd name="connsiteY5148" fmla="*/ 373857 h 1762127"/>
                <a:gd name="connsiteX5149" fmla="*/ 3993240 w 9759834"/>
                <a:gd name="connsiteY5149" fmla="*/ 339725 h 1762127"/>
                <a:gd name="connsiteX5150" fmla="*/ 3912277 w 9759834"/>
                <a:gd name="connsiteY5150" fmla="*/ 339725 h 1762127"/>
                <a:gd name="connsiteX5151" fmla="*/ 3946409 w 9759834"/>
                <a:gd name="connsiteY5151" fmla="*/ 373857 h 1762127"/>
                <a:gd name="connsiteX5152" fmla="*/ 3912277 w 9759834"/>
                <a:gd name="connsiteY5152" fmla="*/ 407989 h 1762127"/>
                <a:gd name="connsiteX5153" fmla="*/ 3878145 w 9759834"/>
                <a:gd name="connsiteY5153" fmla="*/ 373857 h 1762127"/>
                <a:gd name="connsiteX5154" fmla="*/ 3912277 w 9759834"/>
                <a:gd name="connsiteY5154" fmla="*/ 339725 h 1762127"/>
                <a:gd name="connsiteX5155" fmla="*/ 3826552 w 9759834"/>
                <a:gd name="connsiteY5155" fmla="*/ 339725 h 1762127"/>
                <a:gd name="connsiteX5156" fmla="*/ 3860684 w 9759834"/>
                <a:gd name="connsiteY5156" fmla="*/ 373857 h 1762127"/>
                <a:gd name="connsiteX5157" fmla="*/ 3826552 w 9759834"/>
                <a:gd name="connsiteY5157" fmla="*/ 407989 h 1762127"/>
                <a:gd name="connsiteX5158" fmla="*/ 3792420 w 9759834"/>
                <a:gd name="connsiteY5158" fmla="*/ 373857 h 1762127"/>
                <a:gd name="connsiteX5159" fmla="*/ 3826552 w 9759834"/>
                <a:gd name="connsiteY5159" fmla="*/ 339725 h 1762127"/>
                <a:gd name="connsiteX5160" fmla="*/ 3741620 w 9759834"/>
                <a:gd name="connsiteY5160" fmla="*/ 339725 h 1762127"/>
                <a:gd name="connsiteX5161" fmla="*/ 3776545 w 9759834"/>
                <a:gd name="connsiteY5161" fmla="*/ 373857 h 1762127"/>
                <a:gd name="connsiteX5162" fmla="*/ 3741620 w 9759834"/>
                <a:gd name="connsiteY5162" fmla="*/ 407989 h 1762127"/>
                <a:gd name="connsiteX5163" fmla="*/ 3706695 w 9759834"/>
                <a:gd name="connsiteY5163" fmla="*/ 373857 h 1762127"/>
                <a:gd name="connsiteX5164" fmla="*/ 3741620 w 9759834"/>
                <a:gd name="connsiteY5164" fmla="*/ 339725 h 1762127"/>
                <a:gd name="connsiteX5165" fmla="*/ 2983590 w 9759834"/>
                <a:gd name="connsiteY5165" fmla="*/ 339725 h 1762127"/>
                <a:gd name="connsiteX5166" fmla="*/ 3017722 w 9759834"/>
                <a:gd name="connsiteY5166" fmla="*/ 373857 h 1762127"/>
                <a:gd name="connsiteX5167" fmla="*/ 2983590 w 9759834"/>
                <a:gd name="connsiteY5167" fmla="*/ 407989 h 1762127"/>
                <a:gd name="connsiteX5168" fmla="*/ 2949458 w 9759834"/>
                <a:gd name="connsiteY5168" fmla="*/ 373857 h 1762127"/>
                <a:gd name="connsiteX5169" fmla="*/ 2983590 w 9759834"/>
                <a:gd name="connsiteY5169" fmla="*/ 339725 h 1762127"/>
                <a:gd name="connsiteX5170" fmla="*/ 2814521 w 9759834"/>
                <a:gd name="connsiteY5170" fmla="*/ 339725 h 1762127"/>
                <a:gd name="connsiteX5171" fmla="*/ 2851034 w 9759834"/>
                <a:gd name="connsiteY5171" fmla="*/ 373857 h 1762127"/>
                <a:gd name="connsiteX5172" fmla="*/ 2814521 w 9759834"/>
                <a:gd name="connsiteY5172" fmla="*/ 407989 h 1762127"/>
                <a:gd name="connsiteX5173" fmla="*/ 2778008 w 9759834"/>
                <a:gd name="connsiteY5173" fmla="*/ 373857 h 1762127"/>
                <a:gd name="connsiteX5174" fmla="*/ 2814521 w 9759834"/>
                <a:gd name="connsiteY5174" fmla="*/ 339725 h 1762127"/>
                <a:gd name="connsiteX5175" fmla="*/ 2646274 w 9759834"/>
                <a:gd name="connsiteY5175" fmla="*/ 339725 h 1762127"/>
                <a:gd name="connsiteX5176" fmla="*/ 2681199 w 9759834"/>
                <a:gd name="connsiteY5176" fmla="*/ 373857 h 1762127"/>
                <a:gd name="connsiteX5177" fmla="*/ 2646274 w 9759834"/>
                <a:gd name="connsiteY5177" fmla="*/ 407989 h 1762127"/>
                <a:gd name="connsiteX5178" fmla="*/ 2611349 w 9759834"/>
                <a:gd name="connsiteY5178" fmla="*/ 373857 h 1762127"/>
                <a:gd name="connsiteX5179" fmla="*/ 2646274 w 9759834"/>
                <a:gd name="connsiteY5179" fmla="*/ 339725 h 1762127"/>
                <a:gd name="connsiteX5180" fmla="*/ 2475754 w 9759834"/>
                <a:gd name="connsiteY5180" fmla="*/ 339725 h 1762127"/>
                <a:gd name="connsiteX5181" fmla="*/ 2509883 w 9759834"/>
                <a:gd name="connsiteY5181" fmla="*/ 373857 h 1762127"/>
                <a:gd name="connsiteX5182" fmla="*/ 2475754 w 9759834"/>
                <a:gd name="connsiteY5182" fmla="*/ 407989 h 1762127"/>
                <a:gd name="connsiteX5183" fmla="*/ 2441619 w 9759834"/>
                <a:gd name="connsiteY5183" fmla="*/ 373857 h 1762127"/>
                <a:gd name="connsiteX5184" fmla="*/ 2475754 w 9759834"/>
                <a:gd name="connsiteY5184" fmla="*/ 339725 h 1762127"/>
                <a:gd name="connsiteX5185" fmla="*/ 2394668 w 9759834"/>
                <a:gd name="connsiteY5185" fmla="*/ 339725 h 1762127"/>
                <a:gd name="connsiteX5186" fmla="*/ 2428802 w 9759834"/>
                <a:gd name="connsiteY5186" fmla="*/ 373857 h 1762127"/>
                <a:gd name="connsiteX5187" fmla="*/ 2394668 w 9759834"/>
                <a:gd name="connsiteY5187" fmla="*/ 407989 h 1762127"/>
                <a:gd name="connsiteX5188" fmla="*/ 2360538 w 9759834"/>
                <a:gd name="connsiteY5188" fmla="*/ 373857 h 1762127"/>
                <a:gd name="connsiteX5189" fmla="*/ 2394668 w 9759834"/>
                <a:gd name="connsiteY5189" fmla="*/ 339725 h 1762127"/>
                <a:gd name="connsiteX5190" fmla="*/ 2309738 w 9759834"/>
                <a:gd name="connsiteY5190" fmla="*/ 339725 h 1762127"/>
                <a:gd name="connsiteX5191" fmla="*/ 2344663 w 9759834"/>
                <a:gd name="connsiteY5191" fmla="*/ 373857 h 1762127"/>
                <a:gd name="connsiteX5192" fmla="*/ 2309738 w 9759834"/>
                <a:gd name="connsiteY5192" fmla="*/ 407989 h 1762127"/>
                <a:gd name="connsiteX5193" fmla="*/ 2274811 w 9759834"/>
                <a:gd name="connsiteY5193" fmla="*/ 373857 h 1762127"/>
                <a:gd name="connsiteX5194" fmla="*/ 2309738 w 9759834"/>
                <a:gd name="connsiteY5194" fmla="*/ 339725 h 1762127"/>
                <a:gd name="connsiteX5195" fmla="*/ 2224806 w 9759834"/>
                <a:gd name="connsiteY5195" fmla="*/ 339725 h 1762127"/>
                <a:gd name="connsiteX5196" fmla="*/ 2258939 w 9759834"/>
                <a:gd name="connsiteY5196" fmla="*/ 373857 h 1762127"/>
                <a:gd name="connsiteX5197" fmla="*/ 2224806 w 9759834"/>
                <a:gd name="connsiteY5197" fmla="*/ 407989 h 1762127"/>
                <a:gd name="connsiteX5198" fmla="*/ 2190673 w 9759834"/>
                <a:gd name="connsiteY5198" fmla="*/ 373857 h 1762127"/>
                <a:gd name="connsiteX5199" fmla="*/ 2224806 w 9759834"/>
                <a:gd name="connsiteY5199" fmla="*/ 339725 h 1762127"/>
                <a:gd name="connsiteX5200" fmla="*/ 1888373 w 9759834"/>
                <a:gd name="connsiteY5200" fmla="*/ 339725 h 1762127"/>
                <a:gd name="connsiteX5201" fmla="*/ 1922503 w 9759834"/>
                <a:gd name="connsiteY5201" fmla="*/ 373857 h 1762127"/>
                <a:gd name="connsiteX5202" fmla="*/ 1888373 w 9759834"/>
                <a:gd name="connsiteY5202" fmla="*/ 407989 h 1762127"/>
                <a:gd name="connsiteX5203" fmla="*/ 1854243 w 9759834"/>
                <a:gd name="connsiteY5203" fmla="*/ 373857 h 1762127"/>
                <a:gd name="connsiteX5204" fmla="*/ 1888373 w 9759834"/>
                <a:gd name="connsiteY5204" fmla="*/ 339725 h 1762127"/>
                <a:gd name="connsiteX5205" fmla="*/ 1802656 w 9759834"/>
                <a:gd name="connsiteY5205" fmla="*/ 339725 h 1762127"/>
                <a:gd name="connsiteX5206" fmla="*/ 1836784 w 9759834"/>
                <a:gd name="connsiteY5206" fmla="*/ 373857 h 1762127"/>
                <a:gd name="connsiteX5207" fmla="*/ 1802656 w 9759834"/>
                <a:gd name="connsiteY5207" fmla="*/ 407989 h 1762127"/>
                <a:gd name="connsiteX5208" fmla="*/ 1768524 w 9759834"/>
                <a:gd name="connsiteY5208" fmla="*/ 373857 h 1762127"/>
                <a:gd name="connsiteX5209" fmla="*/ 1802656 w 9759834"/>
                <a:gd name="connsiteY5209" fmla="*/ 339725 h 1762127"/>
                <a:gd name="connsiteX5210" fmla="*/ 1551838 w 9759834"/>
                <a:gd name="connsiteY5210" fmla="*/ 339725 h 1762127"/>
                <a:gd name="connsiteX5211" fmla="*/ 1585970 w 9759834"/>
                <a:gd name="connsiteY5211" fmla="*/ 373857 h 1762127"/>
                <a:gd name="connsiteX5212" fmla="*/ 1551838 w 9759834"/>
                <a:gd name="connsiteY5212" fmla="*/ 407989 h 1762127"/>
                <a:gd name="connsiteX5213" fmla="*/ 1517707 w 9759834"/>
                <a:gd name="connsiteY5213" fmla="*/ 373857 h 1762127"/>
                <a:gd name="connsiteX5214" fmla="*/ 1551838 w 9759834"/>
                <a:gd name="connsiteY5214" fmla="*/ 339725 h 1762127"/>
                <a:gd name="connsiteX5215" fmla="*/ 1466114 w 9759834"/>
                <a:gd name="connsiteY5215" fmla="*/ 339725 h 1762127"/>
                <a:gd name="connsiteX5216" fmla="*/ 1500247 w 9759834"/>
                <a:gd name="connsiteY5216" fmla="*/ 373857 h 1762127"/>
                <a:gd name="connsiteX5217" fmla="*/ 1466114 w 9759834"/>
                <a:gd name="connsiteY5217" fmla="*/ 407989 h 1762127"/>
                <a:gd name="connsiteX5218" fmla="*/ 1431983 w 9759834"/>
                <a:gd name="connsiteY5218" fmla="*/ 373857 h 1762127"/>
                <a:gd name="connsiteX5219" fmla="*/ 1466114 w 9759834"/>
                <a:gd name="connsiteY5219" fmla="*/ 339725 h 1762127"/>
                <a:gd name="connsiteX5220" fmla="*/ 7620677 w 9759834"/>
                <a:gd name="connsiteY5220" fmla="*/ 258763 h 1762127"/>
                <a:gd name="connsiteX5221" fmla="*/ 7654809 w 9759834"/>
                <a:gd name="connsiteY5221" fmla="*/ 292895 h 1762127"/>
                <a:gd name="connsiteX5222" fmla="*/ 7620677 w 9759834"/>
                <a:gd name="connsiteY5222" fmla="*/ 327027 h 1762127"/>
                <a:gd name="connsiteX5223" fmla="*/ 7586545 w 9759834"/>
                <a:gd name="connsiteY5223" fmla="*/ 292895 h 1762127"/>
                <a:gd name="connsiteX5224" fmla="*/ 7620677 w 9759834"/>
                <a:gd name="connsiteY5224" fmla="*/ 258763 h 1762127"/>
                <a:gd name="connsiteX5225" fmla="*/ 7534952 w 9759834"/>
                <a:gd name="connsiteY5225" fmla="*/ 258763 h 1762127"/>
                <a:gd name="connsiteX5226" fmla="*/ 7569084 w 9759834"/>
                <a:gd name="connsiteY5226" fmla="*/ 292895 h 1762127"/>
                <a:gd name="connsiteX5227" fmla="*/ 7534952 w 9759834"/>
                <a:gd name="connsiteY5227" fmla="*/ 327027 h 1762127"/>
                <a:gd name="connsiteX5228" fmla="*/ 7500820 w 9759834"/>
                <a:gd name="connsiteY5228" fmla="*/ 292895 h 1762127"/>
                <a:gd name="connsiteX5229" fmla="*/ 7534952 w 9759834"/>
                <a:gd name="connsiteY5229" fmla="*/ 258763 h 1762127"/>
                <a:gd name="connsiteX5230" fmla="*/ 7366677 w 9759834"/>
                <a:gd name="connsiteY5230" fmla="*/ 258763 h 1762127"/>
                <a:gd name="connsiteX5231" fmla="*/ 7403984 w 9759834"/>
                <a:gd name="connsiteY5231" fmla="*/ 292895 h 1762127"/>
                <a:gd name="connsiteX5232" fmla="*/ 7366677 w 9759834"/>
                <a:gd name="connsiteY5232" fmla="*/ 327027 h 1762127"/>
                <a:gd name="connsiteX5233" fmla="*/ 7329370 w 9759834"/>
                <a:gd name="connsiteY5233" fmla="*/ 292895 h 1762127"/>
                <a:gd name="connsiteX5234" fmla="*/ 7366677 w 9759834"/>
                <a:gd name="connsiteY5234" fmla="*/ 258763 h 1762127"/>
                <a:gd name="connsiteX5235" fmla="*/ 7284127 w 9759834"/>
                <a:gd name="connsiteY5235" fmla="*/ 258763 h 1762127"/>
                <a:gd name="connsiteX5236" fmla="*/ 7318259 w 9759834"/>
                <a:gd name="connsiteY5236" fmla="*/ 292895 h 1762127"/>
                <a:gd name="connsiteX5237" fmla="*/ 7284127 w 9759834"/>
                <a:gd name="connsiteY5237" fmla="*/ 327027 h 1762127"/>
                <a:gd name="connsiteX5238" fmla="*/ 7249995 w 9759834"/>
                <a:gd name="connsiteY5238" fmla="*/ 292895 h 1762127"/>
                <a:gd name="connsiteX5239" fmla="*/ 7284127 w 9759834"/>
                <a:gd name="connsiteY5239" fmla="*/ 258763 h 1762127"/>
                <a:gd name="connsiteX5240" fmla="*/ 7198402 w 9759834"/>
                <a:gd name="connsiteY5240" fmla="*/ 258763 h 1762127"/>
                <a:gd name="connsiteX5241" fmla="*/ 7232534 w 9759834"/>
                <a:gd name="connsiteY5241" fmla="*/ 292895 h 1762127"/>
                <a:gd name="connsiteX5242" fmla="*/ 7198402 w 9759834"/>
                <a:gd name="connsiteY5242" fmla="*/ 327027 h 1762127"/>
                <a:gd name="connsiteX5243" fmla="*/ 7164270 w 9759834"/>
                <a:gd name="connsiteY5243" fmla="*/ 292895 h 1762127"/>
                <a:gd name="connsiteX5244" fmla="*/ 7198402 w 9759834"/>
                <a:gd name="connsiteY5244" fmla="*/ 258763 h 1762127"/>
                <a:gd name="connsiteX5245" fmla="*/ 7112677 w 9759834"/>
                <a:gd name="connsiteY5245" fmla="*/ 258763 h 1762127"/>
                <a:gd name="connsiteX5246" fmla="*/ 7146809 w 9759834"/>
                <a:gd name="connsiteY5246" fmla="*/ 292895 h 1762127"/>
                <a:gd name="connsiteX5247" fmla="*/ 7112677 w 9759834"/>
                <a:gd name="connsiteY5247" fmla="*/ 327027 h 1762127"/>
                <a:gd name="connsiteX5248" fmla="*/ 7078545 w 9759834"/>
                <a:gd name="connsiteY5248" fmla="*/ 292895 h 1762127"/>
                <a:gd name="connsiteX5249" fmla="*/ 7112677 w 9759834"/>
                <a:gd name="connsiteY5249" fmla="*/ 258763 h 1762127"/>
                <a:gd name="connsiteX5250" fmla="*/ 7027745 w 9759834"/>
                <a:gd name="connsiteY5250" fmla="*/ 258763 h 1762127"/>
                <a:gd name="connsiteX5251" fmla="*/ 7062670 w 9759834"/>
                <a:gd name="connsiteY5251" fmla="*/ 292895 h 1762127"/>
                <a:gd name="connsiteX5252" fmla="*/ 7027745 w 9759834"/>
                <a:gd name="connsiteY5252" fmla="*/ 327027 h 1762127"/>
                <a:gd name="connsiteX5253" fmla="*/ 6992820 w 9759834"/>
                <a:gd name="connsiteY5253" fmla="*/ 292895 h 1762127"/>
                <a:gd name="connsiteX5254" fmla="*/ 7027745 w 9759834"/>
                <a:gd name="connsiteY5254" fmla="*/ 258763 h 1762127"/>
                <a:gd name="connsiteX5255" fmla="*/ 6353852 w 9759834"/>
                <a:gd name="connsiteY5255" fmla="*/ 258763 h 1762127"/>
                <a:gd name="connsiteX5256" fmla="*/ 6387984 w 9759834"/>
                <a:gd name="connsiteY5256" fmla="*/ 292895 h 1762127"/>
                <a:gd name="connsiteX5257" fmla="*/ 6353852 w 9759834"/>
                <a:gd name="connsiteY5257" fmla="*/ 327027 h 1762127"/>
                <a:gd name="connsiteX5258" fmla="*/ 6319720 w 9759834"/>
                <a:gd name="connsiteY5258" fmla="*/ 292895 h 1762127"/>
                <a:gd name="connsiteX5259" fmla="*/ 6353852 w 9759834"/>
                <a:gd name="connsiteY5259" fmla="*/ 258763 h 1762127"/>
                <a:gd name="connsiteX5260" fmla="*/ 5344202 w 9759834"/>
                <a:gd name="connsiteY5260" fmla="*/ 258763 h 1762127"/>
                <a:gd name="connsiteX5261" fmla="*/ 5378334 w 9759834"/>
                <a:gd name="connsiteY5261" fmla="*/ 292895 h 1762127"/>
                <a:gd name="connsiteX5262" fmla="*/ 5344202 w 9759834"/>
                <a:gd name="connsiteY5262" fmla="*/ 327027 h 1762127"/>
                <a:gd name="connsiteX5263" fmla="*/ 5310070 w 9759834"/>
                <a:gd name="connsiteY5263" fmla="*/ 292895 h 1762127"/>
                <a:gd name="connsiteX5264" fmla="*/ 5344202 w 9759834"/>
                <a:gd name="connsiteY5264" fmla="*/ 258763 h 1762127"/>
                <a:gd name="connsiteX5265" fmla="*/ 4500445 w 9759834"/>
                <a:gd name="connsiteY5265" fmla="*/ 258763 h 1762127"/>
                <a:gd name="connsiteX5266" fmla="*/ 4535370 w 9759834"/>
                <a:gd name="connsiteY5266" fmla="*/ 292895 h 1762127"/>
                <a:gd name="connsiteX5267" fmla="*/ 4500445 w 9759834"/>
                <a:gd name="connsiteY5267" fmla="*/ 327027 h 1762127"/>
                <a:gd name="connsiteX5268" fmla="*/ 4465520 w 9759834"/>
                <a:gd name="connsiteY5268" fmla="*/ 292895 h 1762127"/>
                <a:gd name="connsiteX5269" fmla="*/ 4500445 w 9759834"/>
                <a:gd name="connsiteY5269" fmla="*/ 258763 h 1762127"/>
                <a:gd name="connsiteX5270" fmla="*/ 4415515 w 9759834"/>
                <a:gd name="connsiteY5270" fmla="*/ 258763 h 1762127"/>
                <a:gd name="connsiteX5271" fmla="*/ 4449647 w 9759834"/>
                <a:gd name="connsiteY5271" fmla="*/ 292895 h 1762127"/>
                <a:gd name="connsiteX5272" fmla="*/ 4415515 w 9759834"/>
                <a:gd name="connsiteY5272" fmla="*/ 327027 h 1762127"/>
                <a:gd name="connsiteX5273" fmla="*/ 4381383 w 9759834"/>
                <a:gd name="connsiteY5273" fmla="*/ 292895 h 1762127"/>
                <a:gd name="connsiteX5274" fmla="*/ 4415515 w 9759834"/>
                <a:gd name="connsiteY5274" fmla="*/ 258763 h 1762127"/>
                <a:gd name="connsiteX5275" fmla="*/ 4332171 w 9759834"/>
                <a:gd name="connsiteY5275" fmla="*/ 258763 h 1762127"/>
                <a:gd name="connsiteX5276" fmla="*/ 4368684 w 9759834"/>
                <a:gd name="connsiteY5276" fmla="*/ 292895 h 1762127"/>
                <a:gd name="connsiteX5277" fmla="*/ 4332171 w 9759834"/>
                <a:gd name="connsiteY5277" fmla="*/ 327027 h 1762127"/>
                <a:gd name="connsiteX5278" fmla="*/ 4295658 w 9759834"/>
                <a:gd name="connsiteY5278" fmla="*/ 292895 h 1762127"/>
                <a:gd name="connsiteX5279" fmla="*/ 4332171 w 9759834"/>
                <a:gd name="connsiteY5279" fmla="*/ 258763 h 1762127"/>
                <a:gd name="connsiteX5280" fmla="*/ 4248827 w 9759834"/>
                <a:gd name="connsiteY5280" fmla="*/ 258763 h 1762127"/>
                <a:gd name="connsiteX5281" fmla="*/ 4282959 w 9759834"/>
                <a:gd name="connsiteY5281" fmla="*/ 292895 h 1762127"/>
                <a:gd name="connsiteX5282" fmla="*/ 4248827 w 9759834"/>
                <a:gd name="connsiteY5282" fmla="*/ 327027 h 1762127"/>
                <a:gd name="connsiteX5283" fmla="*/ 4214695 w 9759834"/>
                <a:gd name="connsiteY5283" fmla="*/ 292895 h 1762127"/>
                <a:gd name="connsiteX5284" fmla="*/ 4248827 w 9759834"/>
                <a:gd name="connsiteY5284" fmla="*/ 258763 h 1762127"/>
                <a:gd name="connsiteX5285" fmla="*/ 4163895 w 9759834"/>
                <a:gd name="connsiteY5285" fmla="*/ 258763 h 1762127"/>
                <a:gd name="connsiteX5286" fmla="*/ 4198820 w 9759834"/>
                <a:gd name="connsiteY5286" fmla="*/ 292895 h 1762127"/>
                <a:gd name="connsiteX5287" fmla="*/ 4163895 w 9759834"/>
                <a:gd name="connsiteY5287" fmla="*/ 327027 h 1762127"/>
                <a:gd name="connsiteX5288" fmla="*/ 4128970 w 9759834"/>
                <a:gd name="connsiteY5288" fmla="*/ 292895 h 1762127"/>
                <a:gd name="connsiteX5289" fmla="*/ 4163895 w 9759834"/>
                <a:gd name="connsiteY5289" fmla="*/ 258763 h 1762127"/>
                <a:gd name="connsiteX5290" fmla="*/ 4078170 w 9759834"/>
                <a:gd name="connsiteY5290" fmla="*/ 258763 h 1762127"/>
                <a:gd name="connsiteX5291" fmla="*/ 4113095 w 9759834"/>
                <a:gd name="connsiteY5291" fmla="*/ 292895 h 1762127"/>
                <a:gd name="connsiteX5292" fmla="*/ 4078170 w 9759834"/>
                <a:gd name="connsiteY5292" fmla="*/ 327027 h 1762127"/>
                <a:gd name="connsiteX5293" fmla="*/ 4043245 w 9759834"/>
                <a:gd name="connsiteY5293" fmla="*/ 292895 h 1762127"/>
                <a:gd name="connsiteX5294" fmla="*/ 4078170 w 9759834"/>
                <a:gd name="connsiteY5294" fmla="*/ 258763 h 1762127"/>
                <a:gd name="connsiteX5295" fmla="*/ 3993240 w 9759834"/>
                <a:gd name="connsiteY5295" fmla="*/ 258763 h 1762127"/>
                <a:gd name="connsiteX5296" fmla="*/ 4027372 w 9759834"/>
                <a:gd name="connsiteY5296" fmla="*/ 292895 h 1762127"/>
                <a:gd name="connsiteX5297" fmla="*/ 3993240 w 9759834"/>
                <a:gd name="connsiteY5297" fmla="*/ 327027 h 1762127"/>
                <a:gd name="connsiteX5298" fmla="*/ 3959108 w 9759834"/>
                <a:gd name="connsiteY5298" fmla="*/ 292895 h 1762127"/>
                <a:gd name="connsiteX5299" fmla="*/ 3993240 w 9759834"/>
                <a:gd name="connsiteY5299" fmla="*/ 258763 h 1762127"/>
                <a:gd name="connsiteX5300" fmla="*/ 3912277 w 9759834"/>
                <a:gd name="connsiteY5300" fmla="*/ 258763 h 1762127"/>
                <a:gd name="connsiteX5301" fmla="*/ 3946409 w 9759834"/>
                <a:gd name="connsiteY5301" fmla="*/ 292895 h 1762127"/>
                <a:gd name="connsiteX5302" fmla="*/ 3912277 w 9759834"/>
                <a:gd name="connsiteY5302" fmla="*/ 327027 h 1762127"/>
                <a:gd name="connsiteX5303" fmla="*/ 3878145 w 9759834"/>
                <a:gd name="connsiteY5303" fmla="*/ 292895 h 1762127"/>
                <a:gd name="connsiteX5304" fmla="*/ 3912277 w 9759834"/>
                <a:gd name="connsiteY5304" fmla="*/ 258763 h 1762127"/>
                <a:gd name="connsiteX5305" fmla="*/ 3826552 w 9759834"/>
                <a:gd name="connsiteY5305" fmla="*/ 258763 h 1762127"/>
                <a:gd name="connsiteX5306" fmla="*/ 3860684 w 9759834"/>
                <a:gd name="connsiteY5306" fmla="*/ 292895 h 1762127"/>
                <a:gd name="connsiteX5307" fmla="*/ 3826552 w 9759834"/>
                <a:gd name="connsiteY5307" fmla="*/ 327027 h 1762127"/>
                <a:gd name="connsiteX5308" fmla="*/ 3792420 w 9759834"/>
                <a:gd name="connsiteY5308" fmla="*/ 292895 h 1762127"/>
                <a:gd name="connsiteX5309" fmla="*/ 3826552 w 9759834"/>
                <a:gd name="connsiteY5309" fmla="*/ 258763 h 1762127"/>
                <a:gd name="connsiteX5310" fmla="*/ 3741620 w 9759834"/>
                <a:gd name="connsiteY5310" fmla="*/ 258763 h 1762127"/>
                <a:gd name="connsiteX5311" fmla="*/ 3776545 w 9759834"/>
                <a:gd name="connsiteY5311" fmla="*/ 292895 h 1762127"/>
                <a:gd name="connsiteX5312" fmla="*/ 3741620 w 9759834"/>
                <a:gd name="connsiteY5312" fmla="*/ 327027 h 1762127"/>
                <a:gd name="connsiteX5313" fmla="*/ 3706695 w 9759834"/>
                <a:gd name="connsiteY5313" fmla="*/ 292895 h 1762127"/>
                <a:gd name="connsiteX5314" fmla="*/ 3741620 w 9759834"/>
                <a:gd name="connsiteY5314" fmla="*/ 258763 h 1762127"/>
                <a:gd name="connsiteX5315" fmla="*/ 3153452 w 9759834"/>
                <a:gd name="connsiteY5315" fmla="*/ 258763 h 1762127"/>
                <a:gd name="connsiteX5316" fmla="*/ 3187584 w 9759834"/>
                <a:gd name="connsiteY5316" fmla="*/ 292895 h 1762127"/>
                <a:gd name="connsiteX5317" fmla="*/ 3153452 w 9759834"/>
                <a:gd name="connsiteY5317" fmla="*/ 327027 h 1762127"/>
                <a:gd name="connsiteX5318" fmla="*/ 3119320 w 9759834"/>
                <a:gd name="connsiteY5318" fmla="*/ 292895 h 1762127"/>
                <a:gd name="connsiteX5319" fmla="*/ 3153452 w 9759834"/>
                <a:gd name="connsiteY5319" fmla="*/ 258763 h 1762127"/>
                <a:gd name="connsiteX5320" fmla="*/ 2897865 w 9759834"/>
                <a:gd name="connsiteY5320" fmla="*/ 258763 h 1762127"/>
                <a:gd name="connsiteX5321" fmla="*/ 2931997 w 9759834"/>
                <a:gd name="connsiteY5321" fmla="*/ 292895 h 1762127"/>
                <a:gd name="connsiteX5322" fmla="*/ 2897865 w 9759834"/>
                <a:gd name="connsiteY5322" fmla="*/ 327027 h 1762127"/>
                <a:gd name="connsiteX5323" fmla="*/ 2863733 w 9759834"/>
                <a:gd name="connsiteY5323" fmla="*/ 292895 h 1762127"/>
                <a:gd name="connsiteX5324" fmla="*/ 2897865 w 9759834"/>
                <a:gd name="connsiteY5324" fmla="*/ 258763 h 1762127"/>
                <a:gd name="connsiteX5325" fmla="*/ 2731999 w 9759834"/>
                <a:gd name="connsiteY5325" fmla="*/ 258763 h 1762127"/>
                <a:gd name="connsiteX5326" fmla="*/ 2766923 w 9759834"/>
                <a:gd name="connsiteY5326" fmla="*/ 292895 h 1762127"/>
                <a:gd name="connsiteX5327" fmla="*/ 2731999 w 9759834"/>
                <a:gd name="connsiteY5327" fmla="*/ 327027 h 1762127"/>
                <a:gd name="connsiteX5328" fmla="*/ 2697074 w 9759834"/>
                <a:gd name="connsiteY5328" fmla="*/ 292895 h 1762127"/>
                <a:gd name="connsiteX5329" fmla="*/ 2731999 w 9759834"/>
                <a:gd name="connsiteY5329" fmla="*/ 258763 h 1762127"/>
                <a:gd name="connsiteX5330" fmla="*/ 2561479 w 9759834"/>
                <a:gd name="connsiteY5330" fmla="*/ 258763 h 1762127"/>
                <a:gd name="connsiteX5331" fmla="*/ 2595609 w 9759834"/>
                <a:gd name="connsiteY5331" fmla="*/ 292895 h 1762127"/>
                <a:gd name="connsiteX5332" fmla="*/ 2561479 w 9759834"/>
                <a:gd name="connsiteY5332" fmla="*/ 327027 h 1762127"/>
                <a:gd name="connsiteX5333" fmla="*/ 2527342 w 9759834"/>
                <a:gd name="connsiteY5333" fmla="*/ 292895 h 1762127"/>
                <a:gd name="connsiteX5334" fmla="*/ 2561479 w 9759834"/>
                <a:gd name="connsiteY5334" fmla="*/ 258763 h 1762127"/>
                <a:gd name="connsiteX5335" fmla="*/ 2309735 w 9759834"/>
                <a:gd name="connsiteY5335" fmla="*/ 258763 h 1762127"/>
                <a:gd name="connsiteX5336" fmla="*/ 2344661 w 9759834"/>
                <a:gd name="connsiteY5336" fmla="*/ 292895 h 1762127"/>
                <a:gd name="connsiteX5337" fmla="*/ 2309735 w 9759834"/>
                <a:gd name="connsiteY5337" fmla="*/ 327027 h 1762127"/>
                <a:gd name="connsiteX5338" fmla="*/ 2274810 w 9759834"/>
                <a:gd name="connsiteY5338" fmla="*/ 292895 h 1762127"/>
                <a:gd name="connsiteX5339" fmla="*/ 2309735 w 9759834"/>
                <a:gd name="connsiteY5339" fmla="*/ 258763 h 1762127"/>
                <a:gd name="connsiteX5340" fmla="*/ 2224806 w 9759834"/>
                <a:gd name="connsiteY5340" fmla="*/ 258763 h 1762127"/>
                <a:gd name="connsiteX5341" fmla="*/ 2258937 w 9759834"/>
                <a:gd name="connsiteY5341" fmla="*/ 292895 h 1762127"/>
                <a:gd name="connsiteX5342" fmla="*/ 2224806 w 9759834"/>
                <a:gd name="connsiteY5342" fmla="*/ 327027 h 1762127"/>
                <a:gd name="connsiteX5343" fmla="*/ 2190673 w 9759834"/>
                <a:gd name="connsiteY5343" fmla="*/ 292895 h 1762127"/>
                <a:gd name="connsiteX5344" fmla="*/ 2224806 w 9759834"/>
                <a:gd name="connsiteY5344" fmla="*/ 258763 h 1762127"/>
                <a:gd name="connsiteX5345" fmla="*/ 2055738 w 9759834"/>
                <a:gd name="connsiteY5345" fmla="*/ 258763 h 1762127"/>
                <a:gd name="connsiteX5346" fmla="*/ 2092252 w 9759834"/>
                <a:gd name="connsiteY5346" fmla="*/ 292895 h 1762127"/>
                <a:gd name="connsiteX5347" fmla="*/ 2055738 w 9759834"/>
                <a:gd name="connsiteY5347" fmla="*/ 327027 h 1762127"/>
                <a:gd name="connsiteX5348" fmla="*/ 2019226 w 9759834"/>
                <a:gd name="connsiteY5348" fmla="*/ 292895 h 1762127"/>
                <a:gd name="connsiteX5349" fmla="*/ 2055738 w 9759834"/>
                <a:gd name="connsiteY5349" fmla="*/ 258763 h 1762127"/>
                <a:gd name="connsiteX5350" fmla="*/ 7198402 w 9759834"/>
                <a:gd name="connsiteY5350" fmla="*/ 173038 h 1762127"/>
                <a:gd name="connsiteX5351" fmla="*/ 7232534 w 9759834"/>
                <a:gd name="connsiteY5351" fmla="*/ 207170 h 1762127"/>
                <a:gd name="connsiteX5352" fmla="*/ 7198402 w 9759834"/>
                <a:gd name="connsiteY5352" fmla="*/ 241302 h 1762127"/>
                <a:gd name="connsiteX5353" fmla="*/ 7164270 w 9759834"/>
                <a:gd name="connsiteY5353" fmla="*/ 207170 h 1762127"/>
                <a:gd name="connsiteX5354" fmla="*/ 7198402 w 9759834"/>
                <a:gd name="connsiteY5354" fmla="*/ 173038 h 1762127"/>
                <a:gd name="connsiteX5355" fmla="*/ 7112677 w 9759834"/>
                <a:gd name="connsiteY5355" fmla="*/ 173038 h 1762127"/>
                <a:gd name="connsiteX5356" fmla="*/ 7146809 w 9759834"/>
                <a:gd name="connsiteY5356" fmla="*/ 207170 h 1762127"/>
                <a:gd name="connsiteX5357" fmla="*/ 7112677 w 9759834"/>
                <a:gd name="connsiteY5357" fmla="*/ 241302 h 1762127"/>
                <a:gd name="connsiteX5358" fmla="*/ 7078545 w 9759834"/>
                <a:gd name="connsiteY5358" fmla="*/ 207170 h 1762127"/>
                <a:gd name="connsiteX5359" fmla="*/ 7112677 w 9759834"/>
                <a:gd name="connsiteY5359" fmla="*/ 173038 h 1762127"/>
                <a:gd name="connsiteX5360" fmla="*/ 7027745 w 9759834"/>
                <a:gd name="connsiteY5360" fmla="*/ 173038 h 1762127"/>
                <a:gd name="connsiteX5361" fmla="*/ 7062670 w 9759834"/>
                <a:gd name="connsiteY5361" fmla="*/ 207170 h 1762127"/>
                <a:gd name="connsiteX5362" fmla="*/ 7027745 w 9759834"/>
                <a:gd name="connsiteY5362" fmla="*/ 241302 h 1762127"/>
                <a:gd name="connsiteX5363" fmla="*/ 6992820 w 9759834"/>
                <a:gd name="connsiteY5363" fmla="*/ 207170 h 1762127"/>
                <a:gd name="connsiteX5364" fmla="*/ 7027745 w 9759834"/>
                <a:gd name="connsiteY5364" fmla="*/ 173038 h 1762127"/>
                <a:gd name="connsiteX5365" fmla="*/ 6439577 w 9759834"/>
                <a:gd name="connsiteY5365" fmla="*/ 173038 h 1762127"/>
                <a:gd name="connsiteX5366" fmla="*/ 6473709 w 9759834"/>
                <a:gd name="connsiteY5366" fmla="*/ 207170 h 1762127"/>
                <a:gd name="connsiteX5367" fmla="*/ 6439577 w 9759834"/>
                <a:gd name="connsiteY5367" fmla="*/ 241302 h 1762127"/>
                <a:gd name="connsiteX5368" fmla="*/ 6405445 w 9759834"/>
                <a:gd name="connsiteY5368" fmla="*/ 207170 h 1762127"/>
                <a:gd name="connsiteX5369" fmla="*/ 6439577 w 9759834"/>
                <a:gd name="connsiteY5369" fmla="*/ 173038 h 1762127"/>
                <a:gd name="connsiteX5370" fmla="*/ 5429927 w 9759834"/>
                <a:gd name="connsiteY5370" fmla="*/ 173038 h 1762127"/>
                <a:gd name="connsiteX5371" fmla="*/ 5464059 w 9759834"/>
                <a:gd name="connsiteY5371" fmla="*/ 207170 h 1762127"/>
                <a:gd name="connsiteX5372" fmla="*/ 5429927 w 9759834"/>
                <a:gd name="connsiteY5372" fmla="*/ 241302 h 1762127"/>
                <a:gd name="connsiteX5373" fmla="*/ 5395795 w 9759834"/>
                <a:gd name="connsiteY5373" fmla="*/ 207170 h 1762127"/>
                <a:gd name="connsiteX5374" fmla="*/ 5429927 w 9759834"/>
                <a:gd name="connsiteY5374" fmla="*/ 173038 h 1762127"/>
                <a:gd name="connsiteX5375" fmla="*/ 5344202 w 9759834"/>
                <a:gd name="connsiteY5375" fmla="*/ 173038 h 1762127"/>
                <a:gd name="connsiteX5376" fmla="*/ 5378334 w 9759834"/>
                <a:gd name="connsiteY5376" fmla="*/ 207170 h 1762127"/>
                <a:gd name="connsiteX5377" fmla="*/ 5344202 w 9759834"/>
                <a:gd name="connsiteY5377" fmla="*/ 241302 h 1762127"/>
                <a:gd name="connsiteX5378" fmla="*/ 5310070 w 9759834"/>
                <a:gd name="connsiteY5378" fmla="*/ 207170 h 1762127"/>
                <a:gd name="connsiteX5379" fmla="*/ 5344202 w 9759834"/>
                <a:gd name="connsiteY5379" fmla="*/ 173038 h 1762127"/>
                <a:gd name="connsiteX5380" fmla="*/ 4500445 w 9759834"/>
                <a:gd name="connsiteY5380" fmla="*/ 173038 h 1762127"/>
                <a:gd name="connsiteX5381" fmla="*/ 4535370 w 9759834"/>
                <a:gd name="connsiteY5381" fmla="*/ 207170 h 1762127"/>
                <a:gd name="connsiteX5382" fmla="*/ 4500445 w 9759834"/>
                <a:gd name="connsiteY5382" fmla="*/ 241302 h 1762127"/>
                <a:gd name="connsiteX5383" fmla="*/ 4465520 w 9759834"/>
                <a:gd name="connsiteY5383" fmla="*/ 207170 h 1762127"/>
                <a:gd name="connsiteX5384" fmla="*/ 4500445 w 9759834"/>
                <a:gd name="connsiteY5384" fmla="*/ 173038 h 1762127"/>
                <a:gd name="connsiteX5385" fmla="*/ 4415515 w 9759834"/>
                <a:gd name="connsiteY5385" fmla="*/ 173038 h 1762127"/>
                <a:gd name="connsiteX5386" fmla="*/ 4449647 w 9759834"/>
                <a:gd name="connsiteY5386" fmla="*/ 207170 h 1762127"/>
                <a:gd name="connsiteX5387" fmla="*/ 4415515 w 9759834"/>
                <a:gd name="connsiteY5387" fmla="*/ 241302 h 1762127"/>
                <a:gd name="connsiteX5388" fmla="*/ 4381383 w 9759834"/>
                <a:gd name="connsiteY5388" fmla="*/ 207170 h 1762127"/>
                <a:gd name="connsiteX5389" fmla="*/ 4415515 w 9759834"/>
                <a:gd name="connsiteY5389" fmla="*/ 173038 h 1762127"/>
                <a:gd name="connsiteX5390" fmla="*/ 4332171 w 9759834"/>
                <a:gd name="connsiteY5390" fmla="*/ 173038 h 1762127"/>
                <a:gd name="connsiteX5391" fmla="*/ 4368684 w 9759834"/>
                <a:gd name="connsiteY5391" fmla="*/ 207170 h 1762127"/>
                <a:gd name="connsiteX5392" fmla="*/ 4332171 w 9759834"/>
                <a:gd name="connsiteY5392" fmla="*/ 241302 h 1762127"/>
                <a:gd name="connsiteX5393" fmla="*/ 4295658 w 9759834"/>
                <a:gd name="connsiteY5393" fmla="*/ 207170 h 1762127"/>
                <a:gd name="connsiteX5394" fmla="*/ 4332171 w 9759834"/>
                <a:gd name="connsiteY5394" fmla="*/ 173038 h 1762127"/>
                <a:gd name="connsiteX5395" fmla="*/ 4248827 w 9759834"/>
                <a:gd name="connsiteY5395" fmla="*/ 173038 h 1762127"/>
                <a:gd name="connsiteX5396" fmla="*/ 4282959 w 9759834"/>
                <a:gd name="connsiteY5396" fmla="*/ 207170 h 1762127"/>
                <a:gd name="connsiteX5397" fmla="*/ 4248827 w 9759834"/>
                <a:gd name="connsiteY5397" fmla="*/ 241302 h 1762127"/>
                <a:gd name="connsiteX5398" fmla="*/ 4214695 w 9759834"/>
                <a:gd name="connsiteY5398" fmla="*/ 207170 h 1762127"/>
                <a:gd name="connsiteX5399" fmla="*/ 4248827 w 9759834"/>
                <a:gd name="connsiteY5399" fmla="*/ 173038 h 1762127"/>
                <a:gd name="connsiteX5400" fmla="*/ 4163895 w 9759834"/>
                <a:gd name="connsiteY5400" fmla="*/ 173038 h 1762127"/>
                <a:gd name="connsiteX5401" fmla="*/ 4198820 w 9759834"/>
                <a:gd name="connsiteY5401" fmla="*/ 207170 h 1762127"/>
                <a:gd name="connsiteX5402" fmla="*/ 4163895 w 9759834"/>
                <a:gd name="connsiteY5402" fmla="*/ 241302 h 1762127"/>
                <a:gd name="connsiteX5403" fmla="*/ 4128970 w 9759834"/>
                <a:gd name="connsiteY5403" fmla="*/ 207170 h 1762127"/>
                <a:gd name="connsiteX5404" fmla="*/ 4163895 w 9759834"/>
                <a:gd name="connsiteY5404" fmla="*/ 173038 h 1762127"/>
                <a:gd name="connsiteX5405" fmla="*/ 4078170 w 9759834"/>
                <a:gd name="connsiteY5405" fmla="*/ 173038 h 1762127"/>
                <a:gd name="connsiteX5406" fmla="*/ 4113095 w 9759834"/>
                <a:gd name="connsiteY5406" fmla="*/ 207170 h 1762127"/>
                <a:gd name="connsiteX5407" fmla="*/ 4078170 w 9759834"/>
                <a:gd name="connsiteY5407" fmla="*/ 241302 h 1762127"/>
                <a:gd name="connsiteX5408" fmla="*/ 4043245 w 9759834"/>
                <a:gd name="connsiteY5408" fmla="*/ 207170 h 1762127"/>
                <a:gd name="connsiteX5409" fmla="*/ 4078170 w 9759834"/>
                <a:gd name="connsiteY5409" fmla="*/ 173038 h 1762127"/>
                <a:gd name="connsiteX5410" fmla="*/ 3993240 w 9759834"/>
                <a:gd name="connsiteY5410" fmla="*/ 173038 h 1762127"/>
                <a:gd name="connsiteX5411" fmla="*/ 4027372 w 9759834"/>
                <a:gd name="connsiteY5411" fmla="*/ 207170 h 1762127"/>
                <a:gd name="connsiteX5412" fmla="*/ 3993240 w 9759834"/>
                <a:gd name="connsiteY5412" fmla="*/ 241302 h 1762127"/>
                <a:gd name="connsiteX5413" fmla="*/ 3959108 w 9759834"/>
                <a:gd name="connsiteY5413" fmla="*/ 207170 h 1762127"/>
                <a:gd name="connsiteX5414" fmla="*/ 3993240 w 9759834"/>
                <a:gd name="connsiteY5414" fmla="*/ 173038 h 1762127"/>
                <a:gd name="connsiteX5415" fmla="*/ 3912277 w 9759834"/>
                <a:gd name="connsiteY5415" fmla="*/ 173038 h 1762127"/>
                <a:gd name="connsiteX5416" fmla="*/ 3946409 w 9759834"/>
                <a:gd name="connsiteY5416" fmla="*/ 207170 h 1762127"/>
                <a:gd name="connsiteX5417" fmla="*/ 3912277 w 9759834"/>
                <a:gd name="connsiteY5417" fmla="*/ 241302 h 1762127"/>
                <a:gd name="connsiteX5418" fmla="*/ 3878145 w 9759834"/>
                <a:gd name="connsiteY5418" fmla="*/ 207170 h 1762127"/>
                <a:gd name="connsiteX5419" fmla="*/ 3912277 w 9759834"/>
                <a:gd name="connsiteY5419" fmla="*/ 173038 h 1762127"/>
                <a:gd name="connsiteX5420" fmla="*/ 3826552 w 9759834"/>
                <a:gd name="connsiteY5420" fmla="*/ 173038 h 1762127"/>
                <a:gd name="connsiteX5421" fmla="*/ 3860684 w 9759834"/>
                <a:gd name="connsiteY5421" fmla="*/ 207170 h 1762127"/>
                <a:gd name="connsiteX5422" fmla="*/ 3826552 w 9759834"/>
                <a:gd name="connsiteY5422" fmla="*/ 241302 h 1762127"/>
                <a:gd name="connsiteX5423" fmla="*/ 3792420 w 9759834"/>
                <a:gd name="connsiteY5423" fmla="*/ 207170 h 1762127"/>
                <a:gd name="connsiteX5424" fmla="*/ 3826552 w 9759834"/>
                <a:gd name="connsiteY5424" fmla="*/ 173038 h 1762127"/>
                <a:gd name="connsiteX5425" fmla="*/ 3741620 w 9759834"/>
                <a:gd name="connsiteY5425" fmla="*/ 173038 h 1762127"/>
                <a:gd name="connsiteX5426" fmla="*/ 3776545 w 9759834"/>
                <a:gd name="connsiteY5426" fmla="*/ 207170 h 1762127"/>
                <a:gd name="connsiteX5427" fmla="*/ 3741620 w 9759834"/>
                <a:gd name="connsiteY5427" fmla="*/ 241302 h 1762127"/>
                <a:gd name="connsiteX5428" fmla="*/ 3706695 w 9759834"/>
                <a:gd name="connsiteY5428" fmla="*/ 207170 h 1762127"/>
                <a:gd name="connsiteX5429" fmla="*/ 3741620 w 9759834"/>
                <a:gd name="connsiteY5429" fmla="*/ 173038 h 1762127"/>
                <a:gd name="connsiteX5430" fmla="*/ 3656689 w 9759834"/>
                <a:gd name="connsiteY5430" fmla="*/ 173038 h 1762127"/>
                <a:gd name="connsiteX5431" fmla="*/ 3690821 w 9759834"/>
                <a:gd name="connsiteY5431" fmla="*/ 207170 h 1762127"/>
                <a:gd name="connsiteX5432" fmla="*/ 3656689 w 9759834"/>
                <a:gd name="connsiteY5432" fmla="*/ 241302 h 1762127"/>
                <a:gd name="connsiteX5433" fmla="*/ 3622557 w 9759834"/>
                <a:gd name="connsiteY5433" fmla="*/ 207170 h 1762127"/>
                <a:gd name="connsiteX5434" fmla="*/ 3656689 w 9759834"/>
                <a:gd name="connsiteY5434" fmla="*/ 173038 h 1762127"/>
                <a:gd name="connsiteX5435" fmla="*/ 3573346 w 9759834"/>
                <a:gd name="connsiteY5435" fmla="*/ 173038 h 1762127"/>
                <a:gd name="connsiteX5436" fmla="*/ 3609859 w 9759834"/>
                <a:gd name="connsiteY5436" fmla="*/ 207170 h 1762127"/>
                <a:gd name="connsiteX5437" fmla="*/ 3573346 w 9759834"/>
                <a:gd name="connsiteY5437" fmla="*/ 241302 h 1762127"/>
                <a:gd name="connsiteX5438" fmla="*/ 3536833 w 9759834"/>
                <a:gd name="connsiteY5438" fmla="*/ 207170 h 1762127"/>
                <a:gd name="connsiteX5439" fmla="*/ 3573346 w 9759834"/>
                <a:gd name="connsiteY5439" fmla="*/ 173038 h 1762127"/>
                <a:gd name="connsiteX5440" fmla="*/ 3490002 w 9759834"/>
                <a:gd name="connsiteY5440" fmla="*/ 173038 h 1762127"/>
                <a:gd name="connsiteX5441" fmla="*/ 3524134 w 9759834"/>
                <a:gd name="connsiteY5441" fmla="*/ 207170 h 1762127"/>
                <a:gd name="connsiteX5442" fmla="*/ 3490002 w 9759834"/>
                <a:gd name="connsiteY5442" fmla="*/ 241302 h 1762127"/>
                <a:gd name="connsiteX5443" fmla="*/ 3455870 w 9759834"/>
                <a:gd name="connsiteY5443" fmla="*/ 207170 h 1762127"/>
                <a:gd name="connsiteX5444" fmla="*/ 3490002 w 9759834"/>
                <a:gd name="connsiteY5444" fmla="*/ 173038 h 1762127"/>
                <a:gd name="connsiteX5445" fmla="*/ 3153452 w 9759834"/>
                <a:gd name="connsiteY5445" fmla="*/ 173038 h 1762127"/>
                <a:gd name="connsiteX5446" fmla="*/ 3187584 w 9759834"/>
                <a:gd name="connsiteY5446" fmla="*/ 207170 h 1762127"/>
                <a:gd name="connsiteX5447" fmla="*/ 3153452 w 9759834"/>
                <a:gd name="connsiteY5447" fmla="*/ 241302 h 1762127"/>
                <a:gd name="connsiteX5448" fmla="*/ 3119320 w 9759834"/>
                <a:gd name="connsiteY5448" fmla="*/ 207170 h 1762127"/>
                <a:gd name="connsiteX5449" fmla="*/ 3153452 w 9759834"/>
                <a:gd name="connsiteY5449" fmla="*/ 173038 h 1762127"/>
                <a:gd name="connsiteX5450" fmla="*/ 3068520 w 9759834"/>
                <a:gd name="connsiteY5450" fmla="*/ 173038 h 1762127"/>
                <a:gd name="connsiteX5451" fmla="*/ 3103445 w 9759834"/>
                <a:gd name="connsiteY5451" fmla="*/ 207170 h 1762127"/>
                <a:gd name="connsiteX5452" fmla="*/ 3068520 w 9759834"/>
                <a:gd name="connsiteY5452" fmla="*/ 241302 h 1762127"/>
                <a:gd name="connsiteX5453" fmla="*/ 3033595 w 9759834"/>
                <a:gd name="connsiteY5453" fmla="*/ 207170 h 1762127"/>
                <a:gd name="connsiteX5454" fmla="*/ 3068520 w 9759834"/>
                <a:gd name="connsiteY5454" fmla="*/ 173038 h 1762127"/>
                <a:gd name="connsiteX5455" fmla="*/ 2983590 w 9759834"/>
                <a:gd name="connsiteY5455" fmla="*/ 173038 h 1762127"/>
                <a:gd name="connsiteX5456" fmla="*/ 3017722 w 9759834"/>
                <a:gd name="connsiteY5456" fmla="*/ 207170 h 1762127"/>
                <a:gd name="connsiteX5457" fmla="*/ 2983590 w 9759834"/>
                <a:gd name="connsiteY5457" fmla="*/ 241302 h 1762127"/>
                <a:gd name="connsiteX5458" fmla="*/ 2949458 w 9759834"/>
                <a:gd name="connsiteY5458" fmla="*/ 207170 h 1762127"/>
                <a:gd name="connsiteX5459" fmla="*/ 2983590 w 9759834"/>
                <a:gd name="connsiteY5459" fmla="*/ 173038 h 1762127"/>
                <a:gd name="connsiteX5460" fmla="*/ 2309735 w 9759834"/>
                <a:gd name="connsiteY5460" fmla="*/ 173038 h 1762127"/>
                <a:gd name="connsiteX5461" fmla="*/ 2344662 w 9759834"/>
                <a:gd name="connsiteY5461" fmla="*/ 207170 h 1762127"/>
                <a:gd name="connsiteX5462" fmla="*/ 2309735 w 9759834"/>
                <a:gd name="connsiteY5462" fmla="*/ 241302 h 1762127"/>
                <a:gd name="connsiteX5463" fmla="*/ 2274810 w 9759834"/>
                <a:gd name="connsiteY5463" fmla="*/ 207170 h 1762127"/>
                <a:gd name="connsiteX5464" fmla="*/ 2309735 w 9759834"/>
                <a:gd name="connsiteY5464" fmla="*/ 173038 h 1762127"/>
                <a:gd name="connsiteX5465" fmla="*/ 2224806 w 9759834"/>
                <a:gd name="connsiteY5465" fmla="*/ 173038 h 1762127"/>
                <a:gd name="connsiteX5466" fmla="*/ 2258937 w 9759834"/>
                <a:gd name="connsiteY5466" fmla="*/ 207170 h 1762127"/>
                <a:gd name="connsiteX5467" fmla="*/ 2224806 w 9759834"/>
                <a:gd name="connsiteY5467" fmla="*/ 241302 h 1762127"/>
                <a:gd name="connsiteX5468" fmla="*/ 2190673 w 9759834"/>
                <a:gd name="connsiteY5468" fmla="*/ 207170 h 1762127"/>
                <a:gd name="connsiteX5469" fmla="*/ 2224806 w 9759834"/>
                <a:gd name="connsiteY5469" fmla="*/ 173038 h 1762127"/>
                <a:gd name="connsiteX5470" fmla="*/ 5344202 w 9759834"/>
                <a:gd name="connsiteY5470" fmla="*/ 87313 h 1762127"/>
                <a:gd name="connsiteX5471" fmla="*/ 5378334 w 9759834"/>
                <a:gd name="connsiteY5471" fmla="*/ 121445 h 1762127"/>
                <a:gd name="connsiteX5472" fmla="*/ 5344202 w 9759834"/>
                <a:gd name="connsiteY5472" fmla="*/ 155577 h 1762127"/>
                <a:gd name="connsiteX5473" fmla="*/ 5310070 w 9759834"/>
                <a:gd name="connsiteY5473" fmla="*/ 121445 h 1762127"/>
                <a:gd name="connsiteX5474" fmla="*/ 5344202 w 9759834"/>
                <a:gd name="connsiteY5474" fmla="*/ 87313 h 1762127"/>
                <a:gd name="connsiteX5475" fmla="*/ 5258477 w 9759834"/>
                <a:gd name="connsiteY5475" fmla="*/ 87313 h 1762127"/>
                <a:gd name="connsiteX5476" fmla="*/ 5292609 w 9759834"/>
                <a:gd name="connsiteY5476" fmla="*/ 121445 h 1762127"/>
                <a:gd name="connsiteX5477" fmla="*/ 5258477 w 9759834"/>
                <a:gd name="connsiteY5477" fmla="*/ 155577 h 1762127"/>
                <a:gd name="connsiteX5478" fmla="*/ 5224345 w 9759834"/>
                <a:gd name="connsiteY5478" fmla="*/ 121445 h 1762127"/>
                <a:gd name="connsiteX5479" fmla="*/ 5258477 w 9759834"/>
                <a:gd name="connsiteY5479" fmla="*/ 87313 h 1762127"/>
                <a:gd name="connsiteX5480" fmla="*/ 4585377 w 9759834"/>
                <a:gd name="connsiteY5480" fmla="*/ 87313 h 1762127"/>
                <a:gd name="connsiteX5481" fmla="*/ 4619509 w 9759834"/>
                <a:gd name="connsiteY5481" fmla="*/ 121445 h 1762127"/>
                <a:gd name="connsiteX5482" fmla="*/ 4585377 w 9759834"/>
                <a:gd name="connsiteY5482" fmla="*/ 155577 h 1762127"/>
                <a:gd name="connsiteX5483" fmla="*/ 4551245 w 9759834"/>
                <a:gd name="connsiteY5483" fmla="*/ 121445 h 1762127"/>
                <a:gd name="connsiteX5484" fmla="*/ 4585377 w 9759834"/>
                <a:gd name="connsiteY5484" fmla="*/ 87313 h 1762127"/>
                <a:gd name="connsiteX5485" fmla="*/ 4500445 w 9759834"/>
                <a:gd name="connsiteY5485" fmla="*/ 87313 h 1762127"/>
                <a:gd name="connsiteX5486" fmla="*/ 4535370 w 9759834"/>
                <a:gd name="connsiteY5486" fmla="*/ 121445 h 1762127"/>
                <a:gd name="connsiteX5487" fmla="*/ 4500445 w 9759834"/>
                <a:gd name="connsiteY5487" fmla="*/ 155577 h 1762127"/>
                <a:gd name="connsiteX5488" fmla="*/ 4465520 w 9759834"/>
                <a:gd name="connsiteY5488" fmla="*/ 121445 h 1762127"/>
                <a:gd name="connsiteX5489" fmla="*/ 4500445 w 9759834"/>
                <a:gd name="connsiteY5489" fmla="*/ 87313 h 1762127"/>
                <a:gd name="connsiteX5490" fmla="*/ 4415515 w 9759834"/>
                <a:gd name="connsiteY5490" fmla="*/ 87313 h 1762127"/>
                <a:gd name="connsiteX5491" fmla="*/ 4449647 w 9759834"/>
                <a:gd name="connsiteY5491" fmla="*/ 121445 h 1762127"/>
                <a:gd name="connsiteX5492" fmla="*/ 4415515 w 9759834"/>
                <a:gd name="connsiteY5492" fmla="*/ 155577 h 1762127"/>
                <a:gd name="connsiteX5493" fmla="*/ 4381383 w 9759834"/>
                <a:gd name="connsiteY5493" fmla="*/ 121445 h 1762127"/>
                <a:gd name="connsiteX5494" fmla="*/ 4415515 w 9759834"/>
                <a:gd name="connsiteY5494" fmla="*/ 87313 h 1762127"/>
                <a:gd name="connsiteX5495" fmla="*/ 4332171 w 9759834"/>
                <a:gd name="connsiteY5495" fmla="*/ 87313 h 1762127"/>
                <a:gd name="connsiteX5496" fmla="*/ 4368684 w 9759834"/>
                <a:gd name="connsiteY5496" fmla="*/ 121445 h 1762127"/>
                <a:gd name="connsiteX5497" fmla="*/ 4332171 w 9759834"/>
                <a:gd name="connsiteY5497" fmla="*/ 155577 h 1762127"/>
                <a:gd name="connsiteX5498" fmla="*/ 4295658 w 9759834"/>
                <a:gd name="connsiteY5498" fmla="*/ 121445 h 1762127"/>
                <a:gd name="connsiteX5499" fmla="*/ 4332171 w 9759834"/>
                <a:gd name="connsiteY5499" fmla="*/ 87313 h 1762127"/>
                <a:gd name="connsiteX5500" fmla="*/ 4248827 w 9759834"/>
                <a:gd name="connsiteY5500" fmla="*/ 87313 h 1762127"/>
                <a:gd name="connsiteX5501" fmla="*/ 4282959 w 9759834"/>
                <a:gd name="connsiteY5501" fmla="*/ 121445 h 1762127"/>
                <a:gd name="connsiteX5502" fmla="*/ 4248827 w 9759834"/>
                <a:gd name="connsiteY5502" fmla="*/ 155577 h 1762127"/>
                <a:gd name="connsiteX5503" fmla="*/ 4214695 w 9759834"/>
                <a:gd name="connsiteY5503" fmla="*/ 121445 h 1762127"/>
                <a:gd name="connsiteX5504" fmla="*/ 4248827 w 9759834"/>
                <a:gd name="connsiteY5504" fmla="*/ 87313 h 1762127"/>
                <a:gd name="connsiteX5505" fmla="*/ 4163895 w 9759834"/>
                <a:gd name="connsiteY5505" fmla="*/ 87313 h 1762127"/>
                <a:gd name="connsiteX5506" fmla="*/ 4198820 w 9759834"/>
                <a:gd name="connsiteY5506" fmla="*/ 121445 h 1762127"/>
                <a:gd name="connsiteX5507" fmla="*/ 4163895 w 9759834"/>
                <a:gd name="connsiteY5507" fmla="*/ 155577 h 1762127"/>
                <a:gd name="connsiteX5508" fmla="*/ 4128970 w 9759834"/>
                <a:gd name="connsiteY5508" fmla="*/ 121445 h 1762127"/>
                <a:gd name="connsiteX5509" fmla="*/ 4163895 w 9759834"/>
                <a:gd name="connsiteY5509" fmla="*/ 87313 h 1762127"/>
                <a:gd name="connsiteX5510" fmla="*/ 4078170 w 9759834"/>
                <a:gd name="connsiteY5510" fmla="*/ 87313 h 1762127"/>
                <a:gd name="connsiteX5511" fmla="*/ 4113095 w 9759834"/>
                <a:gd name="connsiteY5511" fmla="*/ 121445 h 1762127"/>
                <a:gd name="connsiteX5512" fmla="*/ 4078170 w 9759834"/>
                <a:gd name="connsiteY5512" fmla="*/ 155577 h 1762127"/>
                <a:gd name="connsiteX5513" fmla="*/ 4043245 w 9759834"/>
                <a:gd name="connsiteY5513" fmla="*/ 121445 h 1762127"/>
                <a:gd name="connsiteX5514" fmla="*/ 4078170 w 9759834"/>
                <a:gd name="connsiteY5514" fmla="*/ 87313 h 1762127"/>
                <a:gd name="connsiteX5515" fmla="*/ 3993240 w 9759834"/>
                <a:gd name="connsiteY5515" fmla="*/ 87313 h 1762127"/>
                <a:gd name="connsiteX5516" fmla="*/ 4027372 w 9759834"/>
                <a:gd name="connsiteY5516" fmla="*/ 121445 h 1762127"/>
                <a:gd name="connsiteX5517" fmla="*/ 3993240 w 9759834"/>
                <a:gd name="connsiteY5517" fmla="*/ 155577 h 1762127"/>
                <a:gd name="connsiteX5518" fmla="*/ 3959108 w 9759834"/>
                <a:gd name="connsiteY5518" fmla="*/ 121445 h 1762127"/>
                <a:gd name="connsiteX5519" fmla="*/ 3993240 w 9759834"/>
                <a:gd name="connsiteY5519" fmla="*/ 87313 h 1762127"/>
                <a:gd name="connsiteX5520" fmla="*/ 3912277 w 9759834"/>
                <a:gd name="connsiteY5520" fmla="*/ 87313 h 1762127"/>
                <a:gd name="connsiteX5521" fmla="*/ 3946409 w 9759834"/>
                <a:gd name="connsiteY5521" fmla="*/ 121445 h 1762127"/>
                <a:gd name="connsiteX5522" fmla="*/ 3912277 w 9759834"/>
                <a:gd name="connsiteY5522" fmla="*/ 155577 h 1762127"/>
                <a:gd name="connsiteX5523" fmla="*/ 3878145 w 9759834"/>
                <a:gd name="connsiteY5523" fmla="*/ 121445 h 1762127"/>
                <a:gd name="connsiteX5524" fmla="*/ 3912277 w 9759834"/>
                <a:gd name="connsiteY5524" fmla="*/ 87313 h 1762127"/>
                <a:gd name="connsiteX5525" fmla="*/ 3826552 w 9759834"/>
                <a:gd name="connsiteY5525" fmla="*/ 87313 h 1762127"/>
                <a:gd name="connsiteX5526" fmla="*/ 3860684 w 9759834"/>
                <a:gd name="connsiteY5526" fmla="*/ 121445 h 1762127"/>
                <a:gd name="connsiteX5527" fmla="*/ 3826552 w 9759834"/>
                <a:gd name="connsiteY5527" fmla="*/ 155577 h 1762127"/>
                <a:gd name="connsiteX5528" fmla="*/ 3792420 w 9759834"/>
                <a:gd name="connsiteY5528" fmla="*/ 121445 h 1762127"/>
                <a:gd name="connsiteX5529" fmla="*/ 3826552 w 9759834"/>
                <a:gd name="connsiteY5529" fmla="*/ 87313 h 1762127"/>
                <a:gd name="connsiteX5530" fmla="*/ 3741620 w 9759834"/>
                <a:gd name="connsiteY5530" fmla="*/ 87313 h 1762127"/>
                <a:gd name="connsiteX5531" fmla="*/ 3776545 w 9759834"/>
                <a:gd name="connsiteY5531" fmla="*/ 121445 h 1762127"/>
                <a:gd name="connsiteX5532" fmla="*/ 3741620 w 9759834"/>
                <a:gd name="connsiteY5532" fmla="*/ 155577 h 1762127"/>
                <a:gd name="connsiteX5533" fmla="*/ 3706695 w 9759834"/>
                <a:gd name="connsiteY5533" fmla="*/ 121445 h 1762127"/>
                <a:gd name="connsiteX5534" fmla="*/ 3741620 w 9759834"/>
                <a:gd name="connsiteY5534" fmla="*/ 87313 h 1762127"/>
                <a:gd name="connsiteX5535" fmla="*/ 3656689 w 9759834"/>
                <a:gd name="connsiteY5535" fmla="*/ 87313 h 1762127"/>
                <a:gd name="connsiteX5536" fmla="*/ 3690821 w 9759834"/>
                <a:gd name="connsiteY5536" fmla="*/ 121445 h 1762127"/>
                <a:gd name="connsiteX5537" fmla="*/ 3656689 w 9759834"/>
                <a:gd name="connsiteY5537" fmla="*/ 155577 h 1762127"/>
                <a:gd name="connsiteX5538" fmla="*/ 3622557 w 9759834"/>
                <a:gd name="connsiteY5538" fmla="*/ 121445 h 1762127"/>
                <a:gd name="connsiteX5539" fmla="*/ 3656689 w 9759834"/>
                <a:gd name="connsiteY5539" fmla="*/ 87313 h 1762127"/>
                <a:gd name="connsiteX5540" fmla="*/ 3573345 w 9759834"/>
                <a:gd name="connsiteY5540" fmla="*/ 87313 h 1762127"/>
                <a:gd name="connsiteX5541" fmla="*/ 3609858 w 9759834"/>
                <a:gd name="connsiteY5541" fmla="*/ 121445 h 1762127"/>
                <a:gd name="connsiteX5542" fmla="*/ 3573345 w 9759834"/>
                <a:gd name="connsiteY5542" fmla="*/ 155577 h 1762127"/>
                <a:gd name="connsiteX5543" fmla="*/ 3536832 w 9759834"/>
                <a:gd name="connsiteY5543" fmla="*/ 121445 h 1762127"/>
                <a:gd name="connsiteX5544" fmla="*/ 3573345 w 9759834"/>
                <a:gd name="connsiteY5544" fmla="*/ 87313 h 1762127"/>
                <a:gd name="connsiteX5545" fmla="*/ 3234415 w 9759834"/>
                <a:gd name="connsiteY5545" fmla="*/ 87313 h 1762127"/>
                <a:gd name="connsiteX5546" fmla="*/ 3268547 w 9759834"/>
                <a:gd name="connsiteY5546" fmla="*/ 121445 h 1762127"/>
                <a:gd name="connsiteX5547" fmla="*/ 3234415 w 9759834"/>
                <a:gd name="connsiteY5547" fmla="*/ 155577 h 1762127"/>
                <a:gd name="connsiteX5548" fmla="*/ 3200283 w 9759834"/>
                <a:gd name="connsiteY5548" fmla="*/ 121445 h 1762127"/>
                <a:gd name="connsiteX5549" fmla="*/ 3234415 w 9759834"/>
                <a:gd name="connsiteY5549" fmla="*/ 87313 h 1762127"/>
                <a:gd name="connsiteX5550" fmla="*/ 3153452 w 9759834"/>
                <a:gd name="connsiteY5550" fmla="*/ 87313 h 1762127"/>
                <a:gd name="connsiteX5551" fmla="*/ 3187584 w 9759834"/>
                <a:gd name="connsiteY5551" fmla="*/ 121445 h 1762127"/>
                <a:gd name="connsiteX5552" fmla="*/ 3153452 w 9759834"/>
                <a:gd name="connsiteY5552" fmla="*/ 155577 h 1762127"/>
                <a:gd name="connsiteX5553" fmla="*/ 3119320 w 9759834"/>
                <a:gd name="connsiteY5553" fmla="*/ 121445 h 1762127"/>
                <a:gd name="connsiteX5554" fmla="*/ 3153452 w 9759834"/>
                <a:gd name="connsiteY5554" fmla="*/ 87313 h 1762127"/>
                <a:gd name="connsiteX5555" fmla="*/ 2983590 w 9759834"/>
                <a:gd name="connsiteY5555" fmla="*/ 87313 h 1762127"/>
                <a:gd name="connsiteX5556" fmla="*/ 3017722 w 9759834"/>
                <a:gd name="connsiteY5556" fmla="*/ 121445 h 1762127"/>
                <a:gd name="connsiteX5557" fmla="*/ 2983590 w 9759834"/>
                <a:gd name="connsiteY5557" fmla="*/ 155577 h 1762127"/>
                <a:gd name="connsiteX5558" fmla="*/ 2949458 w 9759834"/>
                <a:gd name="connsiteY5558" fmla="*/ 121445 h 1762127"/>
                <a:gd name="connsiteX5559" fmla="*/ 2983590 w 9759834"/>
                <a:gd name="connsiteY5559" fmla="*/ 87313 h 1762127"/>
                <a:gd name="connsiteX5560" fmla="*/ 5510095 w 9759834"/>
                <a:gd name="connsiteY5560" fmla="*/ 0 h 1762127"/>
                <a:gd name="connsiteX5561" fmla="*/ 5545020 w 9759834"/>
                <a:gd name="connsiteY5561" fmla="*/ 34925 h 1762127"/>
                <a:gd name="connsiteX5562" fmla="*/ 5510095 w 9759834"/>
                <a:gd name="connsiteY5562" fmla="*/ 69850 h 1762127"/>
                <a:gd name="connsiteX5563" fmla="*/ 5475170 w 9759834"/>
                <a:gd name="connsiteY5563" fmla="*/ 34925 h 1762127"/>
                <a:gd name="connsiteX5564" fmla="*/ 5510095 w 9759834"/>
                <a:gd name="connsiteY5564" fmla="*/ 0 h 1762127"/>
                <a:gd name="connsiteX5565" fmla="*/ 5429927 w 9759834"/>
                <a:gd name="connsiteY5565" fmla="*/ 0 h 1762127"/>
                <a:gd name="connsiteX5566" fmla="*/ 5464059 w 9759834"/>
                <a:gd name="connsiteY5566" fmla="*/ 34925 h 1762127"/>
                <a:gd name="connsiteX5567" fmla="*/ 5429927 w 9759834"/>
                <a:gd name="connsiteY5567" fmla="*/ 69850 h 1762127"/>
                <a:gd name="connsiteX5568" fmla="*/ 5395795 w 9759834"/>
                <a:gd name="connsiteY5568" fmla="*/ 34925 h 1762127"/>
                <a:gd name="connsiteX5569" fmla="*/ 5429927 w 9759834"/>
                <a:gd name="connsiteY5569" fmla="*/ 0 h 1762127"/>
                <a:gd name="connsiteX5570" fmla="*/ 4585377 w 9759834"/>
                <a:gd name="connsiteY5570" fmla="*/ 0 h 1762127"/>
                <a:gd name="connsiteX5571" fmla="*/ 4619509 w 9759834"/>
                <a:gd name="connsiteY5571" fmla="*/ 34925 h 1762127"/>
                <a:gd name="connsiteX5572" fmla="*/ 4585377 w 9759834"/>
                <a:gd name="connsiteY5572" fmla="*/ 69850 h 1762127"/>
                <a:gd name="connsiteX5573" fmla="*/ 4551245 w 9759834"/>
                <a:gd name="connsiteY5573" fmla="*/ 34925 h 1762127"/>
                <a:gd name="connsiteX5574" fmla="*/ 4585377 w 9759834"/>
                <a:gd name="connsiteY5574" fmla="*/ 0 h 1762127"/>
                <a:gd name="connsiteX5575" fmla="*/ 4500445 w 9759834"/>
                <a:gd name="connsiteY5575" fmla="*/ 0 h 1762127"/>
                <a:gd name="connsiteX5576" fmla="*/ 4535370 w 9759834"/>
                <a:gd name="connsiteY5576" fmla="*/ 34925 h 1762127"/>
                <a:gd name="connsiteX5577" fmla="*/ 4500445 w 9759834"/>
                <a:gd name="connsiteY5577" fmla="*/ 69850 h 1762127"/>
                <a:gd name="connsiteX5578" fmla="*/ 4465520 w 9759834"/>
                <a:gd name="connsiteY5578" fmla="*/ 34925 h 1762127"/>
                <a:gd name="connsiteX5579" fmla="*/ 4500445 w 9759834"/>
                <a:gd name="connsiteY5579" fmla="*/ 0 h 1762127"/>
                <a:gd name="connsiteX5580" fmla="*/ 4415515 w 9759834"/>
                <a:gd name="connsiteY5580" fmla="*/ 0 h 1762127"/>
                <a:gd name="connsiteX5581" fmla="*/ 4449647 w 9759834"/>
                <a:gd name="connsiteY5581" fmla="*/ 34925 h 1762127"/>
                <a:gd name="connsiteX5582" fmla="*/ 4415515 w 9759834"/>
                <a:gd name="connsiteY5582" fmla="*/ 69850 h 1762127"/>
                <a:gd name="connsiteX5583" fmla="*/ 4381383 w 9759834"/>
                <a:gd name="connsiteY5583" fmla="*/ 34925 h 1762127"/>
                <a:gd name="connsiteX5584" fmla="*/ 4415515 w 9759834"/>
                <a:gd name="connsiteY5584" fmla="*/ 0 h 1762127"/>
                <a:gd name="connsiteX5585" fmla="*/ 4332171 w 9759834"/>
                <a:gd name="connsiteY5585" fmla="*/ 0 h 1762127"/>
                <a:gd name="connsiteX5586" fmla="*/ 4368684 w 9759834"/>
                <a:gd name="connsiteY5586" fmla="*/ 34925 h 1762127"/>
                <a:gd name="connsiteX5587" fmla="*/ 4332171 w 9759834"/>
                <a:gd name="connsiteY5587" fmla="*/ 69850 h 1762127"/>
                <a:gd name="connsiteX5588" fmla="*/ 4295658 w 9759834"/>
                <a:gd name="connsiteY5588" fmla="*/ 34925 h 1762127"/>
                <a:gd name="connsiteX5589" fmla="*/ 4332171 w 9759834"/>
                <a:gd name="connsiteY5589" fmla="*/ 0 h 1762127"/>
                <a:gd name="connsiteX5590" fmla="*/ 4248827 w 9759834"/>
                <a:gd name="connsiteY5590" fmla="*/ 0 h 1762127"/>
                <a:gd name="connsiteX5591" fmla="*/ 4282959 w 9759834"/>
                <a:gd name="connsiteY5591" fmla="*/ 34925 h 1762127"/>
                <a:gd name="connsiteX5592" fmla="*/ 4248827 w 9759834"/>
                <a:gd name="connsiteY5592" fmla="*/ 69850 h 1762127"/>
                <a:gd name="connsiteX5593" fmla="*/ 4214695 w 9759834"/>
                <a:gd name="connsiteY5593" fmla="*/ 34925 h 1762127"/>
                <a:gd name="connsiteX5594" fmla="*/ 4248827 w 9759834"/>
                <a:gd name="connsiteY5594" fmla="*/ 0 h 1762127"/>
                <a:gd name="connsiteX5595" fmla="*/ 4163895 w 9759834"/>
                <a:gd name="connsiteY5595" fmla="*/ 0 h 1762127"/>
                <a:gd name="connsiteX5596" fmla="*/ 4198820 w 9759834"/>
                <a:gd name="connsiteY5596" fmla="*/ 34925 h 1762127"/>
                <a:gd name="connsiteX5597" fmla="*/ 4163895 w 9759834"/>
                <a:gd name="connsiteY5597" fmla="*/ 69850 h 1762127"/>
                <a:gd name="connsiteX5598" fmla="*/ 4128970 w 9759834"/>
                <a:gd name="connsiteY5598" fmla="*/ 34925 h 1762127"/>
                <a:gd name="connsiteX5599" fmla="*/ 4163895 w 9759834"/>
                <a:gd name="connsiteY5599" fmla="*/ 0 h 1762127"/>
                <a:gd name="connsiteX5600" fmla="*/ 4078170 w 9759834"/>
                <a:gd name="connsiteY5600" fmla="*/ 0 h 1762127"/>
                <a:gd name="connsiteX5601" fmla="*/ 4113095 w 9759834"/>
                <a:gd name="connsiteY5601" fmla="*/ 34925 h 1762127"/>
                <a:gd name="connsiteX5602" fmla="*/ 4078170 w 9759834"/>
                <a:gd name="connsiteY5602" fmla="*/ 69850 h 1762127"/>
                <a:gd name="connsiteX5603" fmla="*/ 4043245 w 9759834"/>
                <a:gd name="connsiteY5603" fmla="*/ 34925 h 1762127"/>
                <a:gd name="connsiteX5604" fmla="*/ 4078170 w 9759834"/>
                <a:gd name="connsiteY5604" fmla="*/ 0 h 1762127"/>
                <a:gd name="connsiteX5605" fmla="*/ 3993240 w 9759834"/>
                <a:gd name="connsiteY5605" fmla="*/ 0 h 1762127"/>
                <a:gd name="connsiteX5606" fmla="*/ 4027372 w 9759834"/>
                <a:gd name="connsiteY5606" fmla="*/ 34925 h 1762127"/>
                <a:gd name="connsiteX5607" fmla="*/ 3993240 w 9759834"/>
                <a:gd name="connsiteY5607" fmla="*/ 69850 h 1762127"/>
                <a:gd name="connsiteX5608" fmla="*/ 3959108 w 9759834"/>
                <a:gd name="connsiteY5608" fmla="*/ 34925 h 1762127"/>
                <a:gd name="connsiteX5609" fmla="*/ 3993240 w 9759834"/>
                <a:gd name="connsiteY5609" fmla="*/ 0 h 1762127"/>
                <a:gd name="connsiteX5610" fmla="*/ 3912277 w 9759834"/>
                <a:gd name="connsiteY5610" fmla="*/ 0 h 1762127"/>
                <a:gd name="connsiteX5611" fmla="*/ 3946409 w 9759834"/>
                <a:gd name="connsiteY5611" fmla="*/ 34925 h 1762127"/>
                <a:gd name="connsiteX5612" fmla="*/ 3912277 w 9759834"/>
                <a:gd name="connsiteY5612" fmla="*/ 69850 h 1762127"/>
                <a:gd name="connsiteX5613" fmla="*/ 3878145 w 9759834"/>
                <a:gd name="connsiteY5613" fmla="*/ 34925 h 1762127"/>
                <a:gd name="connsiteX5614" fmla="*/ 3912277 w 9759834"/>
                <a:gd name="connsiteY5614" fmla="*/ 0 h 1762127"/>
                <a:gd name="connsiteX5615" fmla="*/ 3826552 w 9759834"/>
                <a:gd name="connsiteY5615" fmla="*/ 0 h 1762127"/>
                <a:gd name="connsiteX5616" fmla="*/ 3860684 w 9759834"/>
                <a:gd name="connsiteY5616" fmla="*/ 34925 h 1762127"/>
                <a:gd name="connsiteX5617" fmla="*/ 3826552 w 9759834"/>
                <a:gd name="connsiteY5617" fmla="*/ 69850 h 1762127"/>
                <a:gd name="connsiteX5618" fmla="*/ 3792420 w 9759834"/>
                <a:gd name="connsiteY5618" fmla="*/ 34925 h 1762127"/>
                <a:gd name="connsiteX5619" fmla="*/ 3826552 w 9759834"/>
                <a:gd name="connsiteY5619" fmla="*/ 0 h 1762127"/>
                <a:gd name="connsiteX5620" fmla="*/ 3741620 w 9759834"/>
                <a:gd name="connsiteY5620" fmla="*/ 0 h 1762127"/>
                <a:gd name="connsiteX5621" fmla="*/ 3776545 w 9759834"/>
                <a:gd name="connsiteY5621" fmla="*/ 34925 h 1762127"/>
                <a:gd name="connsiteX5622" fmla="*/ 3741620 w 9759834"/>
                <a:gd name="connsiteY5622" fmla="*/ 69850 h 1762127"/>
                <a:gd name="connsiteX5623" fmla="*/ 3706695 w 9759834"/>
                <a:gd name="connsiteY5623" fmla="*/ 34925 h 1762127"/>
                <a:gd name="connsiteX5624" fmla="*/ 3741620 w 9759834"/>
                <a:gd name="connsiteY5624" fmla="*/ 0 h 1762127"/>
                <a:gd name="connsiteX5625" fmla="*/ 3656689 w 9759834"/>
                <a:gd name="connsiteY5625" fmla="*/ 0 h 1762127"/>
                <a:gd name="connsiteX5626" fmla="*/ 3690821 w 9759834"/>
                <a:gd name="connsiteY5626" fmla="*/ 34925 h 1762127"/>
                <a:gd name="connsiteX5627" fmla="*/ 3656689 w 9759834"/>
                <a:gd name="connsiteY5627" fmla="*/ 69850 h 1762127"/>
                <a:gd name="connsiteX5628" fmla="*/ 3622557 w 9759834"/>
                <a:gd name="connsiteY5628" fmla="*/ 34925 h 1762127"/>
                <a:gd name="connsiteX5629" fmla="*/ 3656689 w 9759834"/>
                <a:gd name="connsiteY5629" fmla="*/ 0 h 17621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 ang="0">
                  <a:pos x="connsiteX3346" y="connsiteY3346"/>
                </a:cxn>
                <a:cxn ang="0">
                  <a:pos x="connsiteX3347" y="connsiteY3347"/>
                </a:cxn>
                <a:cxn ang="0">
                  <a:pos x="connsiteX3348" y="connsiteY3348"/>
                </a:cxn>
                <a:cxn ang="0">
                  <a:pos x="connsiteX3349" y="connsiteY3349"/>
                </a:cxn>
                <a:cxn ang="0">
                  <a:pos x="connsiteX3350" y="connsiteY3350"/>
                </a:cxn>
                <a:cxn ang="0">
                  <a:pos x="connsiteX3351" y="connsiteY3351"/>
                </a:cxn>
                <a:cxn ang="0">
                  <a:pos x="connsiteX3352" y="connsiteY3352"/>
                </a:cxn>
                <a:cxn ang="0">
                  <a:pos x="connsiteX3353" y="connsiteY3353"/>
                </a:cxn>
                <a:cxn ang="0">
                  <a:pos x="connsiteX3354" y="connsiteY3354"/>
                </a:cxn>
                <a:cxn ang="0">
                  <a:pos x="connsiteX3355" y="connsiteY3355"/>
                </a:cxn>
                <a:cxn ang="0">
                  <a:pos x="connsiteX3356" y="connsiteY3356"/>
                </a:cxn>
                <a:cxn ang="0">
                  <a:pos x="connsiteX3357" y="connsiteY3357"/>
                </a:cxn>
                <a:cxn ang="0">
                  <a:pos x="connsiteX3358" y="connsiteY3358"/>
                </a:cxn>
                <a:cxn ang="0">
                  <a:pos x="connsiteX3359" y="connsiteY3359"/>
                </a:cxn>
                <a:cxn ang="0">
                  <a:pos x="connsiteX3360" y="connsiteY3360"/>
                </a:cxn>
                <a:cxn ang="0">
                  <a:pos x="connsiteX3361" y="connsiteY3361"/>
                </a:cxn>
                <a:cxn ang="0">
                  <a:pos x="connsiteX3362" y="connsiteY3362"/>
                </a:cxn>
                <a:cxn ang="0">
                  <a:pos x="connsiteX3363" y="connsiteY3363"/>
                </a:cxn>
                <a:cxn ang="0">
                  <a:pos x="connsiteX3364" y="connsiteY3364"/>
                </a:cxn>
                <a:cxn ang="0">
                  <a:pos x="connsiteX3365" y="connsiteY3365"/>
                </a:cxn>
                <a:cxn ang="0">
                  <a:pos x="connsiteX3366" y="connsiteY3366"/>
                </a:cxn>
                <a:cxn ang="0">
                  <a:pos x="connsiteX3367" y="connsiteY3367"/>
                </a:cxn>
                <a:cxn ang="0">
                  <a:pos x="connsiteX3368" y="connsiteY3368"/>
                </a:cxn>
                <a:cxn ang="0">
                  <a:pos x="connsiteX3369" y="connsiteY3369"/>
                </a:cxn>
                <a:cxn ang="0">
                  <a:pos x="connsiteX3370" y="connsiteY3370"/>
                </a:cxn>
                <a:cxn ang="0">
                  <a:pos x="connsiteX3371" y="connsiteY3371"/>
                </a:cxn>
                <a:cxn ang="0">
                  <a:pos x="connsiteX3372" y="connsiteY3372"/>
                </a:cxn>
                <a:cxn ang="0">
                  <a:pos x="connsiteX3373" y="connsiteY3373"/>
                </a:cxn>
                <a:cxn ang="0">
                  <a:pos x="connsiteX3374" y="connsiteY3374"/>
                </a:cxn>
                <a:cxn ang="0">
                  <a:pos x="connsiteX3375" y="connsiteY3375"/>
                </a:cxn>
                <a:cxn ang="0">
                  <a:pos x="connsiteX3376" y="connsiteY3376"/>
                </a:cxn>
                <a:cxn ang="0">
                  <a:pos x="connsiteX3377" y="connsiteY3377"/>
                </a:cxn>
                <a:cxn ang="0">
                  <a:pos x="connsiteX3378" y="connsiteY3378"/>
                </a:cxn>
                <a:cxn ang="0">
                  <a:pos x="connsiteX3379" y="connsiteY3379"/>
                </a:cxn>
                <a:cxn ang="0">
                  <a:pos x="connsiteX3380" y="connsiteY3380"/>
                </a:cxn>
                <a:cxn ang="0">
                  <a:pos x="connsiteX3381" y="connsiteY3381"/>
                </a:cxn>
                <a:cxn ang="0">
                  <a:pos x="connsiteX3382" y="connsiteY3382"/>
                </a:cxn>
                <a:cxn ang="0">
                  <a:pos x="connsiteX3383" y="connsiteY3383"/>
                </a:cxn>
                <a:cxn ang="0">
                  <a:pos x="connsiteX3384" y="connsiteY3384"/>
                </a:cxn>
                <a:cxn ang="0">
                  <a:pos x="connsiteX3385" y="connsiteY3385"/>
                </a:cxn>
                <a:cxn ang="0">
                  <a:pos x="connsiteX3386" y="connsiteY3386"/>
                </a:cxn>
                <a:cxn ang="0">
                  <a:pos x="connsiteX3387" y="connsiteY3387"/>
                </a:cxn>
                <a:cxn ang="0">
                  <a:pos x="connsiteX3388" y="connsiteY3388"/>
                </a:cxn>
                <a:cxn ang="0">
                  <a:pos x="connsiteX3389" y="connsiteY3389"/>
                </a:cxn>
                <a:cxn ang="0">
                  <a:pos x="connsiteX3390" y="connsiteY3390"/>
                </a:cxn>
                <a:cxn ang="0">
                  <a:pos x="connsiteX3391" y="connsiteY3391"/>
                </a:cxn>
                <a:cxn ang="0">
                  <a:pos x="connsiteX3392" y="connsiteY3392"/>
                </a:cxn>
                <a:cxn ang="0">
                  <a:pos x="connsiteX3393" y="connsiteY3393"/>
                </a:cxn>
                <a:cxn ang="0">
                  <a:pos x="connsiteX3394" y="connsiteY3394"/>
                </a:cxn>
                <a:cxn ang="0">
                  <a:pos x="connsiteX3395" y="connsiteY3395"/>
                </a:cxn>
                <a:cxn ang="0">
                  <a:pos x="connsiteX3396" y="connsiteY3396"/>
                </a:cxn>
                <a:cxn ang="0">
                  <a:pos x="connsiteX3397" y="connsiteY3397"/>
                </a:cxn>
                <a:cxn ang="0">
                  <a:pos x="connsiteX3398" y="connsiteY3398"/>
                </a:cxn>
                <a:cxn ang="0">
                  <a:pos x="connsiteX3399" y="connsiteY3399"/>
                </a:cxn>
                <a:cxn ang="0">
                  <a:pos x="connsiteX3400" y="connsiteY3400"/>
                </a:cxn>
                <a:cxn ang="0">
                  <a:pos x="connsiteX3401" y="connsiteY3401"/>
                </a:cxn>
                <a:cxn ang="0">
                  <a:pos x="connsiteX3402" y="connsiteY3402"/>
                </a:cxn>
                <a:cxn ang="0">
                  <a:pos x="connsiteX3403" y="connsiteY3403"/>
                </a:cxn>
                <a:cxn ang="0">
                  <a:pos x="connsiteX3404" y="connsiteY3404"/>
                </a:cxn>
                <a:cxn ang="0">
                  <a:pos x="connsiteX3405" y="connsiteY3405"/>
                </a:cxn>
                <a:cxn ang="0">
                  <a:pos x="connsiteX3406" y="connsiteY3406"/>
                </a:cxn>
                <a:cxn ang="0">
                  <a:pos x="connsiteX3407" y="connsiteY3407"/>
                </a:cxn>
                <a:cxn ang="0">
                  <a:pos x="connsiteX3408" y="connsiteY3408"/>
                </a:cxn>
                <a:cxn ang="0">
                  <a:pos x="connsiteX3409" y="connsiteY3409"/>
                </a:cxn>
                <a:cxn ang="0">
                  <a:pos x="connsiteX3410" y="connsiteY3410"/>
                </a:cxn>
                <a:cxn ang="0">
                  <a:pos x="connsiteX3411" y="connsiteY3411"/>
                </a:cxn>
                <a:cxn ang="0">
                  <a:pos x="connsiteX3412" y="connsiteY3412"/>
                </a:cxn>
                <a:cxn ang="0">
                  <a:pos x="connsiteX3413" y="connsiteY3413"/>
                </a:cxn>
                <a:cxn ang="0">
                  <a:pos x="connsiteX3414" y="connsiteY3414"/>
                </a:cxn>
                <a:cxn ang="0">
                  <a:pos x="connsiteX3415" y="connsiteY3415"/>
                </a:cxn>
                <a:cxn ang="0">
                  <a:pos x="connsiteX3416" y="connsiteY3416"/>
                </a:cxn>
                <a:cxn ang="0">
                  <a:pos x="connsiteX3417" y="connsiteY3417"/>
                </a:cxn>
                <a:cxn ang="0">
                  <a:pos x="connsiteX3418" y="connsiteY3418"/>
                </a:cxn>
                <a:cxn ang="0">
                  <a:pos x="connsiteX3419" y="connsiteY3419"/>
                </a:cxn>
                <a:cxn ang="0">
                  <a:pos x="connsiteX3420" y="connsiteY3420"/>
                </a:cxn>
                <a:cxn ang="0">
                  <a:pos x="connsiteX3421" y="connsiteY3421"/>
                </a:cxn>
                <a:cxn ang="0">
                  <a:pos x="connsiteX3422" y="connsiteY3422"/>
                </a:cxn>
                <a:cxn ang="0">
                  <a:pos x="connsiteX3423" y="connsiteY3423"/>
                </a:cxn>
                <a:cxn ang="0">
                  <a:pos x="connsiteX3424" y="connsiteY3424"/>
                </a:cxn>
                <a:cxn ang="0">
                  <a:pos x="connsiteX3425" y="connsiteY3425"/>
                </a:cxn>
                <a:cxn ang="0">
                  <a:pos x="connsiteX3426" y="connsiteY3426"/>
                </a:cxn>
                <a:cxn ang="0">
                  <a:pos x="connsiteX3427" y="connsiteY3427"/>
                </a:cxn>
                <a:cxn ang="0">
                  <a:pos x="connsiteX3428" y="connsiteY3428"/>
                </a:cxn>
                <a:cxn ang="0">
                  <a:pos x="connsiteX3429" y="connsiteY3429"/>
                </a:cxn>
                <a:cxn ang="0">
                  <a:pos x="connsiteX3430" y="connsiteY3430"/>
                </a:cxn>
                <a:cxn ang="0">
                  <a:pos x="connsiteX3431" y="connsiteY3431"/>
                </a:cxn>
                <a:cxn ang="0">
                  <a:pos x="connsiteX3432" y="connsiteY3432"/>
                </a:cxn>
                <a:cxn ang="0">
                  <a:pos x="connsiteX3433" y="connsiteY3433"/>
                </a:cxn>
                <a:cxn ang="0">
                  <a:pos x="connsiteX3434" y="connsiteY3434"/>
                </a:cxn>
                <a:cxn ang="0">
                  <a:pos x="connsiteX3435" y="connsiteY3435"/>
                </a:cxn>
                <a:cxn ang="0">
                  <a:pos x="connsiteX3436" y="connsiteY3436"/>
                </a:cxn>
                <a:cxn ang="0">
                  <a:pos x="connsiteX3437" y="connsiteY3437"/>
                </a:cxn>
                <a:cxn ang="0">
                  <a:pos x="connsiteX3438" y="connsiteY3438"/>
                </a:cxn>
                <a:cxn ang="0">
                  <a:pos x="connsiteX3439" y="connsiteY3439"/>
                </a:cxn>
                <a:cxn ang="0">
                  <a:pos x="connsiteX3440" y="connsiteY3440"/>
                </a:cxn>
                <a:cxn ang="0">
                  <a:pos x="connsiteX3441" y="connsiteY3441"/>
                </a:cxn>
                <a:cxn ang="0">
                  <a:pos x="connsiteX3442" y="connsiteY3442"/>
                </a:cxn>
                <a:cxn ang="0">
                  <a:pos x="connsiteX3443" y="connsiteY3443"/>
                </a:cxn>
                <a:cxn ang="0">
                  <a:pos x="connsiteX3444" y="connsiteY3444"/>
                </a:cxn>
                <a:cxn ang="0">
                  <a:pos x="connsiteX3445" y="connsiteY3445"/>
                </a:cxn>
                <a:cxn ang="0">
                  <a:pos x="connsiteX3446" y="connsiteY3446"/>
                </a:cxn>
                <a:cxn ang="0">
                  <a:pos x="connsiteX3447" y="connsiteY3447"/>
                </a:cxn>
                <a:cxn ang="0">
                  <a:pos x="connsiteX3448" y="connsiteY3448"/>
                </a:cxn>
                <a:cxn ang="0">
                  <a:pos x="connsiteX3449" y="connsiteY3449"/>
                </a:cxn>
                <a:cxn ang="0">
                  <a:pos x="connsiteX3450" y="connsiteY3450"/>
                </a:cxn>
                <a:cxn ang="0">
                  <a:pos x="connsiteX3451" y="connsiteY3451"/>
                </a:cxn>
                <a:cxn ang="0">
                  <a:pos x="connsiteX3452" y="connsiteY3452"/>
                </a:cxn>
                <a:cxn ang="0">
                  <a:pos x="connsiteX3453" y="connsiteY3453"/>
                </a:cxn>
                <a:cxn ang="0">
                  <a:pos x="connsiteX3454" y="connsiteY3454"/>
                </a:cxn>
                <a:cxn ang="0">
                  <a:pos x="connsiteX3455" y="connsiteY3455"/>
                </a:cxn>
                <a:cxn ang="0">
                  <a:pos x="connsiteX3456" y="connsiteY3456"/>
                </a:cxn>
                <a:cxn ang="0">
                  <a:pos x="connsiteX3457" y="connsiteY3457"/>
                </a:cxn>
                <a:cxn ang="0">
                  <a:pos x="connsiteX3458" y="connsiteY3458"/>
                </a:cxn>
                <a:cxn ang="0">
                  <a:pos x="connsiteX3459" y="connsiteY3459"/>
                </a:cxn>
                <a:cxn ang="0">
                  <a:pos x="connsiteX3460" y="connsiteY3460"/>
                </a:cxn>
                <a:cxn ang="0">
                  <a:pos x="connsiteX3461" y="connsiteY3461"/>
                </a:cxn>
                <a:cxn ang="0">
                  <a:pos x="connsiteX3462" y="connsiteY3462"/>
                </a:cxn>
                <a:cxn ang="0">
                  <a:pos x="connsiteX3463" y="connsiteY3463"/>
                </a:cxn>
                <a:cxn ang="0">
                  <a:pos x="connsiteX3464" y="connsiteY3464"/>
                </a:cxn>
                <a:cxn ang="0">
                  <a:pos x="connsiteX3465" y="connsiteY3465"/>
                </a:cxn>
                <a:cxn ang="0">
                  <a:pos x="connsiteX3466" y="connsiteY3466"/>
                </a:cxn>
                <a:cxn ang="0">
                  <a:pos x="connsiteX3467" y="connsiteY3467"/>
                </a:cxn>
                <a:cxn ang="0">
                  <a:pos x="connsiteX3468" y="connsiteY3468"/>
                </a:cxn>
                <a:cxn ang="0">
                  <a:pos x="connsiteX3469" y="connsiteY3469"/>
                </a:cxn>
                <a:cxn ang="0">
                  <a:pos x="connsiteX3470" y="connsiteY3470"/>
                </a:cxn>
                <a:cxn ang="0">
                  <a:pos x="connsiteX3471" y="connsiteY3471"/>
                </a:cxn>
                <a:cxn ang="0">
                  <a:pos x="connsiteX3472" y="connsiteY3472"/>
                </a:cxn>
                <a:cxn ang="0">
                  <a:pos x="connsiteX3473" y="connsiteY3473"/>
                </a:cxn>
                <a:cxn ang="0">
                  <a:pos x="connsiteX3474" y="connsiteY3474"/>
                </a:cxn>
                <a:cxn ang="0">
                  <a:pos x="connsiteX3475" y="connsiteY3475"/>
                </a:cxn>
                <a:cxn ang="0">
                  <a:pos x="connsiteX3476" y="connsiteY3476"/>
                </a:cxn>
                <a:cxn ang="0">
                  <a:pos x="connsiteX3477" y="connsiteY3477"/>
                </a:cxn>
                <a:cxn ang="0">
                  <a:pos x="connsiteX3478" y="connsiteY3478"/>
                </a:cxn>
                <a:cxn ang="0">
                  <a:pos x="connsiteX3479" y="connsiteY3479"/>
                </a:cxn>
                <a:cxn ang="0">
                  <a:pos x="connsiteX3480" y="connsiteY3480"/>
                </a:cxn>
                <a:cxn ang="0">
                  <a:pos x="connsiteX3481" y="connsiteY3481"/>
                </a:cxn>
                <a:cxn ang="0">
                  <a:pos x="connsiteX3482" y="connsiteY3482"/>
                </a:cxn>
                <a:cxn ang="0">
                  <a:pos x="connsiteX3483" y="connsiteY3483"/>
                </a:cxn>
                <a:cxn ang="0">
                  <a:pos x="connsiteX3484" y="connsiteY3484"/>
                </a:cxn>
                <a:cxn ang="0">
                  <a:pos x="connsiteX3485" y="connsiteY3485"/>
                </a:cxn>
                <a:cxn ang="0">
                  <a:pos x="connsiteX3486" y="connsiteY3486"/>
                </a:cxn>
                <a:cxn ang="0">
                  <a:pos x="connsiteX3487" y="connsiteY3487"/>
                </a:cxn>
                <a:cxn ang="0">
                  <a:pos x="connsiteX3488" y="connsiteY3488"/>
                </a:cxn>
                <a:cxn ang="0">
                  <a:pos x="connsiteX3489" y="connsiteY3489"/>
                </a:cxn>
                <a:cxn ang="0">
                  <a:pos x="connsiteX3490" y="connsiteY3490"/>
                </a:cxn>
                <a:cxn ang="0">
                  <a:pos x="connsiteX3491" y="connsiteY3491"/>
                </a:cxn>
                <a:cxn ang="0">
                  <a:pos x="connsiteX3492" y="connsiteY3492"/>
                </a:cxn>
                <a:cxn ang="0">
                  <a:pos x="connsiteX3493" y="connsiteY3493"/>
                </a:cxn>
                <a:cxn ang="0">
                  <a:pos x="connsiteX3494" y="connsiteY3494"/>
                </a:cxn>
                <a:cxn ang="0">
                  <a:pos x="connsiteX3495" y="connsiteY3495"/>
                </a:cxn>
                <a:cxn ang="0">
                  <a:pos x="connsiteX3496" y="connsiteY3496"/>
                </a:cxn>
                <a:cxn ang="0">
                  <a:pos x="connsiteX3497" y="connsiteY3497"/>
                </a:cxn>
                <a:cxn ang="0">
                  <a:pos x="connsiteX3498" y="connsiteY3498"/>
                </a:cxn>
                <a:cxn ang="0">
                  <a:pos x="connsiteX3499" y="connsiteY3499"/>
                </a:cxn>
                <a:cxn ang="0">
                  <a:pos x="connsiteX3500" y="connsiteY3500"/>
                </a:cxn>
                <a:cxn ang="0">
                  <a:pos x="connsiteX3501" y="connsiteY3501"/>
                </a:cxn>
                <a:cxn ang="0">
                  <a:pos x="connsiteX3502" y="connsiteY3502"/>
                </a:cxn>
                <a:cxn ang="0">
                  <a:pos x="connsiteX3503" y="connsiteY3503"/>
                </a:cxn>
                <a:cxn ang="0">
                  <a:pos x="connsiteX3504" y="connsiteY3504"/>
                </a:cxn>
                <a:cxn ang="0">
                  <a:pos x="connsiteX3505" y="connsiteY3505"/>
                </a:cxn>
                <a:cxn ang="0">
                  <a:pos x="connsiteX3506" y="connsiteY3506"/>
                </a:cxn>
                <a:cxn ang="0">
                  <a:pos x="connsiteX3507" y="connsiteY3507"/>
                </a:cxn>
                <a:cxn ang="0">
                  <a:pos x="connsiteX3508" y="connsiteY3508"/>
                </a:cxn>
                <a:cxn ang="0">
                  <a:pos x="connsiteX3509" y="connsiteY3509"/>
                </a:cxn>
                <a:cxn ang="0">
                  <a:pos x="connsiteX3510" y="connsiteY3510"/>
                </a:cxn>
                <a:cxn ang="0">
                  <a:pos x="connsiteX3511" y="connsiteY3511"/>
                </a:cxn>
                <a:cxn ang="0">
                  <a:pos x="connsiteX3512" y="connsiteY3512"/>
                </a:cxn>
                <a:cxn ang="0">
                  <a:pos x="connsiteX3513" y="connsiteY3513"/>
                </a:cxn>
                <a:cxn ang="0">
                  <a:pos x="connsiteX3514" y="connsiteY3514"/>
                </a:cxn>
                <a:cxn ang="0">
                  <a:pos x="connsiteX3515" y="connsiteY3515"/>
                </a:cxn>
                <a:cxn ang="0">
                  <a:pos x="connsiteX3516" y="connsiteY3516"/>
                </a:cxn>
                <a:cxn ang="0">
                  <a:pos x="connsiteX3517" y="connsiteY3517"/>
                </a:cxn>
                <a:cxn ang="0">
                  <a:pos x="connsiteX3518" y="connsiteY3518"/>
                </a:cxn>
                <a:cxn ang="0">
                  <a:pos x="connsiteX3519" y="connsiteY3519"/>
                </a:cxn>
                <a:cxn ang="0">
                  <a:pos x="connsiteX3520" y="connsiteY3520"/>
                </a:cxn>
                <a:cxn ang="0">
                  <a:pos x="connsiteX3521" y="connsiteY3521"/>
                </a:cxn>
                <a:cxn ang="0">
                  <a:pos x="connsiteX3522" y="connsiteY3522"/>
                </a:cxn>
                <a:cxn ang="0">
                  <a:pos x="connsiteX3523" y="connsiteY3523"/>
                </a:cxn>
                <a:cxn ang="0">
                  <a:pos x="connsiteX3524" y="connsiteY3524"/>
                </a:cxn>
                <a:cxn ang="0">
                  <a:pos x="connsiteX3525" y="connsiteY3525"/>
                </a:cxn>
                <a:cxn ang="0">
                  <a:pos x="connsiteX3526" y="connsiteY3526"/>
                </a:cxn>
                <a:cxn ang="0">
                  <a:pos x="connsiteX3527" y="connsiteY3527"/>
                </a:cxn>
                <a:cxn ang="0">
                  <a:pos x="connsiteX3528" y="connsiteY3528"/>
                </a:cxn>
                <a:cxn ang="0">
                  <a:pos x="connsiteX3529" y="connsiteY3529"/>
                </a:cxn>
                <a:cxn ang="0">
                  <a:pos x="connsiteX3530" y="connsiteY3530"/>
                </a:cxn>
                <a:cxn ang="0">
                  <a:pos x="connsiteX3531" y="connsiteY3531"/>
                </a:cxn>
                <a:cxn ang="0">
                  <a:pos x="connsiteX3532" y="connsiteY3532"/>
                </a:cxn>
                <a:cxn ang="0">
                  <a:pos x="connsiteX3533" y="connsiteY3533"/>
                </a:cxn>
                <a:cxn ang="0">
                  <a:pos x="connsiteX3534" y="connsiteY3534"/>
                </a:cxn>
                <a:cxn ang="0">
                  <a:pos x="connsiteX3535" y="connsiteY3535"/>
                </a:cxn>
                <a:cxn ang="0">
                  <a:pos x="connsiteX3536" y="connsiteY3536"/>
                </a:cxn>
                <a:cxn ang="0">
                  <a:pos x="connsiteX3537" y="connsiteY3537"/>
                </a:cxn>
                <a:cxn ang="0">
                  <a:pos x="connsiteX3538" y="connsiteY3538"/>
                </a:cxn>
                <a:cxn ang="0">
                  <a:pos x="connsiteX3539" y="connsiteY3539"/>
                </a:cxn>
                <a:cxn ang="0">
                  <a:pos x="connsiteX3540" y="connsiteY3540"/>
                </a:cxn>
                <a:cxn ang="0">
                  <a:pos x="connsiteX3541" y="connsiteY3541"/>
                </a:cxn>
                <a:cxn ang="0">
                  <a:pos x="connsiteX3542" y="connsiteY3542"/>
                </a:cxn>
                <a:cxn ang="0">
                  <a:pos x="connsiteX3543" y="connsiteY3543"/>
                </a:cxn>
                <a:cxn ang="0">
                  <a:pos x="connsiteX3544" y="connsiteY3544"/>
                </a:cxn>
                <a:cxn ang="0">
                  <a:pos x="connsiteX3545" y="connsiteY3545"/>
                </a:cxn>
                <a:cxn ang="0">
                  <a:pos x="connsiteX3546" y="connsiteY3546"/>
                </a:cxn>
                <a:cxn ang="0">
                  <a:pos x="connsiteX3547" y="connsiteY3547"/>
                </a:cxn>
                <a:cxn ang="0">
                  <a:pos x="connsiteX3548" y="connsiteY3548"/>
                </a:cxn>
                <a:cxn ang="0">
                  <a:pos x="connsiteX3549" y="connsiteY3549"/>
                </a:cxn>
                <a:cxn ang="0">
                  <a:pos x="connsiteX3550" y="connsiteY3550"/>
                </a:cxn>
                <a:cxn ang="0">
                  <a:pos x="connsiteX3551" y="connsiteY3551"/>
                </a:cxn>
                <a:cxn ang="0">
                  <a:pos x="connsiteX3552" y="connsiteY3552"/>
                </a:cxn>
                <a:cxn ang="0">
                  <a:pos x="connsiteX3553" y="connsiteY3553"/>
                </a:cxn>
                <a:cxn ang="0">
                  <a:pos x="connsiteX3554" y="connsiteY3554"/>
                </a:cxn>
                <a:cxn ang="0">
                  <a:pos x="connsiteX3555" y="connsiteY3555"/>
                </a:cxn>
                <a:cxn ang="0">
                  <a:pos x="connsiteX3556" y="connsiteY3556"/>
                </a:cxn>
                <a:cxn ang="0">
                  <a:pos x="connsiteX3557" y="connsiteY3557"/>
                </a:cxn>
                <a:cxn ang="0">
                  <a:pos x="connsiteX3558" y="connsiteY3558"/>
                </a:cxn>
                <a:cxn ang="0">
                  <a:pos x="connsiteX3559" y="connsiteY3559"/>
                </a:cxn>
                <a:cxn ang="0">
                  <a:pos x="connsiteX3560" y="connsiteY3560"/>
                </a:cxn>
                <a:cxn ang="0">
                  <a:pos x="connsiteX3561" y="connsiteY3561"/>
                </a:cxn>
                <a:cxn ang="0">
                  <a:pos x="connsiteX3562" y="connsiteY3562"/>
                </a:cxn>
                <a:cxn ang="0">
                  <a:pos x="connsiteX3563" y="connsiteY3563"/>
                </a:cxn>
                <a:cxn ang="0">
                  <a:pos x="connsiteX3564" y="connsiteY3564"/>
                </a:cxn>
                <a:cxn ang="0">
                  <a:pos x="connsiteX3565" y="connsiteY3565"/>
                </a:cxn>
                <a:cxn ang="0">
                  <a:pos x="connsiteX3566" y="connsiteY3566"/>
                </a:cxn>
                <a:cxn ang="0">
                  <a:pos x="connsiteX3567" y="connsiteY3567"/>
                </a:cxn>
                <a:cxn ang="0">
                  <a:pos x="connsiteX3568" y="connsiteY3568"/>
                </a:cxn>
                <a:cxn ang="0">
                  <a:pos x="connsiteX3569" y="connsiteY3569"/>
                </a:cxn>
                <a:cxn ang="0">
                  <a:pos x="connsiteX3570" y="connsiteY3570"/>
                </a:cxn>
                <a:cxn ang="0">
                  <a:pos x="connsiteX3571" y="connsiteY3571"/>
                </a:cxn>
                <a:cxn ang="0">
                  <a:pos x="connsiteX3572" y="connsiteY3572"/>
                </a:cxn>
                <a:cxn ang="0">
                  <a:pos x="connsiteX3573" y="connsiteY3573"/>
                </a:cxn>
                <a:cxn ang="0">
                  <a:pos x="connsiteX3574" y="connsiteY3574"/>
                </a:cxn>
                <a:cxn ang="0">
                  <a:pos x="connsiteX3575" y="connsiteY3575"/>
                </a:cxn>
                <a:cxn ang="0">
                  <a:pos x="connsiteX3576" y="connsiteY3576"/>
                </a:cxn>
                <a:cxn ang="0">
                  <a:pos x="connsiteX3577" y="connsiteY3577"/>
                </a:cxn>
                <a:cxn ang="0">
                  <a:pos x="connsiteX3578" y="connsiteY3578"/>
                </a:cxn>
                <a:cxn ang="0">
                  <a:pos x="connsiteX3579" y="connsiteY3579"/>
                </a:cxn>
                <a:cxn ang="0">
                  <a:pos x="connsiteX3580" y="connsiteY3580"/>
                </a:cxn>
                <a:cxn ang="0">
                  <a:pos x="connsiteX3581" y="connsiteY3581"/>
                </a:cxn>
                <a:cxn ang="0">
                  <a:pos x="connsiteX3582" y="connsiteY3582"/>
                </a:cxn>
                <a:cxn ang="0">
                  <a:pos x="connsiteX3583" y="connsiteY3583"/>
                </a:cxn>
                <a:cxn ang="0">
                  <a:pos x="connsiteX3584" y="connsiteY3584"/>
                </a:cxn>
                <a:cxn ang="0">
                  <a:pos x="connsiteX3585" y="connsiteY3585"/>
                </a:cxn>
                <a:cxn ang="0">
                  <a:pos x="connsiteX3586" y="connsiteY3586"/>
                </a:cxn>
                <a:cxn ang="0">
                  <a:pos x="connsiteX3587" y="connsiteY3587"/>
                </a:cxn>
                <a:cxn ang="0">
                  <a:pos x="connsiteX3588" y="connsiteY3588"/>
                </a:cxn>
                <a:cxn ang="0">
                  <a:pos x="connsiteX3589" y="connsiteY3589"/>
                </a:cxn>
                <a:cxn ang="0">
                  <a:pos x="connsiteX3590" y="connsiteY3590"/>
                </a:cxn>
                <a:cxn ang="0">
                  <a:pos x="connsiteX3591" y="connsiteY3591"/>
                </a:cxn>
                <a:cxn ang="0">
                  <a:pos x="connsiteX3592" y="connsiteY3592"/>
                </a:cxn>
                <a:cxn ang="0">
                  <a:pos x="connsiteX3593" y="connsiteY3593"/>
                </a:cxn>
                <a:cxn ang="0">
                  <a:pos x="connsiteX3594" y="connsiteY3594"/>
                </a:cxn>
                <a:cxn ang="0">
                  <a:pos x="connsiteX3595" y="connsiteY3595"/>
                </a:cxn>
                <a:cxn ang="0">
                  <a:pos x="connsiteX3596" y="connsiteY3596"/>
                </a:cxn>
                <a:cxn ang="0">
                  <a:pos x="connsiteX3597" y="connsiteY3597"/>
                </a:cxn>
                <a:cxn ang="0">
                  <a:pos x="connsiteX3598" y="connsiteY3598"/>
                </a:cxn>
                <a:cxn ang="0">
                  <a:pos x="connsiteX3599" y="connsiteY3599"/>
                </a:cxn>
                <a:cxn ang="0">
                  <a:pos x="connsiteX3600" y="connsiteY3600"/>
                </a:cxn>
                <a:cxn ang="0">
                  <a:pos x="connsiteX3601" y="connsiteY3601"/>
                </a:cxn>
                <a:cxn ang="0">
                  <a:pos x="connsiteX3602" y="connsiteY3602"/>
                </a:cxn>
                <a:cxn ang="0">
                  <a:pos x="connsiteX3603" y="connsiteY3603"/>
                </a:cxn>
                <a:cxn ang="0">
                  <a:pos x="connsiteX3604" y="connsiteY3604"/>
                </a:cxn>
                <a:cxn ang="0">
                  <a:pos x="connsiteX3605" y="connsiteY3605"/>
                </a:cxn>
                <a:cxn ang="0">
                  <a:pos x="connsiteX3606" y="connsiteY3606"/>
                </a:cxn>
                <a:cxn ang="0">
                  <a:pos x="connsiteX3607" y="connsiteY3607"/>
                </a:cxn>
                <a:cxn ang="0">
                  <a:pos x="connsiteX3608" y="connsiteY3608"/>
                </a:cxn>
                <a:cxn ang="0">
                  <a:pos x="connsiteX3609" y="connsiteY3609"/>
                </a:cxn>
                <a:cxn ang="0">
                  <a:pos x="connsiteX3610" y="connsiteY3610"/>
                </a:cxn>
                <a:cxn ang="0">
                  <a:pos x="connsiteX3611" y="connsiteY3611"/>
                </a:cxn>
                <a:cxn ang="0">
                  <a:pos x="connsiteX3612" y="connsiteY3612"/>
                </a:cxn>
                <a:cxn ang="0">
                  <a:pos x="connsiteX3613" y="connsiteY3613"/>
                </a:cxn>
                <a:cxn ang="0">
                  <a:pos x="connsiteX3614" y="connsiteY3614"/>
                </a:cxn>
                <a:cxn ang="0">
                  <a:pos x="connsiteX3615" y="connsiteY3615"/>
                </a:cxn>
                <a:cxn ang="0">
                  <a:pos x="connsiteX3616" y="connsiteY3616"/>
                </a:cxn>
                <a:cxn ang="0">
                  <a:pos x="connsiteX3617" y="connsiteY3617"/>
                </a:cxn>
                <a:cxn ang="0">
                  <a:pos x="connsiteX3618" y="connsiteY3618"/>
                </a:cxn>
                <a:cxn ang="0">
                  <a:pos x="connsiteX3619" y="connsiteY3619"/>
                </a:cxn>
                <a:cxn ang="0">
                  <a:pos x="connsiteX3620" y="connsiteY3620"/>
                </a:cxn>
                <a:cxn ang="0">
                  <a:pos x="connsiteX3621" y="connsiteY3621"/>
                </a:cxn>
                <a:cxn ang="0">
                  <a:pos x="connsiteX3622" y="connsiteY3622"/>
                </a:cxn>
                <a:cxn ang="0">
                  <a:pos x="connsiteX3623" y="connsiteY3623"/>
                </a:cxn>
                <a:cxn ang="0">
                  <a:pos x="connsiteX3624" y="connsiteY3624"/>
                </a:cxn>
                <a:cxn ang="0">
                  <a:pos x="connsiteX3625" y="connsiteY3625"/>
                </a:cxn>
                <a:cxn ang="0">
                  <a:pos x="connsiteX3626" y="connsiteY3626"/>
                </a:cxn>
                <a:cxn ang="0">
                  <a:pos x="connsiteX3627" y="connsiteY3627"/>
                </a:cxn>
                <a:cxn ang="0">
                  <a:pos x="connsiteX3628" y="connsiteY3628"/>
                </a:cxn>
                <a:cxn ang="0">
                  <a:pos x="connsiteX3629" y="connsiteY3629"/>
                </a:cxn>
                <a:cxn ang="0">
                  <a:pos x="connsiteX3630" y="connsiteY3630"/>
                </a:cxn>
                <a:cxn ang="0">
                  <a:pos x="connsiteX3631" y="connsiteY3631"/>
                </a:cxn>
                <a:cxn ang="0">
                  <a:pos x="connsiteX3632" y="connsiteY3632"/>
                </a:cxn>
                <a:cxn ang="0">
                  <a:pos x="connsiteX3633" y="connsiteY3633"/>
                </a:cxn>
                <a:cxn ang="0">
                  <a:pos x="connsiteX3634" y="connsiteY3634"/>
                </a:cxn>
                <a:cxn ang="0">
                  <a:pos x="connsiteX3635" y="connsiteY3635"/>
                </a:cxn>
                <a:cxn ang="0">
                  <a:pos x="connsiteX3636" y="connsiteY3636"/>
                </a:cxn>
                <a:cxn ang="0">
                  <a:pos x="connsiteX3637" y="connsiteY3637"/>
                </a:cxn>
                <a:cxn ang="0">
                  <a:pos x="connsiteX3638" y="connsiteY3638"/>
                </a:cxn>
                <a:cxn ang="0">
                  <a:pos x="connsiteX3639" y="connsiteY3639"/>
                </a:cxn>
                <a:cxn ang="0">
                  <a:pos x="connsiteX3640" y="connsiteY3640"/>
                </a:cxn>
                <a:cxn ang="0">
                  <a:pos x="connsiteX3641" y="connsiteY3641"/>
                </a:cxn>
                <a:cxn ang="0">
                  <a:pos x="connsiteX3642" y="connsiteY3642"/>
                </a:cxn>
                <a:cxn ang="0">
                  <a:pos x="connsiteX3643" y="connsiteY3643"/>
                </a:cxn>
                <a:cxn ang="0">
                  <a:pos x="connsiteX3644" y="connsiteY3644"/>
                </a:cxn>
                <a:cxn ang="0">
                  <a:pos x="connsiteX3645" y="connsiteY3645"/>
                </a:cxn>
                <a:cxn ang="0">
                  <a:pos x="connsiteX3646" y="connsiteY3646"/>
                </a:cxn>
                <a:cxn ang="0">
                  <a:pos x="connsiteX3647" y="connsiteY3647"/>
                </a:cxn>
                <a:cxn ang="0">
                  <a:pos x="connsiteX3648" y="connsiteY3648"/>
                </a:cxn>
                <a:cxn ang="0">
                  <a:pos x="connsiteX3649" y="connsiteY3649"/>
                </a:cxn>
                <a:cxn ang="0">
                  <a:pos x="connsiteX3650" y="connsiteY3650"/>
                </a:cxn>
                <a:cxn ang="0">
                  <a:pos x="connsiteX3651" y="connsiteY3651"/>
                </a:cxn>
                <a:cxn ang="0">
                  <a:pos x="connsiteX3652" y="connsiteY3652"/>
                </a:cxn>
                <a:cxn ang="0">
                  <a:pos x="connsiteX3653" y="connsiteY3653"/>
                </a:cxn>
                <a:cxn ang="0">
                  <a:pos x="connsiteX3654" y="connsiteY3654"/>
                </a:cxn>
                <a:cxn ang="0">
                  <a:pos x="connsiteX3655" y="connsiteY3655"/>
                </a:cxn>
                <a:cxn ang="0">
                  <a:pos x="connsiteX3656" y="connsiteY3656"/>
                </a:cxn>
                <a:cxn ang="0">
                  <a:pos x="connsiteX3657" y="connsiteY3657"/>
                </a:cxn>
                <a:cxn ang="0">
                  <a:pos x="connsiteX3658" y="connsiteY3658"/>
                </a:cxn>
                <a:cxn ang="0">
                  <a:pos x="connsiteX3659" y="connsiteY3659"/>
                </a:cxn>
                <a:cxn ang="0">
                  <a:pos x="connsiteX3660" y="connsiteY3660"/>
                </a:cxn>
                <a:cxn ang="0">
                  <a:pos x="connsiteX3661" y="connsiteY3661"/>
                </a:cxn>
                <a:cxn ang="0">
                  <a:pos x="connsiteX3662" y="connsiteY3662"/>
                </a:cxn>
                <a:cxn ang="0">
                  <a:pos x="connsiteX3663" y="connsiteY3663"/>
                </a:cxn>
                <a:cxn ang="0">
                  <a:pos x="connsiteX3664" y="connsiteY3664"/>
                </a:cxn>
                <a:cxn ang="0">
                  <a:pos x="connsiteX3665" y="connsiteY3665"/>
                </a:cxn>
                <a:cxn ang="0">
                  <a:pos x="connsiteX3666" y="connsiteY3666"/>
                </a:cxn>
                <a:cxn ang="0">
                  <a:pos x="connsiteX3667" y="connsiteY3667"/>
                </a:cxn>
                <a:cxn ang="0">
                  <a:pos x="connsiteX3668" y="connsiteY3668"/>
                </a:cxn>
                <a:cxn ang="0">
                  <a:pos x="connsiteX3669" y="connsiteY3669"/>
                </a:cxn>
                <a:cxn ang="0">
                  <a:pos x="connsiteX3670" y="connsiteY3670"/>
                </a:cxn>
                <a:cxn ang="0">
                  <a:pos x="connsiteX3671" y="connsiteY3671"/>
                </a:cxn>
                <a:cxn ang="0">
                  <a:pos x="connsiteX3672" y="connsiteY3672"/>
                </a:cxn>
                <a:cxn ang="0">
                  <a:pos x="connsiteX3673" y="connsiteY3673"/>
                </a:cxn>
                <a:cxn ang="0">
                  <a:pos x="connsiteX3674" y="connsiteY3674"/>
                </a:cxn>
                <a:cxn ang="0">
                  <a:pos x="connsiteX3675" y="connsiteY3675"/>
                </a:cxn>
                <a:cxn ang="0">
                  <a:pos x="connsiteX3676" y="connsiteY3676"/>
                </a:cxn>
                <a:cxn ang="0">
                  <a:pos x="connsiteX3677" y="connsiteY3677"/>
                </a:cxn>
                <a:cxn ang="0">
                  <a:pos x="connsiteX3678" y="connsiteY3678"/>
                </a:cxn>
                <a:cxn ang="0">
                  <a:pos x="connsiteX3679" y="connsiteY3679"/>
                </a:cxn>
                <a:cxn ang="0">
                  <a:pos x="connsiteX3680" y="connsiteY3680"/>
                </a:cxn>
                <a:cxn ang="0">
                  <a:pos x="connsiteX3681" y="connsiteY3681"/>
                </a:cxn>
                <a:cxn ang="0">
                  <a:pos x="connsiteX3682" y="connsiteY3682"/>
                </a:cxn>
                <a:cxn ang="0">
                  <a:pos x="connsiteX3683" y="connsiteY3683"/>
                </a:cxn>
                <a:cxn ang="0">
                  <a:pos x="connsiteX3684" y="connsiteY3684"/>
                </a:cxn>
                <a:cxn ang="0">
                  <a:pos x="connsiteX3685" y="connsiteY3685"/>
                </a:cxn>
                <a:cxn ang="0">
                  <a:pos x="connsiteX3686" y="connsiteY3686"/>
                </a:cxn>
                <a:cxn ang="0">
                  <a:pos x="connsiteX3687" y="connsiteY3687"/>
                </a:cxn>
                <a:cxn ang="0">
                  <a:pos x="connsiteX3688" y="connsiteY3688"/>
                </a:cxn>
                <a:cxn ang="0">
                  <a:pos x="connsiteX3689" y="connsiteY3689"/>
                </a:cxn>
                <a:cxn ang="0">
                  <a:pos x="connsiteX3690" y="connsiteY3690"/>
                </a:cxn>
                <a:cxn ang="0">
                  <a:pos x="connsiteX3691" y="connsiteY3691"/>
                </a:cxn>
                <a:cxn ang="0">
                  <a:pos x="connsiteX3692" y="connsiteY3692"/>
                </a:cxn>
                <a:cxn ang="0">
                  <a:pos x="connsiteX3693" y="connsiteY3693"/>
                </a:cxn>
                <a:cxn ang="0">
                  <a:pos x="connsiteX3694" y="connsiteY3694"/>
                </a:cxn>
                <a:cxn ang="0">
                  <a:pos x="connsiteX3695" y="connsiteY3695"/>
                </a:cxn>
                <a:cxn ang="0">
                  <a:pos x="connsiteX3696" y="connsiteY3696"/>
                </a:cxn>
                <a:cxn ang="0">
                  <a:pos x="connsiteX3697" y="connsiteY3697"/>
                </a:cxn>
                <a:cxn ang="0">
                  <a:pos x="connsiteX3698" y="connsiteY3698"/>
                </a:cxn>
                <a:cxn ang="0">
                  <a:pos x="connsiteX3699" y="connsiteY3699"/>
                </a:cxn>
                <a:cxn ang="0">
                  <a:pos x="connsiteX3700" y="connsiteY3700"/>
                </a:cxn>
                <a:cxn ang="0">
                  <a:pos x="connsiteX3701" y="connsiteY3701"/>
                </a:cxn>
                <a:cxn ang="0">
                  <a:pos x="connsiteX3702" y="connsiteY3702"/>
                </a:cxn>
                <a:cxn ang="0">
                  <a:pos x="connsiteX3703" y="connsiteY3703"/>
                </a:cxn>
                <a:cxn ang="0">
                  <a:pos x="connsiteX3704" y="connsiteY3704"/>
                </a:cxn>
                <a:cxn ang="0">
                  <a:pos x="connsiteX3705" y="connsiteY3705"/>
                </a:cxn>
                <a:cxn ang="0">
                  <a:pos x="connsiteX3706" y="connsiteY3706"/>
                </a:cxn>
                <a:cxn ang="0">
                  <a:pos x="connsiteX3707" y="connsiteY3707"/>
                </a:cxn>
                <a:cxn ang="0">
                  <a:pos x="connsiteX3708" y="connsiteY3708"/>
                </a:cxn>
                <a:cxn ang="0">
                  <a:pos x="connsiteX3709" y="connsiteY3709"/>
                </a:cxn>
                <a:cxn ang="0">
                  <a:pos x="connsiteX3710" y="connsiteY3710"/>
                </a:cxn>
                <a:cxn ang="0">
                  <a:pos x="connsiteX3711" y="connsiteY3711"/>
                </a:cxn>
                <a:cxn ang="0">
                  <a:pos x="connsiteX3712" y="connsiteY3712"/>
                </a:cxn>
                <a:cxn ang="0">
                  <a:pos x="connsiteX3713" y="connsiteY3713"/>
                </a:cxn>
                <a:cxn ang="0">
                  <a:pos x="connsiteX3714" y="connsiteY3714"/>
                </a:cxn>
                <a:cxn ang="0">
                  <a:pos x="connsiteX3715" y="connsiteY3715"/>
                </a:cxn>
                <a:cxn ang="0">
                  <a:pos x="connsiteX3716" y="connsiteY3716"/>
                </a:cxn>
                <a:cxn ang="0">
                  <a:pos x="connsiteX3717" y="connsiteY3717"/>
                </a:cxn>
                <a:cxn ang="0">
                  <a:pos x="connsiteX3718" y="connsiteY3718"/>
                </a:cxn>
                <a:cxn ang="0">
                  <a:pos x="connsiteX3719" y="connsiteY3719"/>
                </a:cxn>
                <a:cxn ang="0">
                  <a:pos x="connsiteX3720" y="connsiteY3720"/>
                </a:cxn>
                <a:cxn ang="0">
                  <a:pos x="connsiteX3721" y="connsiteY3721"/>
                </a:cxn>
                <a:cxn ang="0">
                  <a:pos x="connsiteX3722" y="connsiteY3722"/>
                </a:cxn>
                <a:cxn ang="0">
                  <a:pos x="connsiteX3723" y="connsiteY3723"/>
                </a:cxn>
                <a:cxn ang="0">
                  <a:pos x="connsiteX3724" y="connsiteY3724"/>
                </a:cxn>
                <a:cxn ang="0">
                  <a:pos x="connsiteX3725" y="connsiteY3725"/>
                </a:cxn>
                <a:cxn ang="0">
                  <a:pos x="connsiteX3726" y="connsiteY3726"/>
                </a:cxn>
                <a:cxn ang="0">
                  <a:pos x="connsiteX3727" y="connsiteY3727"/>
                </a:cxn>
                <a:cxn ang="0">
                  <a:pos x="connsiteX3728" y="connsiteY3728"/>
                </a:cxn>
                <a:cxn ang="0">
                  <a:pos x="connsiteX3729" y="connsiteY3729"/>
                </a:cxn>
                <a:cxn ang="0">
                  <a:pos x="connsiteX3730" y="connsiteY3730"/>
                </a:cxn>
                <a:cxn ang="0">
                  <a:pos x="connsiteX3731" y="connsiteY3731"/>
                </a:cxn>
                <a:cxn ang="0">
                  <a:pos x="connsiteX3732" y="connsiteY3732"/>
                </a:cxn>
                <a:cxn ang="0">
                  <a:pos x="connsiteX3733" y="connsiteY3733"/>
                </a:cxn>
                <a:cxn ang="0">
                  <a:pos x="connsiteX3734" y="connsiteY3734"/>
                </a:cxn>
                <a:cxn ang="0">
                  <a:pos x="connsiteX3735" y="connsiteY3735"/>
                </a:cxn>
                <a:cxn ang="0">
                  <a:pos x="connsiteX3736" y="connsiteY3736"/>
                </a:cxn>
                <a:cxn ang="0">
                  <a:pos x="connsiteX3737" y="connsiteY3737"/>
                </a:cxn>
                <a:cxn ang="0">
                  <a:pos x="connsiteX3738" y="connsiteY3738"/>
                </a:cxn>
                <a:cxn ang="0">
                  <a:pos x="connsiteX3739" y="connsiteY3739"/>
                </a:cxn>
                <a:cxn ang="0">
                  <a:pos x="connsiteX3740" y="connsiteY3740"/>
                </a:cxn>
                <a:cxn ang="0">
                  <a:pos x="connsiteX3741" y="connsiteY3741"/>
                </a:cxn>
                <a:cxn ang="0">
                  <a:pos x="connsiteX3742" y="connsiteY3742"/>
                </a:cxn>
                <a:cxn ang="0">
                  <a:pos x="connsiteX3743" y="connsiteY3743"/>
                </a:cxn>
                <a:cxn ang="0">
                  <a:pos x="connsiteX3744" y="connsiteY3744"/>
                </a:cxn>
                <a:cxn ang="0">
                  <a:pos x="connsiteX3745" y="connsiteY3745"/>
                </a:cxn>
                <a:cxn ang="0">
                  <a:pos x="connsiteX3746" y="connsiteY3746"/>
                </a:cxn>
                <a:cxn ang="0">
                  <a:pos x="connsiteX3747" y="connsiteY3747"/>
                </a:cxn>
                <a:cxn ang="0">
                  <a:pos x="connsiteX3748" y="connsiteY3748"/>
                </a:cxn>
                <a:cxn ang="0">
                  <a:pos x="connsiteX3749" y="connsiteY3749"/>
                </a:cxn>
                <a:cxn ang="0">
                  <a:pos x="connsiteX3750" y="connsiteY3750"/>
                </a:cxn>
                <a:cxn ang="0">
                  <a:pos x="connsiteX3751" y="connsiteY3751"/>
                </a:cxn>
                <a:cxn ang="0">
                  <a:pos x="connsiteX3752" y="connsiteY3752"/>
                </a:cxn>
                <a:cxn ang="0">
                  <a:pos x="connsiteX3753" y="connsiteY3753"/>
                </a:cxn>
                <a:cxn ang="0">
                  <a:pos x="connsiteX3754" y="connsiteY3754"/>
                </a:cxn>
                <a:cxn ang="0">
                  <a:pos x="connsiteX3755" y="connsiteY3755"/>
                </a:cxn>
                <a:cxn ang="0">
                  <a:pos x="connsiteX3756" y="connsiteY3756"/>
                </a:cxn>
                <a:cxn ang="0">
                  <a:pos x="connsiteX3757" y="connsiteY3757"/>
                </a:cxn>
                <a:cxn ang="0">
                  <a:pos x="connsiteX3758" y="connsiteY3758"/>
                </a:cxn>
                <a:cxn ang="0">
                  <a:pos x="connsiteX3759" y="connsiteY3759"/>
                </a:cxn>
                <a:cxn ang="0">
                  <a:pos x="connsiteX3760" y="connsiteY3760"/>
                </a:cxn>
                <a:cxn ang="0">
                  <a:pos x="connsiteX3761" y="connsiteY3761"/>
                </a:cxn>
                <a:cxn ang="0">
                  <a:pos x="connsiteX3762" y="connsiteY3762"/>
                </a:cxn>
                <a:cxn ang="0">
                  <a:pos x="connsiteX3763" y="connsiteY3763"/>
                </a:cxn>
                <a:cxn ang="0">
                  <a:pos x="connsiteX3764" y="connsiteY3764"/>
                </a:cxn>
                <a:cxn ang="0">
                  <a:pos x="connsiteX3765" y="connsiteY3765"/>
                </a:cxn>
                <a:cxn ang="0">
                  <a:pos x="connsiteX3766" y="connsiteY3766"/>
                </a:cxn>
                <a:cxn ang="0">
                  <a:pos x="connsiteX3767" y="connsiteY3767"/>
                </a:cxn>
                <a:cxn ang="0">
                  <a:pos x="connsiteX3768" y="connsiteY3768"/>
                </a:cxn>
                <a:cxn ang="0">
                  <a:pos x="connsiteX3769" y="connsiteY3769"/>
                </a:cxn>
                <a:cxn ang="0">
                  <a:pos x="connsiteX3770" y="connsiteY3770"/>
                </a:cxn>
                <a:cxn ang="0">
                  <a:pos x="connsiteX3771" y="connsiteY3771"/>
                </a:cxn>
                <a:cxn ang="0">
                  <a:pos x="connsiteX3772" y="connsiteY3772"/>
                </a:cxn>
                <a:cxn ang="0">
                  <a:pos x="connsiteX3773" y="connsiteY3773"/>
                </a:cxn>
                <a:cxn ang="0">
                  <a:pos x="connsiteX3774" y="connsiteY3774"/>
                </a:cxn>
                <a:cxn ang="0">
                  <a:pos x="connsiteX3775" y="connsiteY3775"/>
                </a:cxn>
                <a:cxn ang="0">
                  <a:pos x="connsiteX3776" y="connsiteY3776"/>
                </a:cxn>
                <a:cxn ang="0">
                  <a:pos x="connsiteX3777" y="connsiteY3777"/>
                </a:cxn>
                <a:cxn ang="0">
                  <a:pos x="connsiteX3778" y="connsiteY3778"/>
                </a:cxn>
                <a:cxn ang="0">
                  <a:pos x="connsiteX3779" y="connsiteY3779"/>
                </a:cxn>
                <a:cxn ang="0">
                  <a:pos x="connsiteX3780" y="connsiteY3780"/>
                </a:cxn>
                <a:cxn ang="0">
                  <a:pos x="connsiteX3781" y="connsiteY3781"/>
                </a:cxn>
                <a:cxn ang="0">
                  <a:pos x="connsiteX3782" y="connsiteY3782"/>
                </a:cxn>
                <a:cxn ang="0">
                  <a:pos x="connsiteX3783" y="connsiteY3783"/>
                </a:cxn>
                <a:cxn ang="0">
                  <a:pos x="connsiteX3784" y="connsiteY3784"/>
                </a:cxn>
                <a:cxn ang="0">
                  <a:pos x="connsiteX3785" y="connsiteY3785"/>
                </a:cxn>
                <a:cxn ang="0">
                  <a:pos x="connsiteX3786" y="connsiteY3786"/>
                </a:cxn>
                <a:cxn ang="0">
                  <a:pos x="connsiteX3787" y="connsiteY3787"/>
                </a:cxn>
                <a:cxn ang="0">
                  <a:pos x="connsiteX3788" y="connsiteY3788"/>
                </a:cxn>
                <a:cxn ang="0">
                  <a:pos x="connsiteX3789" y="connsiteY3789"/>
                </a:cxn>
                <a:cxn ang="0">
                  <a:pos x="connsiteX3790" y="connsiteY3790"/>
                </a:cxn>
                <a:cxn ang="0">
                  <a:pos x="connsiteX3791" y="connsiteY3791"/>
                </a:cxn>
                <a:cxn ang="0">
                  <a:pos x="connsiteX3792" y="connsiteY3792"/>
                </a:cxn>
                <a:cxn ang="0">
                  <a:pos x="connsiteX3793" y="connsiteY3793"/>
                </a:cxn>
                <a:cxn ang="0">
                  <a:pos x="connsiteX3794" y="connsiteY3794"/>
                </a:cxn>
                <a:cxn ang="0">
                  <a:pos x="connsiteX3795" y="connsiteY3795"/>
                </a:cxn>
                <a:cxn ang="0">
                  <a:pos x="connsiteX3796" y="connsiteY3796"/>
                </a:cxn>
                <a:cxn ang="0">
                  <a:pos x="connsiteX3797" y="connsiteY3797"/>
                </a:cxn>
                <a:cxn ang="0">
                  <a:pos x="connsiteX3798" y="connsiteY3798"/>
                </a:cxn>
                <a:cxn ang="0">
                  <a:pos x="connsiteX3799" y="connsiteY3799"/>
                </a:cxn>
                <a:cxn ang="0">
                  <a:pos x="connsiteX3800" y="connsiteY3800"/>
                </a:cxn>
                <a:cxn ang="0">
                  <a:pos x="connsiteX3801" y="connsiteY3801"/>
                </a:cxn>
                <a:cxn ang="0">
                  <a:pos x="connsiteX3802" y="connsiteY3802"/>
                </a:cxn>
                <a:cxn ang="0">
                  <a:pos x="connsiteX3803" y="connsiteY3803"/>
                </a:cxn>
                <a:cxn ang="0">
                  <a:pos x="connsiteX3804" y="connsiteY3804"/>
                </a:cxn>
                <a:cxn ang="0">
                  <a:pos x="connsiteX3805" y="connsiteY3805"/>
                </a:cxn>
                <a:cxn ang="0">
                  <a:pos x="connsiteX3806" y="connsiteY3806"/>
                </a:cxn>
                <a:cxn ang="0">
                  <a:pos x="connsiteX3807" y="connsiteY3807"/>
                </a:cxn>
                <a:cxn ang="0">
                  <a:pos x="connsiteX3808" y="connsiteY3808"/>
                </a:cxn>
                <a:cxn ang="0">
                  <a:pos x="connsiteX3809" y="connsiteY3809"/>
                </a:cxn>
                <a:cxn ang="0">
                  <a:pos x="connsiteX3810" y="connsiteY3810"/>
                </a:cxn>
                <a:cxn ang="0">
                  <a:pos x="connsiteX3811" y="connsiteY3811"/>
                </a:cxn>
                <a:cxn ang="0">
                  <a:pos x="connsiteX3812" y="connsiteY3812"/>
                </a:cxn>
                <a:cxn ang="0">
                  <a:pos x="connsiteX3813" y="connsiteY3813"/>
                </a:cxn>
                <a:cxn ang="0">
                  <a:pos x="connsiteX3814" y="connsiteY3814"/>
                </a:cxn>
                <a:cxn ang="0">
                  <a:pos x="connsiteX3815" y="connsiteY3815"/>
                </a:cxn>
                <a:cxn ang="0">
                  <a:pos x="connsiteX3816" y="connsiteY3816"/>
                </a:cxn>
                <a:cxn ang="0">
                  <a:pos x="connsiteX3817" y="connsiteY3817"/>
                </a:cxn>
                <a:cxn ang="0">
                  <a:pos x="connsiteX3818" y="connsiteY3818"/>
                </a:cxn>
                <a:cxn ang="0">
                  <a:pos x="connsiteX3819" y="connsiteY3819"/>
                </a:cxn>
                <a:cxn ang="0">
                  <a:pos x="connsiteX3820" y="connsiteY3820"/>
                </a:cxn>
                <a:cxn ang="0">
                  <a:pos x="connsiteX3821" y="connsiteY3821"/>
                </a:cxn>
                <a:cxn ang="0">
                  <a:pos x="connsiteX3822" y="connsiteY3822"/>
                </a:cxn>
                <a:cxn ang="0">
                  <a:pos x="connsiteX3823" y="connsiteY3823"/>
                </a:cxn>
                <a:cxn ang="0">
                  <a:pos x="connsiteX3824" y="connsiteY3824"/>
                </a:cxn>
                <a:cxn ang="0">
                  <a:pos x="connsiteX3825" y="connsiteY3825"/>
                </a:cxn>
                <a:cxn ang="0">
                  <a:pos x="connsiteX3826" y="connsiteY3826"/>
                </a:cxn>
                <a:cxn ang="0">
                  <a:pos x="connsiteX3827" y="connsiteY3827"/>
                </a:cxn>
                <a:cxn ang="0">
                  <a:pos x="connsiteX3828" y="connsiteY3828"/>
                </a:cxn>
                <a:cxn ang="0">
                  <a:pos x="connsiteX3829" y="connsiteY3829"/>
                </a:cxn>
                <a:cxn ang="0">
                  <a:pos x="connsiteX3830" y="connsiteY3830"/>
                </a:cxn>
                <a:cxn ang="0">
                  <a:pos x="connsiteX3831" y="connsiteY3831"/>
                </a:cxn>
                <a:cxn ang="0">
                  <a:pos x="connsiteX3832" y="connsiteY3832"/>
                </a:cxn>
                <a:cxn ang="0">
                  <a:pos x="connsiteX3833" y="connsiteY3833"/>
                </a:cxn>
                <a:cxn ang="0">
                  <a:pos x="connsiteX3834" y="connsiteY3834"/>
                </a:cxn>
                <a:cxn ang="0">
                  <a:pos x="connsiteX3835" y="connsiteY3835"/>
                </a:cxn>
                <a:cxn ang="0">
                  <a:pos x="connsiteX3836" y="connsiteY3836"/>
                </a:cxn>
                <a:cxn ang="0">
                  <a:pos x="connsiteX3837" y="connsiteY3837"/>
                </a:cxn>
                <a:cxn ang="0">
                  <a:pos x="connsiteX3838" y="connsiteY3838"/>
                </a:cxn>
                <a:cxn ang="0">
                  <a:pos x="connsiteX3839" y="connsiteY3839"/>
                </a:cxn>
                <a:cxn ang="0">
                  <a:pos x="connsiteX3840" y="connsiteY3840"/>
                </a:cxn>
                <a:cxn ang="0">
                  <a:pos x="connsiteX3841" y="connsiteY3841"/>
                </a:cxn>
                <a:cxn ang="0">
                  <a:pos x="connsiteX3842" y="connsiteY3842"/>
                </a:cxn>
                <a:cxn ang="0">
                  <a:pos x="connsiteX3843" y="connsiteY3843"/>
                </a:cxn>
                <a:cxn ang="0">
                  <a:pos x="connsiteX3844" y="connsiteY3844"/>
                </a:cxn>
                <a:cxn ang="0">
                  <a:pos x="connsiteX3845" y="connsiteY3845"/>
                </a:cxn>
                <a:cxn ang="0">
                  <a:pos x="connsiteX3846" y="connsiteY3846"/>
                </a:cxn>
                <a:cxn ang="0">
                  <a:pos x="connsiteX3847" y="connsiteY3847"/>
                </a:cxn>
                <a:cxn ang="0">
                  <a:pos x="connsiteX3848" y="connsiteY3848"/>
                </a:cxn>
                <a:cxn ang="0">
                  <a:pos x="connsiteX3849" y="connsiteY3849"/>
                </a:cxn>
                <a:cxn ang="0">
                  <a:pos x="connsiteX3850" y="connsiteY3850"/>
                </a:cxn>
                <a:cxn ang="0">
                  <a:pos x="connsiteX3851" y="connsiteY3851"/>
                </a:cxn>
                <a:cxn ang="0">
                  <a:pos x="connsiteX3852" y="connsiteY3852"/>
                </a:cxn>
                <a:cxn ang="0">
                  <a:pos x="connsiteX3853" y="connsiteY3853"/>
                </a:cxn>
                <a:cxn ang="0">
                  <a:pos x="connsiteX3854" y="connsiteY3854"/>
                </a:cxn>
                <a:cxn ang="0">
                  <a:pos x="connsiteX3855" y="connsiteY3855"/>
                </a:cxn>
                <a:cxn ang="0">
                  <a:pos x="connsiteX3856" y="connsiteY3856"/>
                </a:cxn>
                <a:cxn ang="0">
                  <a:pos x="connsiteX3857" y="connsiteY3857"/>
                </a:cxn>
                <a:cxn ang="0">
                  <a:pos x="connsiteX3858" y="connsiteY3858"/>
                </a:cxn>
                <a:cxn ang="0">
                  <a:pos x="connsiteX3859" y="connsiteY3859"/>
                </a:cxn>
                <a:cxn ang="0">
                  <a:pos x="connsiteX3860" y="connsiteY3860"/>
                </a:cxn>
                <a:cxn ang="0">
                  <a:pos x="connsiteX3861" y="connsiteY3861"/>
                </a:cxn>
                <a:cxn ang="0">
                  <a:pos x="connsiteX3862" y="connsiteY3862"/>
                </a:cxn>
                <a:cxn ang="0">
                  <a:pos x="connsiteX3863" y="connsiteY3863"/>
                </a:cxn>
                <a:cxn ang="0">
                  <a:pos x="connsiteX3864" y="connsiteY3864"/>
                </a:cxn>
                <a:cxn ang="0">
                  <a:pos x="connsiteX3865" y="connsiteY3865"/>
                </a:cxn>
                <a:cxn ang="0">
                  <a:pos x="connsiteX3866" y="connsiteY3866"/>
                </a:cxn>
                <a:cxn ang="0">
                  <a:pos x="connsiteX3867" y="connsiteY3867"/>
                </a:cxn>
                <a:cxn ang="0">
                  <a:pos x="connsiteX3868" y="connsiteY3868"/>
                </a:cxn>
                <a:cxn ang="0">
                  <a:pos x="connsiteX3869" y="connsiteY3869"/>
                </a:cxn>
                <a:cxn ang="0">
                  <a:pos x="connsiteX3870" y="connsiteY3870"/>
                </a:cxn>
                <a:cxn ang="0">
                  <a:pos x="connsiteX3871" y="connsiteY3871"/>
                </a:cxn>
                <a:cxn ang="0">
                  <a:pos x="connsiteX3872" y="connsiteY3872"/>
                </a:cxn>
                <a:cxn ang="0">
                  <a:pos x="connsiteX3873" y="connsiteY3873"/>
                </a:cxn>
                <a:cxn ang="0">
                  <a:pos x="connsiteX3874" y="connsiteY3874"/>
                </a:cxn>
                <a:cxn ang="0">
                  <a:pos x="connsiteX3875" y="connsiteY3875"/>
                </a:cxn>
                <a:cxn ang="0">
                  <a:pos x="connsiteX3876" y="connsiteY3876"/>
                </a:cxn>
                <a:cxn ang="0">
                  <a:pos x="connsiteX3877" y="connsiteY3877"/>
                </a:cxn>
                <a:cxn ang="0">
                  <a:pos x="connsiteX3878" y="connsiteY3878"/>
                </a:cxn>
                <a:cxn ang="0">
                  <a:pos x="connsiteX3879" y="connsiteY3879"/>
                </a:cxn>
                <a:cxn ang="0">
                  <a:pos x="connsiteX3880" y="connsiteY3880"/>
                </a:cxn>
                <a:cxn ang="0">
                  <a:pos x="connsiteX3881" y="connsiteY3881"/>
                </a:cxn>
                <a:cxn ang="0">
                  <a:pos x="connsiteX3882" y="connsiteY3882"/>
                </a:cxn>
                <a:cxn ang="0">
                  <a:pos x="connsiteX3883" y="connsiteY3883"/>
                </a:cxn>
                <a:cxn ang="0">
                  <a:pos x="connsiteX3884" y="connsiteY3884"/>
                </a:cxn>
                <a:cxn ang="0">
                  <a:pos x="connsiteX3885" y="connsiteY3885"/>
                </a:cxn>
                <a:cxn ang="0">
                  <a:pos x="connsiteX3886" y="connsiteY3886"/>
                </a:cxn>
                <a:cxn ang="0">
                  <a:pos x="connsiteX3887" y="connsiteY3887"/>
                </a:cxn>
                <a:cxn ang="0">
                  <a:pos x="connsiteX3888" y="connsiteY3888"/>
                </a:cxn>
                <a:cxn ang="0">
                  <a:pos x="connsiteX3889" y="connsiteY3889"/>
                </a:cxn>
                <a:cxn ang="0">
                  <a:pos x="connsiteX3890" y="connsiteY3890"/>
                </a:cxn>
                <a:cxn ang="0">
                  <a:pos x="connsiteX3891" y="connsiteY3891"/>
                </a:cxn>
                <a:cxn ang="0">
                  <a:pos x="connsiteX3892" y="connsiteY3892"/>
                </a:cxn>
                <a:cxn ang="0">
                  <a:pos x="connsiteX3893" y="connsiteY3893"/>
                </a:cxn>
                <a:cxn ang="0">
                  <a:pos x="connsiteX3894" y="connsiteY3894"/>
                </a:cxn>
                <a:cxn ang="0">
                  <a:pos x="connsiteX3895" y="connsiteY3895"/>
                </a:cxn>
                <a:cxn ang="0">
                  <a:pos x="connsiteX3896" y="connsiteY3896"/>
                </a:cxn>
                <a:cxn ang="0">
                  <a:pos x="connsiteX3897" y="connsiteY3897"/>
                </a:cxn>
                <a:cxn ang="0">
                  <a:pos x="connsiteX3898" y="connsiteY3898"/>
                </a:cxn>
                <a:cxn ang="0">
                  <a:pos x="connsiteX3899" y="connsiteY3899"/>
                </a:cxn>
                <a:cxn ang="0">
                  <a:pos x="connsiteX3900" y="connsiteY3900"/>
                </a:cxn>
                <a:cxn ang="0">
                  <a:pos x="connsiteX3901" y="connsiteY3901"/>
                </a:cxn>
                <a:cxn ang="0">
                  <a:pos x="connsiteX3902" y="connsiteY3902"/>
                </a:cxn>
                <a:cxn ang="0">
                  <a:pos x="connsiteX3903" y="connsiteY3903"/>
                </a:cxn>
                <a:cxn ang="0">
                  <a:pos x="connsiteX3904" y="connsiteY3904"/>
                </a:cxn>
                <a:cxn ang="0">
                  <a:pos x="connsiteX3905" y="connsiteY3905"/>
                </a:cxn>
                <a:cxn ang="0">
                  <a:pos x="connsiteX3906" y="connsiteY3906"/>
                </a:cxn>
                <a:cxn ang="0">
                  <a:pos x="connsiteX3907" y="connsiteY3907"/>
                </a:cxn>
                <a:cxn ang="0">
                  <a:pos x="connsiteX3908" y="connsiteY3908"/>
                </a:cxn>
                <a:cxn ang="0">
                  <a:pos x="connsiteX3909" y="connsiteY3909"/>
                </a:cxn>
                <a:cxn ang="0">
                  <a:pos x="connsiteX3910" y="connsiteY3910"/>
                </a:cxn>
                <a:cxn ang="0">
                  <a:pos x="connsiteX3911" y="connsiteY3911"/>
                </a:cxn>
                <a:cxn ang="0">
                  <a:pos x="connsiteX3912" y="connsiteY3912"/>
                </a:cxn>
                <a:cxn ang="0">
                  <a:pos x="connsiteX3913" y="connsiteY3913"/>
                </a:cxn>
                <a:cxn ang="0">
                  <a:pos x="connsiteX3914" y="connsiteY3914"/>
                </a:cxn>
                <a:cxn ang="0">
                  <a:pos x="connsiteX3915" y="connsiteY3915"/>
                </a:cxn>
                <a:cxn ang="0">
                  <a:pos x="connsiteX3916" y="connsiteY3916"/>
                </a:cxn>
                <a:cxn ang="0">
                  <a:pos x="connsiteX3917" y="connsiteY3917"/>
                </a:cxn>
                <a:cxn ang="0">
                  <a:pos x="connsiteX3918" y="connsiteY3918"/>
                </a:cxn>
                <a:cxn ang="0">
                  <a:pos x="connsiteX3919" y="connsiteY3919"/>
                </a:cxn>
                <a:cxn ang="0">
                  <a:pos x="connsiteX3920" y="connsiteY3920"/>
                </a:cxn>
                <a:cxn ang="0">
                  <a:pos x="connsiteX3921" y="connsiteY3921"/>
                </a:cxn>
                <a:cxn ang="0">
                  <a:pos x="connsiteX3922" y="connsiteY3922"/>
                </a:cxn>
                <a:cxn ang="0">
                  <a:pos x="connsiteX3923" y="connsiteY3923"/>
                </a:cxn>
                <a:cxn ang="0">
                  <a:pos x="connsiteX3924" y="connsiteY3924"/>
                </a:cxn>
                <a:cxn ang="0">
                  <a:pos x="connsiteX3925" y="connsiteY3925"/>
                </a:cxn>
                <a:cxn ang="0">
                  <a:pos x="connsiteX3926" y="connsiteY3926"/>
                </a:cxn>
                <a:cxn ang="0">
                  <a:pos x="connsiteX3927" y="connsiteY3927"/>
                </a:cxn>
                <a:cxn ang="0">
                  <a:pos x="connsiteX3928" y="connsiteY3928"/>
                </a:cxn>
                <a:cxn ang="0">
                  <a:pos x="connsiteX3929" y="connsiteY3929"/>
                </a:cxn>
                <a:cxn ang="0">
                  <a:pos x="connsiteX3930" y="connsiteY3930"/>
                </a:cxn>
                <a:cxn ang="0">
                  <a:pos x="connsiteX3931" y="connsiteY3931"/>
                </a:cxn>
                <a:cxn ang="0">
                  <a:pos x="connsiteX3932" y="connsiteY3932"/>
                </a:cxn>
                <a:cxn ang="0">
                  <a:pos x="connsiteX3933" y="connsiteY3933"/>
                </a:cxn>
                <a:cxn ang="0">
                  <a:pos x="connsiteX3934" y="connsiteY3934"/>
                </a:cxn>
                <a:cxn ang="0">
                  <a:pos x="connsiteX3935" y="connsiteY3935"/>
                </a:cxn>
                <a:cxn ang="0">
                  <a:pos x="connsiteX3936" y="connsiteY3936"/>
                </a:cxn>
                <a:cxn ang="0">
                  <a:pos x="connsiteX3937" y="connsiteY3937"/>
                </a:cxn>
                <a:cxn ang="0">
                  <a:pos x="connsiteX3938" y="connsiteY3938"/>
                </a:cxn>
                <a:cxn ang="0">
                  <a:pos x="connsiteX3939" y="connsiteY3939"/>
                </a:cxn>
                <a:cxn ang="0">
                  <a:pos x="connsiteX3940" y="connsiteY3940"/>
                </a:cxn>
                <a:cxn ang="0">
                  <a:pos x="connsiteX3941" y="connsiteY3941"/>
                </a:cxn>
                <a:cxn ang="0">
                  <a:pos x="connsiteX3942" y="connsiteY3942"/>
                </a:cxn>
                <a:cxn ang="0">
                  <a:pos x="connsiteX3943" y="connsiteY3943"/>
                </a:cxn>
                <a:cxn ang="0">
                  <a:pos x="connsiteX3944" y="connsiteY3944"/>
                </a:cxn>
                <a:cxn ang="0">
                  <a:pos x="connsiteX3945" y="connsiteY3945"/>
                </a:cxn>
                <a:cxn ang="0">
                  <a:pos x="connsiteX3946" y="connsiteY3946"/>
                </a:cxn>
                <a:cxn ang="0">
                  <a:pos x="connsiteX3947" y="connsiteY3947"/>
                </a:cxn>
                <a:cxn ang="0">
                  <a:pos x="connsiteX3948" y="connsiteY3948"/>
                </a:cxn>
                <a:cxn ang="0">
                  <a:pos x="connsiteX3949" y="connsiteY3949"/>
                </a:cxn>
                <a:cxn ang="0">
                  <a:pos x="connsiteX3950" y="connsiteY3950"/>
                </a:cxn>
                <a:cxn ang="0">
                  <a:pos x="connsiteX3951" y="connsiteY3951"/>
                </a:cxn>
                <a:cxn ang="0">
                  <a:pos x="connsiteX3952" y="connsiteY3952"/>
                </a:cxn>
                <a:cxn ang="0">
                  <a:pos x="connsiteX3953" y="connsiteY3953"/>
                </a:cxn>
                <a:cxn ang="0">
                  <a:pos x="connsiteX3954" y="connsiteY3954"/>
                </a:cxn>
                <a:cxn ang="0">
                  <a:pos x="connsiteX3955" y="connsiteY3955"/>
                </a:cxn>
                <a:cxn ang="0">
                  <a:pos x="connsiteX3956" y="connsiteY3956"/>
                </a:cxn>
                <a:cxn ang="0">
                  <a:pos x="connsiteX3957" y="connsiteY3957"/>
                </a:cxn>
                <a:cxn ang="0">
                  <a:pos x="connsiteX3958" y="connsiteY3958"/>
                </a:cxn>
                <a:cxn ang="0">
                  <a:pos x="connsiteX3959" y="connsiteY3959"/>
                </a:cxn>
                <a:cxn ang="0">
                  <a:pos x="connsiteX3960" y="connsiteY3960"/>
                </a:cxn>
                <a:cxn ang="0">
                  <a:pos x="connsiteX3961" y="connsiteY3961"/>
                </a:cxn>
                <a:cxn ang="0">
                  <a:pos x="connsiteX3962" y="connsiteY3962"/>
                </a:cxn>
                <a:cxn ang="0">
                  <a:pos x="connsiteX3963" y="connsiteY3963"/>
                </a:cxn>
                <a:cxn ang="0">
                  <a:pos x="connsiteX3964" y="connsiteY3964"/>
                </a:cxn>
                <a:cxn ang="0">
                  <a:pos x="connsiteX3965" y="connsiteY3965"/>
                </a:cxn>
                <a:cxn ang="0">
                  <a:pos x="connsiteX3966" y="connsiteY3966"/>
                </a:cxn>
                <a:cxn ang="0">
                  <a:pos x="connsiteX3967" y="connsiteY3967"/>
                </a:cxn>
                <a:cxn ang="0">
                  <a:pos x="connsiteX3968" y="connsiteY3968"/>
                </a:cxn>
                <a:cxn ang="0">
                  <a:pos x="connsiteX3969" y="connsiteY3969"/>
                </a:cxn>
                <a:cxn ang="0">
                  <a:pos x="connsiteX3970" y="connsiteY3970"/>
                </a:cxn>
                <a:cxn ang="0">
                  <a:pos x="connsiteX3971" y="connsiteY3971"/>
                </a:cxn>
                <a:cxn ang="0">
                  <a:pos x="connsiteX3972" y="connsiteY3972"/>
                </a:cxn>
                <a:cxn ang="0">
                  <a:pos x="connsiteX3973" y="connsiteY3973"/>
                </a:cxn>
                <a:cxn ang="0">
                  <a:pos x="connsiteX3974" y="connsiteY3974"/>
                </a:cxn>
                <a:cxn ang="0">
                  <a:pos x="connsiteX3975" y="connsiteY3975"/>
                </a:cxn>
                <a:cxn ang="0">
                  <a:pos x="connsiteX3976" y="connsiteY3976"/>
                </a:cxn>
                <a:cxn ang="0">
                  <a:pos x="connsiteX3977" y="connsiteY3977"/>
                </a:cxn>
                <a:cxn ang="0">
                  <a:pos x="connsiteX3978" y="connsiteY3978"/>
                </a:cxn>
                <a:cxn ang="0">
                  <a:pos x="connsiteX3979" y="connsiteY3979"/>
                </a:cxn>
                <a:cxn ang="0">
                  <a:pos x="connsiteX3980" y="connsiteY3980"/>
                </a:cxn>
                <a:cxn ang="0">
                  <a:pos x="connsiteX3981" y="connsiteY3981"/>
                </a:cxn>
                <a:cxn ang="0">
                  <a:pos x="connsiteX3982" y="connsiteY3982"/>
                </a:cxn>
                <a:cxn ang="0">
                  <a:pos x="connsiteX3983" y="connsiteY3983"/>
                </a:cxn>
                <a:cxn ang="0">
                  <a:pos x="connsiteX3984" y="connsiteY3984"/>
                </a:cxn>
                <a:cxn ang="0">
                  <a:pos x="connsiteX3985" y="connsiteY3985"/>
                </a:cxn>
                <a:cxn ang="0">
                  <a:pos x="connsiteX3986" y="connsiteY3986"/>
                </a:cxn>
                <a:cxn ang="0">
                  <a:pos x="connsiteX3987" y="connsiteY3987"/>
                </a:cxn>
                <a:cxn ang="0">
                  <a:pos x="connsiteX3988" y="connsiteY3988"/>
                </a:cxn>
                <a:cxn ang="0">
                  <a:pos x="connsiteX3989" y="connsiteY3989"/>
                </a:cxn>
                <a:cxn ang="0">
                  <a:pos x="connsiteX3990" y="connsiteY3990"/>
                </a:cxn>
                <a:cxn ang="0">
                  <a:pos x="connsiteX3991" y="connsiteY3991"/>
                </a:cxn>
                <a:cxn ang="0">
                  <a:pos x="connsiteX3992" y="connsiteY3992"/>
                </a:cxn>
                <a:cxn ang="0">
                  <a:pos x="connsiteX3993" y="connsiteY3993"/>
                </a:cxn>
                <a:cxn ang="0">
                  <a:pos x="connsiteX3994" y="connsiteY3994"/>
                </a:cxn>
                <a:cxn ang="0">
                  <a:pos x="connsiteX3995" y="connsiteY3995"/>
                </a:cxn>
                <a:cxn ang="0">
                  <a:pos x="connsiteX3996" y="connsiteY3996"/>
                </a:cxn>
                <a:cxn ang="0">
                  <a:pos x="connsiteX3997" y="connsiteY3997"/>
                </a:cxn>
                <a:cxn ang="0">
                  <a:pos x="connsiteX3998" y="connsiteY3998"/>
                </a:cxn>
                <a:cxn ang="0">
                  <a:pos x="connsiteX3999" y="connsiteY3999"/>
                </a:cxn>
                <a:cxn ang="0">
                  <a:pos x="connsiteX4000" y="connsiteY4000"/>
                </a:cxn>
                <a:cxn ang="0">
                  <a:pos x="connsiteX4001" y="connsiteY4001"/>
                </a:cxn>
                <a:cxn ang="0">
                  <a:pos x="connsiteX4002" y="connsiteY4002"/>
                </a:cxn>
                <a:cxn ang="0">
                  <a:pos x="connsiteX4003" y="connsiteY4003"/>
                </a:cxn>
                <a:cxn ang="0">
                  <a:pos x="connsiteX4004" y="connsiteY4004"/>
                </a:cxn>
                <a:cxn ang="0">
                  <a:pos x="connsiteX4005" y="connsiteY4005"/>
                </a:cxn>
                <a:cxn ang="0">
                  <a:pos x="connsiteX4006" y="connsiteY4006"/>
                </a:cxn>
                <a:cxn ang="0">
                  <a:pos x="connsiteX4007" y="connsiteY4007"/>
                </a:cxn>
                <a:cxn ang="0">
                  <a:pos x="connsiteX4008" y="connsiteY4008"/>
                </a:cxn>
                <a:cxn ang="0">
                  <a:pos x="connsiteX4009" y="connsiteY4009"/>
                </a:cxn>
                <a:cxn ang="0">
                  <a:pos x="connsiteX4010" y="connsiteY4010"/>
                </a:cxn>
                <a:cxn ang="0">
                  <a:pos x="connsiteX4011" y="connsiteY4011"/>
                </a:cxn>
                <a:cxn ang="0">
                  <a:pos x="connsiteX4012" y="connsiteY4012"/>
                </a:cxn>
                <a:cxn ang="0">
                  <a:pos x="connsiteX4013" y="connsiteY4013"/>
                </a:cxn>
                <a:cxn ang="0">
                  <a:pos x="connsiteX4014" y="connsiteY4014"/>
                </a:cxn>
                <a:cxn ang="0">
                  <a:pos x="connsiteX4015" y="connsiteY4015"/>
                </a:cxn>
                <a:cxn ang="0">
                  <a:pos x="connsiteX4016" y="connsiteY4016"/>
                </a:cxn>
                <a:cxn ang="0">
                  <a:pos x="connsiteX4017" y="connsiteY4017"/>
                </a:cxn>
                <a:cxn ang="0">
                  <a:pos x="connsiteX4018" y="connsiteY4018"/>
                </a:cxn>
                <a:cxn ang="0">
                  <a:pos x="connsiteX4019" y="connsiteY4019"/>
                </a:cxn>
                <a:cxn ang="0">
                  <a:pos x="connsiteX4020" y="connsiteY4020"/>
                </a:cxn>
                <a:cxn ang="0">
                  <a:pos x="connsiteX4021" y="connsiteY4021"/>
                </a:cxn>
                <a:cxn ang="0">
                  <a:pos x="connsiteX4022" y="connsiteY4022"/>
                </a:cxn>
                <a:cxn ang="0">
                  <a:pos x="connsiteX4023" y="connsiteY4023"/>
                </a:cxn>
                <a:cxn ang="0">
                  <a:pos x="connsiteX4024" y="connsiteY4024"/>
                </a:cxn>
                <a:cxn ang="0">
                  <a:pos x="connsiteX4025" y="connsiteY4025"/>
                </a:cxn>
                <a:cxn ang="0">
                  <a:pos x="connsiteX4026" y="connsiteY4026"/>
                </a:cxn>
                <a:cxn ang="0">
                  <a:pos x="connsiteX4027" y="connsiteY4027"/>
                </a:cxn>
                <a:cxn ang="0">
                  <a:pos x="connsiteX4028" y="connsiteY4028"/>
                </a:cxn>
                <a:cxn ang="0">
                  <a:pos x="connsiteX4029" y="connsiteY4029"/>
                </a:cxn>
                <a:cxn ang="0">
                  <a:pos x="connsiteX4030" y="connsiteY4030"/>
                </a:cxn>
                <a:cxn ang="0">
                  <a:pos x="connsiteX4031" y="connsiteY4031"/>
                </a:cxn>
                <a:cxn ang="0">
                  <a:pos x="connsiteX4032" y="connsiteY4032"/>
                </a:cxn>
                <a:cxn ang="0">
                  <a:pos x="connsiteX4033" y="connsiteY4033"/>
                </a:cxn>
                <a:cxn ang="0">
                  <a:pos x="connsiteX4034" y="connsiteY4034"/>
                </a:cxn>
                <a:cxn ang="0">
                  <a:pos x="connsiteX4035" y="connsiteY4035"/>
                </a:cxn>
                <a:cxn ang="0">
                  <a:pos x="connsiteX4036" y="connsiteY4036"/>
                </a:cxn>
                <a:cxn ang="0">
                  <a:pos x="connsiteX4037" y="connsiteY4037"/>
                </a:cxn>
                <a:cxn ang="0">
                  <a:pos x="connsiteX4038" y="connsiteY4038"/>
                </a:cxn>
                <a:cxn ang="0">
                  <a:pos x="connsiteX4039" y="connsiteY4039"/>
                </a:cxn>
                <a:cxn ang="0">
                  <a:pos x="connsiteX4040" y="connsiteY4040"/>
                </a:cxn>
                <a:cxn ang="0">
                  <a:pos x="connsiteX4041" y="connsiteY4041"/>
                </a:cxn>
                <a:cxn ang="0">
                  <a:pos x="connsiteX4042" y="connsiteY4042"/>
                </a:cxn>
                <a:cxn ang="0">
                  <a:pos x="connsiteX4043" y="connsiteY4043"/>
                </a:cxn>
                <a:cxn ang="0">
                  <a:pos x="connsiteX4044" y="connsiteY4044"/>
                </a:cxn>
                <a:cxn ang="0">
                  <a:pos x="connsiteX4045" y="connsiteY4045"/>
                </a:cxn>
                <a:cxn ang="0">
                  <a:pos x="connsiteX4046" y="connsiteY4046"/>
                </a:cxn>
                <a:cxn ang="0">
                  <a:pos x="connsiteX4047" y="connsiteY4047"/>
                </a:cxn>
                <a:cxn ang="0">
                  <a:pos x="connsiteX4048" y="connsiteY4048"/>
                </a:cxn>
                <a:cxn ang="0">
                  <a:pos x="connsiteX4049" y="connsiteY4049"/>
                </a:cxn>
                <a:cxn ang="0">
                  <a:pos x="connsiteX4050" y="connsiteY4050"/>
                </a:cxn>
                <a:cxn ang="0">
                  <a:pos x="connsiteX4051" y="connsiteY4051"/>
                </a:cxn>
                <a:cxn ang="0">
                  <a:pos x="connsiteX4052" y="connsiteY4052"/>
                </a:cxn>
                <a:cxn ang="0">
                  <a:pos x="connsiteX4053" y="connsiteY4053"/>
                </a:cxn>
                <a:cxn ang="0">
                  <a:pos x="connsiteX4054" y="connsiteY4054"/>
                </a:cxn>
                <a:cxn ang="0">
                  <a:pos x="connsiteX4055" y="connsiteY4055"/>
                </a:cxn>
                <a:cxn ang="0">
                  <a:pos x="connsiteX4056" y="connsiteY4056"/>
                </a:cxn>
                <a:cxn ang="0">
                  <a:pos x="connsiteX4057" y="connsiteY4057"/>
                </a:cxn>
                <a:cxn ang="0">
                  <a:pos x="connsiteX4058" y="connsiteY4058"/>
                </a:cxn>
                <a:cxn ang="0">
                  <a:pos x="connsiteX4059" y="connsiteY4059"/>
                </a:cxn>
                <a:cxn ang="0">
                  <a:pos x="connsiteX4060" y="connsiteY4060"/>
                </a:cxn>
                <a:cxn ang="0">
                  <a:pos x="connsiteX4061" y="connsiteY4061"/>
                </a:cxn>
                <a:cxn ang="0">
                  <a:pos x="connsiteX4062" y="connsiteY4062"/>
                </a:cxn>
                <a:cxn ang="0">
                  <a:pos x="connsiteX4063" y="connsiteY4063"/>
                </a:cxn>
                <a:cxn ang="0">
                  <a:pos x="connsiteX4064" y="connsiteY4064"/>
                </a:cxn>
                <a:cxn ang="0">
                  <a:pos x="connsiteX4065" y="connsiteY4065"/>
                </a:cxn>
                <a:cxn ang="0">
                  <a:pos x="connsiteX4066" y="connsiteY4066"/>
                </a:cxn>
                <a:cxn ang="0">
                  <a:pos x="connsiteX4067" y="connsiteY4067"/>
                </a:cxn>
                <a:cxn ang="0">
                  <a:pos x="connsiteX4068" y="connsiteY4068"/>
                </a:cxn>
                <a:cxn ang="0">
                  <a:pos x="connsiteX4069" y="connsiteY4069"/>
                </a:cxn>
                <a:cxn ang="0">
                  <a:pos x="connsiteX4070" y="connsiteY4070"/>
                </a:cxn>
                <a:cxn ang="0">
                  <a:pos x="connsiteX4071" y="connsiteY4071"/>
                </a:cxn>
                <a:cxn ang="0">
                  <a:pos x="connsiteX4072" y="connsiteY4072"/>
                </a:cxn>
                <a:cxn ang="0">
                  <a:pos x="connsiteX4073" y="connsiteY4073"/>
                </a:cxn>
                <a:cxn ang="0">
                  <a:pos x="connsiteX4074" y="connsiteY4074"/>
                </a:cxn>
                <a:cxn ang="0">
                  <a:pos x="connsiteX4075" y="connsiteY4075"/>
                </a:cxn>
                <a:cxn ang="0">
                  <a:pos x="connsiteX4076" y="connsiteY4076"/>
                </a:cxn>
                <a:cxn ang="0">
                  <a:pos x="connsiteX4077" y="connsiteY4077"/>
                </a:cxn>
                <a:cxn ang="0">
                  <a:pos x="connsiteX4078" y="connsiteY4078"/>
                </a:cxn>
                <a:cxn ang="0">
                  <a:pos x="connsiteX4079" y="connsiteY4079"/>
                </a:cxn>
                <a:cxn ang="0">
                  <a:pos x="connsiteX4080" y="connsiteY4080"/>
                </a:cxn>
                <a:cxn ang="0">
                  <a:pos x="connsiteX4081" y="connsiteY4081"/>
                </a:cxn>
                <a:cxn ang="0">
                  <a:pos x="connsiteX4082" y="connsiteY4082"/>
                </a:cxn>
                <a:cxn ang="0">
                  <a:pos x="connsiteX4083" y="connsiteY4083"/>
                </a:cxn>
                <a:cxn ang="0">
                  <a:pos x="connsiteX4084" y="connsiteY4084"/>
                </a:cxn>
                <a:cxn ang="0">
                  <a:pos x="connsiteX4085" y="connsiteY4085"/>
                </a:cxn>
                <a:cxn ang="0">
                  <a:pos x="connsiteX4086" y="connsiteY4086"/>
                </a:cxn>
                <a:cxn ang="0">
                  <a:pos x="connsiteX4087" y="connsiteY4087"/>
                </a:cxn>
                <a:cxn ang="0">
                  <a:pos x="connsiteX4088" y="connsiteY4088"/>
                </a:cxn>
                <a:cxn ang="0">
                  <a:pos x="connsiteX4089" y="connsiteY4089"/>
                </a:cxn>
                <a:cxn ang="0">
                  <a:pos x="connsiteX4090" y="connsiteY4090"/>
                </a:cxn>
                <a:cxn ang="0">
                  <a:pos x="connsiteX4091" y="connsiteY4091"/>
                </a:cxn>
                <a:cxn ang="0">
                  <a:pos x="connsiteX4092" y="connsiteY4092"/>
                </a:cxn>
                <a:cxn ang="0">
                  <a:pos x="connsiteX4093" y="connsiteY4093"/>
                </a:cxn>
                <a:cxn ang="0">
                  <a:pos x="connsiteX4094" y="connsiteY4094"/>
                </a:cxn>
                <a:cxn ang="0">
                  <a:pos x="connsiteX4095" y="connsiteY4095"/>
                </a:cxn>
                <a:cxn ang="0">
                  <a:pos x="connsiteX4096" y="connsiteY4096"/>
                </a:cxn>
                <a:cxn ang="0">
                  <a:pos x="connsiteX4097" y="connsiteY4097"/>
                </a:cxn>
                <a:cxn ang="0">
                  <a:pos x="connsiteX4098" y="connsiteY4098"/>
                </a:cxn>
                <a:cxn ang="0">
                  <a:pos x="connsiteX4099" y="connsiteY4099"/>
                </a:cxn>
                <a:cxn ang="0">
                  <a:pos x="connsiteX4100" y="connsiteY4100"/>
                </a:cxn>
                <a:cxn ang="0">
                  <a:pos x="connsiteX4101" y="connsiteY4101"/>
                </a:cxn>
                <a:cxn ang="0">
                  <a:pos x="connsiteX4102" y="connsiteY4102"/>
                </a:cxn>
                <a:cxn ang="0">
                  <a:pos x="connsiteX4103" y="connsiteY4103"/>
                </a:cxn>
                <a:cxn ang="0">
                  <a:pos x="connsiteX4104" y="connsiteY4104"/>
                </a:cxn>
                <a:cxn ang="0">
                  <a:pos x="connsiteX4105" y="connsiteY4105"/>
                </a:cxn>
                <a:cxn ang="0">
                  <a:pos x="connsiteX4106" y="connsiteY4106"/>
                </a:cxn>
                <a:cxn ang="0">
                  <a:pos x="connsiteX4107" y="connsiteY4107"/>
                </a:cxn>
                <a:cxn ang="0">
                  <a:pos x="connsiteX4108" y="connsiteY4108"/>
                </a:cxn>
                <a:cxn ang="0">
                  <a:pos x="connsiteX4109" y="connsiteY4109"/>
                </a:cxn>
                <a:cxn ang="0">
                  <a:pos x="connsiteX4110" y="connsiteY4110"/>
                </a:cxn>
                <a:cxn ang="0">
                  <a:pos x="connsiteX4111" y="connsiteY4111"/>
                </a:cxn>
                <a:cxn ang="0">
                  <a:pos x="connsiteX4112" y="connsiteY4112"/>
                </a:cxn>
                <a:cxn ang="0">
                  <a:pos x="connsiteX4113" y="connsiteY4113"/>
                </a:cxn>
                <a:cxn ang="0">
                  <a:pos x="connsiteX4114" y="connsiteY4114"/>
                </a:cxn>
                <a:cxn ang="0">
                  <a:pos x="connsiteX4115" y="connsiteY4115"/>
                </a:cxn>
                <a:cxn ang="0">
                  <a:pos x="connsiteX4116" y="connsiteY4116"/>
                </a:cxn>
                <a:cxn ang="0">
                  <a:pos x="connsiteX4117" y="connsiteY4117"/>
                </a:cxn>
                <a:cxn ang="0">
                  <a:pos x="connsiteX4118" y="connsiteY4118"/>
                </a:cxn>
                <a:cxn ang="0">
                  <a:pos x="connsiteX4119" y="connsiteY4119"/>
                </a:cxn>
                <a:cxn ang="0">
                  <a:pos x="connsiteX4120" y="connsiteY4120"/>
                </a:cxn>
                <a:cxn ang="0">
                  <a:pos x="connsiteX4121" y="connsiteY4121"/>
                </a:cxn>
                <a:cxn ang="0">
                  <a:pos x="connsiteX4122" y="connsiteY4122"/>
                </a:cxn>
                <a:cxn ang="0">
                  <a:pos x="connsiteX4123" y="connsiteY4123"/>
                </a:cxn>
                <a:cxn ang="0">
                  <a:pos x="connsiteX4124" y="connsiteY4124"/>
                </a:cxn>
                <a:cxn ang="0">
                  <a:pos x="connsiteX4125" y="connsiteY4125"/>
                </a:cxn>
                <a:cxn ang="0">
                  <a:pos x="connsiteX4126" y="connsiteY4126"/>
                </a:cxn>
                <a:cxn ang="0">
                  <a:pos x="connsiteX4127" y="connsiteY4127"/>
                </a:cxn>
                <a:cxn ang="0">
                  <a:pos x="connsiteX4128" y="connsiteY4128"/>
                </a:cxn>
                <a:cxn ang="0">
                  <a:pos x="connsiteX4129" y="connsiteY4129"/>
                </a:cxn>
                <a:cxn ang="0">
                  <a:pos x="connsiteX4130" y="connsiteY4130"/>
                </a:cxn>
                <a:cxn ang="0">
                  <a:pos x="connsiteX4131" y="connsiteY4131"/>
                </a:cxn>
                <a:cxn ang="0">
                  <a:pos x="connsiteX4132" y="connsiteY4132"/>
                </a:cxn>
                <a:cxn ang="0">
                  <a:pos x="connsiteX4133" y="connsiteY4133"/>
                </a:cxn>
                <a:cxn ang="0">
                  <a:pos x="connsiteX4134" y="connsiteY4134"/>
                </a:cxn>
                <a:cxn ang="0">
                  <a:pos x="connsiteX4135" y="connsiteY4135"/>
                </a:cxn>
                <a:cxn ang="0">
                  <a:pos x="connsiteX4136" y="connsiteY4136"/>
                </a:cxn>
                <a:cxn ang="0">
                  <a:pos x="connsiteX4137" y="connsiteY4137"/>
                </a:cxn>
                <a:cxn ang="0">
                  <a:pos x="connsiteX4138" y="connsiteY4138"/>
                </a:cxn>
                <a:cxn ang="0">
                  <a:pos x="connsiteX4139" y="connsiteY4139"/>
                </a:cxn>
                <a:cxn ang="0">
                  <a:pos x="connsiteX4140" y="connsiteY4140"/>
                </a:cxn>
                <a:cxn ang="0">
                  <a:pos x="connsiteX4141" y="connsiteY4141"/>
                </a:cxn>
                <a:cxn ang="0">
                  <a:pos x="connsiteX4142" y="connsiteY4142"/>
                </a:cxn>
                <a:cxn ang="0">
                  <a:pos x="connsiteX4143" y="connsiteY4143"/>
                </a:cxn>
                <a:cxn ang="0">
                  <a:pos x="connsiteX4144" y="connsiteY4144"/>
                </a:cxn>
                <a:cxn ang="0">
                  <a:pos x="connsiteX4145" y="connsiteY4145"/>
                </a:cxn>
                <a:cxn ang="0">
                  <a:pos x="connsiteX4146" y="connsiteY4146"/>
                </a:cxn>
                <a:cxn ang="0">
                  <a:pos x="connsiteX4147" y="connsiteY4147"/>
                </a:cxn>
                <a:cxn ang="0">
                  <a:pos x="connsiteX4148" y="connsiteY4148"/>
                </a:cxn>
                <a:cxn ang="0">
                  <a:pos x="connsiteX4149" y="connsiteY4149"/>
                </a:cxn>
                <a:cxn ang="0">
                  <a:pos x="connsiteX4150" y="connsiteY4150"/>
                </a:cxn>
                <a:cxn ang="0">
                  <a:pos x="connsiteX4151" y="connsiteY4151"/>
                </a:cxn>
                <a:cxn ang="0">
                  <a:pos x="connsiteX4152" y="connsiteY4152"/>
                </a:cxn>
                <a:cxn ang="0">
                  <a:pos x="connsiteX4153" y="connsiteY4153"/>
                </a:cxn>
                <a:cxn ang="0">
                  <a:pos x="connsiteX4154" y="connsiteY4154"/>
                </a:cxn>
                <a:cxn ang="0">
                  <a:pos x="connsiteX4155" y="connsiteY4155"/>
                </a:cxn>
                <a:cxn ang="0">
                  <a:pos x="connsiteX4156" y="connsiteY4156"/>
                </a:cxn>
                <a:cxn ang="0">
                  <a:pos x="connsiteX4157" y="connsiteY4157"/>
                </a:cxn>
                <a:cxn ang="0">
                  <a:pos x="connsiteX4158" y="connsiteY4158"/>
                </a:cxn>
                <a:cxn ang="0">
                  <a:pos x="connsiteX4159" y="connsiteY4159"/>
                </a:cxn>
                <a:cxn ang="0">
                  <a:pos x="connsiteX4160" y="connsiteY4160"/>
                </a:cxn>
                <a:cxn ang="0">
                  <a:pos x="connsiteX4161" y="connsiteY4161"/>
                </a:cxn>
                <a:cxn ang="0">
                  <a:pos x="connsiteX4162" y="connsiteY4162"/>
                </a:cxn>
                <a:cxn ang="0">
                  <a:pos x="connsiteX4163" y="connsiteY4163"/>
                </a:cxn>
                <a:cxn ang="0">
                  <a:pos x="connsiteX4164" y="connsiteY4164"/>
                </a:cxn>
                <a:cxn ang="0">
                  <a:pos x="connsiteX4165" y="connsiteY4165"/>
                </a:cxn>
                <a:cxn ang="0">
                  <a:pos x="connsiteX4166" y="connsiteY4166"/>
                </a:cxn>
                <a:cxn ang="0">
                  <a:pos x="connsiteX4167" y="connsiteY4167"/>
                </a:cxn>
                <a:cxn ang="0">
                  <a:pos x="connsiteX4168" y="connsiteY4168"/>
                </a:cxn>
                <a:cxn ang="0">
                  <a:pos x="connsiteX4169" y="connsiteY4169"/>
                </a:cxn>
                <a:cxn ang="0">
                  <a:pos x="connsiteX4170" y="connsiteY4170"/>
                </a:cxn>
                <a:cxn ang="0">
                  <a:pos x="connsiteX4171" y="connsiteY4171"/>
                </a:cxn>
                <a:cxn ang="0">
                  <a:pos x="connsiteX4172" y="connsiteY4172"/>
                </a:cxn>
                <a:cxn ang="0">
                  <a:pos x="connsiteX4173" y="connsiteY4173"/>
                </a:cxn>
                <a:cxn ang="0">
                  <a:pos x="connsiteX4174" y="connsiteY4174"/>
                </a:cxn>
                <a:cxn ang="0">
                  <a:pos x="connsiteX4175" y="connsiteY4175"/>
                </a:cxn>
                <a:cxn ang="0">
                  <a:pos x="connsiteX4176" y="connsiteY4176"/>
                </a:cxn>
                <a:cxn ang="0">
                  <a:pos x="connsiteX4177" y="connsiteY4177"/>
                </a:cxn>
                <a:cxn ang="0">
                  <a:pos x="connsiteX4178" y="connsiteY4178"/>
                </a:cxn>
                <a:cxn ang="0">
                  <a:pos x="connsiteX4179" y="connsiteY4179"/>
                </a:cxn>
                <a:cxn ang="0">
                  <a:pos x="connsiteX4180" y="connsiteY4180"/>
                </a:cxn>
                <a:cxn ang="0">
                  <a:pos x="connsiteX4181" y="connsiteY4181"/>
                </a:cxn>
                <a:cxn ang="0">
                  <a:pos x="connsiteX4182" y="connsiteY4182"/>
                </a:cxn>
                <a:cxn ang="0">
                  <a:pos x="connsiteX4183" y="connsiteY4183"/>
                </a:cxn>
                <a:cxn ang="0">
                  <a:pos x="connsiteX4184" y="connsiteY4184"/>
                </a:cxn>
                <a:cxn ang="0">
                  <a:pos x="connsiteX4185" y="connsiteY4185"/>
                </a:cxn>
                <a:cxn ang="0">
                  <a:pos x="connsiteX4186" y="connsiteY4186"/>
                </a:cxn>
                <a:cxn ang="0">
                  <a:pos x="connsiteX4187" y="connsiteY4187"/>
                </a:cxn>
                <a:cxn ang="0">
                  <a:pos x="connsiteX4188" y="connsiteY4188"/>
                </a:cxn>
                <a:cxn ang="0">
                  <a:pos x="connsiteX4189" y="connsiteY4189"/>
                </a:cxn>
                <a:cxn ang="0">
                  <a:pos x="connsiteX4190" y="connsiteY4190"/>
                </a:cxn>
                <a:cxn ang="0">
                  <a:pos x="connsiteX4191" y="connsiteY4191"/>
                </a:cxn>
                <a:cxn ang="0">
                  <a:pos x="connsiteX4192" y="connsiteY4192"/>
                </a:cxn>
                <a:cxn ang="0">
                  <a:pos x="connsiteX4193" y="connsiteY4193"/>
                </a:cxn>
                <a:cxn ang="0">
                  <a:pos x="connsiteX4194" y="connsiteY4194"/>
                </a:cxn>
                <a:cxn ang="0">
                  <a:pos x="connsiteX4195" y="connsiteY4195"/>
                </a:cxn>
                <a:cxn ang="0">
                  <a:pos x="connsiteX4196" y="connsiteY4196"/>
                </a:cxn>
                <a:cxn ang="0">
                  <a:pos x="connsiteX4197" y="connsiteY4197"/>
                </a:cxn>
                <a:cxn ang="0">
                  <a:pos x="connsiteX4198" y="connsiteY4198"/>
                </a:cxn>
                <a:cxn ang="0">
                  <a:pos x="connsiteX4199" y="connsiteY4199"/>
                </a:cxn>
                <a:cxn ang="0">
                  <a:pos x="connsiteX4200" y="connsiteY4200"/>
                </a:cxn>
                <a:cxn ang="0">
                  <a:pos x="connsiteX4201" y="connsiteY4201"/>
                </a:cxn>
                <a:cxn ang="0">
                  <a:pos x="connsiteX4202" y="connsiteY4202"/>
                </a:cxn>
                <a:cxn ang="0">
                  <a:pos x="connsiteX4203" y="connsiteY4203"/>
                </a:cxn>
                <a:cxn ang="0">
                  <a:pos x="connsiteX4204" y="connsiteY4204"/>
                </a:cxn>
                <a:cxn ang="0">
                  <a:pos x="connsiteX4205" y="connsiteY4205"/>
                </a:cxn>
                <a:cxn ang="0">
                  <a:pos x="connsiteX4206" y="connsiteY4206"/>
                </a:cxn>
                <a:cxn ang="0">
                  <a:pos x="connsiteX4207" y="connsiteY4207"/>
                </a:cxn>
                <a:cxn ang="0">
                  <a:pos x="connsiteX4208" y="connsiteY4208"/>
                </a:cxn>
                <a:cxn ang="0">
                  <a:pos x="connsiteX4209" y="connsiteY4209"/>
                </a:cxn>
                <a:cxn ang="0">
                  <a:pos x="connsiteX4210" y="connsiteY4210"/>
                </a:cxn>
                <a:cxn ang="0">
                  <a:pos x="connsiteX4211" y="connsiteY4211"/>
                </a:cxn>
                <a:cxn ang="0">
                  <a:pos x="connsiteX4212" y="connsiteY4212"/>
                </a:cxn>
                <a:cxn ang="0">
                  <a:pos x="connsiteX4213" y="connsiteY4213"/>
                </a:cxn>
                <a:cxn ang="0">
                  <a:pos x="connsiteX4214" y="connsiteY4214"/>
                </a:cxn>
                <a:cxn ang="0">
                  <a:pos x="connsiteX4215" y="connsiteY4215"/>
                </a:cxn>
                <a:cxn ang="0">
                  <a:pos x="connsiteX4216" y="connsiteY4216"/>
                </a:cxn>
                <a:cxn ang="0">
                  <a:pos x="connsiteX4217" y="connsiteY4217"/>
                </a:cxn>
                <a:cxn ang="0">
                  <a:pos x="connsiteX4218" y="connsiteY4218"/>
                </a:cxn>
                <a:cxn ang="0">
                  <a:pos x="connsiteX4219" y="connsiteY4219"/>
                </a:cxn>
                <a:cxn ang="0">
                  <a:pos x="connsiteX4220" y="connsiteY4220"/>
                </a:cxn>
                <a:cxn ang="0">
                  <a:pos x="connsiteX4221" y="connsiteY4221"/>
                </a:cxn>
                <a:cxn ang="0">
                  <a:pos x="connsiteX4222" y="connsiteY4222"/>
                </a:cxn>
                <a:cxn ang="0">
                  <a:pos x="connsiteX4223" y="connsiteY4223"/>
                </a:cxn>
                <a:cxn ang="0">
                  <a:pos x="connsiteX4224" y="connsiteY4224"/>
                </a:cxn>
                <a:cxn ang="0">
                  <a:pos x="connsiteX4225" y="connsiteY4225"/>
                </a:cxn>
                <a:cxn ang="0">
                  <a:pos x="connsiteX4226" y="connsiteY4226"/>
                </a:cxn>
                <a:cxn ang="0">
                  <a:pos x="connsiteX4227" y="connsiteY4227"/>
                </a:cxn>
                <a:cxn ang="0">
                  <a:pos x="connsiteX4228" y="connsiteY4228"/>
                </a:cxn>
                <a:cxn ang="0">
                  <a:pos x="connsiteX4229" y="connsiteY4229"/>
                </a:cxn>
                <a:cxn ang="0">
                  <a:pos x="connsiteX4230" y="connsiteY4230"/>
                </a:cxn>
                <a:cxn ang="0">
                  <a:pos x="connsiteX4231" y="connsiteY4231"/>
                </a:cxn>
                <a:cxn ang="0">
                  <a:pos x="connsiteX4232" y="connsiteY4232"/>
                </a:cxn>
                <a:cxn ang="0">
                  <a:pos x="connsiteX4233" y="connsiteY4233"/>
                </a:cxn>
                <a:cxn ang="0">
                  <a:pos x="connsiteX4234" y="connsiteY4234"/>
                </a:cxn>
                <a:cxn ang="0">
                  <a:pos x="connsiteX4235" y="connsiteY4235"/>
                </a:cxn>
                <a:cxn ang="0">
                  <a:pos x="connsiteX4236" y="connsiteY4236"/>
                </a:cxn>
                <a:cxn ang="0">
                  <a:pos x="connsiteX4237" y="connsiteY4237"/>
                </a:cxn>
                <a:cxn ang="0">
                  <a:pos x="connsiteX4238" y="connsiteY4238"/>
                </a:cxn>
                <a:cxn ang="0">
                  <a:pos x="connsiteX4239" y="connsiteY4239"/>
                </a:cxn>
                <a:cxn ang="0">
                  <a:pos x="connsiteX4240" y="connsiteY4240"/>
                </a:cxn>
                <a:cxn ang="0">
                  <a:pos x="connsiteX4241" y="connsiteY4241"/>
                </a:cxn>
                <a:cxn ang="0">
                  <a:pos x="connsiteX4242" y="connsiteY4242"/>
                </a:cxn>
                <a:cxn ang="0">
                  <a:pos x="connsiteX4243" y="connsiteY4243"/>
                </a:cxn>
                <a:cxn ang="0">
                  <a:pos x="connsiteX4244" y="connsiteY4244"/>
                </a:cxn>
                <a:cxn ang="0">
                  <a:pos x="connsiteX4245" y="connsiteY4245"/>
                </a:cxn>
                <a:cxn ang="0">
                  <a:pos x="connsiteX4246" y="connsiteY4246"/>
                </a:cxn>
                <a:cxn ang="0">
                  <a:pos x="connsiteX4247" y="connsiteY4247"/>
                </a:cxn>
                <a:cxn ang="0">
                  <a:pos x="connsiteX4248" y="connsiteY4248"/>
                </a:cxn>
                <a:cxn ang="0">
                  <a:pos x="connsiteX4249" y="connsiteY4249"/>
                </a:cxn>
                <a:cxn ang="0">
                  <a:pos x="connsiteX4250" y="connsiteY4250"/>
                </a:cxn>
                <a:cxn ang="0">
                  <a:pos x="connsiteX4251" y="connsiteY4251"/>
                </a:cxn>
                <a:cxn ang="0">
                  <a:pos x="connsiteX4252" y="connsiteY4252"/>
                </a:cxn>
                <a:cxn ang="0">
                  <a:pos x="connsiteX4253" y="connsiteY4253"/>
                </a:cxn>
                <a:cxn ang="0">
                  <a:pos x="connsiteX4254" y="connsiteY4254"/>
                </a:cxn>
                <a:cxn ang="0">
                  <a:pos x="connsiteX4255" y="connsiteY4255"/>
                </a:cxn>
                <a:cxn ang="0">
                  <a:pos x="connsiteX4256" y="connsiteY4256"/>
                </a:cxn>
                <a:cxn ang="0">
                  <a:pos x="connsiteX4257" y="connsiteY4257"/>
                </a:cxn>
                <a:cxn ang="0">
                  <a:pos x="connsiteX4258" y="connsiteY4258"/>
                </a:cxn>
                <a:cxn ang="0">
                  <a:pos x="connsiteX4259" y="connsiteY4259"/>
                </a:cxn>
                <a:cxn ang="0">
                  <a:pos x="connsiteX4260" y="connsiteY4260"/>
                </a:cxn>
                <a:cxn ang="0">
                  <a:pos x="connsiteX4261" y="connsiteY4261"/>
                </a:cxn>
                <a:cxn ang="0">
                  <a:pos x="connsiteX4262" y="connsiteY4262"/>
                </a:cxn>
                <a:cxn ang="0">
                  <a:pos x="connsiteX4263" y="connsiteY4263"/>
                </a:cxn>
                <a:cxn ang="0">
                  <a:pos x="connsiteX4264" y="connsiteY4264"/>
                </a:cxn>
                <a:cxn ang="0">
                  <a:pos x="connsiteX4265" y="connsiteY4265"/>
                </a:cxn>
                <a:cxn ang="0">
                  <a:pos x="connsiteX4266" y="connsiteY4266"/>
                </a:cxn>
                <a:cxn ang="0">
                  <a:pos x="connsiteX4267" y="connsiteY4267"/>
                </a:cxn>
                <a:cxn ang="0">
                  <a:pos x="connsiteX4268" y="connsiteY4268"/>
                </a:cxn>
                <a:cxn ang="0">
                  <a:pos x="connsiteX4269" y="connsiteY4269"/>
                </a:cxn>
                <a:cxn ang="0">
                  <a:pos x="connsiteX4270" y="connsiteY4270"/>
                </a:cxn>
                <a:cxn ang="0">
                  <a:pos x="connsiteX4271" y="connsiteY4271"/>
                </a:cxn>
                <a:cxn ang="0">
                  <a:pos x="connsiteX4272" y="connsiteY4272"/>
                </a:cxn>
                <a:cxn ang="0">
                  <a:pos x="connsiteX4273" y="connsiteY4273"/>
                </a:cxn>
                <a:cxn ang="0">
                  <a:pos x="connsiteX4274" y="connsiteY4274"/>
                </a:cxn>
                <a:cxn ang="0">
                  <a:pos x="connsiteX4275" y="connsiteY4275"/>
                </a:cxn>
                <a:cxn ang="0">
                  <a:pos x="connsiteX4276" y="connsiteY4276"/>
                </a:cxn>
                <a:cxn ang="0">
                  <a:pos x="connsiteX4277" y="connsiteY4277"/>
                </a:cxn>
                <a:cxn ang="0">
                  <a:pos x="connsiteX4278" y="connsiteY4278"/>
                </a:cxn>
                <a:cxn ang="0">
                  <a:pos x="connsiteX4279" y="connsiteY4279"/>
                </a:cxn>
                <a:cxn ang="0">
                  <a:pos x="connsiteX4280" y="connsiteY4280"/>
                </a:cxn>
                <a:cxn ang="0">
                  <a:pos x="connsiteX4281" y="connsiteY4281"/>
                </a:cxn>
                <a:cxn ang="0">
                  <a:pos x="connsiteX4282" y="connsiteY4282"/>
                </a:cxn>
                <a:cxn ang="0">
                  <a:pos x="connsiteX4283" y="connsiteY4283"/>
                </a:cxn>
                <a:cxn ang="0">
                  <a:pos x="connsiteX4284" y="connsiteY4284"/>
                </a:cxn>
                <a:cxn ang="0">
                  <a:pos x="connsiteX4285" y="connsiteY4285"/>
                </a:cxn>
                <a:cxn ang="0">
                  <a:pos x="connsiteX4286" y="connsiteY4286"/>
                </a:cxn>
                <a:cxn ang="0">
                  <a:pos x="connsiteX4287" y="connsiteY4287"/>
                </a:cxn>
                <a:cxn ang="0">
                  <a:pos x="connsiteX4288" y="connsiteY4288"/>
                </a:cxn>
                <a:cxn ang="0">
                  <a:pos x="connsiteX4289" y="connsiteY4289"/>
                </a:cxn>
                <a:cxn ang="0">
                  <a:pos x="connsiteX4290" y="connsiteY4290"/>
                </a:cxn>
                <a:cxn ang="0">
                  <a:pos x="connsiteX4291" y="connsiteY4291"/>
                </a:cxn>
                <a:cxn ang="0">
                  <a:pos x="connsiteX4292" y="connsiteY4292"/>
                </a:cxn>
                <a:cxn ang="0">
                  <a:pos x="connsiteX4293" y="connsiteY4293"/>
                </a:cxn>
                <a:cxn ang="0">
                  <a:pos x="connsiteX4294" y="connsiteY4294"/>
                </a:cxn>
                <a:cxn ang="0">
                  <a:pos x="connsiteX4295" y="connsiteY4295"/>
                </a:cxn>
                <a:cxn ang="0">
                  <a:pos x="connsiteX4296" y="connsiteY4296"/>
                </a:cxn>
                <a:cxn ang="0">
                  <a:pos x="connsiteX4297" y="connsiteY4297"/>
                </a:cxn>
                <a:cxn ang="0">
                  <a:pos x="connsiteX4298" y="connsiteY4298"/>
                </a:cxn>
                <a:cxn ang="0">
                  <a:pos x="connsiteX4299" y="connsiteY4299"/>
                </a:cxn>
                <a:cxn ang="0">
                  <a:pos x="connsiteX4300" y="connsiteY4300"/>
                </a:cxn>
                <a:cxn ang="0">
                  <a:pos x="connsiteX4301" y="connsiteY4301"/>
                </a:cxn>
                <a:cxn ang="0">
                  <a:pos x="connsiteX4302" y="connsiteY4302"/>
                </a:cxn>
                <a:cxn ang="0">
                  <a:pos x="connsiteX4303" y="connsiteY4303"/>
                </a:cxn>
                <a:cxn ang="0">
                  <a:pos x="connsiteX4304" y="connsiteY4304"/>
                </a:cxn>
                <a:cxn ang="0">
                  <a:pos x="connsiteX4305" y="connsiteY4305"/>
                </a:cxn>
                <a:cxn ang="0">
                  <a:pos x="connsiteX4306" y="connsiteY4306"/>
                </a:cxn>
                <a:cxn ang="0">
                  <a:pos x="connsiteX4307" y="connsiteY4307"/>
                </a:cxn>
                <a:cxn ang="0">
                  <a:pos x="connsiteX4308" y="connsiteY4308"/>
                </a:cxn>
                <a:cxn ang="0">
                  <a:pos x="connsiteX4309" y="connsiteY4309"/>
                </a:cxn>
                <a:cxn ang="0">
                  <a:pos x="connsiteX4310" y="connsiteY4310"/>
                </a:cxn>
                <a:cxn ang="0">
                  <a:pos x="connsiteX4311" y="connsiteY4311"/>
                </a:cxn>
                <a:cxn ang="0">
                  <a:pos x="connsiteX4312" y="connsiteY4312"/>
                </a:cxn>
                <a:cxn ang="0">
                  <a:pos x="connsiteX4313" y="connsiteY4313"/>
                </a:cxn>
                <a:cxn ang="0">
                  <a:pos x="connsiteX4314" y="connsiteY4314"/>
                </a:cxn>
                <a:cxn ang="0">
                  <a:pos x="connsiteX4315" y="connsiteY4315"/>
                </a:cxn>
                <a:cxn ang="0">
                  <a:pos x="connsiteX4316" y="connsiteY4316"/>
                </a:cxn>
                <a:cxn ang="0">
                  <a:pos x="connsiteX4317" y="connsiteY4317"/>
                </a:cxn>
                <a:cxn ang="0">
                  <a:pos x="connsiteX4318" y="connsiteY4318"/>
                </a:cxn>
                <a:cxn ang="0">
                  <a:pos x="connsiteX4319" y="connsiteY4319"/>
                </a:cxn>
                <a:cxn ang="0">
                  <a:pos x="connsiteX4320" y="connsiteY4320"/>
                </a:cxn>
                <a:cxn ang="0">
                  <a:pos x="connsiteX4321" y="connsiteY4321"/>
                </a:cxn>
                <a:cxn ang="0">
                  <a:pos x="connsiteX4322" y="connsiteY4322"/>
                </a:cxn>
                <a:cxn ang="0">
                  <a:pos x="connsiteX4323" y="connsiteY4323"/>
                </a:cxn>
                <a:cxn ang="0">
                  <a:pos x="connsiteX4324" y="connsiteY4324"/>
                </a:cxn>
                <a:cxn ang="0">
                  <a:pos x="connsiteX4325" y="connsiteY4325"/>
                </a:cxn>
                <a:cxn ang="0">
                  <a:pos x="connsiteX4326" y="connsiteY4326"/>
                </a:cxn>
                <a:cxn ang="0">
                  <a:pos x="connsiteX4327" y="connsiteY4327"/>
                </a:cxn>
                <a:cxn ang="0">
                  <a:pos x="connsiteX4328" y="connsiteY4328"/>
                </a:cxn>
                <a:cxn ang="0">
                  <a:pos x="connsiteX4329" y="connsiteY4329"/>
                </a:cxn>
                <a:cxn ang="0">
                  <a:pos x="connsiteX4330" y="connsiteY4330"/>
                </a:cxn>
                <a:cxn ang="0">
                  <a:pos x="connsiteX4331" y="connsiteY4331"/>
                </a:cxn>
                <a:cxn ang="0">
                  <a:pos x="connsiteX4332" y="connsiteY4332"/>
                </a:cxn>
                <a:cxn ang="0">
                  <a:pos x="connsiteX4333" y="connsiteY4333"/>
                </a:cxn>
                <a:cxn ang="0">
                  <a:pos x="connsiteX4334" y="connsiteY4334"/>
                </a:cxn>
                <a:cxn ang="0">
                  <a:pos x="connsiteX4335" y="connsiteY4335"/>
                </a:cxn>
                <a:cxn ang="0">
                  <a:pos x="connsiteX4336" y="connsiteY4336"/>
                </a:cxn>
                <a:cxn ang="0">
                  <a:pos x="connsiteX4337" y="connsiteY4337"/>
                </a:cxn>
                <a:cxn ang="0">
                  <a:pos x="connsiteX4338" y="connsiteY4338"/>
                </a:cxn>
                <a:cxn ang="0">
                  <a:pos x="connsiteX4339" y="connsiteY4339"/>
                </a:cxn>
                <a:cxn ang="0">
                  <a:pos x="connsiteX4340" y="connsiteY4340"/>
                </a:cxn>
                <a:cxn ang="0">
                  <a:pos x="connsiteX4341" y="connsiteY4341"/>
                </a:cxn>
                <a:cxn ang="0">
                  <a:pos x="connsiteX4342" y="connsiteY4342"/>
                </a:cxn>
                <a:cxn ang="0">
                  <a:pos x="connsiteX4343" y="connsiteY4343"/>
                </a:cxn>
                <a:cxn ang="0">
                  <a:pos x="connsiteX4344" y="connsiteY4344"/>
                </a:cxn>
                <a:cxn ang="0">
                  <a:pos x="connsiteX4345" y="connsiteY4345"/>
                </a:cxn>
                <a:cxn ang="0">
                  <a:pos x="connsiteX4346" y="connsiteY4346"/>
                </a:cxn>
                <a:cxn ang="0">
                  <a:pos x="connsiteX4347" y="connsiteY4347"/>
                </a:cxn>
                <a:cxn ang="0">
                  <a:pos x="connsiteX4348" y="connsiteY4348"/>
                </a:cxn>
                <a:cxn ang="0">
                  <a:pos x="connsiteX4349" y="connsiteY4349"/>
                </a:cxn>
                <a:cxn ang="0">
                  <a:pos x="connsiteX4350" y="connsiteY4350"/>
                </a:cxn>
                <a:cxn ang="0">
                  <a:pos x="connsiteX4351" y="connsiteY4351"/>
                </a:cxn>
                <a:cxn ang="0">
                  <a:pos x="connsiteX4352" y="connsiteY4352"/>
                </a:cxn>
                <a:cxn ang="0">
                  <a:pos x="connsiteX4353" y="connsiteY4353"/>
                </a:cxn>
                <a:cxn ang="0">
                  <a:pos x="connsiteX4354" y="connsiteY4354"/>
                </a:cxn>
                <a:cxn ang="0">
                  <a:pos x="connsiteX4355" y="connsiteY4355"/>
                </a:cxn>
                <a:cxn ang="0">
                  <a:pos x="connsiteX4356" y="connsiteY4356"/>
                </a:cxn>
                <a:cxn ang="0">
                  <a:pos x="connsiteX4357" y="connsiteY4357"/>
                </a:cxn>
                <a:cxn ang="0">
                  <a:pos x="connsiteX4358" y="connsiteY4358"/>
                </a:cxn>
                <a:cxn ang="0">
                  <a:pos x="connsiteX4359" y="connsiteY4359"/>
                </a:cxn>
                <a:cxn ang="0">
                  <a:pos x="connsiteX4360" y="connsiteY4360"/>
                </a:cxn>
                <a:cxn ang="0">
                  <a:pos x="connsiteX4361" y="connsiteY4361"/>
                </a:cxn>
                <a:cxn ang="0">
                  <a:pos x="connsiteX4362" y="connsiteY4362"/>
                </a:cxn>
                <a:cxn ang="0">
                  <a:pos x="connsiteX4363" y="connsiteY4363"/>
                </a:cxn>
                <a:cxn ang="0">
                  <a:pos x="connsiteX4364" y="connsiteY4364"/>
                </a:cxn>
                <a:cxn ang="0">
                  <a:pos x="connsiteX4365" y="connsiteY4365"/>
                </a:cxn>
                <a:cxn ang="0">
                  <a:pos x="connsiteX4366" y="connsiteY4366"/>
                </a:cxn>
                <a:cxn ang="0">
                  <a:pos x="connsiteX4367" y="connsiteY4367"/>
                </a:cxn>
                <a:cxn ang="0">
                  <a:pos x="connsiteX4368" y="connsiteY4368"/>
                </a:cxn>
                <a:cxn ang="0">
                  <a:pos x="connsiteX4369" y="connsiteY4369"/>
                </a:cxn>
                <a:cxn ang="0">
                  <a:pos x="connsiteX4370" y="connsiteY4370"/>
                </a:cxn>
                <a:cxn ang="0">
                  <a:pos x="connsiteX4371" y="connsiteY4371"/>
                </a:cxn>
                <a:cxn ang="0">
                  <a:pos x="connsiteX4372" y="connsiteY4372"/>
                </a:cxn>
                <a:cxn ang="0">
                  <a:pos x="connsiteX4373" y="connsiteY4373"/>
                </a:cxn>
                <a:cxn ang="0">
                  <a:pos x="connsiteX4374" y="connsiteY4374"/>
                </a:cxn>
                <a:cxn ang="0">
                  <a:pos x="connsiteX4375" y="connsiteY4375"/>
                </a:cxn>
                <a:cxn ang="0">
                  <a:pos x="connsiteX4376" y="connsiteY4376"/>
                </a:cxn>
                <a:cxn ang="0">
                  <a:pos x="connsiteX4377" y="connsiteY4377"/>
                </a:cxn>
                <a:cxn ang="0">
                  <a:pos x="connsiteX4378" y="connsiteY4378"/>
                </a:cxn>
                <a:cxn ang="0">
                  <a:pos x="connsiteX4379" y="connsiteY4379"/>
                </a:cxn>
                <a:cxn ang="0">
                  <a:pos x="connsiteX4380" y="connsiteY4380"/>
                </a:cxn>
                <a:cxn ang="0">
                  <a:pos x="connsiteX4381" y="connsiteY4381"/>
                </a:cxn>
                <a:cxn ang="0">
                  <a:pos x="connsiteX4382" y="connsiteY4382"/>
                </a:cxn>
                <a:cxn ang="0">
                  <a:pos x="connsiteX4383" y="connsiteY4383"/>
                </a:cxn>
                <a:cxn ang="0">
                  <a:pos x="connsiteX4384" y="connsiteY4384"/>
                </a:cxn>
                <a:cxn ang="0">
                  <a:pos x="connsiteX4385" y="connsiteY4385"/>
                </a:cxn>
                <a:cxn ang="0">
                  <a:pos x="connsiteX4386" y="connsiteY4386"/>
                </a:cxn>
                <a:cxn ang="0">
                  <a:pos x="connsiteX4387" y="connsiteY4387"/>
                </a:cxn>
                <a:cxn ang="0">
                  <a:pos x="connsiteX4388" y="connsiteY4388"/>
                </a:cxn>
                <a:cxn ang="0">
                  <a:pos x="connsiteX4389" y="connsiteY4389"/>
                </a:cxn>
                <a:cxn ang="0">
                  <a:pos x="connsiteX4390" y="connsiteY4390"/>
                </a:cxn>
                <a:cxn ang="0">
                  <a:pos x="connsiteX4391" y="connsiteY4391"/>
                </a:cxn>
                <a:cxn ang="0">
                  <a:pos x="connsiteX4392" y="connsiteY4392"/>
                </a:cxn>
                <a:cxn ang="0">
                  <a:pos x="connsiteX4393" y="connsiteY4393"/>
                </a:cxn>
                <a:cxn ang="0">
                  <a:pos x="connsiteX4394" y="connsiteY4394"/>
                </a:cxn>
                <a:cxn ang="0">
                  <a:pos x="connsiteX4395" y="connsiteY4395"/>
                </a:cxn>
                <a:cxn ang="0">
                  <a:pos x="connsiteX4396" y="connsiteY4396"/>
                </a:cxn>
                <a:cxn ang="0">
                  <a:pos x="connsiteX4397" y="connsiteY4397"/>
                </a:cxn>
                <a:cxn ang="0">
                  <a:pos x="connsiteX4398" y="connsiteY4398"/>
                </a:cxn>
                <a:cxn ang="0">
                  <a:pos x="connsiteX4399" y="connsiteY4399"/>
                </a:cxn>
                <a:cxn ang="0">
                  <a:pos x="connsiteX4400" y="connsiteY4400"/>
                </a:cxn>
                <a:cxn ang="0">
                  <a:pos x="connsiteX4401" y="connsiteY4401"/>
                </a:cxn>
                <a:cxn ang="0">
                  <a:pos x="connsiteX4402" y="connsiteY4402"/>
                </a:cxn>
                <a:cxn ang="0">
                  <a:pos x="connsiteX4403" y="connsiteY4403"/>
                </a:cxn>
                <a:cxn ang="0">
                  <a:pos x="connsiteX4404" y="connsiteY4404"/>
                </a:cxn>
                <a:cxn ang="0">
                  <a:pos x="connsiteX4405" y="connsiteY4405"/>
                </a:cxn>
                <a:cxn ang="0">
                  <a:pos x="connsiteX4406" y="connsiteY4406"/>
                </a:cxn>
                <a:cxn ang="0">
                  <a:pos x="connsiteX4407" y="connsiteY4407"/>
                </a:cxn>
                <a:cxn ang="0">
                  <a:pos x="connsiteX4408" y="connsiteY4408"/>
                </a:cxn>
                <a:cxn ang="0">
                  <a:pos x="connsiteX4409" y="connsiteY4409"/>
                </a:cxn>
                <a:cxn ang="0">
                  <a:pos x="connsiteX4410" y="connsiteY4410"/>
                </a:cxn>
                <a:cxn ang="0">
                  <a:pos x="connsiteX4411" y="connsiteY4411"/>
                </a:cxn>
                <a:cxn ang="0">
                  <a:pos x="connsiteX4412" y="connsiteY4412"/>
                </a:cxn>
                <a:cxn ang="0">
                  <a:pos x="connsiteX4413" y="connsiteY4413"/>
                </a:cxn>
                <a:cxn ang="0">
                  <a:pos x="connsiteX4414" y="connsiteY4414"/>
                </a:cxn>
                <a:cxn ang="0">
                  <a:pos x="connsiteX4415" y="connsiteY4415"/>
                </a:cxn>
                <a:cxn ang="0">
                  <a:pos x="connsiteX4416" y="connsiteY4416"/>
                </a:cxn>
                <a:cxn ang="0">
                  <a:pos x="connsiteX4417" y="connsiteY4417"/>
                </a:cxn>
                <a:cxn ang="0">
                  <a:pos x="connsiteX4418" y="connsiteY4418"/>
                </a:cxn>
                <a:cxn ang="0">
                  <a:pos x="connsiteX4419" y="connsiteY4419"/>
                </a:cxn>
                <a:cxn ang="0">
                  <a:pos x="connsiteX4420" y="connsiteY4420"/>
                </a:cxn>
                <a:cxn ang="0">
                  <a:pos x="connsiteX4421" y="connsiteY4421"/>
                </a:cxn>
                <a:cxn ang="0">
                  <a:pos x="connsiteX4422" y="connsiteY4422"/>
                </a:cxn>
                <a:cxn ang="0">
                  <a:pos x="connsiteX4423" y="connsiteY4423"/>
                </a:cxn>
                <a:cxn ang="0">
                  <a:pos x="connsiteX4424" y="connsiteY4424"/>
                </a:cxn>
                <a:cxn ang="0">
                  <a:pos x="connsiteX4425" y="connsiteY4425"/>
                </a:cxn>
                <a:cxn ang="0">
                  <a:pos x="connsiteX4426" y="connsiteY4426"/>
                </a:cxn>
                <a:cxn ang="0">
                  <a:pos x="connsiteX4427" y="connsiteY4427"/>
                </a:cxn>
                <a:cxn ang="0">
                  <a:pos x="connsiteX4428" y="connsiteY4428"/>
                </a:cxn>
                <a:cxn ang="0">
                  <a:pos x="connsiteX4429" y="connsiteY4429"/>
                </a:cxn>
                <a:cxn ang="0">
                  <a:pos x="connsiteX4430" y="connsiteY4430"/>
                </a:cxn>
                <a:cxn ang="0">
                  <a:pos x="connsiteX4431" y="connsiteY4431"/>
                </a:cxn>
                <a:cxn ang="0">
                  <a:pos x="connsiteX4432" y="connsiteY4432"/>
                </a:cxn>
                <a:cxn ang="0">
                  <a:pos x="connsiteX4433" y="connsiteY4433"/>
                </a:cxn>
                <a:cxn ang="0">
                  <a:pos x="connsiteX4434" y="connsiteY4434"/>
                </a:cxn>
                <a:cxn ang="0">
                  <a:pos x="connsiteX4435" y="connsiteY4435"/>
                </a:cxn>
                <a:cxn ang="0">
                  <a:pos x="connsiteX4436" y="connsiteY4436"/>
                </a:cxn>
                <a:cxn ang="0">
                  <a:pos x="connsiteX4437" y="connsiteY4437"/>
                </a:cxn>
                <a:cxn ang="0">
                  <a:pos x="connsiteX4438" y="connsiteY4438"/>
                </a:cxn>
                <a:cxn ang="0">
                  <a:pos x="connsiteX4439" y="connsiteY4439"/>
                </a:cxn>
                <a:cxn ang="0">
                  <a:pos x="connsiteX4440" y="connsiteY4440"/>
                </a:cxn>
                <a:cxn ang="0">
                  <a:pos x="connsiteX4441" y="connsiteY4441"/>
                </a:cxn>
                <a:cxn ang="0">
                  <a:pos x="connsiteX4442" y="connsiteY4442"/>
                </a:cxn>
                <a:cxn ang="0">
                  <a:pos x="connsiteX4443" y="connsiteY4443"/>
                </a:cxn>
                <a:cxn ang="0">
                  <a:pos x="connsiteX4444" y="connsiteY4444"/>
                </a:cxn>
                <a:cxn ang="0">
                  <a:pos x="connsiteX4445" y="connsiteY4445"/>
                </a:cxn>
                <a:cxn ang="0">
                  <a:pos x="connsiteX4446" y="connsiteY4446"/>
                </a:cxn>
                <a:cxn ang="0">
                  <a:pos x="connsiteX4447" y="connsiteY4447"/>
                </a:cxn>
                <a:cxn ang="0">
                  <a:pos x="connsiteX4448" y="connsiteY4448"/>
                </a:cxn>
                <a:cxn ang="0">
                  <a:pos x="connsiteX4449" y="connsiteY4449"/>
                </a:cxn>
                <a:cxn ang="0">
                  <a:pos x="connsiteX4450" y="connsiteY4450"/>
                </a:cxn>
                <a:cxn ang="0">
                  <a:pos x="connsiteX4451" y="connsiteY4451"/>
                </a:cxn>
                <a:cxn ang="0">
                  <a:pos x="connsiteX4452" y="connsiteY4452"/>
                </a:cxn>
                <a:cxn ang="0">
                  <a:pos x="connsiteX4453" y="connsiteY4453"/>
                </a:cxn>
                <a:cxn ang="0">
                  <a:pos x="connsiteX4454" y="connsiteY4454"/>
                </a:cxn>
                <a:cxn ang="0">
                  <a:pos x="connsiteX4455" y="connsiteY4455"/>
                </a:cxn>
                <a:cxn ang="0">
                  <a:pos x="connsiteX4456" y="connsiteY4456"/>
                </a:cxn>
                <a:cxn ang="0">
                  <a:pos x="connsiteX4457" y="connsiteY4457"/>
                </a:cxn>
                <a:cxn ang="0">
                  <a:pos x="connsiteX4458" y="connsiteY4458"/>
                </a:cxn>
                <a:cxn ang="0">
                  <a:pos x="connsiteX4459" y="connsiteY4459"/>
                </a:cxn>
                <a:cxn ang="0">
                  <a:pos x="connsiteX4460" y="connsiteY4460"/>
                </a:cxn>
                <a:cxn ang="0">
                  <a:pos x="connsiteX4461" y="connsiteY4461"/>
                </a:cxn>
                <a:cxn ang="0">
                  <a:pos x="connsiteX4462" y="connsiteY4462"/>
                </a:cxn>
                <a:cxn ang="0">
                  <a:pos x="connsiteX4463" y="connsiteY4463"/>
                </a:cxn>
                <a:cxn ang="0">
                  <a:pos x="connsiteX4464" y="connsiteY4464"/>
                </a:cxn>
                <a:cxn ang="0">
                  <a:pos x="connsiteX4465" y="connsiteY4465"/>
                </a:cxn>
                <a:cxn ang="0">
                  <a:pos x="connsiteX4466" y="connsiteY4466"/>
                </a:cxn>
                <a:cxn ang="0">
                  <a:pos x="connsiteX4467" y="connsiteY4467"/>
                </a:cxn>
                <a:cxn ang="0">
                  <a:pos x="connsiteX4468" y="connsiteY4468"/>
                </a:cxn>
                <a:cxn ang="0">
                  <a:pos x="connsiteX4469" y="connsiteY4469"/>
                </a:cxn>
                <a:cxn ang="0">
                  <a:pos x="connsiteX4470" y="connsiteY4470"/>
                </a:cxn>
                <a:cxn ang="0">
                  <a:pos x="connsiteX4471" y="connsiteY4471"/>
                </a:cxn>
                <a:cxn ang="0">
                  <a:pos x="connsiteX4472" y="connsiteY4472"/>
                </a:cxn>
                <a:cxn ang="0">
                  <a:pos x="connsiteX4473" y="connsiteY4473"/>
                </a:cxn>
                <a:cxn ang="0">
                  <a:pos x="connsiteX4474" y="connsiteY4474"/>
                </a:cxn>
                <a:cxn ang="0">
                  <a:pos x="connsiteX4475" y="connsiteY4475"/>
                </a:cxn>
                <a:cxn ang="0">
                  <a:pos x="connsiteX4476" y="connsiteY4476"/>
                </a:cxn>
                <a:cxn ang="0">
                  <a:pos x="connsiteX4477" y="connsiteY4477"/>
                </a:cxn>
                <a:cxn ang="0">
                  <a:pos x="connsiteX4478" y="connsiteY4478"/>
                </a:cxn>
                <a:cxn ang="0">
                  <a:pos x="connsiteX4479" y="connsiteY4479"/>
                </a:cxn>
                <a:cxn ang="0">
                  <a:pos x="connsiteX4480" y="connsiteY4480"/>
                </a:cxn>
                <a:cxn ang="0">
                  <a:pos x="connsiteX4481" y="connsiteY4481"/>
                </a:cxn>
                <a:cxn ang="0">
                  <a:pos x="connsiteX4482" y="connsiteY4482"/>
                </a:cxn>
                <a:cxn ang="0">
                  <a:pos x="connsiteX4483" y="connsiteY4483"/>
                </a:cxn>
                <a:cxn ang="0">
                  <a:pos x="connsiteX4484" y="connsiteY4484"/>
                </a:cxn>
                <a:cxn ang="0">
                  <a:pos x="connsiteX4485" y="connsiteY4485"/>
                </a:cxn>
                <a:cxn ang="0">
                  <a:pos x="connsiteX4486" y="connsiteY4486"/>
                </a:cxn>
                <a:cxn ang="0">
                  <a:pos x="connsiteX4487" y="connsiteY4487"/>
                </a:cxn>
                <a:cxn ang="0">
                  <a:pos x="connsiteX4488" y="connsiteY4488"/>
                </a:cxn>
                <a:cxn ang="0">
                  <a:pos x="connsiteX4489" y="connsiteY4489"/>
                </a:cxn>
                <a:cxn ang="0">
                  <a:pos x="connsiteX4490" y="connsiteY4490"/>
                </a:cxn>
                <a:cxn ang="0">
                  <a:pos x="connsiteX4491" y="connsiteY4491"/>
                </a:cxn>
                <a:cxn ang="0">
                  <a:pos x="connsiteX4492" y="connsiteY4492"/>
                </a:cxn>
                <a:cxn ang="0">
                  <a:pos x="connsiteX4493" y="connsiteY4493"/>
                </a:cxn>
                <a:cxn ang="0">
                  <a:pos x="connsiteX4494" y="connsiteY4494"/>
                </a:cxn>
                <a:cxn ang="0">
                  <a:pos x="connsiteX4495" y="connsiteY4495"/>
                </a:cxn>
                <a:cxn ang="0">
                  <a:pos x="connsiteX4496" y="connsiteY4496"/>
                </a:cxn>
                <a:cxn ang="0">
                  <a:pos x="connsiteX4497" y="connsiteY4497"/>
                </a:cxn>
                <a:cxn ang="0">
                  <a:pos x="connsiteX4498" y="connsiteY4498"/>
                </a:cxn>
                <a:cxn ang="0">
                  <a:pos x="connsiteX4499" y="connsiteY4499"/>
                </a:cxn>
                <a:cxn ang="0">
                  <a:pos x="connsiteX4500" y="connsiteY4500"/>
                </a:cxn>
                <a:cxn ang="0">
                  <a:pos x="connsiteX4501" y="connsiteY4501"/>
                </a:cxn>
                <a:cxn ang="0">
                  <a:pos x="connsiteX4502" y="connsiteY4502"/>
                </a:cxn>
                <a:cxn ang="0">
                  <a:pos x="connsiteX4503" y="connsiteY4503"/>
                </a:cxn>
                <a:cxn ang="0">
                  <a:pos x="connsiteX4504" y="connsiteY4504"/>
                </a:cxn>
                <a:cxn ang="0">
                  <a:pos x="connsiteX4505" y="connsiteY4505"/>
                </a:cxn>
                <a:cxn ang="0">
                  <a:pos x="connsiteX4506" y="connsiteY4506"/>
                </a:cxn>
                <a:cxn ang="0">
                  <a:pos x="connsiteX4507" y="connsiteY4507"/>
                </a:cxn>
                <a:cxn ang="0">
                  <a:pos x="connsiteX4508" y="connsiteY4508"/>
                </a:cxn>
                <a:cxn ang="0">
                  <a:pos x="connsiteX4509" y="connsiteY4509"/>
                </a:cxn>
                <a:cxn ang="0">
                  <a:pos x="connsiteX4510" y="connsiteY4510"/>
                </a:cxn>
                <a:cxn ang="0">
                  <a:pos x="connsiteX4511" y="connsiteY4511"/>
                </a:cxn>
                <a:cxn ang="0">
                  <a:pos x="connsiteX4512" y="connsiteY4512"/>
                </a:cxn>
                <a:cxn ang="0">
                  <a:pos x="connsiteX4513" y="connsiteY4513"/>
                </a:cxn>
                <a:cxn ang="0">
                  <a:pos x="connsiteX4514" y="connsiteY4514"/>
                </a:cxn>
                <a:cxn ang="0">
                  <a:pos x="connsiteX4515" y="connsiteY4515"/>
                </a:cxn>
                <a:cxn ang="0">
                  <a:pos x="connsiteX4516" y="connsiteY4516"/>
                </a:cxn>
                <a:cxn ang="0">
                  <a:pos x="connsiteX4517" y="connsiteY4517"/>
                </a:cxn>
                <a:cxn ang="0">
                  <a:pos x="connsiteX4518" y="connsiteY4518"/>
                </a:cxn>
                <a:cxn ang="0">
                  <a:pos x="connsiteX4519" y="connsiteY4519"/>
                </a:cxn>
                <a:cxn ang="0">
                  <a:pos x="connsiteX4520" y="connsiteY4520"/>
                </a:cxn>
                <a:cxn ang="0">
                  <a:pos x="connsiteX4521" y="connsiteY4521"/>
                </a:cxn>
                <a:cxn ang="0">
                  <a:pos x="connsiteX4522" y="connsiteY4522"/>
                </a:cxn>
                <a:cxn ang="0">
                  <a:pos x="connsiteX4523" y="connsiteY4523"/>
                </a:cxn>
                <a:cxn ang="0">
                  <a:pos x="connsiteX4524" y="connsiteY4524"/>
                </a:cxn>
                <a:cxn ang="0">
                  <a:pos x="connsiteX4525" y="connsiteY4525"/>
                </a:cxn>
                <a:cxn ang="0">
                  <a:pos x="connsiteX4526" y="connsiteY4526"/>
                </a:cxn>
                <a:cxn ang="0">
                  <a:pos x="connsiteX4527" y="connsiteY4527"/>
                </a:cxn>
                <a:cxn ang="0">
                  <a:pos x="connsiteX4528" y="connsiteY4528"/>
                </a:cxn>
                <a:cxn ang="0">
                  <a:pos x="connsiteX4529" y="connsiteY4529"/>
                </a:cxn>
                <a:cxn ang="0">
                  <a:pos x="connsiteX4530" y="connsiteY4530"/>
                </a:cxn>
                <a:cxn ang="0">
                  <a:pos x="connsiteX4531" y="connsiteY4531"/>
                </a:cxn>
                <a:cxn ang="0">
                  <a:pos x="connsiteX4532" y="connsiteY4532"/>
                </a:cxn>
                <a:cxn ang="0">
                  <a:pos x="connsiteX4533" y="connsiteY4533"/>
                </a:cxn>
                <a:cxn ang="0">
                  <a:pos x="connsiteX4534" y="connsiteY4534"/>
                </a:cxn>
                <a:cxn ang="0">
                  <a:pos x="connsiteX4535" y="connsiteY4535"/>
                </a:cxn>
                <a:cxn ang="0">
                  <a:pos x="connsiteX4536" y="connsiteY4536"/>
                </a:cxn>
                <a:cxn ang="0">
                  <a:pos x="connsiteX4537" y="connsiteY4537"/>
                </a:cxn>
                <a:cxn ang="0">
                  <a:pos x="connsiteX4538" y="connsiteY4538"/>
                </a:cxn>
                <a:cxn ang="0">
                  <a:pos x="connsiteX4539" y="connsiteY4539"/>
                </a:cxn>
                <a:cxn ang="0">
                  <a:pos x="connsiteX4540" y="connsiteY4540"/>
                </a:cxn>
                <a:cxn ang="0">
                  <a:pos x="connsiteX4541" y="connsiteY4541"/>
                </a:cxn>
                <a:cxn ang="0">
                  <a:pos x="connsiteX4542" y="connsiteY4542"/>
                </a:cxn>
                <a:cxn ang="0">
                  <a:pos x="connsiteX4543" y="connsiteY4543"/>
                </a:cxn>
                <a:cxn ang="0">
                  <a:pos x="connsiteX4544" y="connsiteY4544"/>
                </a:cxn>
                <a:cxn ang="0">
                  <a:pos x="connsiteX4545" y="connsiteY4545"/>
                </a:cxn>
                <a:cxn ang="0">
                  <a:pos x="connsiteX4546" y="connsiteY4546"/>
                </a:cxn>
                <a:cxn ang="0">
                  <a:pos x="connsiteX4547" y="connsiteY4547"/>
                </a:cxn>
                <a:cxn ang="0">
                  <a:pos x="connsiteX4548" y="connsiteY4548"/>
                </a:cxn>
                <a:cxn ang="0">
                  <a:pos x="connsiteX4549" y="connsiteY4549"/>
                </a:cxn>
                <a:cxn ang="0">
                  <a:pos x="connsiteX4550" y="connsiteY4550"/>
                </a:cxn>
                <a:cxn ang="0">
                  <a:pos x="connsiteX4551" y="connsiteY4551"/>
                </a:cxn>
                <a:cxn ang="0">
                  <a:pos x="connsiteX4552" y="connsiteY4552"/>
                </a:cxn>
                <a:cxn ang="0">
                  <a:pos x="connsiteX4553" y="connsiteY4553"/>
                </a:cxn>
                <a:cxn ang="0">
                  <a:pos x="connsiteX4554" y="connsiteY4554"/>
                </a:cxn>
                <a:cxn ang="0">
                  <a:pos x="connsiteX4555" y="connsiteY4555"/>
                </a:cxn>
                <a:cxn ang="0">
                  <a:pos x="connsiteX4556" y="connsiteY4556"/>
                </a:cxn>
                <a:cxn ang="0">
                  <a:pos x="connsiteX4557" y="connsiteY4557"/>
                </a:cxn>
                <a:cxn ang="0">
                  <a:pos x="connsiteX4558" y="connsiteY4558"/>
                </a:cxn>
                <a:cxn ang="0">
                  <a:pos x="connsiteX4559" y="connsiteY4559"/>
                </a:cxn>
                <a:cxn ang="0">
                  <a:pos x="connsiteX4560" y="connsiteY4560"/>
                </a:cxn>
                <a:cxn ang="0">
                  <a:pos x="connsiteX4561" y="connsiteY4561"/>
                </a:cxn>
                <a:cxn ang="0">
                  <a:pos x="connsiteX4562" y="connsiteY4562"/>
                </a:cxn>
                <a:cxn ang="0">
                  <a:pos x="connsiteX4563" y="connsiteY4563"/>
                </a:cxn>
                <a:cxn ang="0">
                  <a:pos x="connsiteX4564" y="connsiteY4564"/>
                </a:cxn>
                <a:cxn ang="0">
                  <a:pos x="connsiteX4565" y="connsiteY4565"/>
                </a:cxn>
                <a:cxn ang="0">
                  <a:pos x="connsiteX4566" y="connsiteY4566"/>
                </a:cxn>
                <a:cxn ang="0">
                  <a:pos x="connsiteX4567" y="connsiteY4567"/>
                </a:cxn>
                <a:cxn ang="0">
                  <a:pos x="connsiteX4568" y="connsiteY4568"/>
                </a:cxn>
                <a:cxn ang="0">
                  <a:pos x="connsiteX4569" y="connsiteY4569"/>
                </a:cxn>
                <a:cxn ang="0">
                  <a:pos x="connsiteX4570" y="connsiteY4570"/>
                </a:cxn>
                <a:cxn ang="0">
                  <a:pos x="connsiteX4571" y="connsiteY4571"/>
                </a:cxn>
                <a:cxn ang="0">
                  <a:pos x="connsiteX4572" y="connsiteY4572"/>
                </a:cxn>
                <a:cxn ang="0">
                  <a:pos x="connsiteX4573" y="connsiteY4573"/>
                </a:cxn>
                <a:cxn ang="0">
                  <a:pos x="connsiteX4574" y="connsiteY4574"/>
                </a:cxn>
                <a:cxn ang="0">
                  <a:pos x="connsiteX4575" y="connsiteY4575"/>
                </a:cxn>
                <a:cxn ang="0">
                  <a:pos x="connsiteX4576" y="connsiteY4576"/>
                </a:cxn>
                <a:cxn ang="0">
                  <a:pos x="connsiteX4577" y="connsiteY4577"/>
                </a:cxn>
                <a:cxn ang="0">
                  <a:pos x="connsiteX4578" y="connsiteY4578"/>
                </a:cxn>
                <a:cxn ang="0">
                  <a:pos x="connsiteX4579" y="connsiteY4579"/>
                </a:cxn>
                <a:cxn ang="0">
                  <a:pos x="connsiteX4580" y="connsiteY4580"/>
                </a:cxn>
                <a:cxn ang="0">
                  <a:pos x="connsiteX4581" y="connsiteY4581"/>
                </a:cxn>
                <a:cxn ang="0">
                  <a:pos x="connsiteX4582" y="connsiteY4582"/>
                </a:cxn>
                <a:cxn ang="0">
                  <a:pos x="connsiteX4583" y="connsiteY4583"/>
                </a:cxn>
                <a:cxn ang="0">
                  <a:pos x="connsiteX4584" y="connsiteY4584"/>
                </a:cxn>
                <a:cxn ang="0">
                  <a:pos x="connsiteX4585" y="connsiteY4585"/>
                </a:cxn>
                <a:cxn ang="0">
                  <a:pos x="connsiteX4586" y="connsiteY4586"/>
                </a:cxn>
                <a:cxn ang="0">
                  <a:pos x="connsiteX4587" y="connsiteY4587"/>
                </a:cxn>
                <a:cxn ang="0">
                  <a:pos x="connsiteX4588" y="connsiteY4588"/>
                </a:cxn>
                <a:cxn ang="0">
                  <a:pos x="connsiteX4589" y="connsiteY4589"/>
                </a:cxn>
                <a:cxn ang="0">
                  <a:pos x="connsiteX4590" y="connsiteY4590"/>
                </a:cxn>
                <a:cxn ang="0">
                  <a:pos x="connsiteX4591" y="connsiteY4591"/>
                </a:cxn>
                <a:cxn ang="0">
                  <a:pos x="connsiteX4592" y="connsiteY4592"/>
                </a:cxn>
                <a:cxn ang="0">
                  <a:pos x="connsiteX4593" y="connsiteY4593"/>
                </a:cxn>
                <a:cxn ang="0">
                  <a:pos x="connsiteX4594" y="connsiteY4594"/>
                </a:cxn>
                <a:cxn ang="0">
                  <a:pos x="connsiteX4595" y="connsiteY4595"/>
                </a:cxn>
                <a:cxn ang="0">
                  <a:pos x="connsiteX4596" y="connsiteY4596"/>
                </a:cxn>
                <a:cxn ang="0">
                  <a:pos x="connsiteX4597" y="connsiteY4597"/>
                </a:cxn>
                <a:cxn ang="0">
                  <a:pos x="connsiteX4598" y="connsiteY4598"/>
                </a:cxn>
                <a:cxn ang="0">
                  <a:pos x="connsiteX4599" y="connsiteY4599"/>
                </a:cxn>
                <a:cxn ang="0">
                  <a:pos x="connsiteX4600" y="connsiteY4600"/>
                </a:cxn>
                <a:cxn ang="0">
                  <a:pos x="connsiteX4601" y="connsiteY4601"/>
                </a:cxn>
                <a:cxn ang="0">
                  <a:pos x="connsiteX4602" y="connsiteY4602"/>
                </a:cxn>
                <a:cxn ang="0">
                  <a:pos x="connsiteX4603" y="connsiteY4603"/>
                </a:cxn>
                <a:cxn ang="0">
                  <a:pos x="connsiteX4604" y="connsiteY4604"/>
                </a:cxn>
                <a:cxn ang="0">
                  <a:pos x="connsiteX4605" y="connsiteY4605"/>
                </a:cxn>
                <a:cxn ang="0">
                  <a:pos x="connsiteX4606" y="connsiteY4606"/>
                </a:cxn>
                <a:cxn ang="0">
                  <a:pos x="connsiteX4607" y="connsiteY4607"/>
                </a:cxn>
                <a:cxn ang="0">
                  <a:pos x="connsiteX4608" y="connsiteY4608"/>
                </a:cxn>
                <a:cxn ang="0">
                  <a:pos x="connsiteX4609" y="connsiteY4609"/>
                </a:cxn>
                <a:cxn ang="0">
                  <a:pos x="connsiteX4610" y="connsiteY4610"/>
                </a:cxn>
                <a:cxn ang="0">
                  <a:pos x="connsiteX4611" y="connsiteY4611"/>
                </a:cxn>
                <a:cxn ang="0">
                  <a:pos x="connsiteX4612" y="connsiteY4612"/>
                </a:cxn>
                <a:cxn ang="0">
                  <a:pos x="connsiteX4613" y="connsiteY4613"/>
                </a:cxn>
                <a:cxn ang="0">
                  <a:pos x="connsiteX4614" y="connsiteY4614"/>
                </a:cxn>
                <a:cxn ang="0">
                  <a:pos x="connsiteX4615" y="connsiteY4615"/>
                </a:cxn>
                <a:cxn ang="0">
                  <a:pos x="connsiteX4616" y="connsiteY4616"/>
                </a:cxn>
                <a:cxn ang="0">
                  <a:pos x="connsiteX4617" y="connsiteY4617"/>
                </a:cxn>
                <a:cxn ang="0">
                  <a:pos x="connsiteX4618" y="connsiteY4618"/>
                </a:cxn>
                <a:cxn ang="0">
                  <a:pos x="connsiteX4619" y="connsiteY4619"/>
                </a:cxn>
                <a:cxn ang="0">
                  <a:pos x="connsiteX4620" y="connsiteY4620"/>
                </a:cxn>
                <a:cxn ang="0">
                  <a:pos x="connsiteX4621" y="connsiteY4621"/>
                </a:cxn>
                <a:cxn ang="0">
                  <a:pos x="connsiteX4622" y="connsiteY4622"/>
                </a:cxn>
                <a:cxn ang="0">
                  <a:pos x="connsiteX4623" y="connsiteY4623"/>
                </a:cxn>
                <a:cxn ang="0">
                  <a:pos x="connsiteX4624" y="connsiteY4624"/>
                </a:cxn>
                <a:cxn ang="0">
                  <a:pos x="connsiteX4625" y="connsiteY4625"/>
                </a:cxn>
                <a:cxn ang="0">
                  <a:pos x="connsiteX4626" y="connsiteY4626"/>
                </a:cxn>
                <a:cxn ang="0">
                  <a:pos x="connsiteX4627" y="connsiteY4627"/>
                </a:cxn>
                <a:cxn ang="0">
                  <a:pos x="connsiteX4628" y="connsiteY4628"/>
                </a:cxn>
                <a:cxn ang="0">
                  <a:pos x="connsiteX4629" y="connsiteY4629"/>
                </a:cxn>
                <a:cxn ang="0">
                  <a:pos x="connsiteX4630" y="connsiteY4630"/>
                </a:cxn>
                <a:cxn ang="0">
                  <a:pos x="connsiteX4631" y="connsiteY4631"/>
                </a:cxn>
                <a:cxn ang="0">
                  <a:pos x="connsiteX4632" y="connsiteY4632"/>
                </a:cxn>
                <a:cxn ang="0">
                  <a:pos x="connsiteX4633" y="connsiteY4633"/>
                </a:cxn>
                <a:cxn ang="0">
                  <a:pos x="connsiteX4634" y="connsiteY4634"/>
                </a:cxn>
                <a:cxn ang="0">
                  <a:pos x="connsiteX4635" y="connsiteY4635"/>
                </a:cxn>
                <a:cxn ang="0">
                  <a:pos x="connsiteX4636" y="connsiteY4636"/>
                </a:cxn>
                <a:cxn ang="0">
                  <a:pos x="connsiteX4637" y="connsiteY4637"/>
                </a:cxn>
                <a:cxn ang="0">
                  <a:pos x="connsiteX4638" y="connsiteY4638"/>
                </a:cxn>
                <a:cxn ang="0">
                  <a:pos x="connsiteX4639" y="connsiteY4639"/>
                </a:cxn>
                <a:cxn ang="0">
                  <a:pos x="connsiteX4640" y="connsiteY4640"/>
                </a:cxn>
                <a:cxn ang="0">
                  <a:pos x="connsiteX4641" y="connsiteY4641"/>
                </a:cxn>
                <a:cxn ang="0">
                  <a:pos x="connsiteX4642" y="connsiteY4642"/>
                </a:cxn>
                <a:cxn ang="0">
                  <a:pos x="connsiteX4643" y="connsiteY4643"/>
                </a:cxn>
                <a:cxn ang="0">
                  <a:pos x="connsiteX4644" y="connsiteY4644"/>
                </a:cxn>
                <a:cxn ang="0">
                  <a:pos x="connsiteX4645" y="connsiteY4645"/>
                </a:cxn>
                <a:cxn ang="0">
                  <a:pos x="connsiteX4646" y="connsiteY4646"/>
                </a:cxn>
                <a:cxn ang="0">
                  <a:pos x="connsiteX4647" y="connsiteY4647"/>
                </a:cxn>
                <a:cxn ang="0">
                  <a:pos x="connsiteX4648" y="connsiteY4648"/>
                </a:cxn>
                <a:cxn ang="0">
                  <a:pos x="connsiteX4649" y="connsiteY4649"/>
                </a:cxn>
                <a:cxn ang="0">
                  <a:pos x="connsiteX4650" y="connsiteY4650"/>
                </a:cxn>
                <a:cxn ang="0">
                  <a:pos x="connsiteX4651" y="connsiteY4651"/>
                </a:cxn>
                <a:cxn ang="0">
                  <a:pos x="connsiteX4652" y="connsiteY4652"/>
                </a:cxn>
                <a:cxn ang="0">
                  <a:pos x="connsiteX4653" y="connsiteY4653"/>
                </a:cxn>
                <a:cxn ang="0">
                  <a:pos x="connsiteX4654" y="connsiteY4654"/>
                </a:cxn>
                <a:cxn ang="0">
                  <a:pos x="connsiteX4655" y="connsiteY4655"/>
                </a:cxn>
                <a:cxn ang="0">
                  <a:pos x="connsiteX4656" y="connsiteY4656"/>
                </a:cxn>
                <a:cxn ang="0">
                  <a:pos x="connsiteX4657" y="connsiteY4657"/>
                </a:cxn>
                <a:cxn ang="0">
                  <a:pos x="connsiteX4658" y="connsiteY4658"/>
                </a:cxn>
                <a:cxn ang="0">
                  <a:pos x="connsiteX4659" y="connsiteY4659"/>
                </a:cxn>
                <a:cxn ang="0">
                  <a:pos x="connsiteX4660" y="connsiteY4660"/>
                </a:cxn>
                <a:cxn ang="0">
                  <a:pos x="connsiteX4661" y="connsiteY4661"/>
                </a:cxn>
                <a:cxn ang="0">
                  <a:pos x="connsiteX4662" y="connsiteY4662"/>
                </a:cxn>
                <a:cxn ang="0">
                  <a:pos x="connsiteX4663" y="connsiteY4663"/>
                </a:cxn>
                <a:cxn ang="0">
                  <a:pos x="connsiteX4664" y="connsiteY4664"/>
                </a:cxn>
                <a:cxn ang="0">
                  <a:pos x="connsiteX4665" y="connsiteY4665"/>
                </a:cxn>
                <a:cxn ang="0">
                  <a:pos x="connsiteX4666" y="connsiteY4666"/>
                </a:cxn>
                <a:cxn ang="0">
                  <a:pos x="connsiteX4667" y="connsiteY4667"/>
                </a:cxn>
                <a:cxn ang="0">
                  <a:pos x="connsiteX4668" y="connsiteY4668"/>
                </a:cxn>
                <a:cxn ang="0">
                  <a:pos x="connsiteX4669" y="connsiteY4669"/>
                </a:cxn>
                <a:cxn ang="0">
                  <a:pos x="connsiteX4670" y="connsiteY4670"/>
                </a:cxn>
                <a:cxn ang="0">
                  <a:pos x="connsiteX4671" y="connsiteY4671"/>
                </a:cxn>
                <a:cxn ang="0">
                  <a:pos x="connsiteX4672" y="connsiteY4672"/>
                </a:cxn>
                <a:cxn ang="0">
                  <a:pos x="connsiteX4673" y="connsiteY4673"/>
                </a:cxn>
                <a:cxn ang="0">
                  <a:pos x="connsiteX4674" y="connsiteY4674"/>
                </a:cxn>
                <a:cxn ang="0">
                  <a:pos x="connsiteX4675" y="connsiteY4675"/>
                </a:cxn>
                <a:cxn ang="0">
                  <a:pos x="connsiteX4676" y="connsiteY4676"/>
                </a:cxn>
                <a:cxn ang="0">
                  <a:pos x="connsiteX4677" y="connsiteY4677"/>
                </a:cxn>
                <a:cxn ang="0">
                  <a:pos x="connsiteX4678" y="connsiteY4678"/>
                </a:cxn>
                <a:cxn ang="0">
                  <a:pos x="connsiteX4679" y="connsiteY4679"/>
                </a:cxn>
                <a:cxn ang="0">
                  <a:pos x="connsiteX4680" y="connsiteY4680"/>
                </a:cxn>
                <a:cxn ang="0">
                  <a:pos x="connsiteX4681" y="connsiteY4681"/>
                </a:cxn>
                <a:cxn ang="0">
                  <a:pos x="connsiteX4682" y="connsiteY4682"/>
                </a:cxn>
                <a:cxn ang="0">
                  <a:pos x="connsiteX4683" y="connsiteY4683"/>
                </a:cxn>
                <a:cxn ang="0">
                  <a:pos x="connsiteX4684" y="connsiteY4684"/>
                </a:cxn>
                <a:cxn ang="0">
                  <a:pos x="connsiteX4685" y="connsiteY4685"/>
                </a:cxn>
                <a:cxn ang="0">
                  <a:pos x="connsiteX4686" y="connsiteY4686"/>
                </a:cxn>
                <a:cxn ang="0">
                  <a:pos x="connsiteX4687" y="connsiteY4687"/>
                </a:cxn>
                <a:cxn ang="0">
                  <a:pos x="connsiteX4688" y="connsiteY4688"/>
                </a:cxn>
                <a:cxn ang="0">
                  <a:pos x="connsiteX4689" y="connsiteY4689"/>
                </a:cxn>
                <a:cxn ang="0">
                  <a:pos x="connsiteX4690" y="connsiteY4690"/>
                </a:cxn>
                <a:cxn ang="0">
                  <a:pos x="connsiteX4691" y="connsiteY4691"/>
                </a:cxn>
                <a:cxn ang="0">
                  <a:pos x="connsiteX4692" y="connsiteY4692"/>
                </a:cxn>
                <a:cxn ang="0">
                  <a:pos x="connsiteX4693" y="connsiteY4693"/>
                </a:cxn>
                <a:cxn ang="0">
                  <a:pos x="connsiteX4694" y="connsiteY4694"/>
                </a:cxn>
                <a:cxn ang="0">
                  <a:pos x="connsiteX4695" y="connsiteY4695"/>
                </a:cxn>
                <a:cxn ang="0">
                  <a:pos x="connsiteX4696" y="connsiteY4696"/>
                </a:cxn>
                <a:cxn ang="0">
                  <a:pos x="connsiteX4697" y="connsiteY4697"/>
                </a:cxn>
                <a:cxn ang="0">
                  <a:pos x="connsiteX4698" y="connsiteY4698"/>
                </a:cxn>
                <a:cxn ang="0">
                  <a:pos x="connsiteX4699" y="connsiteY4699"/>
                </a:cxn>
                <a:cxn ang="0">
                  <a:pos x="connsiteX4700" y="connsiteY4700"/>
                </a:cxn>
                <a:cxn ang="0">
                  <a:pos x="connsiteX4701" y="connsiteY4701"/>
                </a:cxn>
                <a:cxn ang="0">
                  <a:pos x="connsiteX4702" y="connsiteY4702"/>
                </a:cxn>
                <a:cxn ang="0">
                  <a:pos x="connsiteX4703" y="connsiteY4703"/>
                </a:cxn>
                <a:cxn ang="0">
                  <a:pos x="connsiteX4704" y="connsiteY4704"/>
                </a:cxn>
                <a:cxn ang="0">
                  <a:pos x="connsiteX4705" y="connsiteY4705"/>
                </a:cxn>
                <a:cxn ang="0">
                  <a:pos x="connsiteX4706" y="connsiteY4706"/>
                </a:cxn>
                <a:cxn ang="0">
                  <a:pos x="connsiteX4707" y="connsiteY4707"/>
                </a:cxn>
                <a:cxn ang="0">
                  <a:pos x="connsiteX4708" y="connsiteY4708"/>
                </a:cxn>
                <a:cxn ang="0">
                  <a:pos x="connsiteX4709" y="connsiteY4709"/>
                </a:cxn>
                <a:cxn ang="0">
                  <a:pos x="connsiteX4710" y="connsiteY4710"/>
                </a:cxn>
                <a:cxn ang="0">
                  <a:pos x="connsiteX4711" y="connsiteY4711"/>
                </a:cxn>
                <a:cxn ang="0">
                  <a:pos x="connsiteX4712" y="connsiteY4712"/>
                </a:cxn>
                <a:cxn ang="0">
                  <a:pos x="connsiteX4713" y="connsiteY4713"/>
                </a:cxn>
                <a:cxn ang="0">
                  <a:pos x="connsiteX4714" y="connsiteY4714"/>
                </a:cxn>
                <a:cxn ang="0">
                  <a:pos x="connsiteX4715" y="connsiteY4715"/>
                </a:cxn>
                <a:cxn ang="0">
                  <a:pos x="connsiteX4716" y="connsiteY4716"/>
                </a:cxn>
                <a:cxn ang="0">
                  <a:pos x="connsiteX4717" y="connsiteY4717"/>
                </a:cxn>
                <a:cxn ang="0">
                  <a:pos x="connsiteX4718" y="connsiteY4718"/>
                </a:cxn>
                <a:cxn ang="0">
                  <a:pos x="connsiteX4719" y="connsiteY4719"/>
                </a:cxn>
                <a:cxn ang="0">
                  <a:pos x="connsiteX4720" y="connsiteY4720"/>
                </a:cxn>
                <a:cxn ang="0">
                  <a:pos x="connsiteX4721" y="connsiteY4721"/>
                </a:cxn>
                <a:cxn ang="0">
                  <a:pos x="connsiteX4722" y="connsiteY4722"/>
                </a:cxn>
                <a:cxn ang="0">
                  <a:pos x="connsiteX4723" y="connsiteY4723"/>
                </a:cxn>
                <a:cxn ang="0">
                  <a:pos x="connsiteX4724" y="connsiteY4724"/>
                </a:cxn>
                <a:cxn ang="0">
                  <a:pos x="connsiteX4725" y="connsiteY4725"/>
                </a:cxn>
                <a:cxn ang="0">
                  <a:pos x="connsiteX4726" y="connsiteY4726"/>
                </a:cxn>
                <a:cxn ang="0">
                  <a:pos x="connsiteX4727" y="connsiteY4727"/>
                </a:cxn>
                <a:cxn ang="0">
                  <a:pos x="connsiteX4728" y="connsiteY4728"/>
                </a:cxn>
                <a:cxn ang="0">
                  <a:pos x="connsiteX4729" y="connsiteY4729"/>
                </a:cxn>
                <a:cxn ang="0">
                  <a:pos x="connsiteX4730" y="connsiteY4730"/>
                </a:cxn>
                <a:cxn ang="0">
                  <a:pos x="connsiteX4731" y="connsiteY4731"/>
                </a:cxn>
                <a:cxn ang="0">
                  <a:pos x="connsiteX4732" y="connsiteY4732"/>
                </a:cxn>
                <a:cxn ang="0">
                  <a:pos x="connsiteX4733" y="connsiteY4733"/>
                </a:cxn>
                <a:cxn ang="0">
                  <a:pos x="connsiteX4734" y="connsiteY4734"/>
                </a:cxn>
                <a:cxn ang="0">
                  <a:pos x="connsiteX4735" y="connsiteY4735"/>
                </a:cxn>
                <a:cxn ang="0">
                  <a:pos x="connsiteX4736" y="connsiteY4736"/>
                </a:cxn>
                <a:cxn ang="0">
                  <a:pos x="connsiteX4737" y="connsiteY4737"/>
                </a:cxn>
                <a:cxn ang="0">
                  <a:pos x="connsiteX4738" y="connsiteY4738"/>
                </a:cxn>
                <a:cxn ang="0">
                  <a:pos x="connsiteX4739" y="connsiteY4739"/>
                </a:cxn>
                <a:cxn ang="0">
                  <a:pos x="connsiteX4740" y="connsiteY4740"/>
                </a:cxn>
                <a:cxn ang="0">
                  <a:pos x="connsiteX4741" y="connsiteY4741"/>
                </a:cxn>
                <a:cxn ang="0">
                  <a:pos x="connsiteX4742" y="connsiteY4742"/>
                </a:cxn>
                <a:cxn ang="0">
                  <a:pos x="connsiteX4743" y="connsiteY4743"/>
                </a:cxn>
                <a:cxn ang="0">
                  <a:pos x="connsiteX4744" y="connsiteY4744"/>
                </a:cxn>
                <a:cxn ang="0">
                  <a:pos x="connsiteX4745" y="connsiteY4745"/>
                </a:cxn>
                <a:cxn ang="0">
                  <a:pos x="connsiteX4746" y="connsiteY4746"/>
                </a:cxn>
                <a:cxn ang="0">
                  <a:pos x="connsiteX4747" y="connsiteY4747"/>
                </a:cxn>
                <a:cxn ang="0">
                  <a:pos x="connsiteX4748" y="connsiteY4748"/>
                </a:cxn>
                <a:cxn ang="0">
                  <a:pos x="connsiteX4749" y="connsiteY4749"/>
                </a:cxn>
                <a:cxn ang="0">
                  <a:pos x="connsiteX4750" y="connsiteY4750"/>
                </a:cxn>
                <a:cxn ang="0">
                  <a:pos x="connsiteX4751" y="connsiteY4751"/>
                </a:cxn>
                <a:cxn ang="0">
                  <a:pos x="connsiteX4752" y="connsiteY4752"/>
                </a:cxn>
                <a:cxn ang="0">
                  <a:pos x="connsiteX4753" y="connsiteY4753"/>
                </a:cxn>
                <a:cxn ang="0">
                  <a:pos x="connsiteX4754" y="connsiteY4754"/>
                </a:cxn>
                <a:cxn ang="0">
                  <a:pos x="connsiteX4755" y="connsiteY4755"/>
                </a:cxn>
                <a:cxn ang="0">
                  <a:pos x="connsiteX4756" y="connsiteY4756"/>
                </a:cxn>
                <a:cxn ang="0">
                  <a:pos x="connsiteX4757" y="connsiteY4757"/>
                </a:cxn>
                <a:cxn ang="0">
                  <a:pos x="connsiteX4758" y="connsiteY4758"/>
                </a:cxn>
                <a:cxn ang="0">
                  <a:pos x="connsiteX4759" y="connsiteY4759"/>
                </a:cxn>
                <a:cxn ang="0">
                  <a:pos x="connsiteX4760" y="connsiteY4760"/>
                </a:cxn>
                <a:cxn ang="0">
                  <a:pos x="connsiteX4761" y="connsiteY4761"/>
                </a:cxn>
                <a:cxn ang="0">
                  <a:pos x="connsiteX4762" y="connsiteY4762"/>
                </a:cxn>
                <a:cxn ang="0">
                  <a:pos x="connsiteX4763" y="connsiteY4763"/>
                </a:cxn>
                <a:cxn ang="0">
                  <a:pos x="connsiteX4764" y="connsiteY4764"/>
                </a:cxn>
                <a:cxn ang="0">
                  <a:pos x="connsiteX4765" y="connsiteY4765"/>
                </a:cxn>
                <a:cxn ang="0">
                  <a:pos x="connsiteX4766" y="connsiteY4766"/>
                </a:cxn>
                <a:cxn ang="0">
                  <a:pos x="connsiteX4767" y="connsiteY4767"/>
                </a:cxn>
                <a:cxn ang="0">
                  <a:pos x="connsiteX4768" y="connsiteY4768"/>
                </a:cxn>
                <a:cxn ang="0">
                  <a:pos x="connsiteX4769" y="connsiteY4769"/>
                </a:cxn>
                <a:cxn ang="0">
                  <a:pos x="connsiteX4770" y="connsiteY4770"/>
                </a:cxn>
                <a:cxn ang="0">
                  <a:pos x="connsiteX4771" y="connsiteY4771"/>
                </a:cxn>
                <a:cxn ang="0">
                  <a:pos x="connsiteX4772" y="connsiteY4772"/>
                </a:cxn>
                <a:cxn ang="0">
                  <a:pos x="connsiteX4773" y="connsiteY4773"/>
                </a:cxn>
                <a:cxn ang="0">
                  <a:pos x="connsiteX4774" y="connsiteY4774"/>
                </a:cxn>
                <a:cxn ang="0">
                  <a:pos x="connsiteX4775" y="connsiteY4775"/>
                </a:cxn>
                <a:cxn ang="0">
                  <a:pos x="connsiteX4776" y="connsiteY4776"/>
                </a:cxn>
                <a:cxn ang="0">
                  <a:pos x="connsiteX4777" y="connsiteY4777"/>
                </a:cxn>
                <a:cxn ang="0">
                  <a:pos x="connsiteX4778" y="connsiteY4778"/>
                </a:cxn>
                <a:cxn ang="0">
                  <a:pos x="connsiteX4779" y="connsiteY4779"/>
                </a:cxn>
                <a:cxn ang="0">
                  <a:pos x="connsiteX4780" y="connsiteY4780"/>
                </a:cxn>
                <a:cxn ang="0">
                  <a:pos x="connsiteX4781" y="connsiteY4781"/>
                </a:cxn>
                <a:cxn ang="0">
                  <a:pos x="connsiteX4782" y="connsiteY4782"/>
                </a:cxn>
                <a:cxn ang="0">
                  <a:pos x="connsiteX4783" y="connsiteY4783"/>
                </a:cxn>
                <a:cxn ang="0">
                  <a:pos x="connsiteX4784" y="connsiteY4784"/>
                </a:cxn>
                <a:cxn ang="0">
                  <a:pos x="connsiteX4785" y="connsiteY4785"/>
                </a:cxn>
                <a:cxn ang="0">
                  <a:pos x="connsiteX4786" y="connsiteY4786"/>
                </a:cxn>
                <a:cxn ang="0">
                  <a:pos x="connsiteX4787" y="connsiteY4787"/>
                </a:cxn>
                <a:cxn ang="0">
                  <a:pos x="connsiteX4788" y="connsiteY4788"/>
                </a:cxn>
                <a:cxn ang="0">
                  <a:pos x="connsiteX4789" y="connsiteY4789"/>
                </a:cxn>
                <a:cxn ang="0">
                  <a:pos x="connsiteX4790" y="connsiteY4790"/>
                </a:cxn>
                <a:cxn ang="0">
                  <a:pos x="connsiteX4791" y="connsiteY4791"/>
                </a:cxn>
                <a:cxn ang="0">
                  <a:pos x="connsiteX4792" y="connsiteY4792"/>
                </a:cxn>
                <a:cxn ang="0">
                  <a:pos x="connsiteX4793" y="connsiteY4793"/>
                </a:cxn>
                <a:cxn ang="0">
                  <a:pos x="connsiteX4794" y="connsiteY4794"/>
                </a:cxn>
                <a:cxn ang="0">
                  <a:pos x="connsiteX4795" y="connsiteY4795"/>
                </a:cxn>
                <a:cxn ang="0">
                  <a:pos x="connsiteX4796" y="connsiteY4796"/>
                </a:cxn>
                <a:cxn ang="0">
                  <a:pos x="connsiteX4797" y="connsiteY4797"/>
                </a:cxn>
                <a:cxn ang="0">
                  <a:pos x="connsiteX4798" y="connsiteY4798"/>
                </a:cxn>
                <a:cxn ang="0">
                  <a:pos x="connsiteX4799" y="connsiteY4799"/>
                </a:cxn>
                <a:cxn ang="0">
                  <a:pos x="connsiteX4800" y="connsiteY4800"/>
                </a:cxn>
                <a:cxn ang="0">
                  <a:pos x="connsiteX4801" y="connsiteY4801"/>
                </a:cxn>
                <a:cxn ang="0">
                  <a:pos x="connsiteX4802" y="connsiteY4802"/>
                </a:cxn>
                <a:cxn ang="0">
                  <a:pos x="connsiteX4803" y="connsiteY4803"/>
                </a:cxn>
                <a:cxn ang="0">
                  <a:pos x="connsiteX4804" y="connsiteY4804"/>
                </a:cxn>
                <a:cxn ang="0">
                  <a:pos x="connsiteX4805" y="connsiteY4805"/>
                </a:cxn>
                <a:cxn ang="0">
                  <a:pos x="connsiteX4806" y="connsiteY4806"/>
                </a:cxn>
                <a:cxn ang="0">
                  <a:pos x="connsiteX4807" y="connsiteY4807"/>
                </a:cxn>
                <a:cxn ang="0">
                  <a:pos x="connsiteX4808" y="connsiteY4808"/>
                </a:cxn>
                <a:cxn ang="0">
                  <a:pos x="connsiteX4809" y="connsiteY4809"/>
                </a:cxn>
                <a:cxn ang="0">
                  <a:pos x="connsiteX4810" y="connsiteY4810"/>
                </a:cxn>
                <a:cxn ang="0">
                  <a:pos x="connsiteX4811" y="connsiteY4811"/>
                </a:cxn>
                <a:cxn ang="0">
                  <a:pos x="connsiteX4812" y="connsiteY4812"/>
                </a:cxn>
                <a:cxn ang="0">
                  <a:pos x="connsiteX4813" y="connsiteY4813"/>
                </a:cxn>
                <a:cxn ang="0">
                  <a:pos x="connsiteX4814" y="connsiteY4814"/>
                </a:cxn>
                <a:cxn ang="0">
                  <a:pos x="connsiteX4815" y="connsiteY4815"/>
                </a:cxn>
                <a:cxn ang="0">
                  <a:pos x="connsiteX4816" y="connsiteY4816"/>
                </a:cxn>
                <a:cxn ang="0">
                  <a:pos x="connsiteX4817" y="connsiteY4817"/>
                </a:cxn>
                <a:cxn ang="0">
                  <a:pos x="connsiteX4818" y="connsiteY4818"/>
                </a:cxn>
                <a:cxn ang="0">
                  <a:pos x="connsiteX4819" y="connsiteY4819"/>
                </a:cxn>
                <a:cxn ang="0">
                  <a:pos x="connsiteX4820" y="connsiteY4820"/>
                </a:cxn>
                <a:cxn ang="0">
                  <a:pos x="connsiteX4821" y="connsiteY4821"/>
                </a:cxn>
                <a:cxn ang="0">
                  <a:pos x="connsiteX4822" y="connsiteY4822"/>
                </a:cxn>
                <a:cxn ang="0">
                  <a:pos x="connsiteX4823" y="connsiteY4823"/>
                </a:cxn>
                <a:cxn ang="0">
                  <a:pos x="connsiteX4824" y="connsiteY4824"/>
                </a:cxn>
                <a:cxn ang="0">
                  <a:pos x="connsiteX4825" y="connsiteY4825"/>
                </a:cxn>
                <a:cxn ang="0">
                  <a:pos x="connsiteX4826" y="connsiteY4826"/>
                </a:cxn>
                <a:cxn ang="0">
                  <a:pos x="connsiteX4827" y="connsiteY4827"/>
                </a:cxn>
                <a:cxn ang="0">
                  <a:pos x="connsiteX4828" y="connsiteY4828"/>
                </a:cxn>
                <a:cxn ang="0">
                  <a:pos x="connsiteX4829" y="connsiteY4829"/>
                </a:cxn>
                <a:cxn ang="0">
                  <a:pos x="connsiteX4830" y="connsiteY4830"/>
                </a:cxn>
                <a:cxn ang="0">
                  <a:pos x="connsiteX4831" y="connsiteY4831"/>
                </a:cxn>
                <a:cxn ang="0">
                  <a:pos x="connsiteX4832" y="connsiteY4832"/>
                </a:cxn>
                <a:cxn ang="0">
                  <a:pos x="connsiteX4833" y="connsiteY4833"/>
                </a:cxn>
                <a:cxn ang="0">
                  <a:pos x="connsiteX4834" y="connsiteY4834"/>
                </a:cxn>
                <a:cxn ang="0">
                  <a:pos x="connsiteX4835" y="connsiteY4835"/>
                </a:cxn>
                <a:cxn ang="0">
                  <a:pos x="connsiteX4836" y="connsiteY4836"/>
                </a:cxn>
                <a:cxn ang="0">
                  <a:pos x="connsiteX4837" y="connsiteY4837"/>
                </a:cxn>
                <a:cxn ang="0">
                  <a:pos x="connsiteX4838" y="connsiteY4838"/>
                </a:cxn>
                <a:cxn ang="0">
                  <a:pos x="connsiteX4839" y="connsiteY4839"/>
                </a:cxn>
                <a:cxn ang="0">
                  <a:pos x="connsiteX4840" y="connsiteY4840"/>
                </a:cxn>
                <a:cxn ang="0">
                  <a:pos x="connsiteX4841" y="connsiteY4841"/>
                </a:cxn>
                <a:cxn ang="0">
                  <a:pos x="connsiteX4842" y="connsiteY4842"/>
                </a:cxn>
                <a:cxn ang="0">
                  <a:pos x="connsiteX4843" y="connsiteY4843"/>
                </a:cxn>
                <a:cxn ang="0">
                  <a:pos x="connsiteX4844" y="connsiteY4844"/>
                </a:cxn>
                <a:cxn ang="0">
                  <a:pos x="connsiteX4845" y="connsiteY4845"/>
                </a:cxn>
                <a:cxn ang="0">
                  <a:pos x="connsiteX4846" y="connsiteY4846"/>
                </a:cxn>
                <a:cxn ang="0">
                  <a:pos x="connsiteX4847" y="connsiteY4847"/>
                </a:cxn>
                <a:cxn ang="0">
                  <a:pos x="connsiteX4848" y="connsiteY4848"/>
                </a:cxn>
                <a:cxn ang="0">
                  <a:pos x="connsiteX4849" y="connsiteY4849"/>
                </a:cxn>
                <a:cxn ang="0">
                  <a:pos x="connsiteX4850" y="connsiteY4850"/>
                </a:cxn>
                <a:cxn ang="0">
                  <a:pos x="connsiteX4851" y="connsiteY4851"/>
                </a:cxn>
                <a:cxn ang="0">
                  <a:pos x="connsiteX4852" y="connsiteY4852"/>
                </a:cxn>
                <a:cxn ang="0">
                  <a:pos x="connsiteX4853" y="connsiteY4853"/>
                </a:cxn>
                <a:cxn ang="0">
                  <a:pos x="connsiteX4854" y="connsiteY4854"/>
                </a:cxn>
                <a:cxn ang="0">
                  <a:pos x="connsiteX4855" y="connsiteY4855"/>
                </a:cxn>
                <a:cxn ang="0">
                  <a:pos x="connsiteX4856" y="connsiteY4856"/>
                </a:cxn>
                <a:cxn ang="0">
                  <a:pos x="connsiteX4857" y="connsiteY4857"/>
                </a:cxn>
                <a:cxn ang="0">
                  <a:pos x="connsiteX4858" y="connsiteY4858"/>
                </a:cxn>
                <a:cxn ang="0">
                  <a:pos x="connsiteX4859" y="connsiteY4859"/>
                </a:cxn>
                <a:cxn ang="0">
                  <a:pos x="connsiteX4860" y="connsiteY4860"/>
                </a:cxn>
                <a:cxn ang="0">
                  <a:pos x="connsiteX4861" y="connsiteY4861"/>
                </a:cxn>
                <a:cxn ang="0">
                  <a:pos x="connsiteX4862" y="connsiteY4862"/>
                </a:cxn>
                <a:cxn ang="0">
                  <a:pos x="connsiteX4863" y="connsiteY4863"/>
                </a:cxn>
                <a:cxn ang="0">
                  <a:pos x="connsiteX4864" y="connsiteY4864"/>
                </a:cxn>
                <a:cxn ang="0">
                  <a:pos x="connsiteX4865" y="connsiteY4865"/>
                </a:cxn>
                <a:cxn ang="0">
                  <a:pos x="connsiteX4866" y="connsiteY4866"/>
                </a:cxn>
                <a:cxn ang="0">
                  <a:pos x="connsiteX4867" y="connsiteY4867"/>
                </a:cxn>
                <a:cxn ang="0">
                  <a:pos x="connsiteX4868" y="connsiteY4868"/>
                </a:cxn>
                <a:cxn ang="0">
                  <a:pos x="connsiteX4869" y="connsiteY4869"/>
                </a:cxn>
                <a:cxn ang="0">
                  <a:pos x="connsiteX4870" y="connsiteY4870"/>
                </a:cxn>
                <a:cxn ang="0">
                  <a:pos x="connsiteX4871" y="connsiteY4871"/>
                </a:cxn>
                <a:cxn ang="0">
                  <a:pos x="connsiteX4872" y="connsiteY4872"/>
                </a:cxn>
                <a:cxn ang="0">
                  <a:pos x="connsiteX4873" y="connsiteY4873"/>
                </a:cxn>
                <a:cxn ang="0">
                  <a:pos x="connsiteX4874" y="connsiteY4874"/>
                </a:cxn>
                <a:cxn ang="0">
                  <a:pos x="connsiteX4875" y="connsiteY4875"/>
                </a:cxn>
                <a:cxn ang="0">
                  <a:pos x="connsiteX4876" y="connsiteY4876"/>
                </a:cxn>
                <a:cxn ang="0">
                  <a:pos x="connsiteX4877" y="connsiteY4877"/>
                </a:cxn>
                <a:cxn ang="0">
                  <a:pos x="connsiteX4878" y="connsiteY4878"/>
                </a:cxn>
                <a:cxn ang="0">
                  <a:pos x="connsiteX4879" y="connsiteY4879"/>
                </a:cxn>
                <a:cxn ang="0">
                  <a:pos x="connsiteX4880" y="connsiteY4880"/>
                </a:cxn>
                <a:cxn ang="0">
                  <a:pos x="connsiteX4881" y="connsiteY4881"/>
                </a:cxn>
                <a:cxn ang="0">
                  <a:pos x="connsiteX4882" y="connsiteY4882"/>
                </a:cxn>
                <a:cxn ang="0">
                  <a:pos x="connsiteX4883" y="connsiteY4883"/>
                </a:cxn>
                <a:cxn ang="0">
                  <a:pos x="connsiteX4884" y="connsiteY4884"/>
                </a:cxn>
                <a:cxn ang="0">
                  <a:pos x="connsiteX4885" y="connsiteY4885"/>
                </a:cxn>
                <a:cxn ang="0">
                  <a:pos x="connsiteX4886" y="connsiteY4886"/>
                </a:cxn>
                <a:cxn ang="0">
                  <a:pos x="connsiteX4887" y="connsiteY4887"/>
                </a:cxn>
                <a:cxn ang="0">
                  <a:pos x="connsiteX4888" y="connsiteY4888"/>
                </a:cxn>
                <a:cxn ang="0">
                  <a:pos x="connsiteX4889" y="connsiteY4889"/>
                </a:cxn>
                <a:cxn ang="0">
                  <a:pos x="connsiteX4890" y="connsiteY4890"/>
                </a:cxn>
                <a:cxn ang="0">
                  <a:pos x="connsiteX4891" y="connsiteY4891"/>
                </a:cxn>
                <a:cxn ang="0">
                  <a:pos x="connsiteX4892" y="connsiteY4892"/>
                </a:cxn>
                <a:cxn ang="0">
                  <a:pos x="connsiteX4893" y="connsiteY4893"/>
                </a:cxn>
                <a:cxn ang="0">
                  <a:pos x="connsiteX4894" y="connsiteY4894"/>
                </a:cxn>
                <a:cxn ang="0">
                  <a:pos x="connsiteX4895" y="connsiteY4895"/>
                </a:cxn>
                <a:cxn ang="0">
                  <a:pos x="connsiteX4896" y="connsiteY4896"/>
                </a:cxn>
                <a:cxn ang="0">
                  <a:pos x="connsiteX4897" y="connsiteY4897"/>
                </a:cxn>
                <a:cxn ang="0">
                  <a:pos x="connsiteX4898" y="connsiteY4898"/>
                </a:cxn>
                <a:cxn ang="0">
                  <a:pos x="connsiteX4899" y="connsiteY4899"/>
                </a:cxn>
                <a:cxn ang="0">
                  <a:pos x="connsiteX4900" y="connsiteY4900"/>
                </a:cxn>
                <a:cxn ang="0">
                  <a:pos x="connsiteX4901" y="connsiteY4901"/>
                </a:cxn>
                <a:cxn ang="0">
                  <a:pos x="connsiteX4902" y="connsiteY4902"/>
                </a:cxn>
                <a:cxn ang="0">
                  <a:pos x="connsiteX4903" y="connsiteY4903"/>
                </a:cxn>
                <a:cxn ang="0">
                  <a:pos x="connsiteX4904" y="connsiteY4904"/>
                </a:cxn>
                <a:cxn ang="0">
                  <a:pos x="connsiteX4905" y="connsiteY4905"/>
                </a:cxn>
                <a:cxn ang="0">
                  <a:pos x="connsiteX4906" y="connsiteY4906"/>
                </a:cxn>
                <a:cxn ang="0">
                  <a:pos x="connsiteX4907" y="connsiteY4907"/>
                </a:cxn>
                <a:cxn ang="0">
                  <a:pos x="connsiteX4908" y="connsiteY4908"/>
                </a:cxn>
                <a:cxn ang="0">
                  <a:pos x="connsiteX4909" y="connsiteY4909"/>
                </a:cxn>
                <a:cxn ang="0">
                  <a:pos x="connsiteX4910" y="connsiteY4910"/>
                </a:cxn>
                <a:cxn ang="0">
                  <a:pos x="connsiteX4911" y="connsiteY4911"/>
                </a:cxn>
                <a:cxn ang="0">
                  <a:pos x="connsiteX4912" y="connsiteY4912"/>
                </a:cxn>
                <a:cxn ang="0">
                  <a:pos x="connsiteX4913" y="connsiteY4913"/>
                </a:cxn>
                <a:cxn ang="0">
                  <a:pos x="connsiteX4914" y="connsiteY4914"/>
                </a:cxn>
                <a:cxn ang="0">
                  <a:pos x="connsiteX4915" y="connsiteY4915"/>
                </a:cxn>
                <a:cxn ang="0">
                  <a:pos x="connsiteX4916" y="connsiteY4916"/>
                </a:cxn>
                <a:cxn ang="0">
                  <a:pos x="connsiteX4917" y="connsiteY4917"/>
                </a:cxn>
                <a:cxn ang="0">
                  <a:pos x="connsiteX4918" y="connsiteY4918"/>
                </a:cxn>
                <a:cxn ang="0">
                  <a:pos x="connsiteX4919" y="connsiteY4919"/>
                </a:cxn>
                <a:cxn ang="0">
                  <a:pos x="connsiteX4920" y="connsiteY4920"/>
                </a:cxn>
                <a:cxn ang="0">
                  <a:pos x="connsiteX4921" y="connsiteY4921"/>
                </a:cxn>
                <a:cxn ang="0">
                  <a:pos x="connsiteX4922" y="connsiteY4922"/>
                </a:cxn>
                <a:cxn ang="0">
                  <a:pos x="connsiteX4923" y="connsiteY4923"/>
                </a:cxn>
                <a:cxn ang="0">
                  <a:pos x="connsiteX4924" y="connsiteY4924"/>
                </a:cxn>
                <a:cxn ang="0">
                  <a:pos x="connsiteX4925" y="connsiteY4925"/>
                </a:cxn>
                <a:cxn ang="0">
                  <a:pos x="connsiteX4926" y="connsiteY4926"/>
                </a:cxn>
                <a:cxn ang="0">
                  <a:pos x="connsiteX4927" y="connsiteY4927"/>
                </a:cxn>
                <a:cxn ang="0">
                  <a:pos x="connsiteX4928" y="connsiteY4928"/>
                </a:cxn>
                <a:cxn ang="0">
                  <a:pos x="connsiteX4929" y="connsiteY4929"/>
                </a:cxn>
                <a:cxn ang="0">
                  <a:pos x="connsiteX4930" y="connsiteY4930"/>
                </a:cxn>
                <a:cxn ang="0">
                  <a:pos x="connsiteX4931" y="connsiteY4931"/>
                </a:cxn>
                <a:cxn ang="0">
                  <a:pos x="connsiteX4932" y="connsiteY4932"/>
                </a:cxn>
                <a:cxn ang="0">
                  <a:pos x="connsiteX4933" y="connsiteY4933"/>
                </a:cxn>
                <a:cxn ang="0">
                  <a:pos x="connsiteX4934" y="connsiteY4934"/>
                </a:cxn>
                <a:cxn ang="0">
                  <a:pos x="connsiteX4935" y="connsiteY4935"/>
                </a:cxn>
                <a:cxn ang="0">
                  <a:pos x="connsiteX4936" y="connsiteY4936"/>
                </a:cxn>
                <a:cxn ang="0">
                  <a:pos x="connsiteX4937" y="connsiteY4937"/>
                </a:cxn>
                <a:cxn ang="0">
                  <a:pos x="connsiteX4938" y="connsiteY4938"/>
                </a:cxn>
                <a:cxn ang="0">
                  <a:pos x="connsiteX4939" y="connsiteY4939"/>
                </a:cxn>
                <a:cxn ang="0">
                  <a:pos x="connsiteX4940" y="connsiteY4940"/>
                </a:cxn>
                <a:cxn ang="0">
                  <a:pos x="connsiteX4941" y="connsiteY4941"/>
                </a:cxn>
                <a:cxn ang="0">
                  <a:pos x="connsiteX4942" y="connsiteY4942"/>
                </a:cxn>
                <a:cxn ang="0">
                  <a:pos x="connsiteX4943" y="connsiteY4943"/>
                </a:cxn>
                <a:cxn ang="0">
                  <a:pos x="connsiteX4944" y="connsiteY4944"/>
                </a:cxn>
                <a:cxn ang="0">
                  <a:pos x="connsiteX4945" y="connsiteY4945"/>
                </a:cxn>
                <a:cxn ang="0">
                  <a:pos x="connsiteX4946" y="connsiteY4946"/>
                </a:cxn>
                <a:cxn ang="0">
                  <a:pos x="connsiteX4947" y="connsiteY4947"/>
                </a:cxn>
                <a:cxn ang="0">
                  <a:pos x="connsiteX4948" y="connsiteY4948"/>
                </a:cxn>
                <a:cxn ang="0">
                  <a:pos x="connsiteX4949" y="connsiteY4949"/>
                </a:cxn>
                <a:cxn ang="0">
                  <a:pos x="connsiteX4950" y="connsiteY4950"/>
                </a:cxn>
                <a:cxn ang="0">
                  <a:pos x="connsiteX4951" y="connsiteY4951"/>
                </a:cxn>
                <a:cxn ang="0">
                  <a:pos x="connsiteX4952" y="connsiteY4952"/>
                </a:cxn>
                <a:cxn ang="0">
                  <a:pos x="connsiteX4953" y="connsiteY4953"/>
                </a:cxn>
                <a:cxn ang="0">
                  <a:pos x="connsiteX4954" y="connsiteY4954"/>
                </a:cxn>
                <a:cxn ang="0">
                  <a:pos x="connsiteX4955" y="connsiteY4955"/>
                </a:cxn>
                <a:cxn ang="0">
                  <a:pos x="connsiteX4956" y="connsiteY4956"/>
                </a:cxn>
                <a:cxn ang="0">
                  <a:pos x="connsiteX4957" y="connsiteY4957"/>
                </a:cxn>
                <a:cxn ang="0">
                  <a:pos x="connsiteX4958" y="connsiteY4958"/>
                </a:cxn>
                <a:cxn ang="0">
                  <a:pos x="connsiteX4959" y="connsiteY4959"/>
                </a:cxn>
                <a:cxn ang="0">
                  <a:pos x="connsiteX4960" y="connsiteY4960"/>
                </a:cxn>
                <a:cxn ang="0">
                  <a:pos x="connsiteX4961" y="connsiteY4961"/>
                </a:cxn>
                <a:cxn ang="0">
                  <a:pos x="connsiteX4962" y="connsiteY4962"/>
                </a:cxn>
                <a:cxn ang="0">
                  <a:pos x="connsiteX4963" y="connsiteY4963"/>
                </a:cxn>
                <a:cxn ang="0">
                  <a:pos x="connsiteX4964" y="connsiteY4964"/>
                </a:cxn>
                <a:cxn ang="0">
                  <a:pos x="connsiteX4965" y="connsiteY4965"/>
                </a:cxn>
                <a:cxn ang="0">
                  <a:pos x="connsiteX4966" y="connsiteY4966"/>
                </a:cxn>
                <a:cxn ang="0">
                  <a:pos x="connsiteX4967" y="connsiteY4967"/>
                </a:cxn>
                <a:cxn ang="0">
                  <a:pos x="connsiteX4968" y="connsiteY4968"/>
                </a:cxn>
                <a:cxn ang="0">
                  <a:pos x="connsiteX4969" y="connsiteY4969"/>
                </a:cxn>
                <a:cxn ang="0">
                  <a:pos x="connsiteX4970" y="connsiteY4970"/>
                </a:cxn>
                <a:cxn ang="0">
                  <a:pos x="connsiteX4971" y="connsiteY4971"/>
                </a:cxn>
                <a:cxn ang="0">
                  <a:pos x="connsiteX4972" y="connsiteY4972"/>
                </a:cxn>
                <a:cxn ang="0">
                  <a:pos x="connsiteX4973" y="connsiteY4973"/>
                </a:cxn>
                <a:cxn ang="0">
                  <a:pos x="connsiteX4974" y="connsiteY4974"/>
                </a:cxn>
                <a:cxn ang="0">
                  <a:pos x="connsiteX4975" y="connsiteY4975"/>
                </a:cxn>
                <a:cxn ang="0">
                  <a:pos x="connsiteX4976" y="connsiteY4976"/>
                </a:cxn>
                <a:cxn ang="0">
                  <a:pos x="connsiteX4977" y="connsiteY4977"/>
                </a:cxn>
                <a:cxn ang="0">
                  <a:pos x="connsiteX4978" y="connsiteY4978"/>
                </a:cxn>
                <a:cxn ang="0">
                  <a:pos x="connsiteX4979" y="connsiteY4979"/>
                </a:cxn>
                <a:cxn ang="0">
                  <a:pos x="connsiteX4980" y="connsiteY4980"/>
                </a:cxn>
                <a:cxn ang="0">
                  <a:pos x="connsiteX4981" y="connsiteY4981"/>
                </a:cxn>
                <a:cxn ang="0">
                  <a:pos x="connsiteX4982" y="connsiteY4982"/>
                </a:cxn>
                <a:cxn ang="0">
                  <a:pos x="connsiteX4983" y="connsiteY4983"/>
                </a:cxn>
                <a:cxn ang="0">
                  <a:pos x="connsiteX4984" y="connsiteY4984"/>
                </a:cxn>
                <a:cxn ang="0">
                  <a:pos x="connsiteX4985" y="connsiteY4985"/>
                </a:cxn>
                <a:cxn ang="0">
                  <a:pos x="connsiteX4986" y="connsiteY4986"/>
                </a:cxn>
                <a:cxn ang="0">
                  <a:pos x="connsiteX4987" y="connsiteY4987"/>
                </a:cxn>
                <a:cxn ang="0">
                  <a:pos x="connsiteX4988" y="connsiteY4988"/>
                </a:cxn>
                <a:cxn ang="0">
                  <a:pos x="connsiteX4989" y="connsiteY4989"/>
                </a:cxn>
                <a:cxn ang="0">
                  <a:pos x="connsiteX4990" y="connsiteY4990"/>
                </a:cxn>
                <a:cxn ang="0">
                  <a:pos x="connsiteX4991" y="connsiteY4991"/>
                </a:cxn>
                <a:cxn ang="0">
                  <a:pos x="connsiteX4992" y="connsiteY4992"/>
                </a:cxn>
                <a:cxn ang="0">
                  <a:pos x="connsiteX4993" y="connsiteY4993"/>
                </a:cxn>
                <a:cxn ang="0">
                  <a:pos x="connsiteX4994" y="connsiteY4994"/>
                </a:cxn>
                <a:cxn ang="0">
                  <a:pos x="connsiteX4995" y="connsiteY4995"/>
                </a:cxn>
                <a:cxn ang="0">
                  <a:pos x="connsiteX4996" y="connsiteY4996"/>
                </a:cxn>
                <a:cxn ang="0">
                  <a:pos x="connsiteX4997" y="connsiteY4997"/>
                </a:cxn>
                <a:cxn ang="0">
                  <a:pos x="connsiteX4998" y="connsiteY4998"/>
                </a:cxn>
                <a:cxn ang="0">
                  <a:pos x="connsiteX4999" y="connsiteY4999"/>
                </a:cxn>
                <a:cxn ang="0">
                  <a:pos x="connsiteX5000" y="connsiteY5000"/>
                </a:cxn>
                <a:cxn ang="0">
                  <a:pos x="connsiteX5001" y="connsiteY5001"/>
                </a:cxn>
                <a:cxn ang="0">
                  <a:pos x="connsiteX5002" y="connsiteY5002"/>
                </a:cxn>
                <a:cxn ang="0">
                  <a:pos x="connsiteX5003" y="connsiteY5003"/>
                </a:cxn>
                <a:cxn ang="0">
                  <a:pos x="connsiteX5004" y="connsiteY5004"/>
                </a:cxn>
                <a:cxn ang="0">
                  <a:pos x="connsiteX5005" y="connsiteY5005"/>
                </a:cxn>
                <a:cxn ang="0">
                  <a:pos x="connsiteX5006" y="connsiteY5006"/>
                </a:cxn>
                <a:cxn ang="0">
                  <a:pos x="connsiteX5007" y="connsiteY5007"/>
                </a:cxn>
                <a:cxn ang="0">
                  <a:pos x="connsiteX5008" y="connsiteY5008"/>
                </a:cxn>
                <a:cxn ang="0">
                  <a:pos x="connsiteX5009" y="connsiteY5009"/>
                </a:cxn>
                <a:cxn ang="0">
                  <a:pos x="connsiteX5010" y="connsiteY5010"/>
                </a:cxn>
                <a:cxn ang="0">
                  <a:pos x="connsiteX5011" y="connsiteY5011"/>
                </a:cxn>
                <a:cxn ang="0">
                  <a:pos x="connsiteX5012" y="connsiteY5012"/>
                </a:cxn>
                <a:cxn ang="0">
                  <a:pos x="connsiteX5013" y="connsiteY5013"/>
                </a:cxn>
                <a:cxn ang="0">
                  <a:pos x="connsiteX5014" y="connsiteY5014"/>
                </a:cxn>
                <a:cxn ang="0">
                  <a:pos x="connsiteX5015" y="connsiteY5015"/>
                </a:cxn>
                <a:cxn ang="0">
                  <a:pos x="connsiteX5016" y="connsiteY5016"/>
                </a:cxn>
                <a:cxn ang="0">
                  <a:pos x="connsiteX5017" y="connsiteY5017"/>
                </a:cxn>
                <a:cxn ang="0">
                  <a:pos x="connsiteX5018" y="connsiteY5018"/>
                </a:cxn>
                <a:cxn ang="0">
                  <a:pos x="connsiteX5019" y="connsiteY5019"/>
                </a:cxn>
                <a:cxn ang="0">
                  <a:pos x="connsiteX5020" y="connsiteY5020"/>
                </a:cxn>
                <a:cxn ang="0">
                  <a:pos x="connsiteX5021" y="connsiteY5021"/>
                </a:cxn>
                <a:cxn ang="0">
                  <a:pos x="connsiteX5022" y="connsiteY5022"/>
                </a:cxn>
                <a:cxn ang="0">
                  <a:pos x="connsiteX5023" y="connsiteY5023"/>
                </a:cxn>
                <a:cxn ang="0">
                  <a:pos x="connsiteX5024" y="connsiteY5024"/>
                </a:cxn>
                <a:cxn ang="0">
                  <a:pos x="connsiteX5025" y="connsiteY5025"/>
                </a:cxn>
                <a:cxn ang="0">
                  <a:pos x="connsiteX5026" y="connsiteY5026"/>
                </a:cxn>
                <a:cxn ang="0">
                  <a:pos x="connsiteX5027" y="connsiteY5027"/>
                </a:cxn>
                <a:cxn ang="0">
                  <a:pos x="connsiteX5028" y="connsiteY5028"/>
                </a:cxn>
                <a:cxn ang="0">
                  <a:pos x="connsiteX5029" y="connsiteY5029"/>
                </a:cxn>
                <a:cxn ang="0">
                  <a:pos x="connsiteX5030" y="connsiteY5030"/>
                </a:cxn>
                <a:cxn ang="0">
                  <a:pos x="connsiteX5031" y="connsiteY5031"/>
                </a:cxn>
                <a:cxn ang="0">
                  <a:pos x="connsiteX5032" y="connsiteY5032"/>
                </a:cxn>
                <a:cxn ang="0">
                  <a:pos x="connsiteX5033" y="connsiteY5033"/>
                </a:cxn>
                <a:cxn ang="0">
                  <a:pos x="connsiteX5034" y="connsiteY5034"/>
                </a:cxn>
                <a:cxn ang="0">
                  <a:pos x="connsiteX5035" y="connsiteY5035"/>
                </a:cxn>
                <a:cxn ang="0">
                  <a:pos x="connsiteX5036" y="connsiteY5036"/>
                </a:cxn>
                <a:cxn ang="0">
                  <a:pos x="connsiteX5037" y="connsiteY5037"/>
                </a:cxn>
                <a:cxn ang="0">
                  <a:pos x="connsiteX5038" y="connsiteY5038"/>
                </a:cxn>
                <a:cxn ang="0">
                  <a:pos x="connsiteX5039" y="connsiteY5039"/>
                </a:cxn>
                <a:cxn ang="0">
                  <a:pos x="connsiteX5040" y="connsiteY5040"/>
                </a:cxn>
                <a:cxn ang="0">
                  <a:pos x="connsiteX5041" y="connsiteY5041"/>
                </a:cxn>
                <a:cxn ang="0">
                  <a:pos x="connsiteX5042" y="connsiteY5042"/>
                </a:cxn>
                <a:cxn ang="0">
                  <a:pos x="connsiteX5043" y="connsiteY5043"/>
                </a:cxn>
                <a:cxn ang="0">
                  <a:pos x="connsiteX5044" y="connsiteY5044"/>
                </a:cxn>
                <a:cxn ang="0">
                  <a:pos x="connsiteX5045" y="connsiteY5045"/>
                </a:cxn>
                <a:cxn ang="0">
                  <a:pos x="connsiteX5046" y="connsiteY5046"/>
                </a:cxn>
                <a:cxn ang="0">
                  <a:pos x="connsiteX5047" y="connsiteY5047"/>
                </a:cxn>
                <a:cxn ang="0">
                  <a:pos x="connsiteX5048" y="connsiteY5048"/>
                </a:cxn>
                <a:cxn ang="0">
                  <a:pos x="connsiteX5049" y="connsiteY5049"/>
                </a:cxn>
                <a:cxn ang="0">
                  <a:pos x="connsiteX5050" y="connsiteY5050"/>
                </a:cxn>
                <a:cxn ang="0">
                  <a:pos x="connsiteX5051" y="connsiteY5051"/>
                </a:cxn>
                <a:cxn ang="0">
                  <a:pos x="connsiteX5052" y="connsiteY5052"/>
                </a:cxn>
                <a:cxn ang="0">
                  <a:pos x="connsiteX5053" y="connsiteY5053"/>
                </a:cxn>
                <a:cxn ang="0">
                  <a:pos x="connsiteX5054" y="connsiteY5054"/>
                </a:cxn>
                <a:cxn ang="0">
                  <a:pos x="connsiteX5055" y="connsiteY5055"/>
                </a:cxn>
                <a:cxn ang="0">
                  <a:pos x="connsiteX5056" y="connsiteY5056"/>
                </a:cxn>
                <a:cxn ang="0">
                  <a:pos x="connsiteX5057" y="connsiteY5057"/>
                </a:cxn>
                <a:cxn ang="0">
                  <a:pos x="connsiteX5058" y="connsiteY5058"/>
                </a:cxn>
                <a:cxn ang="0">
                  <a:pos x="connsiteX5059" y="connsiteY5059"/>
                </a:cxn>
                <a:cxn ang="0">
                  <a:pos x="connsiteX5060" y="connsiteY5060"/>
                </a:cxn>
                <a:cxn ang="0">
                  <a:pos x="connsiteX5061" y="connsiteY5061"/>
                </a:cxn>
                <a:cxn ang="0">
                  <a:pos x="connsiteX5062" y="connsiteY5062"/>
                </a:cxn>
                <a:cxn ang="0">
                  <a:pos x="connsiteX5063" y="connsiteY5063"/>
                </a:cxn>
                <a:cxn ang="0">
                  <a:pos x="connsiteX5064" y="connsiteY5064"/>
                </a:cxn>
                <a:cxn ang="0">
                  <a:pos x="connsiteX5065" y="connsiteY5065"/>
                </a:cxn>
                <a:cxn ang="0">
                  <a:pos x="connsiteX5066" y="connsiteY5066"/>
                </a:cxn>
                <a:cxn ang="0">
                  <a:pos x="connsiteX5067" y="connsiteY5067"/>
                </a:cxn>
                <a:cxn ang="0">
                  <a:pos x="connsiteX5068" y="connsiteY5068"/>
                </a:cxn>
                <a:cxn ang="0">
                  <a:pos x="connsiteX5069" y="connsiteY5069"/>
                </a:cxn>
                <a:cxn ang="0">
                  <a:pos x="connsiteX5070" y="connsiteY5070"/>
                </a:cxn>
                <a:cxn ang="0">
                  <a:pos x="connsiteX5071" y="connsiteY5071"/>
                </a:cxn>
                <a:cxn ang="0">
                  <a:pos x="connsiteX5072" y="connsiteY5072"/>
                </a:cxn>
                <a:cxn ang="0">
                  <a:pos x="connsiteX5073" y="connsiteY5073"/>
                </a:cxn>
                <a:cxn ang="0">
                  <a:pos x="connsiteX5074" y="connsiteY5074"/>
                </a:cxn>
                <a:cxn ang="0">
                  <a:pos x="connsiteX5075" y="connsiteY5075"/>
                </a:cxn>
                <a:cxn ang="0">
                  <a:pos x="connsiteX5076" y="connsiteY5076"/>
                </a:cxn>
                <a:cxn ang="0">
                  <a:pos x="connsiteX5077" y="connsiteY5077"/>
                </a:cxn>
                <a:cxn ang="0">
                  <a:pos x="connsiteX5078" y="connsiteY5078"/>
                </a:cxn>
                <a:cxn ang="0">
                  <a:pos x="connsiteX5079" y="connsiteY5079"/>
                </a:cxn>
                <a:cxn ang="0">
                  <a:pos x="connsiteX5080" y="connsiteY5080"/>
                </a:cxn>
                <a:cxn ang="0">
                  <a:pos x="connsiteX5081" y="connsiteY5081"/>
                </a:cxn>
                <a:cxn ang="0">
                  <a:pos x="connsiteX5082" y="connsiteY5082"/>
                </a:cxn>
                <a:cxn ang="0">
                  <a:pos x="connsiteX5083" y="connsiteY5083"/>
                </a:cxn>
                <a:cxn ang="0">
                  <a:pos x="connsiteX5084" y="connsiteY5084"/>
                </a:cxn>
                <a:cxn ang="0">
                  <a:pos x="connsiteX5085" y="connsiteY5085"/>
                </a:cxn>
                <a:cxn ang="0">
                  <a:pos x="connsiteX5086" y="connsiteY5086"/>
                </a:cxn>
                <a:cxn ang="0">
                  <a:pos x="connsiteX5087" y="connsiteY5087"/>
                </a:cxn>
                <a:cxn ang="0">
                  <a:pos x="connsiteX5088" y="connsiteY5088"/>
                </a:cxn>
                <a:cxn ang="0">
                  <a:pos x="connsiteX5089" y="connsiteY5089"/>
                </a:cxn>
                <a:cxn ang="0">
                  <a:pos x="connsiteX5090" y="connsiteY5090"/>
                </a:cxn>
                <a:cxn ang="0">
                  <a:pos x="connsiteX5091" y="connsiteY5091"/>
                </a:cxn>
                <a:cxn ang="0">
                  <a:pos x="connsiteX5092" y="connsiteY5092"/>
                </a:cxn>
                <a:cxn ang="0">
                  <a:pos x="connsiteX5093" y="connsiteY5093"/>
                </a:cxn>
                <a:cxn ang="0">
                  <a:pos x="connsiteX5094" y="connsiteY5094"/>
                </a:cxn>
                <a:cxn ang="0">
                  <a:pos x="connsiteX5095" y="connsiteY5095"/>
                </a:cxn>
                <a:cxn ang="0">
                  <a:pos x="connsiteX5096" y="connsiteY5096"/>
                </a:cxn>
                <a:cxn ang="0">
                  <a:pos x="connsiteX5097" y="connsiteY5097"/>
                </a:cxn>
                <a:cxn ang="0">
                  <a:pos x="connsiteX5098" y="connsiteY5098"/>
                </a:cxn>
                <a:cxn ang="0">
                  <a:pos x="connsiteX5099" y="connsiteY5099"/>
                </a:cxn>
                <a:cxn ang="0">
                  <a:pos x="connsiteX5100" y="connsiteY5100"/>
                </a:cxn>
                <a:cxn ang="0">
                  <a:pos x="connsiteX5101" y="connsiteY5101"/>
                </a:cxn>
                <a:cxn ang="0">
                  <a:pos x="connsiteX5102" y="connsiteY5102"/>
                </a:cxn>
                <a:cxn ang="0">
                  <a:pos x="connsiteX5103" y="connsiteY5103"/>
                </a:cxn>
                <a:cxn ang="0">
                  <a:pos x="connsiteX5104" y="connsiteY5104"/>
                </a:cxn>
                <a:cxn ang="0">
                  <a:pos x="connsiteX5105" y="connsiteY5105"/>
                </a:cxn>
                <a:cxn ang="0">
                  <a:pos x="connsiteX5106" y="connsiteY5106"/>
                </a:cxn>
                <a:cxn ang="0">
                  <a:pos x="connsiteX5107" y="connsiteY5107"/>
                </a:cxn>
                <a:cxn ang="0">
                  <a:pos x="connsiteX5108" y="connsiteY5108"/>
                </a:cxn>
                <a:cxn ang="0">
                  <a:pos x="connsiteX5109" y="connsiteY5109"/>
                </a:cxn>
                <a:cxn ang="0">
                  <a:pos x="connsiteX5110" y="connsiteY5110"/>
                </a:cxn>
                <a:cxn ang="0">
                  <a:pos x="connsiteX5111" y="connsiteY5111"/>
                </a:cxn>
                <a:cxn ang="0">
                  <a:pos x="connsiteX5112" y="connsiteY5112"/>
                </a:cxn>
                <a:cxn ang="0">
                  <a:pos x="connsiteX5113" y="connsiteY5113"/>
                </a:cxn>
                <a:cxn ang="0">
                  <a:pos x="connsiteX5114" y="connsiteY5114"/>
                </a:cxn>
                <a:cxn ang="0">
                  <a:pos x="connsiteX5115" y="connsiteY5115"/>
                </a:cxn>
                <a:cxn ang="0">
                  <a:pos x="connsiteX5116" y="connsiteY5116"/>
                </a:cxn>
                <a:cxn ang="0">
                  <a:pos x="connsiteX5117" y="connsiteY5117"/>
                </a:cxn>
                <a:cxn ang="0">
                  <a:pos x="connsiteX5118" y="connsiteY5118"/>
                </a:cxn>
                <a:cxn ang="0">
                  <a:pos x="connsiteX5119" y="connsiteY5119"/>
                </a:cxn>
                <a:cxn ang="0">
                  <a:pos x="connsiteX5120" y="connsiteY5120"/>
                </a:cxn>
                <a:cxn ang="0">
                  <a:pos x="connsiteX5121" y="connsiteY5121"/>
                </a:cxn>
                <a:cxn ang="0">
                  <a:pos x="connsiteX5122" y="connsiteY5122"/>
                </a:cxn>
                <a:cxn ang="0">
                  <a:pos x="connsiteX5123" y="connsiteY5123"/>
                </a:cxn>
                <a:cxn ang="0">
                  <a:pos x="connsiteX5124" y="connsiteY5124"/>
                </a:cxn>
                <a:cxn ang="0">
                  <a:pos x="connsiteX5125" y="connsiteY5125"/>
                </a:cxn>
                <a:cxn ang="0">
                  <a:pos x="connsiteX5126" y="connsiteY5126"/>
                </a:cxn>
                <a:cxn ang="0">
                  <a:pos x="connsiteX5127" y="connsiteY5127"/>
                </a:cxn>
                <a:cxn ang="0">
                  <a:pos x="connsiteX5128" y="connsiteY5128"/>
                </a:cxn>
                <a:cxn ang="0">
                  <a:pos x="connsiteX5129" y="connsiteY5129"/>
                </a:cxn>
                <a:cxn ang="0">
                  <a:pos x="connsiteX5130" y="connsiteY5130"/>
                </a:cxn>
                <a:cxn ang="0">
                  <a:pos x="connsiteX5131" y="connsiteY5131"/>
                </a:cxn>
                <a:cxn ang="0">
                  <a:pos x="connsiteX5132" y="connsiteY5132"/>
                </a:cxn>
                <a:cxn ang="0">
                  <a:pos x="connsiteX5133" y="connsiteY5133"/>
                </a:cxn>
                <a:cxn ang="0">
                  <a:pos x="connsiteX5134" y="connsiteY5134"/>
                </a:cxn>
                <a:cxn ang="0">
                  <a:pos x="connsiteX5135" y="connsiteY5135"/>
                </a:cxn>
                <a:cxn ang="0">
                  <a:pos x="connsiteX5136" y="connsiteY5136"/>
                </a:cxn>
                <a:cxn ang="0">
                  <a:pos x="connsiteX5137" y="connsiteY5137"/>
                </a:cxn>
                <a:cxn ang="0">
                  <a:pos x="connsiteX5138" y="connsiteY5138"/>
                </a:cxn>
                <a:cxn ang="0">
                  <a:pos x="connsiteX5139" y="connsiteY5139"/>
                </a:cxn>
                <a:cxn ang="0">
                  <a:pos x="connsiteX5140" y="connsiteY5140"/>
                </a:cxn>
                <a:cxn ang="0">
                  <a:pos x="connsiteX5141" y="connsiteY5141"/>
                </a:cxn>
                <a:cxn ang="0">
                  <a:pos x="connsiteX5142" y="connsiteY5142"/>
                </a:cxn>
                <a:cxn ang="0">
                  <a:pos x="connsiteX5143" y="connsiteY5143"/>
                </a:cxn>
                <a:cxn ang="0">
                  <a:pos x="connsiteX5144" y="connsiteY5144"/>
                </a:cxn>
                <a:cxn ang="0">
                  <a:pos x="connsiteX5145" y="connsiteY5145"/>
                </a:cxn>
                <a:cxn ang="0">
                  <a:pos x="connsiteX5146" y="connsiteY5146"/>
                </a:cxn>
                <a:cxn ang="0">
                  <a:pos x="connsiteX5147" y="connsiteY5147"/>
                </a:cxn>
                <a:cxn ang="0">
                  <a:pos x="connsiteX5148" y="connsiteY5148"/>
                </a:cxn>
                <a:cxn ang="0">
                  <a:pos x="connsiteX5149" y="connsiteY5149"/>
                </a:cxn>
                <a:cxn ang="0">
                  <a:pos x="connsiteX5150" y="connsiteY5150"/>
                </a:cxn>
                <a:cxn ang="0">
                  <a:pos x="connsiteX5151" y="connsiteY5151"/>
                </a:cxn>
                <a:cxn ang="0">
                  <a:pos x="connsiteX5152" y="connsiteY5152"/>
                </a:cxn>
                <a:cxn ang="0">
                  <a:pos x="connsiteX5153" y="connsiteY5153"/>
                </a:cxn>
                <a:cxn ang="0">
                  <a:pos x="connsiteX5154" y="connsiteY5154"/>
                </a:cxn>
                <a:cxn ang="0">
                  <a:pos x="connsiteX5155" y="connsiteY5155"/>
                </a:cxn>
                <a:cxn ang="0">
                  <a:pos x="connsiteX5156" y="connsiteY5156"/>
                </a:cxn>
                <a:cxn ang="0">
                  <a:pos x="connsiteX5157" y="connsiteY5157"/>
                </a:cxn>
                <a:cxn ang="0">
                  <a:pos x="connsiteX5158" y="connsiteY5158"/>
                </a:cxn>
                <a:cxn ang="0">
                  <a:pos x="connsiteX5159" y="connsiteY5159"/>
                </a:cxn>
                <a:cxn ang="0">
                  <a:pos x="connsiteX5160" y="connsiteY5160"/>
                </a:cxn>
                <a:cxn ang="0">
                  <a:pos x="connsiteX5161" y="connsiteY5161"/>
                </a:cxn>
                <a:cxn ang="0">
                  <a:pos x="connsiteX5162" y="connsiteY5162"/>
                </a:cxn>
                <a:cxn ang="0">
                  <a:pos x="connsiteX5163" y="connsiteY5163"/>
                </a:cxn>
                <a:cxn ang="0">
                  <a:pos x="connsiteX5164" y="connsiteY5164"/>
                </a:cxn>
                <a:cxn ang="0">
                  <a:pos x="connsiteX5165" y="connsiteY5165"/>
                </a:cxn>
                <a:cxn ang="0">
                  <a:pos x="connsiteX5166" y="connsiteY5166"/>
                </a:cxn>
                <a:cxn ang="0">
                  <a:pos x="connsiteX5167" y="connsiteY5167"/>
                </a:cxn>
                <a:cxn ang="0">
                  <a:pos x="connsiteX5168" y="connsiteY5168"/>
                </a:cxn>
                <a:cxn ang="0">
                  <a:pos x="connsiteX5169" y="connsiteY5169"/>
                </a:cxn>
                <a:cxn ang="0">
                  <a:pos x="connsiteX5170" y="connsiteY5170"/>
                </a:cxn>
                <a:cxn ang="0">
                  <a:pos x="connsiteX5171" y="connsiteY5171"/>
                </a:cxn>
                <a:cxn ang="0">
                  <a:pos x="connsiteX5172" y="connsiteY5172"/>
                </a:cxn>
                <a:cxn ang="0">
                  <a:pos x="connsiteX5173" y="connsiteY5173"/>
                </a:cxn>
                <a:cxn ang="0">
                  <a:pos x="connsiteX5174" y="connsiteY5174"/>
                </a:cxn>
                <a:cxn ang="0">
                  <a:pos x="connsiteX5175" y="connsiteY5175"/>
                </a:cxn>
                <a:cxn ang="0">
                  <a:pos x="connsiteX5176" y="connsiteY5176"/>
                </a:cxn>
                <a:cxn ang="0">
                  <a:pos x="connsiteX5177" y="connsiteY5177"/>
                </a:cxn>
                <a:cxn ang="0">
                  <a:pos x="connsiteX5178" y="connsiteY5178"/>
                </a:cxn>
                <a:cxn ang="0">
                  <a:pos x="connsiteX5179" y="connsiteY5179"/>
                </a:cxn>
                <a:cxn ang="0">
                  <a:pos x="connsiteX5180" y="connsiteY5180"/>
                </a:cxn>
                <a:cxn ang="0">
                  <a:pos x="connsiteX5181" y="connsiteY5181"/>
                </a:cxn>
                <a:cxn ang="0">
                  <a:pos x="connsiteX5182" y="connsiteY5182"/>
                </a:cxn>
                <a:cxn ang="0">
                  <a:pos x="connsiteX5183" y="connsiteY5183"/>
                </a:cxn>
                <a:cxn ang="0">
                  <a:pos x="connsiteX5184" y="connsiteY5184"/>
                </a:cxn>
                <a:cxn ang="0">
                  <a:pos x="connsiteX5185" y="connsiteY5185"/>
                </a:cxn>
                <a:cxn ang="0">
                  <a:pos x="connsiteX5186" y="connsiteY5186"/>
                </a:cxn>
                <a:cxn ang="0">
                  <a:pos x="connsiteX5187" y="connsiteY5187"/>
                </a:cxn>
                <a:cxn ang="0">
                  <a:pos x="connsiteX5188" y="connsiteY5188"/>
                </a:cxn>
                <a:cxn ang="0">
                  <a:pos x="connsiteX5189" y="connsiteY5189"/>
                </a:cxn>
                <a:cxn ang="0">
                  <a:pos x="connsiteX5190" y="connsiteY5190"/>
                </a:cxn>
                <a:cxn ang="0">
                  <a:pos x="connsiteX5191" y="connsiteY5191"/>
                </a:cxn>
                <a:cxn ang="0">
                  <a:pos x="connsiteX5192" y="connsiteY5192"/>
                </a:cxn>
                <a:cxn ang="0">
                  <a:pos x="connsiteX5193" y="connsiteY5193"/>
                </a:cxn>
                <a:cxn ang="0">
                  <a:pos x="connsiteX5194" y="connsiteY5194"/>
                </a:cxn>
                <a:cxn ang="0">
                  <a:pos x="connsiteX5195" y="connsiteY5195"/>
                </a:cxn>
                <a:cxn ang="0">
                  <a:pos x="connsiteX5196" y="connsiteY5196"/>
                </a:cxn>
                <a:cxn ang="0">
                  <a:pos x="connsiteX5197" y="connsiteY5197"/>
                </a:cxn>
                <a:cxn ang="0">
                  <a:pos x="connsiteX5198" y="connsiteY5198"/>
                </a:cxn>
                <a:cxn ang="0">
                  <a:pos x="connsiteX5199" y="connsiteY5199"/>
                </a:cxn>
                <a:cxn ang="0">
                  <a:pos x="connsiteX5200" y="connsiteY5200"/>
                </a:cxn>
                <a:cxn ang="0">
                  <a:pos x="connsiteX5201" y="connsiteY5201"/>
                </a:cxn>
                <a:cxn ang="0">
                  <a:pos x="connsiteX5202" y="connsiteY5202"/>
                </a:cxn>
                <a:cxn ang="0">
                  <a:pos x="connsiteX5203" y="connsiteY5203"/>
                </a:cxn>
                <a:cxn ang="0">
                  <a:pos x="connsiteX5204" y="connsiteY5204"/>
                </a:cxn>
                <a:cxn ang="0">
                  <a:pos x="connsiteX5205" y="connsiteY5205"/>
                </a:cxn>
                <a:cxn ang="0">
                  <a:pos x="connsiteX5206" y="connsiteY5206"/>
                </a:cxn>
                <a:cxn ang="0">
                  <a:pos x="connsiteX5207" y="connsiteY5207"/>
                </a:cxn>
                <a:cxn ang="0">
                  <a:pos x="connsiteX5208" y="connsiteY5208"/>
                </a:cxn>
                <a:cxn ang="0">
                  <a:pos x="connsiteX5209" y="connsiteY5209"/>
                </a:cxn>
                <a:cxn ang="0">
                  <a:pos x="connsiteX5210" y="connsiteY5210"/>
                </a:cxn>
                <a:cxn ang="0">
                  <a:pos x="connsiteX5211" y="connsiteY5211"/>
                </a:cxn>
                <a:cxn ang="0">
                  <a:pos x="connsiteX5212" y="connsiteY5212"/>
                </a:cxn>
                <a:cxn ang="0">
                  <a:pos x="connsiteX5213" y="connsiteY5213"/>
                </a:cxn>
                <a:cxn ang="0">
                  <a:pos x="connsiteX5214" y="connsiteY5214"/>
                </a:cxn>
                <a:cxn ang="0">
                  <a:pos x="connsiteX5215" y="connsiteY5215"/>
                </a:cxn>
                <a:cxn ang="0">
                  <a:pos x="connsiteX5216" y="connsiteY5216"/>
                </a:cxn>
                <a:cxn ang="0">
                  <a:pos x="connsiteX5217" y="connsiteY5217"/>
                </a:cxn>
                <a:cxn ang="0">
                  <a:pos x="connsiteX5218" y="connsiteY5218"/>
                </a:cxn>
                <a:cxn ang="0">
                  <a:pos x="connsiteX5219" y="connsiteY5219"/>
                </a:cxn>
                <a:cxn ang="0">
                  <a:pos x="connsiteX5220" y="connsiteY5220"/>
                </a:cxn>
                <a:cxn ang="0">
                  <a:pos x="connsiteX5221" y="connsiteY5221"/>
                </a:cxn>
                <a:cxn ang="0">
                  <a:pos x="connsiteX5222" y="connsiteY5222"/>
                </a:cxn>
                <a:cxn ang="0">
                  <a:pos x="connsiteX5223" y="connsiteY5223"/>
                </a:cxn>
                <a:cxn ang="0">
                  <a:pos x="connsiteX5224" y="connsiteY5224"/>
                </a:cxn>
                <a:cxn ang="0">
                  <a:pos x="connsiteX5225" y="connsiteY5225"/>
                </a:cxn>
                <a:cxn ang="0">
                  <a:pos x="connsiteX5226" y="connsiteY5226"/>
                </a:cxn>
                <a:cxn ang="0">
                  <a:pos x="connsiteX5227" y="connsiteY5227"/>
                </a:cxn>
                <a:cxn ang="0">
                  <a:pos x="connsiteX5228" y="connsiteY5228"/>
                </a:cxn>
                <a:cxn ang="0">
                  <a:pos x="connsiteX5229" y="connsiteY5229"/>
                </a:cxn>
                <a:cxn ang="0">
                  <a:pos x="connsiteX5230" y="connsiteY5230"/>
                </a:cxn>
                <a:cxn ang="0">
                  <a:pos x="connsiteX5231" y="connsiteY5231"/>
                </a:cxn>
                <a:cxn ang="0">
                  <a:pos x="connsiteX5232" y="connsiteY5232"/>
                </a:cxn>
                <a:cxn ang="0">
                  <a:pos x="connsiteX5233" y="connsiteY5233"/>
                </a:cxn>
                <a:cxn ang="0">
                  <a:pos x="connsiteX5234" y="connsiteY5234"/>
                </a:cxn>
                <a:cxn ang="0">
                  <a:pos x="connsiteX5235" y="connsiteY5235"/>
                </a:cxn>
                <a:cxn ang="0">
                  <a:pos x="connsiteX5236" y="connsiteY5236"/>
                </a:cxn>
                <a:cxn ang="0">
                  <a:pos x="connsiteX5237" y="connsiteY5237"/>
                </a:cxn>
                <a:cxn ang="0">
                  <a:pos x="connsiteX5238" y="connsiteY5238"/>
                </a:cxn>
                <a:cxn ang="0">
                  <a:pos x="connsiteX5239" y="connsiteY5239"/>
                </a:cxn>
                <a:cxn ang="0">
                  <a:pos x="connsiteX5240" y="connsiteY5240"/>
                </a:cxn>
                <a:cxn ang="0">
                  <a:pos x="connsiteX5241" y="connsiteY5241"/>
                </a:cxn>
                <a:cxn ang="0">
                  <a:pos x="connsiteX5242" y="connsiteY5242"/>
                </a:cxn>
                <a:cxn ang="0">
                  <a:pos x="connsiteX5243" y="connsiteY5243"/>
                </a:cxn>
                <a:cxn ang="0">
                  <a:pos x="connsiteX5244" y="connsiteY5244"/>
                </a:cxn>
                <a:cxn ang="0">
                  <a:pos x="connsiteX5245" y="connsiteY5245"/>
                </a:cxn>
                <a:cxn ang="0">
                  <a:pos x="connsiteX5246" y="connsiteY5246"/>
                </a:cxn>
                <a:cxn ang="0">
                  <a:pos x="connsiteX5247" y="connsiteY5247"/>
                </a:cxn>
                <a:cxn ang="0">
                  <a:pos x="connsiteX5248" y="connsiteY5248"/>
                </a:cxn>
                <a:cxn ang="0">
                  <a:pos x="connsiteX5249" y="connsiteY5249"/>
                </a:cxn>
                <a:cxn ang="0">
                  <a:pos x="connsiteX5250" y="connsiteY5250"/>
                </a:cxn>
                <a:cxn ang="0">
                  <a:pos x="connsiteX5251" y="connsiteY5251"/>
                </a:cxn>
                <a:cxn ang="0">
                  <a:pos x="connsiteX5252" y="connsiteY5252"/>
                </a:cxn>
                <a:cxn ang="0">
                  <a:pos x="connsiteX5253" y="connsiteY5253"/>
                </a:cxn>
                <a:cxn ang="0">
                  <a:pos x="connsiteX5254" y="connsiteY5254"/>
                </a:cxn>
                <a:cxn ang="0">
                  <a:pos x="connsiteX5255" y="connsiteY5255"/>
                </a:cxn>
                <a:cxn ang="0">
                  <a:pos x="connsiteX5256" y="connsiteY5256"/>
                </a:cxn>
                <a:cxn ang="0">
                  <a:pos x="connsiteX5257" y="connsiteY5257"/>
                </a:cxn>
                <a:cxn ang="0">
                  <a:pos x="connsiteX5258" y="connsiteY5258"/>
                </a:cxn>
                <a:cxn ang="0">
                  <a:pos x="connsiteX5259" y="connsiteY5259"/>
                </a:cxn>
                <a:cxn ang="0">
                  <a:pos x="connsiteX5260" y="connsiteY5260"/>
                </a:cxn>
                <a:cxn ang="0">
                  <a:pos x="connsiteX5261" y="connsiteY5261"/>
                </a:cxn>
                <a:cxn ang="0">
                  <a:pos x="connsiteX5262" y="connsiteY5262"/>
                </a:cxn>
                <a:cxn ang="0">
                  <a:pos x="connsiteX5263" y="connsiteY5263"/>
                </a:cxn>
                <a:cxn ang="0">
                  <a:pos x="connsiteX5264" y="connsiteY5264"/>
                </a:cxn>
                <a:cxn ang="0">
                  <a:pos x="connsiteX5265" y="connsiteY5265"/>
                </a:cxn>
                <a:cxn ang="0">
                  <a:pos x="connsiteX5266" y="connsiteY5266"/>
                </a:cxn>
                <a:cxn ang="0">
                  <a:pos x="connsiteX5267" y="connsiteY5267"/>
                </a:cxn>
                <a:cxn ang="0">
                  <a:pos x="connsiteX5268" y="connsiteY5268"/>
                </a:cxn>
                <a:cxn ang="0">
                  <a:pos x="connsiteX5269" y="connsiteY5269"/>
                </a:cxn>
                <a:cxn ang="0">
                  <a:pos x="connsiteX5270" y="connsiteY5270"/>
                </a:cxn>
                <a:cxn ang="0">
                  <a:pos x="connsiteX5271" y="connsiteY5271"/>
                </a:cxn>
                <a:cxn ang="0">
                  <a:pos x="connsiteX5272" y="connsiteY5272"/>
                </a:cxn>
                <a:cxn ang="0">
                  <a:pos x="connsiteX5273" y="connsiteY5273"/>
                </a:cxn>
                <a:cxn ang="0">
                  <a:pos x="connsiteX5274" y="connsiteY5274"/>
                </a:cxn>
                <a:cxn ang="0">
                  <a:pos x="connsiteX5275" y="connsiteY5275"/>
                </a:cxn>
                <a:cxn ang="0">
                  <a:pos x="connsiteX5276" y="connsiteY5276"/>
                </a:cxn>
                <a:cxn ang="0">
                  <a:pos x="connsiteX5277" y="connsiteY5277"/>
                </a:cxn>
                <a:cxn ang="0">
                  <a:pos x="connsiteX5278" y="connsiteY5278"/>
                </a:cxn>
                <a:cxn ang="0">
                  <a:pos x="connsiteX5279" y="connsiteY5279"/>
                </a:cxn>
                <a:cxn ang="0">
                  <a:pos x="connsiteX5280" y="connsiteY5280"/>
                </a:cxn>
                <a:cxn ang="0">
                  <a:pos x="connsiteX5281" y="connsiteY5281"/>
                </a:cxn>
                <a:cxn ang="0">
                  <a:pos x="connsiteX5282" y="connsiteY5282"/>
                </a:cxn>
                <a:cxn ang="0">
                  <a:pos x="connsiteX5283" y="connsiteY5283"/>
                </a:cxn>
                <a:cxn ang="0">
                  <a:pos x="connsiteX5284" y="connsiteY5284"/>
                </a:cxn>
                <a:cxn ang="0">
                  <a:pos x="connsiteX5285" y="connsiteY5285"/>
                </a:cxn>
                <a:cxn ang="0">
                  <a:pos x="connsiteX5286" y="connsiteY5286"/>
                </a:cxn>
                <a:cxn ang="0">
                  <a:pos x="connsiteX5287" y="connsiteY5287"/>
                </a:cxn>
                <a:cxn ang="0">
                  <a:pos x="connsiteX5288" y="connsiteY5288"/>
                </a:cxn>
                <a:cxn ang="0">
                  <a:pos x="connsiteX5289" y="connsiteY5289"/>
                </a:cxn>
                <a:cxn ang="0">
                  <a:pos x="connsiteX5290" y="connsiteY5290"/>
                </a:cxn>
                <a:cxn ang="0">
                  <a:pos x="connsiteX5291" y="connsiteY5291"/>
                </a:cxn>
                <a:cxn ang="0">
                  <a:pos x="connsiteX5292" y="connsiteY5292"/>
                </a:cxn>
                <a:cxn ang="0">
                  <a:pos x="connsiteX5293" y="connsiteY5293"/>
                </a:cxn>
                <a:cxn ang="0">
                  <a:pos x="connsiteX5294" y="connsiteY5294"/>
                </a:cxn>
                <a:cxn ang="0">
                  <a:pos x="connsiteX5295" y="connsiteY5295"/>
                </a:cxn>
                <a:cxn ang="0">
                  <a:pos x="connsiteX5296" y="connsiteY5296"/>
                </a:cxn>
                <a:cxn ang="0">
                  <a:pos x="connsiteX5297" y="connsiteY5297"/>
                </a:cxn>
                <a:cxn ang="0">
                  <a:pos x="connsiteX5298" y="connsiteY5298"/>
                </a:cxn>
                <a:cxn ang="0">
                  <a:pos x="connsiteX5299" y="connsiteY5299"/>
                </a:cxn>
                <a:cxn ang="0">
                  <a:pos x="connsiteX5300" y="connsiteY5300"/>
                </a:cxn>
                <a:cxn ang="0">
                  <a:pos x="connsiteX5301" y="connsiteY5301"/>
                </a:cxn>
                <a:cxn ang="0">
                  <a:pos x="connsiteX5302" y="connsiteY5302"/>
                </a:cxn>
                <a:cxn ang="0">
                  <a:pos x="connsiteX5303" y="connsiteY5303"/>
                </a:cxn>
                <a:cxn ang="0">
                  <a:pos x="connsiteX5304" y="connsiteY5304"/>
                </a:cxn>
                <a:cxn ang="0">
                  <a:pos x="connsiteX5305" y="connsiteY5305"/>
                </a:cxn>
                <a:cxn ang="0">
                  <a:pos x="connsiteX5306" y="connsiteY5306"/>
                </a:cxn>
                <a:cxn ang="0">
                  <a:pos x="connsiteX5307" y="connsiteY5307"/>
                </a:cxn>
                <a:cxn ang="0">
                  <a:pos x="connsiteX5308" y="connsiteY5308"/>
                </a:cxn>
                <a:cxn ang="0">
                  <a:pos x="connsiteX5309" y="connsiteY5309"/>
                </a:cxn>
                <a:cxn ang="0">
                  <a:pos x="connsiteX5310" y="connsiteY5310"/>
                </a:cxn>
                <a:cxn ang="0">
                  <a:pos x="connsiteX5311" y="connsiteY5311"/>
                </a:cxn>
                <a:cxn ang="0">
                  <a:pos x="connsiteX5312" y="connsiteY5312"/>
                </a:cxn>
                <a:cxn ang="0">
                  <a:pos x="connsiteX5313" y="connsiteY5313"/>
                </a:cxn>
                <a:cxn ang="0">
                  <a:pos x="connsiteX5314" y="connsiteY5314"/>
                </a:cxn>
                <a:cxn ang="0">
                  <a:pos x="connsiteX5315" y="connsiteY5315"/>
                </a:cxn>
                <a:cxn ang="0">
                  <a:pos x="connsiteX5316" y="connsiteY5316"/>
                </a:cxn>
                <a:cxn ang="0">
                  <a:pos x="connsiteX5317" y="connsiteY5317"/>
                </a:cxn>
                <a:cxn ang="0">
                  <a:pos x="connsiteX5318" y="connsiteY5318"/>
                </a:cxn>
                <a:cxn ang="0">
                  <a:pos x="connsiteX5319" y="connsiteY5319"/>
                </a:cxn>
                <a:cxn ang="0">
                  <a:pos x="connsiteX5320" y="connsiteY5320"/>
                </a:cxn>
                <a:cxn ang="0">
                  <a:pos x="connsiteX5321" y="connsiteY5321"/>
                </a:cxn>
                <a:cxn ang="0">
                  <a:pos x="connsiteX5322" y="connsiteY5322"/>
                </a:cxn>
                <a:cxn ang="0">
                  <a:pos x="connsiteX5323" y="connsiteY5323"/>
                </a:cxn>
                <a:cxn ang="0">
                  <a:pos x="connsiteX5324" y="connsiteY5324"/>
                </a:cxn>
                <a:cxn ang="0">
                  <a:pos x="connsiteX5325" y="connsiteY5325"/>
                </a:cxn>
                <a:cxn ang="0">
                  <a:pos x="connsiteX5326" y="connsiteY5326"/>
                </a:cxn>
                <a:cxn ang="0">
                  <a:pos x="connsiteX5327" y="connsiteY5327"/>
                </a:cxn>
                <a:cxn ang="0">
                  <a:pos x="connsiteX5328" y="connsiteY5328"/>
                </a:cxn>
                <a:cxn ang="0">
                  <a:pos x="connsiteX5329" y="connsiteY5329"/>
                </a:cxn>
                <a:cxn ang="0">
                  <a:pos x="connsiteX5330" y="connsiteY5330"/>
                </a:cxn>
                <a:cxn ang="0">
                  <a:pos x="connsiteX5331" y="connsiteY5331"/>
                </a:cxn>
                <a:cxn ang="0">
                  <a:pos x="connsiteX5332" y="connsiteY5332"/>
                </a:cxn>
                <a:cxn ang="0">
                  <a:pos x="connsiteX5333" y="connsiteY5333"/>
                </a:cxn>
                <a:cxn ang="0">
                  <a:pos x="connsiteX5334" y="connsiteY5334"/>
                </a:cxn>
                <a:cxn ang="0">
                  <a:pos x="connsiteX5335" y="connsiteY5335"/>
                </a:cxn>
                <a:cxn ang="0">
                  <a:pos x="connsiteX5336" y="connsiteY5336"/>
                </a:cxn>
                <a:cxn ang="0">
                  <a:pos x="connsiteX5337" y="connsiteY5337"/>
                </a:cxn>
                <a:cxn ang="0">
                  <a:pos x="connsiteX5338" y="connsiteY5338"/>
                </a:cxn>
                <a:cxn ang="0">
                  <a:pos x="connsiteX5339" y="connsiteY5339"/>
                </a:cxn>
                <a:cxn ang="0">
                  <a:pos x="connsiteX5340" y="connsiteY5340"/>
                </a:cxn>
                <a:cxn ang="0">
                  <a:pos x="connsiteX5341" y="connsiteY5341"/>
                </a:cxn>
                <a:cxn ang="0">
                  <a:pos x="connsiteX5342" y="connsiteY5342"/>
                </a:cxn>
                <a:cxn ang="0">
                  <a:pos x="connsiteX5343" y="connsiteY5343"/>
                </a:cxn>
                <a:cxn ang="0">
                  <a:pos x="connsiteX5344" y="connsiteY5344"/>
                </a:cxn>
                <a:cxn ang="0">
                  <a:pos x="connsiteX5345" y="connsiteY5345"/>
                </a:cxn>
                <a:cxn ang="0">
                  <a:pos x="connsiteX5346" y="connsiteY5346"/>
                </a:cxn>
                <a:cxn ang="0">
                  <a:pos x="connsiteX5347" y="connsiteY5347"/>
                </a:cxn>
                <a:cxn ang="0">
                  <a:pos x="connsiteX5348" y="connsiteY5348"/>
                </a:cxn>
                <a:cxn ang="0">
                  <a:pos x="connsiteX5349" y="connsiteY5349"/>
                </a:cxn>
                <a:cxn ang="0">
                  <a:pos x="connsiteX5350" y="connsiteY5350"/>
                </a:cxn>
                <a:cxn ang="0">
                  <a:pos x="connsiteX5351" y="connsiteY5351"/>
                </a:cxn>
                <a:cxn ang="0">
                  <a:pos x="connsiteX5352" y="connsiteY5352"/>
                </a:cxn>
                <a:cxn ang="0">
                  <a:pos x="connsiteX5353" y="connsiteY5353"/>
                </a:cxn>
                <a:cxn ang="0">
                  <a:pos x="connsiteX5354" y="connsiteY5354"/>
                </a:cxn>
                <a:cxn ang="0">
                  <a:pos x="connsiteX5355" y="connsiteY5355"/>
                </a:cxn>
                <a:cxn ang="0">
                  <a:pos x="connsiteX5356" y="connsiteY5356"/>
                </a:cxn>
                <a:cxn ang="0">
                  <a:pos x="connsiteX5357" y="connsiteY5357"/>
                </a:cxn>
                <a:cxn ang="0">
                  <a:pos x="connsiteX5358" y="connsiteY5358"/>
                </a:cxn>
                <a:cxn ang="0">
                  <a:pos x="connsiteX5359" y="connsiteY5359"/>
                </a:cxn>
                <a:cxn ang="0">
                  <a:pos x="connsiteX5360" y="connsiteY5360"/>
                </a:cxn>
                <a:cxn ang="0">
                  <a:pos x="connsiteX5361" y="connsiteY5361"/>
                </a:cxn>
                <a:cxn ang="0">
                  <a:pos x="connsiteX5362" y="connsiteY5362"/>
                </a:cxn>
                <a:cxn ang="0">
                  <a:pos x="connsiteX5363" y="connsiteY5363"/>
                </a:cxn>
                <a:cxn ang="0">
                  <a:pos x="connsiteX5364" y="connsiteY5364"/>
                </a:cxn>
                <a:cxn ang="0">
                  <a:pos x="connsiteX5365" y="connsiteY5365"/>
                </a:cxn>
                <a:cxn ang="0">
                  <a:pos x="connsiteX5366" y="connsiteY5366"/>
                </a:cxn>
                <a:cxn ang="0">
                  <a:pos x="connsiteX5367" y="connsiteY5367"/>
                </a:cxn>
                <a:cxn ang="0">
                  <a:pos x="connsiteX5368" y="connsiteY5368"/>
                </a:cxn>
                <a:cxn ang="0">
                  <a:pos x="connsiteX5369" y="connsiteY5369"/>
                </a:cxn>
                <a:cxn ang="0">
                  <a:pos x="connsiteX5370" y="connsiteY5370"/>
                </a:cxn>
                <a:cxn ang="0">
                  <a:pos x="connsiteX5371" y="connsiteY5371"/>
                </a:cxn>
                <a:cxn ang="0">
                  <a:pos x="connsiteX5372" y="connsiteY5372"/>
                </a:cxn>
                <a:cxn ang="0">
                  <a:pos x="connsiteX5373" y="connsiteY5373"/>
                </a:cxn>
                <a:cxn ang="0">
                  <a:pos x="connsiteX5374" y="connsiteY5374"/>
                </a:cxn>
                <a:cxn ang="0">
                  <a:pos x="connsiteX5375" y="connsiteY5375"/>
                </a:cxn>
                <a:cxn ang="0">
                  <a:pos x="connsiteX5376" y="connsiteY5376"/>
                </a:cxn>
                <a:cxn ang="0">
                  <a:pos x="connsiteX5377" y="connsiteY5377"/>
                </a:cxn>
                <a:cxn ang="0">
                  <a:pos x="connsiteX5378" y="connsiteY5378"/>
                </a:cxn>
                <a:cxn ang="0">
                  <a:pos x="connsiteX5379" y="connsiteY5379"/>
                </a:cxn>
                <a:cxn ang="0">
                  <a:pos x="connsiteX5380" y="connsiteY5380"/>
                </a:cxn>
                <a:cxn ang="0">
                  <a:pos x="connsiteX5381" y="connsiteY5381"/>
                </a:cxn>
                <a:cxn ang="0">
                  <a:pos x="connsiteX5382" y="connsiteY5382"/>
                </a:cxn>
                <a:cxn ang="0">
                  <a:pos x="connsiteX5383" y="connsiteY5383"/>
                </a:cxn>
                <a:cxn ang="0">
                  <a:pos x="connsiteX5384" y="connsiteY5384"/>
                </a:cxn>
                <a:cxn ang="0">
                  <a:pos x="connsiteX5385" y="connsiteY5385"/>
                </a:cxn>
                <a:cxn ang="0">
                  <a:pos x="connsiteX5386" y="connsiteY5386"/>
                </a:cxn>
                <a:cxn ang="0">
                  <a:pos x="connsiteX5387" y="connsiteY5387"/>
                </a:cxn>
                <a:cxn ang="0">
                  <a:pos x="connsiteX5388" y="connsiteY5388"/>
                </a:cxn>
                <a:cxn ang="0">
                  <a:pos x="connsiteX5389" y="connsiteY5389"/>
                </a:cxn>
                <a:cxn ang="0">
                  <a:pos x="connsiteX5390" y="connsiteY5390"/>
                </a:cxn>
                <a:cxn ang="0">
                  <a:pos x="connsiteX5391" y="connsiteY5391"/>
                </a:cxn>
                <a:cxn ang="0">
                  <a:pos x="connsiteX5392" y="connsiteY5392"/>
                </a:cxn>
                <a:cxn ang="0">
                  <a:pos x="connsiteX5393" y="connsiteY5393"/>
                </a:cxn>
                <a:cxn ang="0">
                  <a:pos x="connsiteX5394" y="connsiteY5394"/>
                </a:cxn>
                <a:cxn ang="0">
                  <a:pos x="connsiteX5395" y="connsiteY5395"/>
                </a:cxn>
                <a:cxn ang="0">
                  <a:pos x="connsiteX5396" y="connsiteY5396"/>
                </a:cxn>
                <a:cxn ang="0">
                  <a:pos x="connsiteX5397" y="connsiteY5397"/>
                </a:cxn>
                <a:cxn ang="0">
                  <a:pos x="connsiteX5398" y="connsiteY5398"/>
                </a:cxn>
                <a:cxn ang="0">
                  <a:pos x="connsiteX5399" y="connsiteY5399"/>
                </a:cxn>
                <a:cxn ang="0">
                  <a:pos x="connsiteX5400" y="connsiteY5400"/>
                </a:cxn>
                <a:cxn ang="0">
                  <a:pos x="connsiteX5401" y="connsiteY5401"/>
                </a:cxn>
                <a:cxn ang="0">
                  <a:pos x="connsiteX5402" y="connsiteY5402"/>
                </a:cxn>
                <a:cxn ang="0">
                  <a:pos x="connsiteX5403" y="connsiteY5403"/>
                </a:cxn>
                <a:cxn ang="0">
                  <a:pos x="connsiteX5404" y="connsiteY5404"/>
                </a:cxn>
                <a:cxn ang="0">
                  <a:pos x="connsiteX5405" y="connsiteY5405"/>
                </a:cxn>
                <a:cxn ang="0">
                  <a:pos x="connsiteX5406" y="connsiteY5406"/>
                </a:cxn>
                <a:cxn ang="0">
                  <a:pos x="connsiteX5407" y="connsiteY5407"/>
                </a:cxn>
                <a:cxn ang="0">
                  <a:pos x="connsiteX5408" y="connsiteY5408"/>
                </a:cxn>
                <a:cxn ang="0">
                  <a:pos x="connsiteX5409" y="connsiteY5409"/>
                </a:cxn>
                <a:cxn ang="0">
                  <a:pos x="connsiteX5410" y="connsiteY5410"/>
                </a:cxn>
                <a:cxn ang="0">
                  <a:pos x="connsiteX5411" y="connsiteY5411"/>
                </a:cxn>
                <a:cxn ang="0">
                  <a:pos x="connsiteX5412" y="connsiteY5412"/>
                </a:cxn>
                <a:cxn ang="0">
                  <a:pos x="connsiteX5413" y="connsiteY5413"/>
                </a:cxn>
                <a:cxn ang="0">
                  <a:pos x="connsiteX5414" y="connsiteY5414"/>
                </a:cxn>
                <a:cxn ang="0">
                  <a:pos x="connsiteX5415" y="connsiteY5415"/>
                </a:cxn>
                <a:cxn ang="0">
                  <a:pos x="connsiteX5416" y="connsiteY5416"/>
                </a:cxn>
                <a:cxn ang="0">
                  <a:pos x="connsiteX5417" y="connsiteY5417"/>
                </a:cxn>
                <a:cxn ang="0">
                  <a:pos x="connsiteX5418" y="connsiteY5418"/>
                </a:cxn>
                <a:cxn ang="0">
                  <a:pos x="connsiteX5419" y="connsiteY5419"/>
                </a:cxn>
                <a:cxn ang="0">
                  <a:pos x="connsiteX5420" y="connsiteY5420"/>
                </a:cxn>
                <a:cxn ang="0">
                  <a:pos x="connsiteX5421" y="connsiteY5421"/>
                </a:cxn>
                <a:cxn ang="0">
                  <a:pos x="connsiteX5422" y="connsiteY5422"/>
                </a:cxn>
                <a:cxn ang="0">
                  <a:pos x="connsiteX5423" y="connsiteY5423"/>
                </a:cxn>
                <a:cxn ang="0">
                  <a:pos x="connsiteX5424" y="connsiteY5424"/>
                </a:cxn>
                <a:cxn ang="0">
                  <a:pos x="connsiteX5425" y="connsiteY5425"/>
                </a:cxn>
                <a:cxn ang="0">
                  <a:pos x="connsiteX5426" y="connsiteY5426"/>
                </a:cxn>
                <a:cxn ang="0">
                  <a:pos x="connsiteX5427" y="connsiteY5427"/>
                </a:cxn>
                <a:cxn ang="0">
                  <a:pos x="connsiteX5428" y="connsiteY5428"/>
                </a:cxn>
                <a:cxn ang="0">
                  <a:pos x="connsiteX5429" y="connsiteY5429"/>
                </a:cxn>
                <a:cxn ang="0">
                  <a:pos x="connsiteX5430" y="connsiteY5430"/>
                </a:cxn>
                <a:cxn ang="0">
                  <a:pos x="connsiteX5431" y="connsiteY5431"/>
                </a:cxn>
                <a:cxn ang="0">
                  <a:pos x="connsiteX5432" y="connsiteY5432"/>
                </a:cxn>
                <a:cxn ang="0">
                  <a:pos x="connsiteX5433" y="connsiteY5433"/>
                </a:cxn>
                <a:cxn ang="0">
                  <a:pos x="connsiteX5434" y="connsiteY5434"/>
                </a:cxn>
                <a:cxn ang="0">
                  <a:pos x="connsiteX5435" y="connsiteY5435"/>
                </a:cxn>
                <a:cxn ang="0">
                  <a:pos x="connsiteX5436" y="connsiteY5436"/>
                </a:cxn>
                <a:cxn ang="0">
                  <a:pos x="connsiteX5437" y="connsiteY5437"/>
                </a:cxn>
                <a:cxn ang="0">
                  <a:pos x="connsiteX5438" y="connsiteY5438"/>
                </a:cxn>
                <a:cxn ang="0">
                  <a:pos x="connsiteX5439" y="connsiteY5439"/>
                </a:cxn>
                <a:cxn ang="0">
                  <a:pos x="connsiteX5440" y="connsiteY5440"/>
                </a:cxn>
                <a:cxn ang="0">
                  <a:pos x="connsiteX5441" y="connsiteY5441"/>
                </a:cxn>
                <a:cxn ang="0">
                  <a:pos x="connsiteX5442" y="connsiteY5442"/>
                </a:cxn>
                <a:cxn ang="0">
                  <a:pos x="connsiteX5443" y="connsiteY5443"/>
                </a:cxn>
                <a:cxn ang="0">
                  <a:pos x="connsiteX5444" y="connsiteY5444"/>
                </a:cxn>
                <a:cxn ang="0">
                  <a:pos x="connsiteX5445" y="connsiteY5445"/>
                </a:cxn>
                <a:cxn ang="0">
                  <a:pos x="connsiteX5446" y="connsiteY5446"/>
                </a:cxn>
                <a:cxn ang="0">
                  <a:pos x="connsiteX5447" y="connsiteY5447"/>
                </a:cxn>
                <a:cxn ang="0">
                  <a:pos x="connsiteX5448" y="connsiteY5448"/>
                </a:cxn>
                <a:cxn ang="0">
                  <a:pos x="connsiteX5449" y="connsiteY5449"/>
                </a:cxn>
                <a:cxn ang="0">
                  <a:pos x="connsiteX5450" y="connsiteY5450"/>
                </a:cxn>
                <a:cxn ang="0">
                  <a:pos x="connsiteX5451" y="connsiteY5451"/>
                </a:cxn>
                <a:cxn ang="0">
                  <a:pos x="connsiteX5452" y="connsiteY5452"/>
                </a:cxn>
                <a:cxn ang="0">
                  <a:pos x="connsiteX5453" y="connsiteY5453"/>
                </a:cxn>
                <a:cxn ang="0">
                  <a:pos x="connsiteX5454" y="connsiteY5454"/>
                </a:cxn>
                <a:cxn ang="0">
                  <a:pos x="connsiteX5455" y="connsiteY5455"/>
                </a:cxn>
                <a:cxn ang="0">
                  <a:pos x="connsiteX5456" y="connsiteY5456"/>
                </a:cxn>
                <a:cxn ang="0">
                  <a:pos x="connsiteX5457" y="connsiteY5457"/>
                </a:cxn>
                <a:cxn ang="0">
                  <a:pos x="connsiteX5458" y="connsiteY5458"/>
                </a:cxn>
                <a:cxn ang="0">
                  <a:pos x="connsiteX5459" y="connsiteY5459"/>
                </a:cxn>
                <a:cxn ang="0">
                  <a:pos x="connsiteX5460" y="connsiteY5460"/>
                </a:cxn>
                <a:cxn ang="0">
                  <a:pos x="connsiteX5461" y="connsiteY5461"/>
                </a:cxn>
                <a:cxn ang="0">
                  <a:pos x="connsiteX5462" y="connsiteY5462"/>
                </a:cxn>
                <a:cxn ang="0">
                  <a:pos x="connsiteX5463" y="connsiteY5463"/>
                </a:cxn>
                <a:cxn ang="0">
                  <a:pos x="connsiteX5464" y="connsiteY5464"/>
                </a:cxn>
                <a:cxn ang="0">
                  <a:pos x="connsiteX5465" y="connsiteY5465"/>
                </a:cxn>
                <a:cxn ang="0">
                  <a:pos x="connsiteX5466" y="connsiteY5466"/>
                </a:cxn>
                <a:cxn ang="0">
                  <a:pos x="connsiteX5467" y="connsiteY5467"/>
                </a:cxn>
                <a:cxn ang="0">
                  <a:pos x="connsiteX5468" y="connsiteY5468"/>
                </a:cxn>
                <a:cxn ang="0">
                  <a:pos x="connsiteX5469" y="connsiteY5469"/>
                </a:cxn>
                <a:cxn ang="0">
                  <a:pos x="connsiteX5470" y="connsiteY5470"/>
                </a:cxn>
                <a:cxn ang="0">
                  <a:pos x="connsiteX5471" y="connsiteY5471"/>
                </a:cxn>
                <a:cxn ang="0">
                  <a:pos x="connsiteX5472" y="connsiteY5472"/>
                </a:cxn>
                <a:cxn ang="0">
                  <a:pos x="connsiteX5473" y="connsiteY5473"/>
                </a:cxn>
                <a:cxn ang="0">
                  <a:pos x="connsiteX5474" y="connsiteY5474"/>
                </a:cxn>
                <a:cxn ang="0">
                  <a:pos x="connsiteX5475" y="connsiteY5475"/>
                </a:cxn>
                <a:cxn ang="0">
                  <a:pos x="connsiteX5476" y="connsiteY5476"/>
                </a:cxn>
                <a:cxn ang="0">
                  <a:pos x="connsiteX5477" y="connsiteY5477"/>
                </a:cxn>
                <a:cxn ang="0">
                  <a:pos x="connsiteX5478" y="connsiteY5478"/>
                </a:cxn>
                <a:cxn ang="0">
                  <a:pos x="connsiteX5479" y="connsiteY5479"/>
                </a:cxn>
                <a:cxn ang="0">
                  <a:pos x="connsiteX5480" y="connsiteY5480"/>
                </a:cxn>
                <a:cxn ang="0">
                  <a:pos x="connsiteX5481" y="connsiteY5481"/>
                </a:cxn>
                <a:cxn ang="0">
                  <a:pos x="connsiteX5482" y="connsiteY5482"/>
                </a:cxn>
                <a:cxn ang="0">
                  <a:pos x="connsiteX5483" y="connsiteY5483"/>
                </a:cxn>
                <a:cxn ang="0">
                  <a:pos x="connsiteX5484" y="connsiteY5484"/>
                </a:cxn>
                <a:cxn ang="0">
                  <a:pos x="connsiteX5485" y="connsiteY5485"/>
                </a:cxn>
                <a:cxn ang="0">
                  <a:pos x="connsiteX5486" y="connsiteY5486"/>
                </a:cxn>
                <a:cxn ang="0">
                  <a:pos x="connsiteX5487" y="connsiteY5487"/>
                </a:cxn>
                <a:cxn ang="0">
                  <a:pos x="connsiteX5488" y="connsiteY5488"/>
                </a:cxn>
                <a:cxn ang="0">
                  <a:pos x="connsiteX5489" y="connsiteY5489"/>
                </a:cxn>
                <a:cxn ang="0">
                  <a:pos x="connsiteX5490" y="connsiteY5490"/>
                </a:cxn>
                <a:cxn ang="0">
                  <a:pos x="connsiteX5491" y="connsiteY5491"/>
                </a:cxn>
                <a:cxn ang="0">
                  <a:pos x="connsiteX5492" y="connsiteY5492"/>
                </a:cxn>
                <a:cxn ang="0">
                  <a:pos x="connsiteX5493" y="connsiteY5493"/>
                </a:cxn>
                <a:cxn ang="0">
                  <a:pos x="connsiteX5494" y="connsiteY5494"/>
                </a:cxn>
                <a:cxn ang="0">
                  <a:pos x="connsiteX5495" y="connsiteY5495"/>
                </a:cxn>
                <a:cxn ang="0">
                  <a:pos x="connsiteX5496" y="connsiteY5496"/>
                </a:cxn>
                <a:cxn ang="0">
                  <a:pos x="connsiteX5497" y="connsiteY5497"/>
                </a:cxn>
                <a:cxn ang="0">
                  <a:pos x="connsiteX5498" y="connsiteY5498"/>
                </a:cxn>
                <a:cxn ang="0">
                  <a:pos x="connsiteX5499" y="connsiteY5499"/>
                </a:cxn>
                <a:cxn ang="0">
                  <a:pos x="connsiteX5500" y="connsiteY5500"/>
                </a:cxn>
                <a:cxn ang="0">
                  <a:pos x="connsiteX5501" y="connsiteY5501"/>
                </a:cxn>
                <a:cxn ang="0">
                  <a:pos x="connsiteX5502" y="connsiteY5502"/>
                </a:cxn>
                <a:cxn ang="0">
                  <a:pos x="connsiteX5503" y="connsiteY5503"/>
                </a:cxn>
                <a:cxn ang="0">
                  <a:pos x="connsiteX5504" y="connsiteY5504"/>
                </a:cxn>
                <a:cxn ang="0">
                  <a:pos x="connsiteX5505" y="connsiteY5505"/>
                </a:cxn>
                <a:cxn ang="0">
                  <a:pos x="connsiteX5506" y="connsiteY5506"/>
                </a:cxn>
                <a:cxn ang="0">
                  <a:pos x="connsiteX5507" y="connsiteY5507"/>
                </a:cxn>
                <a:cxn ang="0">
                  <a:pos x="connsiteX5508" y="connsiteY5508"/>
                </a:cxn>
                <a:cxn ang="0">
                  <a:pos x="connsiteX5509" y="connsiteY5509"/>
                </a:cxn>
                <a:cxn ang="0">
                  <a:pos x="connsiteX5510" y="connsiteY5510"/>
                </a:cxn>
                <a:cxn ang="0">
                  <a:pos x="connsiteX5511" y="connsiteY5511"/>
                </a:cxn>
                <a:cxn ang="0">
                  <a:pos x="connsiteX5512" y="connsiteY5512"/>
                </a:cxn>
                <a:cxn ang="0">
                  <a:pos x="connsiteX5513" y="connsiteY5513"/>
                </a:cxn>
                <a:cxn ang="0">
                  <a:pos x="connsiteX5514" y="connsiteY5514"/>
                </a:cxn>
                <a:cxn ang="0">
                  <a:pos x="connsiteX5515" y="connsiteY5515"/>
                </a:cxn>
                <a:cxn ang="0">
                  <a:pos x="connsiteX5516" y="connsiteY5516"/>
                </a:cxn>
                <a:cxn ang="0">
                  <a:pos x="connsiteX5517" y="connsiteY5517"/>
                </a:cxn>
                <a:cxn ang="0">
                  <a:pos x="connsiteX5518" y="connsiteY5518"/>
                </a:cxn>
                <a:cxn ang="0">
                  <a:pos x="connsiteX5519" y="connsiteY5519"/>
                </a:cxn>
                <a:cxn ang="0">
                  <a:pos x="connsiteX5520" y="connsiteY5520"/>
                </a:cxn>
                <a:cxn ang="0">
                  <a:pos x="connsiteX5521" y="connsiteY5521"/>
                </a:cxn>
                <a:cxn ang="0">
                  <a:pos x="connsiteX5522" y="connsiteY5522"/>
                </a:cxn>
                <a:cxn ang="0">
                  <a:pos x="connsiteX5523" y="connsiteY5523"/>
                </a:cxn>
                <a:cxn ang="0">
                  <a:pos x="connsiteX5524" y="connsiteY5524"/>
                </a:cxn>
                <a:cxn ang="0">
                  <a:pos x="connsiteX5525" y="connsiteY5525"/>
                </a:cxn>
                <a:cxn ang="0">
                  <a:pos x="connsiteX5526" y="connsiteY5526"/>
                </a:cxn>
                <a:cxn ang="0">
                  <a:pos x="connsiteX5527" y="connsiteY5527"/>
                </a:cxn>
                <a:cxn ang="0">
                  <a:pos x="connsiteX5528" y="connsiteY5528"/>
                </a:cxn>
                <a:cxn ang="0">
                  <a:pos x="connsiteX5529" y="connsiteY5529"/>
                </a:cxn>
                <a:cxn ang="0">
                  <a:pos x="connsiteX5530" y="connsiteY5530"/>
                </a:cxn>
                <a:cxn ang="0">
                  <a:pos x="connsiteX5531" y="connsiteY5531"/>
                </a:cxn>
                <a:cxn ang="0">
                  <a:pos x="connsiteX5532" y="connsiteY5532"/>
                </a:cxn>
                <a:cxn ang="0">
                  <a:pos x="connsiteX5533" y="connsiteY5533"/>
                </a:cxn>
                <a:cxn ang="0">
                  <a:pos x="connsiteX5534" y="connsiteY5534"/>
                </a:cxn>
                <a:cxn ang="0">
                  <a:pos x="connsiteX5535" y="connsiteY5535"/>
                </a:cxn>
                <a:cxn ang="0">
                  <a:pos x="connsiteX5536" y="connsiteY5536"/>
                </a:cxn>
                <a:cxn ang="0">
                  <a:pos x="connsiteX5537" y="connsiteY5537"/>
                </a:cxn>
                <a:cxn ang="0">
                  <a:pos x="connsiteX5538" y="connsiteY5538"/>
                </a:cxn>
                <a:cxn ang="0">
                  <a:pos x="connsiteX5539" y="connsiteY5539"/>
                </a:cxn>
                <a:cxn ang="0">
                  <a:pos x="connsiteX5540" y="connsiteY5540"/>
                </a:cxn>
                <a:cxn ang="0">
                  <a:pos x="connsiteX5541" y="connsiteY5541"/>
                </a:cxn>
                <a:cxn ang="0">
                  <a:pos x="connsiteX5542" y="connsiteY5542"/>
                </a:cxn>
                <a:cxn ang="0">
                  <a:pos x="connsiteX5543" y="connsiteY5543"/>
                </a:cxn>
                <a:cxn ang="0">
                  <a:pos x="connsiteX5544" y="connsiteY5544"/>
                </a:cxn>
                <a:cxn ang="0">
                  <a:pos x="connsiteX5545" y="connsiteY5545"/>
                </a:cxn>
                <a:cxn ang="0">
                  <a:pos x="connsiteX5546" y="connsiteY5546"/>
                </a:cxn>
                <a:cxn ang="0">
                  <a:pos x="connsiteX5547" y="connsiteY5547"/>
                </a:cxn>
                <a:cxn ang="0">
                  <a:pos x="connsiteX5548" y="connsiteY5548"/>
                </a:cxn>
                <a:cxn ang="0">
                  <a:pos x="connsiteX5549" y="connsiteY5549"/>
                </a:cxn>
                <a:cxn ang="0">
                  <a:pos x="connsiteX5550" y="connsiteY5550"/>
                </a:cxn>
                <a:cxn ang="0">
                  <a:pos x="connsiteX5551" y="connsiteY5551"/>
                </a:cxn>
                <a:cxn ang="0">
                  <a:pos x="connsiteX5552" y="connsiteY5552"/>
                </a:cxn>
                <a:cxn ang="0">
                  <a:pos x="connsiteX5553" y="connsiteY5553"/>
                </a:cxn>
                <a:cxn ang="0">
                  <a:pos x="connsiteX5554" y="connsiteY5554"/>
                </a:cxn>
                <a:cxn ang="0">
                  <a:pos x="connsiteX5555" y="connsiteY5555"/>
                </a:cxn>
                <a:cxn ang="0">
                  <a:pos x="connsiteX5556" y="connsiteY5556"/>
                </a:cxn>
                <a:cxn ang="0">
                  <a:pos x="connsiteX5557" y="connsiteY5557"/>
                </a:cxn>
                <a:cxn ang="0">
                  <a:pos x="connsiteX5558" y="connsiteY5558"/>
                </a:cxn>
                <a:cxn ang="0">
                  <a:pos x="connsiteX5559" y="connsiteY5559"/>
                </a:cxn>
                <a:cxn ang="0">
                  <a:pos x="connsiteX5560" y="connsiteY5560"/>
                </a:cxn>
                <a:cxn ang="0">
                  <a:pos x="connsiteX5561" y="connsiteY5561"/>
                </a:cxn>
                <a:cxn ang="0">
                  <a:pos x="connsiteX5562" y="connsiteY5562"/>
                </a:cxn>
                <a:cxn ang="0">
                  <a:pos x="connsiteX5563" y="connsiteY5563"/>
                </a:cxn>
                <a:cxn ang="0">
                  <a:pos x="connsiteX5564" y="connsiteY5564"/>
                </a:cxn>
                <a:cxn ang="0">
                  <a:pos x="connsiteX5565" y="connsiteY5565"/>
                </a:cxn>
                <a:cxn ang="0">
                  <a:pos x="connsiteX5566" y="connsiteY5566"/>
                </a:cxn>
                <a:cxn ang="0">
                  <a:pos x="connsiteX5567" y="connsiteY5567"/>
                </a:cxn>
                <a:cxn ang="0">
                  <a:pos x="connsiteX5568" y="connsiteY5568"/>
                </a:cxn>
                <a:cxn ang="0">
                  <a:pos x="connsiteX5569" y="connsiteY5569"/>
                </a:cxn>
                <a:cxn ang="0">
                  <a:pos x="connsiteX5570" y="connsiteY5570"/>
                </a:cxn>
                <a:cxn ang="0">
                  <a:pos x="connsiteX5571" y="connsiteY5571"/>
                </a:cxn>
                <a:cxn ang="0">
                  <a:pos x="connsiteX5572" y="connsiteY5572"/>
                </a:cxn>
                <a:cxn ang="0">
                  <a:pos x="connsiteX5573" y="connsiteY5573"/>
                </a:cxn>
                <a:cxn ang="0">
                  <a:pos x="connsiteX5574" y="connsiteY5574"/>
                </a:cxn>
                <a:cxn ang="0">
                  <a:pos x="connsiteX5575" y="connsiteY5575"/>
                </a:cxn>
                <a:cxn ang="0">
                  <a:pos x="connsiteX5576" y="connsiteY5576"/>
                </a:cxn>
                <a:cxn ang="0">
                  <a:pos x="connsiteX5577" y="connsiteY5577"/>
                </a:cxn>
                <a:cxn ang="0">
                  <a:pos x="connsiteX5578" y="connsiteY5578"/>
                </a:cxn>
                <a:cxn ang="0">
                  <a:pos x="connsiteX5579" y="connsiteY5579"/>
                </a:cxn>
                <a:cxn ang="0">
                  <a:pos x="connsiteX5580" y="connsiteY5580"/>
                </a:cxn>
                <a:cxn ang="0">
                  <a:pos x="connsiteX5581" y="connsiteY5581"/>
                </a:cxn>
                <a:cxn ang="0">
                  <a:pos x="connsiteX5582" y="connsiteY5582"/>
                </a:cxn>
                <a:cxn ang="0">
                  <a:pos x="connsiteX5583" y="connsiteY5583"/>
                </a:cxn>
                <a:cxn ang="0">
                  <a:pos x="connsiteX5584" y="connsiteY5584"/>
                </a:cxn>
                <a:cxn ang="0">
                  <a:pos x="connsiteX5585" y="connsiteY5585"/>
                </a:cxn>
                <a:cxn ang="0">
                  <a:pos x="connsiteX5586" y="connsiteY5586"/>
                </a:cxn>
                <a:cxn ang="0">
                  <a:pos x="connsiteX5587" y="connsiteY5587"/>
                </a:cxn>
                <a:cxn ang="0">
                  <a:pos x="connsiteX5588" y="connsiteY5588"/>
                </a:cxn>
                <a:cxn ang="0">
                  <a:pos x="connsiteX5589" y="connsiteY5589"/>
                </a:cxn>
                <a:cxn ang="0">
                  <a:pos x="connsiteX5590" y="connsiteY5590"/>
                </a:cxn>
                <a:cxn ang="0">
                  <a:pos x="connsiteX5591" y="connsiteY5591"/>
                </a:cxn>
                <a:cxn ang="0">
                  <a:pos x="connsiteX5592" y="connsiteY5592"/>
                </a:cxn>
                <a:cxn ang="0">
                  <a:pos x="connsiteX5593" y="connsiteY5593"/>
                </a:cxn>
                <a:cxn ang="0">
                  <a:pos x="connsiteX5594" y="connsiteY5594"/>
                </a:cxn>
                <a:cxn ang="0">
                  <a:pos x="connsiteX5595" y="connsiteY5595"/>
                </a:cxn>
                <a:cxn ang="0">
                  <a:pos x="connsiteX5596" y="connsiteY5596"/>
                </a:cxn>
                <a:cxn ang="0">
                  <a:pos x="connsiteX5597" y="connsiteY5597"/>
                </a:cxn>
                <a:cxn ang="0">
                  <a:pos x="connsiteX5598" y="connsiteY5598"/>
                </a:cxn>
                <a:cxn ang="0">
                  <a:pos x="connsiteX5599" y="connsiteY5599"/>
                </a:cxn>
                <a:cxn ang="0">
                  <a:pos x="connsiteX5600" y="connsiteY5600"/>
                </a:cxn>
                <a:cxn ang="0">
                  <a:pos x="connsiteX5601" y="connsiteY5601"/>
                </a:cxn>
                <a:cxn ang="0">
                  <a:pos x="connsiteX5602" y="connsiteY5602"/>
                </a:cxn>
                <a:cxn ang="0">
                  <a:pos x="connsiteX5603" y="connsiteY5603"/>
                </a:cxn>
                <a:cxn ang="0">
                  <a:pos x="connsiteX5604" y="connsiteY5604"/>
                </a:cxn>
                <a:cxn ang="0">
                  <a:pos x="connsiteX5605" y="connsiteY5605"/>
                </a:cxn>
                <a:cxn ang="0">
                  <a:pos x="connsiteX5606" y="connsiteY5606"/>
                </a:cxn>
                <a:cxn ang="0">
                  <a:pos x="connsiteX5607" y="connsiteY5607"/>
                </a:cxn>
                <a:cxn ang="0">
                  <a:pos x="connsiteX5608" y="connsiteY5608"/>
                </a:cxn>
                <a:cxn ang="0">
                  <a:pos x="connsiteX5609" y="connsiteY5609"/>
                </a:cxn>
                <a:cxn ang="0">
                  <a:pos x="connsiteX5610" y="connsiteY5610"/>
                </a:cxn>
                <a:cxn ang="0">
                  <a:pos x="connsiteX5611" y="connsiteY5611"/>
                </a:cxn>
                <a:cxn ang="0">
                  <a:pos x="connsiteX5612" y="connsiteY5612"/>
                </a:cxn>
                <a:cxn ang="0">
                  <a:pos x="connsiteX5613" y="connsiteY5613"/>
                </a:cxn>
                <a:cxn ang="0">
                  <a:pos x="connsiteX5614" y="connsiteY5614"/>
                </a:cxn>
                <a:cxn ang="0">
                  <a:pos x="connsiteX5615" y="connsiteY5615"/>
                </a:cxn>
                <a:cxn ang="0">
                  <a:pos x="connsiteX5616" y="connsiteY5616"/>
                </a:cxn>
                <a:cxn ang="0">
                  <a:pos x="connsiteX5617" y="connsiteY5617"/>
                </a:cxn>
                <a:cxn ang="0">
                  <a:pos x="connsiteX5618" y="connsiteY5618"/>
                </a:cxn>
                <a:cxn ang="0">
                  <a:pos x="connsiteX5619" y="connsiteY5619"/>
                </a:cxn>
                <a:cxn ang="0">
                  <a:pos x="connsiteX5620" y="connsiteY5620"/>
                </a:cxn>
                <a:cxn ang="0">
                  <a:pos x="connsiteX5621" y="connsiteY5621"/>
                </a:cxn>
                <a:cxn ang="0">
                  <a:pos x="connsiteX5622" y="connsiteY5622"/>
                </a:cxn>
                <a:cxn ang="0">
                  <a:pos x="connsiteX5623" y="connsiteY5623"/>
                </a:cxn>
                <a:cxn ang="0">
                  <a:pos x="connsiteX5624" y="connsiteY5624"/>
                </a:cxn>
                <a:cxn ang="0">
                  <a:pos x="connsiteX5625" y="connsiteY5625"/>
                </a:cxn>
                <a:cxn ang="0">
                  <a:pos x="connsiteX5626" y="connsiteY5626"/>
                </a:cxn>
                <a:cxn ang="0">
                  <a:pos x="connsiteX5627" y="connsiteY5627"/>
                </a:cxn>
                <a:cxn ang="0">
                  <a:pos x="connsiteX5628" y="connsiteY5628"/>
                </a:cxn>
                <a:cxn ang="0">
                  <a:pos x="connsiteX5629" y="connsiteY5629"/>
                </a:cxn>
              </a:cxnLst>
              <a:rect l="l" t="t" r="r" b="b"/>
              <a:pathLst>
                <a:path w="9759834" h="1762127">
                  <a:moveTo>
                    <a:pt x="9389152" y="1693863"/>
                  </a:moveTo>
                  <a:cubicBezTo>
                    <a:pt x="9408003" y="1693863"/>
                    <a:pt x="9423284" y="1709144"/>
                    <a:pt x="9423284" y="1727995"/>
                  </a:cubicBezTo>
                  <a:cubicBezTo>
                    <a:pt x="9423284" y="1746846"/>
                    <a:pt x="9408003" y="1762127"/>
                    <a:pt x="9389152" y="1762127"/>
                  </a:cubicBezTo>
                  <a:cubicBezTo>
                    <a:pt x="9370301" y="1762127"/>
                    <a:pt x="9355020" y="1746846"/>
                    <a:pt x="9355020" y="1727995"/>
                  </a:cubicBezTo>
                  <a:cubicBezTo>
                    <a:pt x="9355020" y="1709144"/>
                    <a:pt x="9370301" y="1693863"/>
                    <a:pt x="9389152" y="1693863"/>
                  </a:cubicBezTo>
                  <a:close/>
                  <a:moveTo>
                    <a:pt x="8966877" y="1693863"/>
                  </a:moveTo>
                  <a:cubicBezTo>
                    <a:pt x="8985728" y="1693863"/>
                    <a:pt x="9001009" y="1709144"/>
                    <a:pt x="9001009" y="1727995"/>
                  </a:cubicBezTo>
                  <a:cubicBezTo>
                    <a:pt x="9001009" y="1746846"/>
                    <a:pt x="8985728" y="1762127"/>
                    <a:pt x="8966877" y="1762127"/>
                  </a:cubicBezTo>
                  <a:cubicBezTo>
                    <a:pt x="8948026" y="1762127"/>
                    <a:pt x="8932745" y="1746846"/>
                    <a:pt x="8932745" y="1727995"/>
                  </a:cubicBezTo>
                  <a:cubicBezTo>
                    <a:pt x="8932745" y="1709144"/>
                    <a:pt x="8948026" y="1693863"/>
                    <a:pt x="8966877" y="1693863"/>
                  </a:cubicBezTo>
                  <a:close/>
                  <a:moveTo>
                    <a:pt x="8884327" y="1693863"/>
                  </a:moveTo>
                  <a:cubicBezTo>
                    <a:pt x="8904931" y="1693863"/>
                    <a:pt x="8921634" y="1709144"/>
                    <a:pt x="8921634" y="1727995"/>
                  </a:cubicBezTo>
                  <a:cubicBezTo>
                    <a:pt x="8921634" y="1746846"/>
                    <a:pt x="8904931" y="1762127"/>
                    <a:pt x="8884327" y="1762127"/>
                  </a:cubicBezTo>
                  <a:cubicBezTo>
                    <a:pt x="8863723" y="1762127"/>
                    <a:pt x="8847020" y="1746846"/>
                    <a:pt x="8847020" y="1727995"/>
                  </a:cubicBezTo>
                  <a:cubicBezTo>
                    <a:pt x="8847020" y="1709144"/>
                    <a:pt x="8863723" y="1693863"/>
                    <a:pt x="8884327" y="1693863"/>
                  </a:cubicBezTo>
                  <a:close/>
                  <a:moveTo>
                    <a:pt x="8801777" y="1693863"/>
                  </a:moveTo>
                  <a:cubicBezTo>
                    <a:pt x="8820628" y="1693863"/>
                    <a:pt x="8835909" y="1709144"/>
                    <a:pt x="8835909" y="1727995"/>
                  </a:cubicBezTo>
                  <a:cubicBezTo>
                    <a:pt x="8835909" y="1746846"/>
                    <a:pt x="8820628" y="1762127"/>
                    <a:pt x="8801777" y="1762127"/>
                  </a:cubicBezTo>
                  <a:cubicBezTo>
                    <a:pt x="8782926" y="1762127"/>
                    <a:pt x="8767645" y="1746846"/>
                    <a:pt x="8767645" y="1727995"/>
                  </a:cubicBezTo>
                  <a:cubicBezTo>
                    <a:pt x="8767645" y="1709144"/>
                    <a:pt x="8782926" y="1693863"/>
                    <a:pt x="8801777" y="1693863"/>
                  </a:cubicBezTo>
                  <a:close/>
                  <a:moveTo>
                    <a:pt x="8716052" y="1693863"/>
                  </a:moveTo>
                  <a:cubicBezTo>
                    <a:pt x="8734903" y="1693863"/>
                    <a:pt x="8750184" y="1709144"/>
                    <a:pt x="8750184" y="1727995"/>
                  </a:cubicBezTo>
                  <a:cubicBezTo>
                    <a:pt x="8750184" y="1746846"/>
                    <a:pt x="8734903" y="1762127"/>
                    <a:pt x="8716052" y="1762127"/>
                  </a:cubicBezTo>
                  <a:cubicBezTo>
                    <a:pt x="8697201" y="1762127"/>
                    <a:pt x="8681920" y="1746846"/>
                    <a:pt x="8681920" y="1727995"/>
                  </a:cubicBezTo>
                  <a:cubicBezTo>
                    <a:pt x="8681920" y="1709144"/>
                    <a:pt x="8697201" y="1693863"/>
                    <a:pt x="8716052" y="1693863"/>
                  </a:cubicBezTo>
                  <a:close/>
                  <a:moveTo>
                    <a:pt x="8630327" y="1693863"/>
                  </a:moveTo>
                  <a:cubicBezTo>
                    <a:pt x="8649178" y="1693863"/>
                    <a:pt x="8664459" y="1709144"/>
                    <a:pt x="8664459" y="1727995"/>
                  </a:cubicBezTo>
                  <a:cubicBezTo>
                    <a:pt x="8664459" y="1746846"/>
                    <a:pt x="8649178" y="1762127"/>
                    <a:pt x="8630327" y="1762127"/>
                  </a:cubicBezTo>
                  <a:cubicBezTo>
                    <a:pt x="8611476" y="1762127"/>
                    <a:pt x="8596195" y="1746846"/>
                    <a:pt x="8596195" y="1727995"/>
                  </a:cubicBezTo>
                  <a:cubicBezTo>
                    <a:pt x="8596195" y="1709144"/>
                    <a:pt x="8611476" y="1693863"/>
                    <a:pt x="8630327" y="1693863"/>
                  </a:cubicBezTo>
                  <a:close/>
                  <a:moveTo>
                    <a:pt x="8544602" y="1693863"/>
                  </a:moveTo>
                  <a:cubicBezTo>
                    <a:pt x="8563453" y="1693863"/>
                    <a:pt x="8578734" y="1709144"/>
                    <a:pt x="8578734" y="1727995"/>
                  </a:cubicBezTo>
                  <a:cubicBezTo>
                    <a:pt x="8578734" y="1746846"/>
                    <a:pt x="8563453" y="1762127"/>
                    <a:pt x="8544602" y="1762127"/>
                  </a:cubicBezTo>
                  <a:cubicBezTo>
                    <a:pt x="8525751" y="1762127"/>
                    <a:pt x="8510470" y="1746846"/>
                    <a:pt x="8510470" y="1727995"/>
                  </a:cubicBezTo>
                  <a:cubicBezTo>
                    <a:pt x="8510470" y="1709144"/>
                    <a:pt x="8525751" y="1693863"/>
                    <a:pt x="8544602" y="1693863"/>
                  </a:cubicBezTo>
                  <a:close/>
                  <a:moveTo>
                    <a:pt x="8465227" y="1693863"/>
                  </a:moveTo>
                  <a:cubicBezTo>
                    <a:pt x="8484078" y="1693863"/>
                    <a:pt x="8499359" y="1709144"/>
                    <a:pt x="8499359" y="1727995"/>
                  </a:cubicBezTo>
                  <a:cubicBezTo>
                    <a:pt x="8499359" y="1746846"/>
                    <a:pt x="8484078" y="1762127"/>
                    <a:pt x="8465227" y="1762127"/>
                  </a:cubicBezTo>
                  <a:cubicBezTo>
                    <a:pt x="8446376" y="1762127"/>
                    <a:pt x="8431095" y="1746846"/>
                    <a:pt x="8431095" y="1727995"/>
                  </a:cubicBezTo>
                  <a:cubicBezTo>
                    <a:pt x="8431095" y="1709144"/>
                    <a:pt x="8446376" y="1693863"/>
                    <a:pt x="8465227" y="1693863"/>
                  </a:cubicBezTo>
                  <a:close/>
                  <a:moveTo>
                    <a:pt x="8379502" y="1693863"/>
                  </a:moveTo>
                  <a:cubicBezTo>
                    <a:pt x="8398353" y="1693863"/>
                    <a:pt x="8413634" y="1709144"/>
                    <a:pt x="8413634" y="1727995"/>
                  </a:cubicBezTo>
                  <a:cubicBezTo>
                    <a:pt x="8413634" y="1746846"/>
                    <a:pt x="8398353" y="1762127"/>
                    <a:pt x="8379502" y="1762127"/>
                  </a:cubicBezTo>
                  <a:cubicBezTo>
                    <a:pt x="8360651" y="1762127"/>
                    <a:pt x="8345370" y="1746846"/>
                    <a:pt x="8345370" y="1727995"/>
                  </a:cubicBezTo>
                  <a:cubicBezTo>
                    <a:pt x="8345370" y="1709144"/>
                    <a:pt x="8360651" y="1693863"/>
                    <a:pt x="8379502" y="1693863"/>
                  </a:cubicBezTo>
                  <a:close/>
                  <a:moveTo>
                    <a:pt x="8293777" y="1693863"/>
                  </a:moveTo>
                  <a:cubicBezTo>
                    <a:pt x="8312628" y="1693863"/>
                    <a:pt x="8327909" y="1709144"/>
                    <a:pt x="8327909" y="1727995"/>
                  </a:cubicBezTo>
                  <a:cubicBezTo>
                    <a:pt x="8327909" y="1746846"/>
                    <a:pt x="8312628" y="1762127"/>
                    <a:pt x="8293777" y="1762127"/>
                  </a:cubicBezTo>
                  <a:cubicBezTo>
                    <a:pt x="8274926" y="1762127"/>
                    <a:pt x="8259645" y="1746846"/>
                    <a:pt x="8259645" y="1727995"/>
                  </a:cubicBezTo>
                  <a:cubicBezTo>
                    <a:pt x="8259645" y="1709144"/>
                    <a:pt x="8274926" y="1693863"/>
                    <a:pt x="8293777" y="1693863"/>
                  </a:cubicBezTo>
                  <a:close/>
                  <a:moveTo>
                    <a:pt x="8208052" y="1693863"/>
                  </a:moveTo>
                  <a:cubicBezTo>
                    <a:pt x="8226903" y="1693863"/>
                    <a:pt x="8242184" y="1709144"/>
                    <a:pt x="8242184" y="1727995"/>
                  </a:cubicBezTo>
                  <a:cubicBezTo>
                    <a:pt x="8242184" y="1746846"/>
                    <a:pt x="8226903" y="1762127"/>
                    <a:pt x="8208052" y="1762127"/>
                  </a:cubicBezTo>
                  <a:cubicBezTo>
                    <a:pt x="8189201" y="1762127"/>
                    <a:pt x="8173920" y="1746846"/>
                    <a:pt x="8173920" y="1727995"/>
                  </a:cubicBezTo>
                  <a:cubicBezTo>
                    <a:pt x="8173920" y="1709144"/>
                    <a:pt x="8189201" y="1693863"/>
                    <a:pt x="8208052" y="1693863"/>
                  </a:cubicBezTo>
                  <a:close/>
                  <a:moveTo>
                    <a:pt x="8125502" y="1693863"/>
                  </a:moveTo>
                  <a:cubicBezTo>
                    <a:pt x="8146106" y="1693863"/>
                    <a:pt x="8162809" y="1709144"/>
                    <a:pt x="8162809" y="1727995"/>
                  </a:cubicBezTo>
                  <a:cubicBezTo>
                    <a:pt x="8162809" y="1746846"/>
                    <a:pt x="8146106" y="1762127"/>
                    <a:pt x="8125502" y="1762127"/>
                  </a:cubicBezTo>
                  <a:cubicBezTo>
                    <a:pt x="8104898" y="1762127"/>
                    <a:pt x="8088195" y="1746846"/>
                    <a:pt x="8088195" y="1727995"/>
                  </a:cubicBezTo>
                  <a:cubicBezTo>
                    <a:pt x="8088195" y="1709144"/>
                    <a:pt x="8104898" y="1693863"/>
                    <a:pt x="8125502" y="1693863"/>
                  </a:cubicBezTo>
                  <a:close/>
                  <a:moveTo>
                    <a:pt x="8042952" y="1693863"/>
                  </a:moveTo>
                  <a:cubicBezTo>
                    <a:pt x="8061803" y="1693863"/>
                    <a:pt x="8077084" y="1709144"/>
                    <a:pt x="8077084" y="1727995"/>
                  </a:cubicBezTo>
                  <a:cubicBezTo>
                    <a:pt x="8077084" y="1746846"/>
                    <a:pt x="8061803" y="1762127"/>
                    <a:pt x="8042952" y="1762127"/>
                  </a:cubicBezTo>
                  <a:cubicBezTo>
                    <a:pt x="8024101" y="1762127"/>
                    <a:pt x="8008820" y="1746846"/>
                    <a:pt x="8008820" y="1727995"/>
                  </a:cubicBezTo>
                  <a:cubicBezTo>
                    <a:pt x="8008820" y="1709144"/>
                    <a:pt x="8024101" y="1693863"/>
                    <a:pt x="8042952" y="1693863"/>
                  </a:cubicBezTo>
                  <a:close/>
                  <a:moveTo>
                    <a:pt x="7957227" y="1693863"/>
                  </a:moveTo>
                  <a:cubicBezTo>
                    <a:pt x="7976078" y="1693863"/>
                    <a:pt x="7991359" y="1709144"/>
                    <a:pt x="7991359" y="1727995"/>
                  </a:cubicBezTo>
                  <a:cubicBezTo>
                    <a:pt x="7991359" y="1746846"/>
                    <a:pt x="7976078" y="1762127"/>
                    <a:pt x="7957227" y="1762127"/>
                  </a:cubicBezTo>
                  <a:cubicBezTo>
                    <a:pt x="7938376" y="1762127"/>
                    <a:pt x="7923095" y="1746846"/>
                    <a:pt x="7923095" y="1727995"/>
                  </a:cubicBezTo>
                  <a:cubicBezTo>
                    <a:pt x="7923095" y="1709144"/>
                    <a:pt x="7938376" y="1693863"/>
                    <a:pt x="7957227" y="1693863"/>
                  </a:cubicBezTo>
                  <a:close/>
                  <a:moveTo>
                    <a:pt x="7871502" y="1693863"/>
                  </a:moveTo>
                  <a:cubicBezTo>
                    <a:pt x="7890353" y="1693863"/>
                    <a:pt x="7905634" y="1709144"/>
                    <a:pt x="7905634" y="1727995"/>
                  </a:cubicBezTo>
                  <a:cubicBezTo>
                    <a:pt x="7905634" y="1746846"/>
                    <a:pt x="7890353" y="1762127"/>
                    <a:pt x="7871502" y="1762127"/>
                  </a:cubicBezTo>
                  <a:cubicBezTo>
                    <a:pt x="7852651" y="1762127"/>
                    <a:pt x="7837370" y="1746846"/>
                    <a:pt x="7837370" y="1727995"/>
                  </a:cubicBezTo>
                  <a:cubicBezTo>
                    <a:pt x="7837370" y="1709144"/>
                    <a:pt x="7852651" y="1693863"/>
                    <a:pt x="7871502" y="1693863"/>
                  </a:cubicBezTo>
                  <a:close/>
                  <a:moveTo>
                    <a:pt x="7785777" y="1693863"/>
                  </a:moveTo>
                  <a:cubicBezTo>
                    <a:pt x="7804628" y="1693863"/>
                    <a:pt x="7819909" y="1709144"/>
                    <a:pt x="7819909" y="1727995"/>
                  </a:cubicBezTo>
                  <a:cubicBezTo>
                    <a:pt x="7819909" y="1746846"/>
                    <a:pt x="7804628" y="1762127"/>
                    <a:pt x="7785777" y="1762127"/>
                  </a:cubicBezTo>
                  <a:cubicBezTo>
                    <a:pt x="7766926" y="1762127"/>
                    <a:pt x="7751645" y="1746846"/>
                    <a:pt x="7751645" y="1727995"/>
                  </a:cubicBezTo>
                  <a:cubicBezTo>
                    <a:pt x="7751645" y="1709144"/>
                    <a:pt x="7766926" y="1693863"/>
                    <a:pt x="7785777" y="1693863"/>
                  </a:cubicBezTo>
                  <a:close/>
                  <a:moveTo>
                    <a:pt x="7706402" y="1693863"/>
                  </a:moveTo>
                  <a:cubicBezTo>
                    <a:pt x="7725253" y="1693863"/>
                    <a:pt x="7740534" y="1709144"/>
                    <a:pt x="7740534" y="1727995"/>
                  </a:cubicBezTo>
                  <a:cubicBezTo>
                    <a:pt x="7740534" y="1746846"/>
                    <a:pt x="7725253" y="1762127"/>
                    <a:pt x="7706402" y="1762127"/>
                  </a:cubicBezTo>
                  <a:cubicBezTo>
                    <a:pt x="7687551" y="1762127"/>
                    <a:pt x="7672270" y="1746846"/>
                    <a:pt x="7672270" y="1727995"/>
                  </a:cubicBezTo>
                  <a:cubicBezTo>
                    <a:pt x="7672270" y="1709144"/>
                    <a:pt x="7687551" y="1693863"/>
                    <a:pt x="7706402" y="1693863"/>
                  </a:cubicBezTo>
                  <a:close/>
                  <a:moveTo>
                    <a:pt x="7620677" y="1693863"/>
                  </a:moveTo>
                  <a:cubicBezTo>
                    <a:pt x="7639528" y="1693863"/>
                    <a:pt x="7654809" y="1709144"/>
                    <a:pt x="7654809" y="1727995"/>
                  </a:cubicBezTo>
                  <a:cubicBezTo>
                    <a:pt x="7654809" y="1746846"/>
                    <a:pt x="7639528" y="1762127"/>
                    <a:pt x="7620677" y="1762127"/>
                  </a:cubicBezTo>
                  <a:cubicBezTo>
                    <a:pt x="7601826" y="1762127"/>
                    <a:pt x="7586545" y="1746846"/>
                    <a:pt x="7586545" y="1727995"/>
                  </a:cubicBezTo>
                  <a:cubicBezTo>
                    <a:pt x="7586545" y="1709144"/>
                    <a:pt x="7601826" y="1693863"/>
                    <a:pt x="7620677" y="1693863"/>
                  </a:cubicBezTo>
                  <a:close/>
                  <a:moveTo>
                    <a:pt x="7534952" y="1693863"/>
                  </a:moveTo>
                  <a:cubicBezTo>
                    <a:pt x="7553803" y="1693863"/>
                    <a:pt x="7569084" y="1709144"/>
                    <a:pt x="7569084" y="1727995"/>
                  </a:cubicBezTo>
                  <a:cubicBezTo>
                    <a:pt x="7569084" y="1746846"/>
                    <a:pt x="7553803" y="1762127"/>
                    <a:pt x="7534952" y="1762127"/>
                  </a:cubicBezTo>
                  <a:cubicBezTo>
                    <a:pt x="7516101" y="1762127"/>
                    <a:pt x="7500820" y="1746846"/>
                    <a:pt x="7500820" y="1727995"/>
                  </a:cubicBezTo>
                  <a:cubicBezTo>
                    <a:pt x="7500820" y="1709144"/>
                    <a:pt x="7516101" y="1693863"/>
                    <a:pt x="7534952" y="1693863"/>
                  </a:cubicBezTo>
                  <a:close/>
                  <a:moveTo>
                    <a:pt x="7449227" y="1693863"/>
                  </a:moveTo>
                  <a:cubicBezTo>
                    <a:pt x="7468078" y="1693863"/>
                    <a:pt x="7483359" y="1709144"/>
                    <a:pt x="7483359" y="1727995"/>
                  </a:cubicBezTo>
                  <a:cubicBezTo>
                    <a:pt x="7483359" y="1746846"/>
                    <a:pt x="7468078" y="1762127"/>
                    <a:pt x="7449227" y="1762127"/>
                  </a:cubicBezTo>
                  <a:cubicBezTo>
                    <a:pt x="7430376" y="1762127"/>
                    <a:pt x="7415095" y="1746846"/>
                    <a:pt x="7415095" y="1727995"/>
                  </a:cubicBezTo>
                  <a:cubicBezTo>
                    <a:pt x="7415095" y="1709144"/>
                    <a:pt x="7430376" y="1693863"/>
                    <a:pt x="7449227" y="1693863"/>
                  </a:cubicBezTo>
                  <a:close/>
                  <a:moveTo>
                    <a:pt x="7366677" y="1693863"/>
                  </a:moveTo>
                  <a:cubicBezTo>
                    <a:pt x="7387281" y="1693863"/>
                    <a:pt x="7403984" y="1709144"/>
                    <a:pt x="7403984" y="1727995"/>
                  </a:cubicBezTo>
                  <a:cubicBezTo>
                    <a:pt x="7403984" y="1746846"/>
                    <a:pt x="7387281" y="1762127"/>
                    <a:pt x="7366677" y="1762127"/>
                  </a:cubicBezTo>
                  <a:cubicBezTo>
                    <a:pt x="7346073" y="1762127"/>
                    <a:pt x="7329370" y="1746846"/>
                    <a:pt x="7329370" y="1727995"/>
                  </a:cubicBezTo>
                  <a:cubicBezTo>
                    <a:pt x="7329370" y="1709144"/>
                    <a:pt x="7346073" y="1693863"/>
                    <a:pt x="7366677" y="1693863"/>
                  </a:cubicBezTo>
                  <a:close/>
                  <a:moveTo>
                    <a:pt x="7284127" y="1693863"/>
                  </a:moveTo>
                  <a:cubicBezTo>
                    <a:pt x="7302978" y="1693863"/>
                    <a:pt x="7318259" y="1709144"/>
                    <a:pt x="7318259" y="1727995"/>
                  </a:cubicBezTo>
                  <a:cubicBezTo>
                    <a:pt x="7318259" y="1746846"/>
                    <a:pt x="7302978" y="1762127"/>
                    <a:pt x="7284127" y="1762127"/>
                  </a:cubicBezTo>
                  <a:cubicBezTo>
                    <a:pt x="7265276" y="1762127"/>
                    <a:pt x="7249995" y="1746846"/>
                    <a:pt x="7249995" y="1727995"/>
                  </a:cubicBezTo>
                  <a:cubicBezTo>
                    <a:pt x="7249995" y="1709144"/>
                    <a:pt x="7265276" y="1693863"/>
                    <a:pt x="7284127" y="1693863"/>
                  </a:cubicBezTo>
                  <a:close/>
                  <a:moveTo>
                    <a:pt x="7198402" y="1693863"/>
                  </a:moveTo>
                  <a:cubicBezTo>
                    <a:pt x="7217253" y="1693863"/>
                    <a:pt x="7232534" y="1709144"/>
                    <a:pt x="7232534" y="1727995"/>
                  </a:cubicBezTo>
                  <a:cubicBezTo>
                    <a:pt x="7232534" y="1746846"/>
                    <a:pt x="7217253" y="1762127"/>
                    <a:pt x="7198402" y="1762127"/>
                  </a:cubicBezTo>
                  <a:cubicBezTo>
                    <a:pt x="7179551" y="1762127"/>
                    <a:pt x="7164270" y="1746846"/>
                    <a:pt x="7164270" y="1727995"/>
                  </a:cubicBezTo>
                  <a:cubicBezTo>
                    <a:pt x="7164270" y="1709144"/>
                    <a:pt x="7179551" y="1693863"/>
                    <a:pt x="7198402" y="1693863"/>
                  </a:cubicBezTo>
                  <a:close/>
                  <a:moveTo>
                    <a:pt x="7112677" y="1693863"/>
                  </a:moveTo>
                  <a:cubicBezTo>
                    <a:pt x="7131528" y="1693863"/>
                    <a:pt x="7146809" y="1709144"/>
                    <a:pt x="7146809" y="1727995"/>
                  </a:cubicBezTo>
                  <a:cubicBezTo>
                    <a:pt x="7146809" y="1746846"/>
                    <a:pt x="7131528" y="1762127"/>
                    <a:pt x="7112677" y="1762127"/>
                  </a:cubicBezTo>
                  <a:cubicBezTo>
                    <a:pt x="7093826" y="1762127"/>
                    <a:pt x="7078545" y="1746846"/>
                    <a:pt x="7078545" y="1727995"/>
                  </a:cubicBezTo>
                  <a:cubicBezTo>
                    <a:pt x="7078545" y="1709144"/>
                    <a:pt x="7093826" y="1693863"/>
                    <a:pt x="7112677" y="1693863"/>
                  </a:cubicBezTo>
                  <a:close/>
                  <a:moveTo>
                    <a:pt x="7027745" y="1693863"/>
                  </a:moveTo>
                  <a:cubicBezTo>
                    <a:pt x="7047034" y="1693863"/>
                    <a:pt x="7062670" y="1709144"/>
                    <a:pt x="7062670" y="1727995"/>
                  </a:cubicBezTo>
                  <a:cubicBezTo>
                    <a:pt x="7062670" y="1746846"/>
                    <a:pt x="7047034" y="1762127"/>
                    <a:pt x="7027745" y="1762127"/>
                  </a:cubicBezTo>
                  <a:cubicBezTo>
                    <a:pt x="7008456" y="1762127"/>
                    <a:pt x="6992820" y="1746846"/>
                    <a:pt x="6992820" y="1727995"/>
                  </a:cubicBezTo>
                  <a:cubicBezTo>
                    <a:pt x="6992820" y="1709144"/>
                    <a:pt x="7008456" y="1693863"/>
                    <a:pt x="7027745" y="1693863"/>
                  </a:cubicBezTo>
                  <a:close/>
                  <a:moveTo>
                    <a:pt x="6947577" y="1693863"/>
                  </a:moveTo>
                  <a:cubicBezTo>
                    <a:pt x="6966428" y="1693863"/>
                    <a:pt x="6981709" y="1709144"/>
                    <a:pt x="6981709" y="1727995"/>
                  </a:cubicBezTo>
                  <a:cubicBezTo>
                    <a:pt x="6981709" y="1746846"/>
                    <a:pt x="6966428" y="1762127"/>
                    <a:pt x="6947577" y="1762127"/>
                  </a:cubicBezTo>
                  <a:cubicBezTo>
                    <a:pt x="6928726" y="1762127"/>
                    <a:pt x="6913445" y="1746846"/>
                    <a:pt x="6913445" y="1727995"/>
                  </a:cubicBezTo>
                  <a:cubicBezTo>
                    <a:pt x="6913445" y="1709144"/>
                    <a:pt x="6928726" y="1693863"/>
                    <a:pt x="6947577" y="1693863"/>
                  </a:cubicBezTo>
                  <a:close/>
                  <a:moveTo>
                    <a:pt x="6861852" y="1693863"/>
                  </a:moveTo>
                  <a:cubicBezTo>
                    <a:pt x="6880703" y="1693863"/>
                    <a:pt x="6895984" y="1709144"/>
                    <a:pt x="6895984" y="1727995"/>
                  </a:cubicBezTo>
                  <a:cubicBezTo>
                    <a:pt x="6895984" y="1746846"/>
                    <a:pt x="6880703" y="1762127"/>
                    <a:pt x="6861852" y="1762127"/>
                  </a:cubicBezTo>
                  <a:cubicBezTo>
                    <a:pt x="6843001" y="1762127"/>
                    <a:pt x="6827720" y="1746846"/>
                    <a:pt x="6827720" y="1727995"/>
                  </a:cubicBezTo>
                  <a:cubicBezTo>
                    <a:pt x="6827720" y="1709144"/>
                    <a:pt x="6843001" y="1693863"/>
                    <a:pt x="6861852" y="1693863"/>
                  </a:cubicBezTo>
                  <a:close/>
                  <a:moveTo>
                    <a:pt x="6776127" y="1693863"/>
                  </a:moveTo>
                  <a:cubicBezTo>
                    <a:pt x="6794978" y="1693863"/>
                    <a:pt x="6810259" y="1709144"/>
                    <a:pt x="6810259" y="1727995"/>
                  </a:cubicBezTo>
                  <a:cubicBezTo>
                    <a:pt x="6810259" y="1746846"/>
                    <a:pt x="6794978" y="1762127"/>
                    <a:pt x="6776127" y="1762127"/>
                  </a:cubicBezTo>
                  <a:cubicBezTo>
                    <a:pt x="6757276" y="1762127"/>
                    <a:pt x="6741995" y="1746846"/>
                    <a:pt x="6741995" y="1727995"/>
                  </a:cubicBezTo>
                  <a:cubicBezTo>
                    <a:pt x="6741995" y="1709144"/>
                    <a:pt x="6757276" y="1693863"/>
                    <a:pt x="6776127" y="1693863"/>
                  </a:cubicBezTo>
                  <a:close/>
                  <a:moveTo>
                    <a:pt x="6691195" y="1693863"/>
                  </a:moveTo>
                  <a:cubicBezTo>
                    <a:pt x="6710484" y="1693863"/>
                    <a:pt x="6726120" y="1709144"/>
                    <a:pt x="6726120" y="1727995"/>
                  </a:cubicBezTo>
                  <a:cubicBezTo>
                    <a:pt x="6726120" y="1746846"/>
                    <a:pt x="6710484" y="1762127"/>
                    <a:pt x="6691195" y="1762127"/>
                  </a:cubicBezTo>
                  <a:cubicBezTo>
                    <a:pt x="6671906" y="1762127"/>
                    <a:pt x="6656270" y="1746846"/>
                    <a:pt x="6656270" y="1727995"/>
                  </a:cubicBezTo>
                  <a:cubicBezTo>
                    <a:pt x="6656270" y="1709144"/>
                    <a:pt x="6671906" y="1693863"/>
                    <a:pt x="6691195" y="1693863"/>
                  </a:cubicBezTo>
                  <a:close/>
                  <a:moveTo>
                    <a:pt x="6607852" y="1693863"/>
                  </a:moveTo>
                  <a:cubicBezTo>
                    <a:pt x="6628456" y="1693863"/>
                    <a:pt x="6645159" y="1709144"/>
                    <a:pt x="6645159" y="1727995"/>
                  </a:cubicBezTo>
                  <a:cubicBezTo>
                    <a:pt x="6645159" y="1746846"/>
                    <a:pt x="6628456" y="1762127"/>
                    <a:pt x="6607852" y="1762127"/>
                  </a:cubicBezTo>
                  <a:cubicBezTo>
                    <a:pt x="6587248" y="1762127"/>
                    <a:pt x="6570545" y="1746846"/>
                    <a:pt x="6570545" y="1727995"/>
                  </a:cubicBezTo>
                  <a:cubicBezTo>
                    <a:pt x="6570545" y="1709144"/>
                    <a:pt x="6587248" y="1693863"/>
                    <a:pt x="6607852" y="1693863"/>
                  </a:cubicBezTo>
                  <a:close/>
                  <a:moveTo>
                    <a:pt x="6525302" y="1693863"/>
                  </a:moveTo>
                  <a:cubicBezTo>
                    <a:pt x="6544153" y="1693863"/>
                    <a:pt x="6559434" y="1709144"/>
                    <a:pt x="6559434" y="1727995"/>
                  </a:cubicBezTo>
                  <a:cubicBezTo>
                    <a:pt x="6559434" y="1746846"/>
                    <a:pt x="6544153" y="1762127"/>
                    <a:pt x="6525302" y="1762127"/>
                  </a:cubicBezTo>
                  <a:cubicBezTo>
                    <a:pt x="6506451" y="1762127"/>
                    <a:pt x="6491170" y="1746846"/>
                    <a:pt x="6491170" y="1727995"/>
                  </a:cubicBezTo>
                  <a:cubicBezTo>
                    <a:pt x="6491170" y="1709144"/>
                    <a:pt x="6506451" y="1693863"/>
                    <a:pt x="6525302" y="1693863"/>
                  </a:cubicBezTo>
                  <a:close/>
                  <a:moveTo>
                    <a:pt x="6439577" y="1693863"/>
                  </a:moveTo>
                  <a:cubicBezTo>
                    <a:pt x="6458428" y="1693863"/>
                    <a:pt x="6473709" y="1709144"/>
                    <a:pt x="6473709" y="1727995"/>
                  </a:cubicBezTo>
                  <a:cubicBezTo>
                    <a:pt x="6473709" y="1746846"/>
                    <a:pt x="6458428" y="1762127"/>
                    <a:pt x="6439577" y="1762127"/>
                  </a:cubicBezTo>
                  <a:cubicBezTo>
                    <a:pt x="6420726" y="1762127"/>
                    <a:pt x="6405445" y="1746846"/>
                    <a:pt x="6405445" y="1727995"/>
                  </a:cubicBezTo>
                  <a:cubicBezTo>
                    <a:pt x="6405445" y="1709144"/>
                    <a:pt x="6420726" y="1693863"/>
                    <a:pt x="6439577" y="1693863"/>
                  </a:cubicBezTo>
                  <a:close/>
                  <a:moveTo>
                    <a:pt x="6353852" y="1693863"/>
                  </a:moveTo>
                  <a:cubicBezTo>
                    <a:pt x="6372703" y="1693863"/>
                    <a:pt x="6387984" y="1709144"/>
                    <a:pt x="6387984" y="1727995"/>
                  </a:cubicBezTo>
                  <a:cubicBezTo>
                    <a:pt x="6387984" y="1746846"/>
                    <a:pt x="6372703" y="1762127"/>
                    <a:pt x="6353852" y="1762127"/>
                  </a:cubicBezTo>
                  <a:cubicBezTo>
                    <a:pt x="6335001" y="1762127"/>
                    <a:pt x="6319720" y="1746846"/>
                    <a:pt x="6319720" y="1727995"/>
                  </a:cubicBezTo>
                  <a:cubicBezTo>
                    <a:pt x="6319720" y="1709144"/>
                    <a:pt x="6335001" y="1693863"/>
                    <a:pt x="6353852" y="1693863"/>
                  </a:cubicBezTo>
                  <a:close/>
                  <a:moveTo>
                    <a:pt x="6268920" y="1693863"/>
                  </a:moveTo>
                  <a:cubicBezTo>
                    <a:pt x="6288209" y="1693863"/>
                    <a:pt x="6303845" y="1709144"/>
                    <a:pt x="6303845" y="1727995"/>
                  </a:cubicBezTo>
                  <a:cubicBezTo>
                    <a:pt x="6303845" y="1746846"/>
                    <a:pt x="6288209" y="1762127"/>
                    <a:pt x="6268920" y="1762127"/>
                  </a:cubicBezTo>
                  <a:cubicBezTo>
                    <a:pt x="6249631" y="1762127"/>
                    <a:pt x="6233995" y="1746846"/>
                    <a:pt x="6233995" y="1727995"/>
                  </a:cubicBezTo>
                  <a:cubicBezTo>
                    <a:pt x="6233995" y="1709144"/>
                    <a:pt x="6249631" y="1693863"/>
                    <a:pt x="6268920" y="1693863"/>
                  </a:cubicBezTo>
                  <a:close/>
                  <a:moveTo>
                    <a:pt x="6188752" y="1693863"/>
                  </a:moveTo>
                  <a:cubicBezTo>
                    <a:pt x="6207603" y="1693863"/>
                    <a:pt x="6222884" y="1709144"/>
                    <a:pt x="6222884" y="1727995"/>
                  </a:cubicBezTo>
                  <a:cubicBezTo>
                    <a:pt x="6222884" y="1746846"/>
                    <a:pt x="6207603" y="1762127"/>
                    <a:pt x="6188752" y="1762127"/>
                  </a:cubicBezTo>
                  <a:cubicBezTo>
                    <a:pt x="6169901" y="1762127"/>
                    <a:pt x="6154620" y="1746846"/>
                    <a:pt x="6154620" y="1727995"/>
                  </a:cubicBezTo>
                  <a:cubicBezTo>
                    <a:pt x="6154620" y="1709144"/>
                    <a:pt x="6169901" y="1693863"/>
                    <a:pt x="6188752" y="1693863"/>
                  </a:cubicBezTo>
                  <a:close/>
                  <a:moveTo>
                    <a:pt x="6103027" y="1693863"/>
                  </a:moveTo>
                  <a:cubicBezTo>
                    <a:pt x="6121878" y="1693863"/>
                    <a:pt x="6137159" y="1709144"/>
                    <a:pt x="6137159" y="1727995"/>
                  </a:cubicBezTo>
                  <a:cubicBezTo>
                    <a:pt x="6137159" y="1746846"/>
                    <a:pt x="6121878" y="1762127"/>
                    <a:pt x="6103027" y="1762127"/>
                  </a:cubicBezTo>
                  <a:cubicBezTo>
                    <a:pt x="6084176" y="1762127"/>
                    <a:pt x="6068895" y="1746846"/>
                    <a:pt x="6068895" y="1727995"/>
                  </a:cubicBezTo>
                  <a:cubicBezTo>
                    <a:pt x="6068895" y="1709144"/>
                    <a:pt x="6084176" y="1693863"/>
                    <a:pt x="6103027" y="1693863"/>
                  </a:cubicBezTo>
                  <a:close/>
                  <a:moveTo>
                    <a:pt x="6017302" y="1693863"/>
                  </a:moveTo>
                  <a:cubicBezTo>
                    <a:pt x="6036153" y="1693863"/>
                    <a:pt x="6051434" y="1709144"/>
                    <a:pt x="6051434" y="1727995"/>
                  </a:cubicBezTo>
                  <a:cubicBezTo>
                    <a:pt x="6051434" y="1746846"/>
                    <a:pt x="6036153" y="1762127"/>
                    <a:pt x="6017302" y="1762127"/>
                  </a:cubicBezTo>
                  <a:cubicBezTo>
                    <a:pt x="5998451" y="1762127"/>
                    <a:pt x="5983170" y="1746846"/>
                    <a:pt x="5983170" y="1727995"/>
                  </a:cubicBezTo>
                  <a:cubicBezTo>
                    <a:pt x="5983170" y="1709144"/>
                    <a:pt x="5998451" y="1693863"/>
                    <a:pt x="6017302" y="1693863"/>
                  </a:cubicBezTo>
                  <a:close/>
                  <a:moveTo>
                    <a:pt x="5932370" y="1693863"/>
                  </a:moveTo>
                  <a:cubicBezTo>
                    <a:pt x="5951659" y="1693863"/>
                    <a:pt x="5967295" y="1709144"/>
                    <a:pt x="5967295" y="1727995"/>
                  </a:cubicBezTo>
                  <a:cubicBezTo>
                    <a:pt x="5967295" y="1746846"/>
                    <a:pt x="5951659" y="1762127"/>
                    <a:pt x="5932370" y="1762127"/>
                  </a:cubicBezTo>
                  <a:cubicBezTo>
                    <a:pt x="5913081" y="1762127"/>
                    <a:pt x="5897445" y="1746846"/>
                    <a:pt x="5897445" y="1727995"/>
                  </a:cubicBezTo>
                  <a:cubicBezTo>
                    <a:pt x="5897445" y="1709144"/>
                    <a:pt x="5913081" y="1693863"/>
                    <a:pt x="5932370" y="1693863"/>
                  </a:cubicBezTo>
                  <a:close/>
                  <a:moveTo>
                    <a:pt x="5849821" y="1693863"/>
                  </a:moveTo>
                  <a:cubicBezTo>
                    <a:pt x="5869987" y="1693863"/>
                    <a:pt x="5886334" y="1709144"/>
                    <a:pt x="5886334" y="1727995"/>
                  </a:cubicBezTo>
                  <a:cubicBezTo>
                    <a:pt x="5886334" y="1746846"/>
                    <a:pt x="5869987" y="1762127"/>
                    <a:pt x="5849821" y="1762127"/>
                  </a:cubicBezTo>
                  <a:cubicBezTo>
                    <a:pt x="5829655" y="1762127"/>
                    <a:pt x="5813308" y="1746846"/>
                    <a:pt x="5813308" y="1727995"/>
                  </a:cubicBezTo>
                  <a:cubicBezTo>
                    <a:pt x="5813308" y="1709144"/>
                    <a:pt x="5829655" y="1693863"/>
                    <a:pt x="5849821" y="1693863"/>
                  </a:cubicBezTo>
                  <a:close/>
                  <a:moveTo>
                    <a:pt x="5766477" y="1693863"/>
                  </a:moveTo>
                  <a:cubicBezTo>
                    <a:pt x="5785328" y="1693863"/>
                    <a:pt x="5800609" y="1709144"/>
                    <a:pt x="5800609" y="1727995"/>
                  </a:cubicBezTo>
                  <a:cubicBezTo>
                    <a:pt x="5800609" y="1746846"/>
                    <a:pt x="5785328" y="1762127"/>
                    <a:pt x="5766477" y="1762127"/>
                  </a:cubicBezTo>
                  <a:cubicBezTo>
                    <a:pt x="5747626" y="1762127"/>
                    <a:pt x="5732345" y="1746846"/>
                    <a:pt x="5732345" y="1727995"/>
                  </a:cubicBezTo>
                  <a:cubicBezTo>
                    <a:pt x="5732345" y="1709144"/>
                    <a:pt x="5747626" y="1693863"/>
                    <a:pt x="5766477" y="1693863"/>
                  </a:cubicBezTo>
                  <a:close/>
                  <a:moveTo>
                    <a:pt x="5680752" y="1693863"/>
                  </a:moveTo>
                  <a:cubicBezTo>
                    <a:pt x="5699603" y="1693863"/>
                    <a:pt x="5714884" y="1709144"/>
                    <a:pt x="5714884" y="1727995"/>
                  </a:cubicBezTo>
                  <a:cubicBezTo>
                    <a:pt x="5714884" y="1746846"/>
                    <a:pt x="5699603" y="1762127"/>
                    <a:pt x="5680752" y="1762127"/>
                  </a:cubicBezTo>
                  <a:cubicBezTo>
                    <a:pt x="5661901" y="1762127"/>
                    <a:pt x="5646620" y="1746846"/>
                    <a:pt x="5646620" y="1727995"/>
                  </a:cubicBezTo>
                  <a:cubicBezTo>
                    <a:pt x="5646620" y="1709144"/>
                    <a:pt x="5661901" y="1693863"/>
                    <a:pt x="5680752" y="1693863"/>
                  </a:cubicBezTo>
                  <a:close/>
                  <a:moveTo>
                    <a:pt x="5595820" y="1693863"/>
                  </a:moveTo>
                  <a:cubicBezTo>
                    <a:pt x="5615109" y="1693863"/>
                    <a:pt x="5630745" y="1709144"/>
                    <a:pt x="5630745" y="1727995"/>
                  </a:cubicBezTo>
                  <a:cubicBezTo>
                    <a:pt x="5630745" y="1746846"/>
                    <a:pt x="5615109" y="1762127"/>
                    <a:pt x="5595820" y="1762127"/>
                  </a:cubicBezTo>
                  <a:cubicBezTo>
                    <a:pt x="5576531" y="1762127"/>
                    <a:pt x="5560895" y="1746846"/>
                    <a:pt x="5560895" y="1727995"/>
                  </a:cubicBezTo>
                  <a:cubicBezTo>
                    <a:pt x="5560895" y="1709144"/>
                    <a:pt x="5576531" y="1693863"/>
                    <a:pt x="5595820" y="1693863"/>
                  </a:cubicBezTo>
                  <a:close/>
                  <a:moveTo>
                    <a:pt x="5510095" y="1693863"/>
                  </a:moveTo>
                  <a:cubicBezTo>
                    <a:pt x="5529384" y="1693863"/>
                    <a:pt x="5545020" y="1709144"/>
                    <a:pt x="5545020" y="1727995"/>
                  </a:cubicBezTo>
                  <a:cubicBezTo>
                    <a:pt x="5545020" y="1746846"/>
                    <a:pt x="5529384" y="1762127"/>
                    <a:pt x="5510095" y="1762127"/>
                  </a:cubicBezTo>
                  <a:cubicBezTo>
                    <a:pt x="5490806" y="1762127"/>
                    <a:pt x="5475170" y="1746846"/>
                    <a:pt x="5475170" y="1727995"/>
                  </a:cubicBezTo>
                  <a:cubicBezTo>
                    <a:pt x="5475170" y="1709144"/>
                    <a:pt x="5490806" y="1693863"/>
                    <a:pt x="5510095" y="1693863"/>
                  </a:cubicBezTo>
                  <a:close/>
                  <a:moveTo>
                    <a:pt x="5429927" y="1693863"/>
                  </a:moveTo>
                  <a:cubicBezTo>
                    <a:pt x="5448778" y="1693863"/>
                    <a:pt x="5464059" y="1709144"/>
                    <a:pt x="5464059" y="1727995"/>
                  </a:cubicBezTo>
                  <a:cubicBezTo>
                    <a:pt x="5464059" y="1746846"/>
                    <a:pt x="5448778" y="1762127"/>
                    <a:pt x="5429927" y="1762127"/>
                  </a:cubicBezTo>
                  <a:cubicBezTo>
                    <a:pt x="5411076" y="1762127"/>
                    <a:pt x="5395795" y="1746846"/>
                    <a:pt x="5395795" y="1727995"/>
                  </a:cubicBezTo>
                  <a:cubicBezTo>
                    <a:pt x="5395795" y="1709144"/>
                    <a:pt x="5411076" y="1693863"/>
                    <a:pt x="5429927" y="1693863"/>
                  </a:cubicBezTo>
                  <a:close/>
                  <a:moveTo>
                    <a:pt x="5344202" y="1693863"/>
                  </a:moveTo>
                  <a:cubicBezTo>
                    <a:pt x="5363053" y="1693863"/>
                    <a:pt x="5378334" y="1709144"/>
                    <a:pt x="5378334" y="1727995"/>
                  </a:cubicBezTo>
                  <a:cubicBezTo>
                    <a:pt x="5378334" y="1746846"/>
                    <a:pt x="5363053" y="1762127"/>
                    <a:pt x="5344202" y="1762127"/>
                  </a:cubicBezTo>
                  <a:cubicBezTo>
                    <a:pt x="5325351" y="1762127"/>
                    <a:pt x="5310070" y="1746846"/>
                    <a:pt x="5310070" y="1727995"/>
                  </a:cubicBezTo>
                  <a:cubicBezTo>
                    <a:pt x="5310070" y="1709144"/>
                    <a:pt x="5325351" y="1693863"/>
                    <a:pt x="5344202" y="1693863"/>
                  </a:cubicBezTo>
                  <a:close/>
                  <a:moveTo>
                    <a:pt x="5258477" y="1693863"/>
                  </a:moveTo>
                  <a:cubicBezTo>
                    <a:pt x="5277328" y="1693863"/>
                    <a:pt x="5292609" y="1709144"/>
                    <a:pt x="5292609" y="1727995"/>
                  </a:cubicBezTo>
                  <a:cubicBezTo>
                    <a:pt x="5292609" y="1746846"/>
                    <a:pt x="5277328" y="1762127"/>
                    <a:pt x="5258477" y="1762127"/>
                  </a:cubicBezTo>
                  <a:cubicBezTo>
                    <a:pt x="5239626" y="1762127"/>
                    <a:pt x="5224345" y="1746846"/>
                    <a:pt x="5224345" y="1727995"/>
                  </a:cubicBezTo>
                  <a:cubicBezTo>
                    <a:pt x="5224345" y="1709144"/>
                    <a:pt x="5239626" y="1693863"/>
                    <a:pt x="5258477" y="1693863"/>
                  </a:cubicBezTo>
                  <a:close/>
                  <a:moveTo>
                    <a:pt x="5173545" y="1693863"/>
                  </a:moveTo>
                  <a:cubicBezTo>
                    <a:pt x="5192834" y="1693863"/>
                    <a:pt x="5208470" y="1709144"/>
                    <a:pt x="5208470" y="1727995"/>
                  </a:cubicBezTo>
                  <a:cubicBezTo>
                    <a:pt x="5208470" y="1746846"/>
                    <a:pt x="5192834" y="1762127"/>
                    <a:pt x="5173545" y="1762127"/>
                  </a:cubicBezTo>
                  <a:cubicBezTo>
                    <a:pt x="5154256" y="1762127"/>
                    <a:pt x="5138620" y="1746846"/>
                    <a:pt x="5138620" y="1727995"/>
                  </a:cubicBezTo>
                  <a:cubicBezTo>
                    <a:pt x="5138620" y="1709144"/>
                    <a:pt x="5154256" y="1693863"/>
                    <a:pt x="5173545" y="1693863"/>
                  </a:cubicBezTo>
                  <a:close/>
                  <a:moveTo>
                    <a:pt x="5007652" y="1693863"/>
                  </a:moveTo>
                  <a:cubicBezTo>
                    <a:pt x="5026503" y="1693863"/>
                    <a:pt x="5041784" y="1709144"/>
                    <a:pt x="5041784" y="1727995"/>
                  </a:cubicBezTo>
                  <a:cubicBezTo>
                    <a:pt x="5041784" y="1746846"/>
                    <a:pt x="5026503" y="1762127"/>
                    <a:pt x="5007652" y="1762127"/>
                  </a:cubicBezTo>
                  <a:cubicBezTo>
                    <a:pt x="4988801" y="1762127"/>
                    <a:pt x="4973520" y="1746846"/>
                    <a:pt x="4973520" y="1727995"/>
                  </a:cubicBezTo>
                  <a:cubicBezTo>
                    <a:pt x="4973520" y="1709144"/>
                    <a:pt x="4988801" y="1693863"/>
                    <a:pt x="5007652" y="1693863"/>
                  </a:cubicBezTo>
                  <a:close/>
                  <a:moveTo>
                    <a:pt x="4921927" y="1693863"/>
                  </a:moveTo>
                  <a:cubicBezTo>
                    <a:pt x="4940778" y="1693863"/>
                    <a:pt x="4956059" y="1709144"/>
                    <a:pt x="4956059" y="1727995"/>
                  </a:cubicBezTo>
                  <a:cubicBezTo>
                    <a:pt x="4956059" y="1746846"/>
                    <a:pt x="4940778" y="1762127"/>
                    <a:pt x="4921927" y="1762127"/>
                  </a:cubicBezTo>
                  <a:cubicBezTo>
                    <a:pt x="4903076" y="1762127"/>
                    <a:pt x="4887795" y="1746846"/>
                    <a:pt x="4887795" y="1727995"/>
                  </a:cubicBezTo>
                  <a:cubicBezTo>
                    <a:pt x="4887795" y="1709144"/>
                    <a:pt x="4903076" y="1693863"/>
                    <a:pt x="4921927" y="1693863"/>
                  </a:cubicBezTo>
                  <a:close/>
                  <a:moveTo>
                    <a:pt x="3068520" y="1693863"/>
                  </a:moveTo>
                  <a:cubicBezTo>
                    <a:pt x="3087809" y="1693863"/>
                    <a:pt x="3103445" y="1709144"/>
                    <a:pt x="3103445" y="1727995"/>
                  </a:cubicBezTo>
                  <a:cubicBezTo>
                    <a:pt x="3103445" y="1746846"/>
                    <a:pt x="3087809" y="1762127"/>
                    <a:pt x="3068520" y="1762127"/>
                  </a:cubicBezTo>
                  <a:cubicBezTo>
                    <a:pt x="3049231" y="1762127"/>
                    <a:pt x="3033595" y="1746846"/>
                    <a:pt x="3033595" y="1727995"/>
                  </a:cubicBezTo>
                  <a:cubicBezTo>
                    <a:pt x="3033595" y="1709144"/>
                    <a:pt x="3049231" y="1693863"/>
                    <a:pt x="3068520" y="1693863"/>
                  </a:cubicBezTo>
                  <a:close/>
                  <a:moveTo>
                    <a:pt x="2983589" y="1693863"/>
                  </a:moveTo>
                  <a:cubicBezTo>
                    <a:pt x="3002440" y="1693863"/>
                    <a:pt x="3017721" y="1709144"/>
                    <a:pt x="3017721" y="1727995"/>
                  </a:cubicBezTo>
                  <a:cubicBezTo>
                    <a:pt x="3017721" y="1746846"/>
                    <a:pt x="3002440" y="1762127"/>
                    <a:pt x="2983589" y="1762127"/>
                  </a:cubicBezTo>
                  <a:cubicBezTo>
                    <a:pt x="2964738" y="1762127"/>
                    <a:pt x="2949457" y="1746846"/>
                    <a:pt x="2949457" y="1727995"/>
                  </a:cubicBezTo>
                  <a:cubicBezTo>
                    <a:pt x="2949457" y="1709144"/>
                    <a:pt x="2964738" y="1693863"/>
                    <a:pt x="2983589" y="1693863"/>
                  </a:cubicBezTo>
                  <a:close/>
                  <a:moveTo>
                    <a:pt x="2897864" y="1693863"/>
                  </a:moveTo>
                  <a:cubicBezTo>
                    <a:pt x="2916715" y="1693863"/>
                    <a:pt x="2931996" y="1709144"/>
                    <a:pt x="2931996" y="1727995"/>
                  </a:cubicBezTo>
                  <a:cubicBezTo>
                    <a:pt x="2931996" y="1746846"/>
                    <a:pt x="2916715" y="1762127"/>
                    <a:pt x="2897864" y="1762127"/>
                  </a:cubicBezTo>
                  <a:cubicBezTo>
                    <a:pt x="2879013" y="1762127"/>
                    <a:pt x="2863732" y="1746846"/>
                    <a:pt x="2863732" y="1727995"/>
                  </a:cubicBezTo>
                  <a:cubicBezTo>
                    <a:pt x="2863732" y="1709144"/>
                    <a:pt x="2879013" y="1693863"/>
                    <a:pt x="2897864" y="1693863"/>
                  </a:cubicBezTo>
                  <a:close/>
                  <a:moveTo>
                    <a:pt x="2814520" y="1693863"/>
                  </a:moveTo>
                  <a:cubicBezTo>
                    <a:pt x="2834686" y="1693863"/>
                    <a:pt x="2851033" y="1709144"/>
                    <a:pt x="2851033" y="1727995"/>
                  </a:cubicBezTo>
                  <a:cubicBezTo>
                    <a:pt x="2851033" y="1746846"/>
                    <a:pt x="2834686" y="1762127"/>
                    <a:pt x="2814520" y="1762127"/>
                  </a:cubicBezTo>
                  <a:cubicBezTo>
                    <a:pt x="2794354" y="1762127"/>
                    <a:pt x="2778007" y="1746846"/>
                    <a:pt x="2778007" y="1727995"/>
                  </a:cubicBezTo>
                  <a:cubicBezTo>
                    <a:pt x="2778007" y="1709144"/>
                    <a:pt x="2794354" y="1693863"/>
                    <a:pt x="2814520" y="1693863"/>
                  </a:cubicBezTo>
                  <a:close/>
                  <a:moveTo>
                    <a:pt x="2732134" y="1693863"/>
                  </a:moveTo>
                  <a:cubicBezTo>
                    <a:pt x="2751422" y="1693863"/>
                    <a:pt x="2767057" y="1709144"/>
                    <a:pt x="2767057" y="1727995"/>
                  </a:cubicBezTo>
                  <a:cubicBezTo>
                    <a:pt x="2767057" y="1746846"/>
                    <a:pt x="2751422" y="1762127"/>
                    <a:pt x="2732134" y="1762127"/>
                  </a:cubicBezTo>
                  <a:cubicBezTo>
                    <a:pt x="2712845" y="1762127"/>
                    <a:pt x="2697208" y="1746846"/>
                    <a:pt x="2697208" y="1727995"/>
                  </a:cubicBezTo>
                  <a:cubicBezTo>
                    <a:pt x="2697208" y="1709144"/>
                    <a:pt x="2712845" y="1693863"/>
                    <a:pt x="2732134" y="1693863"/>
                  </a:cubicBezTo>
                  <a:close/>
                  <a:moveTo>
                    <a:pt x="2646410" y="1693863"/>
                  </a:moveTo>
                  <a:cubicBezTo>
                    <a:pt x="2665696" y="1693863"/>
                    <a:pt x="2681334" y="1709144"/>
                    <a:pt x="2681334" y="1727995"/>
                  </a:cubicBezTo>
                  <a:cubicBezTo>
                    <a:pt x="2681334" y="1746846"/>
                    <a:pt x="2665696" y="1762127"/>
                    <a:pt x="2646410" y="1762127"/>
                  </a:cubicBezTo>
                  <a:cubicBezTo>
                    <a:pt x="2627123" y="1762127"/>
                    <a:pt x="2611483" y="1746846"/>
                    <a:pt x="2611483" y="1727995"/>
                  </a:cubicBezTo>
                  <a:cubicBezTo>
                    <a:pt x="2611483" y="1709144"/>
                    <a:pt x="2627123" y="1693863"/>
                    <a:pt x="2646410" y="1693863"/>
                  </a:cubicBezTo>
                  <a:close/>
                  <a:moveTo>
                    <a:pt x="2561479" y="1693863"/>
                  </a:moveTo>
                  <a:cubicBezTo>
                    <a:pt x="2580330" y="1693863"/>
                    <a:pt x="2595609" y="1709144"/>
                    <a:pt x="2595609" y="1727995"/>
                  </a:cubicBezTo>
                  <a:cubicBezTo>
                    <a:pt x="2595609" y="1746846"/>
                    <a:pt x="2580330" y="1762127"/>
                    <a:pt x="2561479" y="1762127"/>
                  </a:cubicBezTo>
                  <a:cubicBezTo>
                    <a:pt x="2542628" y="1762127"/>
                    <a:pt x="2527342" y="1746846"/>
                    <a:pt x="2527342" y="1727995"/>
                  </a:cubicBezTo>
                  <a:cubicBezTo>
                    <a:pt x="2527342" y="1709144"/>
                    <a:pt x="2542628" y="1693863"/>
                    <a:pt x="2561479" y="1693863"/>
                  </a:cubicBezTo>
                  <a:close/>
                  <a:moveTo>
                    <a:pt x="2475754" y="1693863"/>
                  </a:moveTo>
                  <a:cubicBezTo>
                    <a:pt x="2494608" y="1693863"/>
                    <a:pt x="2509883" y="1709144"/>
                    <a:pt x="2509883" y="1727995"/>
                  </a:cubicBezTo>
                  <a:cubicBezTo>
                    <a:pt x="2509883" y="1746846"/>
                    <a:pt x="2494608" y="1762127"/>
                    <a:pt x="2475754" y="1762127"/>
                  </a:cubicBezTo>
                  <a:cubicBezTo>
                    <a:pt x="2456900" y="1762127"/>
                    <a:pt x="2441619" y="1746846"/>
                    <a:pt x="2441619" y="1727995"/>
                  </a:cubicBezTo>
                  <a:cubicBezTo>
                    <a:pt x="2441619" y="1709144"/>
                    <a:pt x="2456900" y="1693863"/>
                    <a:pt x="2475754" y="1693863"/>
                  </a:cubicBezTo>
                  <a:close/>
                  <a:moveTo>
                    <a:pt x="2394790" y="1693863"/>
                  </a:moveTo>
                  <a:cubicBezTo>
                    <a:pt x="2413638" y="1693863"/>
                    <a:pt x="2428919" y="1709144"/>
                    <a:pt x="2428919" y="1727995"/>
                  </a:cubicBezTo>
                  <a:cubicBezTo>
                    <a:pt x="2428919" y="1746846"/>
                    <a:pt x="2413638" y="1762127"/>
                    <a:pt x="2394790" y="1762127"/>
                  </a:cubicBezTo>
                  <a:cubicBezTo>
                    <a:pt x="2375933" y="1762127"/>
                    <a:pt x="2360656" y="1746846"/>
                    <a:pt x="2360656" y="1727995"/>
                  </a:cubicBezTo>
                  <a:cubicBezTo>
                    <a:pt x="2360656" y="1709144"/>
                    <a:pt x="2375933" y="1693863"/>
                    <a:pt x="2394790" y="1693863"/>
                  </a:cubicBezTo>
                  <a:close/>
                  <a:moveTo>
                    <a:pt x="2309856" y="1693863"/>
                  </a:moveTo>
                  <a:cubicBezTo>
                    <a:pt x="2329141" y="1693863"/>
                    <a:pt x="2344781" y="1709144"/>
                    <a:pt x="2344781" y="1727995"/>
                  </a:cubicBezTo>
                  <a:cubicBezTo>
                    <a:pt x="2344781" y="1746846"/>
                    <a:pt x="2329141" y="1762127"/>
                    <a:pt x="2309856" y="1762127"/>
                  </a:cubicBezTo>
                  <a:cubicBezTo>
                    <a:pt x="2290564" y="1762127"/>
                    <a:pt x="2274920" y="1746846"/>
                    <a:pt x="2274920" y="1727995"/>
                  </a:cubicBezTo>
                  <a:cubicBezTo>
                    <a:pt x="2274920" y="1709144"/>
                    <a:pt x="2290564" y="1693863"/>
                    <a:pt x="2309856" y="1693863"/>
                  </a:cubicBezTo>
                  <a:close/>
                  <a:moveTo>
                    <a:pt x="2224919" y="1693863"/>
                  </a:moveTo>
                  <a:cubicBezTo>
                    <a:pt x="2243761" y="1693863"/>
                    <a:pt x="2259040" y="1709144"/>
                    <a:pt x="2259040" y="1727995"/>
                  </a:cubicBezTo>
                  <a:cubicBezTo>
                    <a:pt x="2259040" y="1746846"/>
                    <a:pt x="2243761" y="1762127"/>
                    <a:pt x="2224919" y="1762127"/>
                  </a:cubicBezTo>
                  <a:cubicBezTo>
                    <a:pt x="2206066" y="1762127"/>
                    <a:pt x="2190786" y="1746846"/>
                    <a:pt x="2190786" y="1727995"/>
                  </a:cubicBezTo>
                  <a:cubicBezTo>
                    <a:pt x="2190786" y="1709144"/>
                    <a:pt x="2206066" y="1693863"/>
                    <a:pt x="2224919" y="1693863"/>
                  </a:cubicBezTo>
                  <a:close/>
                  <a:moveTo>
                    <a:pt x="2139203" y="1693863"/>
                  </a:moveTo>
                  <a:cubicBezTo>
                    <a:pt x="2158055" y="1693863"/>
                    <a:pt x="2173331" y="1709144"/>
                    <a:pt x="2173331" y="1727995"/>
                  </a:cubicBezTo>
                  <a:cubicBezTo>
                    <a:pt x="2173331" y="1746846"/>
                    <a:pt x="2158055" y="1762127"/>
                    <a:pt x="2139203" y="1762127"/>
                  </a:cubicBezTo>
                  <a:cubicBezTo>
                    <a:pt x="2120347" y="1762127"/>
                    <a:pt x="2105064" y="1746846"/>
                    <a:pt x="2105064" y="1727995"/>
                  </a:cubicBezTo>
                  <a:cubicBezTo>
                    <a:pt x="2105064" y="1709144"/>
                    <a:pt x="2120347" y="1693863"/>
                    <a:pt x="2139203" y="1693863"/>
                  </a:cubicBezTo>
                  <a:close/>
                  <a:moveTo>
                    <a:pt x="2055855" y="1693863"/>
                  </a:moveTo>
                  <a:cubicBezTo>
                    <a:pt x="2076010" y="1693863"/>
                    <a:pt x="2092362" y="1709144"/>
                    <a:pt x="2092362" y="1727995"/>
                  </a:cubicBezTo>
                  <a:cubicBezTo>
                    <a:pt x="2092362" y="1746846"/>
                    <a:pt x="2076010" y="1762127"/>
                    <a:pt x="2055855" y="1762127"/>
                  </a:cubicBezTo>
                  <a:cubicBezTo>
                    <a:pt x="2035696" y="1762127"/>
                    <a:pt x="2019341" y="1746846"/>
                    <a:pt x="2019341" y="1727995"/>
                  </a:cubicBezTo>
                  <a:cubicBezTo>
                    <a:pt x="2019341" y="1709144"/>
                    <a:pt x="2035696" y="1693863"/>
                    <a:pt x="2055855" y="1693863"/>
                  </a:cubicBezTo>
                  <a:close/>
                  <a:moveTo>
                    <a:pt x="1973301" y="1693863"/>
                  </a:moveTo>
                  <a:cubicBezTo>
                    <a:pt x="1992595" y="1693863"/>
                    <a:pt x="2008227" y="1709144"/>
                    <a:pt x="2008227" y="1727995"/>
                  </a:cubicBezTo>
                  <a:cubicBezTo>
                    <a:pt x="2008227" y="1746846"/>
                    <a:pt x="1992595" y="1762127"/>
                    <a:pt x="1973301" y="1762127"/>
                  </a:cubicBezTo>
                  <a:cubicBezTo>
                    <a:pt x="1954014" y="1762127"/>
                    <a:pt x="1938380" y="1746846"/>
                    <a:pt x="1938380" y="1727995"/>
                  </a:cubicBezTo>
                  <a:cubicBezTo>
                    <a:pt x="1938380" y="1709144"/>
                    <a:pt x="1954014" y="1693863"/>
                    <a:pt x="1973301" y="1693863"/>
                  </a:cubicBezTo>
                  <a:close/>
                  <a:moveTo>
                    <a:pt x="1888373" y="1693863"/>
                  </a:moveTo>
                  <a:cubicBezTo>
                    <a:pt x="1907222" y="1693863"/>
                    <a:pt x="1922503" y="1709144"/>
                    <a:pt x="1922503" y="1727995"/>
                  </a:cubicBezTo>
                  <a:cubicBezTo>
                    <a:pt x="1922503" y="1746846"/>
                    <a:pt x="1907222" y="1762127"/>
                    <a:pt x="1888373" y="1762127"/>
                  </a:cubicBezTo>
                  <a:cubicBezTo>
                    <a:pt x="1869524" y="1762127"/>
                    <a:pt x="1854243" y="1746846"/>
                    <a:pt x="1854243" y="1727995"/>
                  </a:cubicBezTo>
                  <a:cubicBezTo>
                    <a:pt x="1854243" y="1709144"/>
                    <a:pt x="1869524" y="1693863"/>
                    <a:pt x="1888373" y="1693863"/>
                  </a:cubicBezTo>
                  <a:close/>
                  <a:moveTo>
                    <a:pt x="1802656" y="1693863"/>
                  </a:moveTo>
                  <a:cubicBezTo>
                    <a:pt x="1821504" y="1693863"/>
                    <a:pt x="1836784" y="1709144"/>
                    <a:pt x="1836784" y="1727995"/>
                  </a:cubicBezTo>
                  <a:cubicBezTo>
                    <a:pt x="1836784" y="1746846"/>
                    <a:pt x="1821504" y="1762127"/>
                    <a:pt x="1802656" y="1762127"/>
                  </a:cubicBezTo>
                  <a:cubicBezTo>
                    <a:pt x="1783803" y="1762127"/>
                    <a:pt x="1768524" y="1746846"/>
                    <a:pt x="1768524" y="1727995"/>
                  </a:cubicBezTo>
                  <a:cubicBezTo>
                    <a:pt x="1768524" y="1709144"/>
                    <a:pt x="1783803" y="1693863"/>
                    <a:pt x="1802656" y="1693863"/>
                  </a:cubicBezTo>
                  <a:close/>
                  <a:moveTo>
                    <a:pt x="1719314" y="1693863"/>
                  </a:moveTo>
                  <a:cubicBezTo>
                    <a:pt x="1739480" y="1693863"/>
                    <a:pt x="1755825" y="1709144"/>
                    <a:pt x="1755825" y="1727995"/>
                  </a:cubicBezTo>
                  <a:cubicBezTo>
                    <a:pt x="1755825" y="1746846"/>
                    <a:pt x="1739480" y="1762127"/>
                    <a:pt x="1719314" y="1762127"/>
                  </a:cubicBezTo>
                  <a:cubicBezTo>
                    <a:pt x="1699147" y="1762127"/>
                    <a:pt x="1682803" y="1746846"/>
                    <a:pt x="1682803" y="1727995"/>
                  </a:cubicBezTo>
                  <a:cubicBezTo>
                    <a:pt x="1682803" y="1709144"/>
                    <a:pt x="1699147" y="1693863"/>
                    <a:pt x="1719314" y="1693863"/>
                  </a:cubicBezTo>
                  <a:close/>
                  <a:moveTo>
                    <a:pt x="1636768" y="1693863"/>
                  </a:moveTo>
                  <a:cubicBezTo>
                    <a:pt x="1656054" y="1693863"/>
                    <a:pt x="1671691" y="1709144"/>
                    <a:pt x="1671691" y="1727995"/>
                  </a:cubicBezTo>
                  <a:cubicBezTo>
                    <a:pt x="1671691" y="1746846"/>
                    <a:pt x="1656054" y="1762127"/>
                    <a:pt x="1636768" y="1762127"/>
                  </a:cubicBezTo>
                  <a:cubicBezTo>
                    <a:pt x="1617480" y="1762127"/>
                    <a:pt x="1601843" y="1746846"/>
                    <a:pt x="1601843" y="1727995"/>
                  </a:cubicBezTo>
                  <a:cubicBezTo>
                    <a:pt x="1601843" y="1709144"/>
                    <a:pt x="1617480" y="1693863"/>
                    <a:pt x="1636768" y="1693863"/>
                  </a:cubicBezTo>
                  <a:close/>
                  <a:moveTo>
                    <a:pt x="1551838" y="1693863"/>
                  </a:moveTo>
                  <a:cubicBezTo>
                    <a:pt x="1570689" y="1693863"/>
                    <a:pt x="1585970" y="1709144"/>
                    <a:pt x="1585970" y="1727995"/>
                  </a:cubicBezTo>
                  <a:cubicBezTo>
                    <a:pt x="1585970" y="1746846"/>
                    <a:pt x="1570689" y="1762127"/>
                    <a:pt x="1551838" y="1762127"/>
                  </a:cubicBezTo>
                  <a:cubicBezTo>
                    <a:pt x="1532987" y="1762127"/>
                    <a:pt x="1517707" y="1746846"/>
                    <a:pt x="1517707" y="1727995"/>
                  </a:cubicBezTo>
                  <a:cubicBezTo>
                    <a:pt x="1517707" y="1709144"/>
                    <a:pt x="1532987" y="1693863"/>
                    <a:pt x="1551838" y="1693863"/>
                  </a:cubicBezTo>
                  <a:close/>
                  <a:moveTo>
                    <a:pt x="1466114" y="1693863"/>
                  </a:moveTo>
                  <a:cubicBezTo>
                    <a:pt x="1484965" y="1693863"/>
                    <a:pt x="1500247" y="1709144"/>
                    <a:pt x="1500247" y="1727995"/>
                  </a:cubicBezTo>
                  <a:cubicBezTo>
                    <a:pt x="1500247" y="1746846"/>
                    <a:pt x="1484965" y="1762127"/>
                    <a:pt x="1466114" y="1762127"/>
                  </a:cubicBezTo>
                  <a:cubicBezTo>
                    <a:pt x="1447265" y="1762127"/>
                    <a:pt x="1431983" y="1746846"/>
                    <a:pt x="1431983" y="1727995"/>
                  </a:cubicBezTo>
                  <a:cubicBezTo>
                    <a:pt x="1431983" y="1709144"/>
                    <a:pt x="1447265" y="1693863"/>
                    <a:pt x="1466114" y="1693863"/>
                  </a:cubicBezTo>
                  <a:close/>
                  <a:moveTo>
                    <a:pt x="9138327" y="1606550"/>
                  </a:moveTo>
                  <a:cubicBezTo>
                    <a:pt x="9157178" y="1606550"/>
                    <a:pt x="9172459" y="1623253"/>
                    <a:pt x="9172459" y="1643857"/>
                  </a:cubicBezTo>
                  <a:cubicBezTo>
                    <a:pt x="9172459" y="1664461"/>
                    <a:pt x="9157178" y="1681164"/>
                    <a:pt x="9138327" y="1681164"/>
                  </a:cubicBezTo>
                  <a:cubicBezTo>
                    <a:pt x="9119476" y="1681164"/>
                    <a:pt x="9104195" y="1664461"/>
                    <a:pt x="9104195" y="1643857"/>
                  </a:cubicBezTo>
                  <a:cubicBezTo>
                    <a:pt x="9104195" y="1623253"/>
                    <a:pt x="9119476" y="1606550"/>
                    <a:pt x="9138327" y="1606550"/>
                  </a:cubicBezTo>
                  <a:close/>
                  <a:moveTo>
                    <a:pt x="8966877" y="1606550"/>
                  </a:moveTo>
                  <a:cubicBezTo>
                    <a:pt x="8985728" y="1606550"/>
                    <a:pt x="9001009" y="1623253"/>
                    <a:pt x="9001009" y="1643857"/>
                  </a:cubicBezTo>
                  <a:cubicBezTo>
                    <a:pt x="9001009" y="1664461"/>
                    <a:pt x="8985728" y="1681164"/>
                    <a:pt x="8966877" y="1681164"/>
                  </a:cubicBezTo>
                  <a:cubicBezTo>
                    <a:pt x="8948026" y="1681164"/>
                    <a:pt x="8932745" y="1664461"/>
                    <a:pt x="8932745" y="1643857"/>
                  </a:cubicBezTo>
                  <a:cubicBezTo>
                    <a:pt x="8932745" y="1623253"/>
                    <a:pt x="8948026" y="1606550"/>
                    <a:pt x="8966877" y="1606550"/>
                  </a:cubicBezTo>
                  <a:close/>
                  <a:moveTo>
                    <a:pt x="8884327" y="1606550"/>
                  </a:moveTo>
                  <a:cubicBezTo>
                    <a:pt x="8904931" y="1606550"/>
                    <a:pt x="8921634" y="1623253"/>
                    <a:pt x="8921634" y="1643857"/>
                  </a:cubicBezTo>
                  <a:cubicBezTo>
                    <a:pt x="8921634" y="1664461"/>
                    <a:pt x="8904931" y="1681164"/>
                    <a:pt x="8884327" y="1681164"/>
                  </a:cubicBezTo>
                  <a:cubicBezTo>
                    <a:pt x="8863723" y="1681164"/>
                    <a:pt x="8847020" y="1664461"/>
                    <a:pt x="8847020" y="1643857"/>
                  </a:cubicBezTo>
                  <a:cubicBezTo>
                    <a:pt x="8847020" y="1623253"/>
                    <a:pt x="8863723" y="1606550"/>
                    <a:pt x="8884327" y="1606550"/>
                  </a:cubicBezTo>
                  <a:close/>
                  <a:moveTo>
                    <a:pt x="8801777" y="1606550"/>
                  </a:moveTo>
                  <a:cubicBezTo>
                    <a:pt x="8820628" y="1606550"/>
                    <a:pt x="8835909" y="1623253"/>
                    <a:pt x="8835909" y="1643857"/>
                  </a:cubicBezTo>
                  <a:cubicBezTo>
                    <a:pt x="8835909" y="1664461"/>
                    <a:pt x="8820628" y="1681164"/>
                    <a:pt x="8801777" y="1681164"/>
                  </a:cubicBezTo>
                  <a:cubicBezTo>
                    <a:pt x="8782926" y="1681164"/>
                    <a:pt x="8767645" y="1664461"/>
                    <a:pt x="8767645" y="1643857"/>
                  </a:cubicBezTo>
                  <a:cubicBezTo>
                    <a:pt x="8767645" y="1623253"/>
                    <a:pt x="8782926" y="1606550"/>
                    <a:pt x="8801777" y="1606550"/>
                  </a:cubicBezTo>
                  <a:close/>
                  <a:moveTo>
                    <a:pt x="8716052" y="1606550"/>
                  </a:moveTo>
                  <a:cubicBezTo>
                    <a:pt x="8734903" y="1606550"/>
                    <a:pt x="8750184" y="1623253"/>
                    <a:pt x="8750184" y="1643857"/>
                  </a:cubicBezTo>
                  <a:cubicBezTo>
                    <a:pt x="8750184" y="1664461"/>
                    <a:pt x="8734903" y="1681164"/>
                    <a:pt x="8716052" y="1681164"/>
                  </a:cubicBezTo>
                  <a:cubicBezTo>
                    <a:pt x="8697201" y="1681164"/>
                    <a:pt x="8681920" y="1664461"/>
                    <a:pt x="8681920" y="1643857"/>
                  </a:cubicBezTo>
                  <a:cubicBezTo>
                    <a:pt x="8681920" y="1623253"/>
                    <a:pt x="8697201" y="1606550"/>
                    <a:pt x="8716052" y="1606550"/>
                  </a:cubicBezTo>
                  <a:close/>
                  <a:moveTo>
                    <a:pt x="8630327" y="1606550"/>
                  </a:moveTo>
                  <a:cubicBezTo>
                    <a:pt x="8649178" y="1606550"/>
                    <a:pt x="8664459" y="1623253"/>
                    <a:pt x="8664459" y="1643857"/>
                  </a:cubicBezTo>
                  <a:cubicBezTo>
                    <a:pt x="8664459" y="1664461"/>
                    <a:pt x="8649178" y="1681164"/>
                    <a:pt x="8630327" y="1681164"/>
                  </a:cubicBezTo>
                  <a:cubicBezTo>
                    <a:pt x="8611476" y="1681164"/>
                    <a:pt x="8596195" y="1664461"/>
                    <a:pt x="8596195" y="1643857"/>
                  </a:cubicBezTo>
                  <a:cubicBezTo>
                    <a:pt x="8596195" y="1623253"/>
                    <a:pt x="8611476" y="1606550"/>
                    <a:pt x="8630327" y="1606550"/>
                  </a:cubicBezTo>
                  <a:close/>
                  <a:moveTo>
                    <a:pt x="8544602" y="1606550"/>
                  </a:moveTo>
                  <a:cubicBezTo>
                    <a:pt x="8563453" y="1606550"/>
                    <a:pt x="8578734" y="1623253"/>
                    <a:pt x="8578734" y="1643857"/>
                  </a:cubicBezTo>
                  <a:cubicBezTo>
                    <a:pt x="8578734" y="1664461"/>
                    <a:pt x="8563453" y="1681164"/>
                    <a:pt x="8544602" y="1681164"/>
                  </a:cubicBezTo>
                  <a:cubicBezTo>
                    <a:pt x="8525751" y="1681164"/>
                    <a:pt x="8510470" y="1664461"/>
                    <a:pt x="8510470" y="1643857"/>
                  </a:cubicBezTo>
                  <a:cubicBezTo>
                    <a:pt x="8510470" y="1623253"/>
                    <a:pt x="8525751" y="1606550"/>
                    <a:pt x="8544602" y="1606550"/>
                  </a:cubicBezTo>
                  <a:close/>
                  <a:moveTo>
                    <a:pt x="8465227" y="1606550"/>
                  </a:moveTo>
                  <a:cubicBezTo>
                    <a:pt x="8484078" y="1606550"/>
                    <a:pt x="8499359" y="1623253"/>
                    <a:pt x="8499359" y="1643857"/>
                  </a:cubicBezTo>
                  <a:cubicBezTo>
                    <a:pt x="8499359" y="1664461"/>
                    <a:pt x="8484078" y="1681164"/>
                    <a:pt x="8465227" y="1681164"/>
                  </a:cubicBezTo>
                  <a:cubicBezTo>
                    <a:pt x="8446376" y="1681164"/>
                    <a:pt x="8431095" y="1664461"/>
                    <a:pt x="8431095" y="1643857"/>
                  </a:cubicBezTo>
                  <a:cubicBezTo>
                    <a:pt x="8431095" y="1623253"/>
                    <a:pt x="8446376" y="1606550"/>
                    <a:pt x="8465227" y="1606550"/>
                  </a:cubicBezTo>
                  <a:close/>
                  <a:moveTo>
                    <a:pt x="8379502" y="1606550"/>
                  </a:moveTo>
                  <a:cubicBezTo>
                    <a:pt x="8398353" y="1606550"/>
                    <a:pt x="8413634" y="1623253"/>
                    <a:pt x="8413634" y="1643857"/>
                  </a:cubicBezTo>
                  <a:cubicBezTo>
                    <a:pt x="8413634" y="1664461"/>
                    <a:pt x="8398353" y="1681164"/>
                    <a:pt x="8379502" y="1681164"/>
                  </a:cubicBezTo>
                  <a:cubicBezTo>
                    <a:pt x="8360651" y="1681164"/>
                    <a:pt x="8345370" y="1664461"/>
                    <a:pt x="8345370" y="1643857"/>
                  </a:cubicBezTo>
                  <a:cubicBezTo>
                    <a:pt x="8345370" y="1623253"/>
                    <a:pt x="8360651" y="1606550"/>
                    <a:pt x="8379502" y="1606550"/>
                  </a:cubicBezTo>
                  <a:close/>
                  <a:moveTo>
                    <a:pt x="8293777" y="1606550"/>
                  </a:moveTo>
                  <a:cubicBezTo>
                    <a:pt x="8312628" y="1606550"/>
                    <a:pt x="8327909" y="1623253"/>
                    <a:pt x="8327909" y="1643857"/>
                  </a:cubicBezTo>
                  <a:cubicBezTo>
                    <a:pt x="8327909" y="1664461"/>
                    <a:pt x="8312628" y="1681164"/>
                    <a:pt x="8293777" y="1681164"/>
                  </a:cubicBezTo>
                  <a:cubicBezTo>
                    <a:pt x="8274926" y="1681164"/>
                    <a:pt x="8259645" y="1664461"/>
                    <a:pt x="8259645" y="1643857"/>
                  </a:cubicBezTo>
                  <a:cubicBezTo>
                    <a:pt x="8259645" y="1623253"/>
                    <a:pt x="8274926" y="1606550"/>
                    <a:pt x="8293777" y="1606550"/>
                  </a:cubicBezTo>
                  <a:close/>
                  <a:moveTo>
                    <a:pt x="8208052" y="1606550"/>
                  </a:moveTo>
                  <a:cubicBezTo>
                    <a:pt x="8226903" y="1606550"/>
                    <a:pt x="8242184" y="1623253"/>
                    <a:pt x="8242184" y="1643857"/>
                  </a:cubicBezTo>
                  <a:cubicBezTo>
                    <a:pt x="8242184" y="1664461"/>
                    <a:pt x="8226903" y="1681164"/>
                    <a:pt x="8208052" y="1681164"/>
                  </a:cubicBezTo>
                  <a:cubicBezTo>
                    <a:pt x="8189201" y="1681164"/>
                    <a:pt x="8173920" y="1664461"/>
                    <a:pt x="8173920" y="1643857"/>
                  </a:cubicBezTo>
                  <a:cubicBezTo>
                    <a:pt x="8173920" y="1623253"/>
                    <a:pt x="8189201" y="1606550"/>
                    <a:pt x="8208052" y="1606550"/>
                  </a:cubicBezTo>
                  <a:close/>
                  <a:moveTo>
                    <a:pt x="8125502" y="1606550"/>
                  </a:moveTo>
                  <a:cubicBezTo>
                    <a:pt x="8146106" y="1606550"/>
                    <a:pt x="8162809" y="1623253"/>
                    <a:pt x="8162809" y="1643857"/>
                  </a:cubicBezTo>
                  <a:cubicBezTo>
                    <a:pt x="8162809" y="1664461"/>
                    <a:pt x="8146106" y="1681164"/>
                    <a:pt x="8125502" y="1681164"/>
                  </a:cubicBezTo>
                  <a:cubicBezTo>
                    <a:pt x="8104898" y="1681164"/>
                    <a:pt x="8088195" y="1664461"/>
                    <a:pt x="8088195" y="1643857"/>
                  </a:cubicBezTo>
                  <a:cubicBezTo>
                    <a:pt x="8088195" y="1623253"/>
                    <a:pt x="8104898" y="1606550"/>
                    <a:pt x="8125502" y="1606550"/>
                  </a:cubicBezTo>
                  <a:close/>
                  <a:moveTo>
                    <a:pt x="8042952" y="1606550"/>
                  </a:moveTo>
                  <a:cubicBezTo>
                    <a:pt x="8061803" y="1606550"/>
                    <a:pt x="8077084" y="1623253"/>
                    <a:pt x="8077084" y="1643857"/>
                  </a:cubicBezTo>
                  <a:cubicBezTo>
                    <a:pt x="8077084" y="1664461"/>
                    <a:pt x="8061803" y="1681164"/>
                    <a:pt x="8042952" y="1681164"/>
                  </a:cubicBezTo>
                  <a:cubicBezTo>
                    <a:pt x="8024101" y="1681164"/>
                    <a:pt x="8008820" y="1664461"/>
                    <a:pt x="8008820" y="1643857"/>
                  </a:cubicBezTo>
                  <a:cubicBezTo>
                    <a:pt x="8008820" y="1623253"/>
                    <a:pt x="8024101" y="1606550"/>
                    <a:pt x="8042952" y="1606550"/>
                  </a:cubicBezTo>
                  <a:close/>
                  <a:moveTo>
                    <a:pt x="7957227" y="1606550"/>
                  </a:moveTo>
                  <a:cubicBezTo>
                    <a:pt x="7976078" y="1606550"/>
                    <a:pt x="7991359" y="1623253"/>
                    <a:pt x="7991359" y="1643857"/>
                  </a:cubicBezTo>
                  <a:cubicBezTo>
                    <a:pt x="7991359" y="1664461"/>
                    <a:pt x="7976078" y="1681164"/>
                    <a:pt x="7957227" y="1681164"/>
                  </a:cubicBezTo>
                  <a:cubicBezTo>
                    <a:pt x="7938376" y="1681164"/>
                    <a:pt x="7923095" y="1664461"/>
                    <a:pt x="7923095" y="1643857"/>
                  </a:cubicBezTo>
                  <a:cubicBezTo>
                    <a:pt x="7923095" y="1623253"/>
                    <a:pt x="7938376" y="1606550"/>
                    <a:pt x="7957227" y="1606550"/>
                  </a:cubicBezTo>
                  <a:close/>
                  <a:moveTo>
                    <a:pt x="7785777" y="1606550"/>
                  </a:moveTo>
                  <a:cubicBezTo>
                    <a:pt x="7804628" y="1606550"/>
                    <a:pt x="7819909" y="1623253"/>
                    <a:pt x="7819909" y="1643857"/>
                  </a:cubicBezTo>
                  <a:cubicBezTo>
                    <a:pt x="7819909" y="1664461"/>
                    <a:pt x="7804628" y="1681164"/>
                    <a:pt x="7785777" y="1681164"/>
                  </a:cubicBezTo>
                  <a:cubicBezTo>
                    <a:pt x="7766926" y="1681164"/>
                    <a:pt x="7751645" y="1664461"/>
                    <a:pt x="7751645" y="1643857"/>
                  </a:cubicBezTo>
                  <a:cubicBezTo>
                    <a:pt x="7751645" y="1623253"/>
                    <a:pt x="7766926" y="1606550"/>
                    <a:pt x="7785777" y="1606550"/>
                  </a:cubicBezTo>
                  <a:close/>
                  <a:moveTo>
                    <a:pt x="7706402" y="1606550"/>
                  </a:moveTo>
                  <a:cubicBezTo>
                    <a:pt x="7725253" y="1606550"/>
                    <a:pt x="7740534" y="1623253"/>
                    <a:pt x="7740534" y="1643857"/>
                  </a:cubicBezTo>
                  <a:cubicBezTo>
                    <a:pt x="7740534" y="1664461"/>
                    <a:pt x="7725253" y="1681164"/>
                    <a:pt x="7706402" y="1681164"/>
                  </a:cubicBezTo>
                  <a:cubicBezTo>
                    <a:pt x="7687551" y="1681164"/>
                    <a:pt x="7672270" y="1664461"/>
                    <a:pt x="7672270" y="1643857"/>
                  </a:cubicBezTo>
                  <a:cubicBezTo>
                    <a:pt x="7672270" y="1623253"/>
                    <a:pt x="7687551" y="1606550"/>
                    <a:pt x="7706402" y="1606550"/>
                  </a:cubicBezTo>
                  <a:close/>
                  <a:moveTo>
                    <a:pt x="7620677" y="1606550"/>
                  </a:moveTo>
                  <a:cubicBezTo>
                    <a:pt x="7639528" y="1606550"/>
                    <a:pt x="7654809" y="1623253"/>
                    <a:pt x="7654809" y="1643857"/>
                  </a:cubicBezTo>
                  <a:cubicBezTo>
                    <a:pt x="7654809" y="1664461"/>
                    <a:pt x="7639528" y="1681164"/>
                    <a:pt x="7620677" y="1681164"/>
                  </a:cubicBezTo>
                  <a:cubicBezTo>
                    <a:pt x="7601826" y="1681164"/>
                    <a:pt x="7586545" y="1664461"/>
                    <a:pt x="7586545" y="1643857"/>
                  </a:cubicBezTo>
                  <a:cubicBezTo>
                    <a:pt x="7586545" y="1623253"/>
                    <a:pt x="7601826" y="1606550"/>
                    <a:pt x="7620677" y="1606550"/>
                  </a:cubicBezTo>
                  <a:close/>
                  <a:moveTo>
                    <a:pt x="7534952" y="1606550"/>
                  </a:moveTo>
                  <a:cubicBezTo>
                    <a:pt x="7553803" y="1606550"/>
                    <a:pt x="7569084" y="1623253"/>
                    <a:pt x="7569084" y="1643857"/>
                  </a:cubicBezTo>
                  <a:cubicBezTo>
                    <a:pt x="7569084" y="1664461"/>
                    <a:pt x="7553803" y="1681164"/>
                    <a:pt x="7534952" y="1681164"/>
                  </a:cubicBezTo>
                  <a:cubicBezTo>
                    <a:pt x="7516101" y="1681164"/>
                    <a:pt x="7500820" y="1664461"/>
                    <a:pt x="7500820" y="1643857"/>
                  </a:cubicBezTo>
                  <a:cubicBezTo>
                    <a:pt x="7500820" y="1623253"/>
                    <a:pt x="7516101" y="1606550"/>
                    <a:pt x="7534952" y="1606550"/>
                  </a:cubicBezTo>
                  <a:close/>
                  <a:moveTo>
                    <a:pt x="7449227" y="1606550"/>
                  </a:moveTo>
                  <a:cubicBezTo>
                    <a:pt x="7468078" y="1606550"/>
                    <a:pt x="7483359" y="1623253"/>
                    <a:pt x="7483359" y="1643857"/>
                  </a:cubicBezTo>
                  <a:cubicBezTo>
                    <a:pt x="7483359" y="1664461"/>
                    <a:pt x="7468078" y="1681164"/>
                    <a:pt x="7449227" y="1681164"/>
                  </a:cubicBezTo>
                  <a:cubicBezTo>
                    <a:pt x="7430376" y="1681164"/>
                    <a:pt x="7415095" y="1664461"/>
                    <a:pt x="7415095" y="1643857"/>
                  </a:cubicBezTo>
                  <a:cubicBezTo>
                    <a:pt x="7415095" y="1623253"/>
                    <a:pt x="7430376" y="1606550"/>
                    <a:pt x="7449227" y="1606550"/>
                  </a:cubicBezTo>
                  <a:close/>
                  <a:moveTo>
                    <a:pt x="7366677" y="1606550"/>
                  </a:moveTo>
                  <a:cubicBezTo>
                    <a:pt x="7387281" y="1606550"/>
                    <a:pt x="7403984" y="1623253"/>
                    <a:pt x="7403984" y="1643857"/>
                  </a:cubicBezTo>
                  <a:cubicBezTo>
                    <a:pt x="7403984" y="1664461"/>
                    <a:pt x="7387281" y="1681164"/>
                    <a:pt x="7366677" y="1681164"/>
                  </a:cubicBezTo>
                  <a:cubicBezTo>
                    <a:pt x="7346073" y="1681164"/>
                    <a:pt x="7329370" y="1664461"/>
                    <a:pt x="7329370" y="1643857"/>
                  </a:cubicBezTo>
                  <a:cubicBezTo>
                    <a:pt x="7329370" y="1623253"/>
                    <a:pt x="7346073" y="1606550"/>
                    <a:pt x="7366677" y="1606550"/>
                  </a:cubicBezTo>
                  <a:close/>
                  <a:moveTo>
                    <a:pt x="7284127" y="1606550"/>
                  </a:moveTo>
                  <a:cubicBezTo>
                    <a:pt x="7302978" y="1606550"/>
                    <a:pt x="7318259" y="1623253"/>
                    <a:pt x="7318259" y="1643857"/>
                  </a:cubicBezTo>
                  <a:cubicBezTo>
                    <a:pt x="7318259" y="1664461"/>
                    <a:pt x="7302978" y="1681164"/>
                    <a:pt x="7284127" y="1681164"/>
                  </a:cubicBezTo>
                  <a:cubicBezTo>
                    <a:pt x="7265276" y="1681164"/>
                    <a:pt x="7249995" y="1664461"/>
                    <a:pt x="7249995" y="1643857"/>
                  </a:cubicBezTo>
                  <a:cubicBezTo>
                    <a:pt x="7249995" y="1623253"/>
                    <a:pt x="7265276" y="1606550"/>
                    <a:pt x="7284127" y="1606550"/>
                  </a:cubicBezTo>
                  <a:close/>
                  <a:moveTo>
                    <a:pt x="7198402" y="1606550"/>
                  </a:moveTo>
                  <a:cubicBezTo>
                    <a:pt x="7217253" y="1606550"/>
                    <a:pt x="7232534" y="1623253"/>
                    <a:pt x="7232534" y="1643857"/>
                  </a:cubicBezTo>
                  <a:cubicBezTo>
                    <a:pt x="7232534" y="1664461"/>
                    <a:pt x="7217253" y="1681164"/>
                    <a:pt x="7198402" y="1681164"/>
                  </a:cubicBezTo>
                  <a:cubicBezTo>
                    <a:pt x="7179551" y="1681164"/>
                    <a:pt x="7164270" y="1664461"/>
                    <a:pt x="7164270" y="1643857"/>
                  </a:cubicBezTo>
                  <a:cubicBezTo>
                    <a:pt x="7164270" y="1623253"/>
                    <a:pt x="7179551" y="1606550"/>
                    <a:pt x="7198402" y="1606550"/>
                  </a:cubicBezTo>
                  <a:close/>
                  <a:moveTo>
                    <a:pt x="7112677" y="1606550"/>
                  </a:moveTo>
                  <a:cubicBezTo>
                    <a:pt x="7131528" y="1606550"/>
                    <a:pt x="7146809" y="1623253"/>
                    <a:pt x="7146809" y="1643857"/>
                  </a:cubicBezTo>
                  <a:cubicBezTo>
                    <a:pt x="7146809" y="1664461"/>
                    <a:pt x="7131528" y="1681164"/>
                    <a:pt x="7112677" y="1681164"/>
                  </a:cubicBezTo>
                  <a:cubicBezTo>
                    <a:pt x="7093826" y="1681164"/>
                    <a:pt x="7078545" y="1664461"/>
                    <a:pt x="7078545" y="1643857"/>
                  </a:cubicBezTo>
                  <a:cubicBezTo>
                    <a:pt x="7078545" y="1623253"/>
                    <a:pt x="7093826" y="1606550"/>
                    <a:pt x="7112677" y="1606550"/>
                  </a:cubicBezTo>
                  <a:close/>
                  <a:moveTo>
                    <a:pt x="7027745" y="1606550"/>
                  </a:moveTo>
                  <a:cubicBezTo>
                    <a:pt x="7047034" y="1606550"/>
                    <a:pt x="7062670" y="1623253"/>
                    <a:pt x="7062670" y="1643857"/>
                  </a:cubicBezTo>
                  <a:cubicBezTo>
                    <a:pt x="7062670" y="1664461"/>
                    <a:pt x="7047034" y="1681164"/>
                    <a:pt x="7027745" y="1681164"/>
                  </a:cubicBezTo>
                  <a:cubicBezTo>
                    <a:pt x="7008456" y="1681164"/>
                    <a:pt x="6992820" y="1664461"/>
                    <a:pt x="6992820" y="1643857"/>
                  </a:cubicBezTo>
                  <a:cubicBezTo>
                    <a:pt x="6992820" y="1623253"/>
                    <a:pt x="7008456" y="1606550"/>
                    <a:pt x="7027745" y="1606550"/>
                  </a:cubicBezTo>
                  <a:close/>
                  <a:moveTo>
                    <a:pt x="6947577" y="1606550"/>
                  </a:moveTo>
                  <a:cubicBezTo>
                    <a:pt x="6966428" y="1606550"/>
                    <a:pt x="6981709" y="1623253"/>
                    <a:pt x="6981709" y="1643857"/>
                  </a:cubicBezTo>
                  <a:cubicBezTo>
                    <a:pt x="6981709" y="1664461"/>
                    <a:pt x="6966428" y="1681164"/>
                    <a:pt x="6947577" y="1681164"/>
                  </a:cubicBezTo>
                  <a:cubicBezTo>
                    <a:pt x="6928726" y="1681164"/>
                    <a:pt x="6913445" y="1664461"/>
                    <a:pt x="6913445" y="1643857"/>
                  </a:cubicBezTo>
                  <a:cubicBezTo>
                    <a:pt x="6913445" y="1623253"/>
                    <a:pt x="6928726" y="1606550"/>
                    <a:pt x="6947577" y="1606550"/>
                  </a:cubicBezTo>
                  <a:close/>
                  <a:moveTo>
                    <a:pt x="6861852" y="1606550"/>
                  </a:moveTo>
                  <a:cubicBezTo>
                    <a:pt x="6880703" y="1606550"/>
                    <a:pt x="6895984" y="1623253"/>
                    <a:pt x="6895984" y="1643857"/>
                  </a:cubicBezTo>
                  <a:cubicBezTo>
                    <a:pt x="6895984" y="1664461"/>
                    <a:pt x="6880703" y="1681164"/>
                    <a:pt x="6861852" y="1681164"/>
                  </a:cubicBezTo>
                  <a:cubicBezTo>
                    <a:pt x="6843001" y="1681164"/>
                    <a:pt x="6827720" y="1664461"/>
                    <a:pt x="6827720" y="1643857"/>
                  </a:cubicBezTo>
                  <a:cubicBezTo>
                    <a:pt x="6827720" y="1623253"/>
                    <a:pt x="6843001" y="1606550"/>
                    <a:pt x="6861852" y="1606550"/>
                  </a:cubicBezTo>
                  <a:close/>
                  <a:moveTo>
                    <a:pt x="6776127" y="1606550"/>
                  </a:moveTo>
                  <a:cubicBezTo>
                    <a:pt x="6794978" y="1606550"/>
                    <a:pt x="6810259" y="1623253"/>
                    <a:pt x="6810259" y="1643857"/>
                  </a:cubicBezTo>
                  <a:cubicBezTo>
                    <a:pt x="6810259" y="1664461"/>
                    <a:pt x="6794978" y="1681164"/>
                    <a:pt x="6776127" y="1681164"/>
                  </a:cubicBezTo>
                  <a:cubicBezTo>
                    <a:pt x="6757276" y="1681164"/>
                    <a:pt x="6741995" y="1664461"/>
                    <a:pt x="6741995" y="1643857"/>
                  </a:cubicBezTo>
                  <a:cubicBezTo>
                    <a:pt x="6741995" y="1623253"/>
                    <a:pt x="6757276" y="1606550"/>
                    <a:pt x="6776127" y="1606550"/>
                  </a:cubicBezTo>
                  <a:close/>
                  <a:moveTo>
                    <a:pt x="6691195" y="1606550"/>
                  </a:moveTo>
                  <a:cubicBezTo>
                    <a:pt x="6710484" y="1606550"/>
                    <a:pt x="6726120" y="1623253"/>
                    <a:pt x="6726120" y="1643857"/>
                  </a:cubicBezTo>
                  <a:cubicBezTo>
                    <a:pt x="6726120" y="1664461"/>
                    <a:pt x="6710484" y="1681164"/>
                    <a:pt x="6691195" y="1681164"/>
                  </a:cubicBezTo>
                  <a:cubicBezTo>
                    <a:pt x="6671906" y="1681164"/>
                    <a:pt x="6656270" y="1664461"/>
                    <a:pt x="6656270" y="1643857"/>
                  </a:cubicBezTo>
                  <a:cubicBezTo>
                    <a:pt x="6656270" y="1623253"/>
                    <a:pt x="6671906" y="1606550"/>
                    <a:pt x="6691195" y="1606550"/>
                  </a:cubicBezTo>
                  <a:close/>
                  <a:moveTo>
                    <a:pt x="6607852" y="1606550"/>
                  </a:moveTo>
                  <a:cubicBezTo>
                    <a:pt x="6628456" y="1606550"/>
                    <a:pt x="6645159" y="1623253"/>
                    <a:pt x="6645159" y="1643857"/>
                  </a:cubicBezTo>
                  <a:cubicBezTo>
                    <a:pt x="6645159" y="1664461"/>
                    <a:pt x="6628456" y="1681164"/>
                    <a:pt x="6607852" y="1681164"/>
                  </a:cubicBezTo>
                  <a:cubicBezTo>
                    <a:pt x="6587248" y="1681164"/>
                    <a:pt x="6570545" y="1664461"/>
                    <a:pt x="6570545" y="1643857"/>
                  </a:cubicBezTo>
                  <a:cubicBezTo>
                    <a:pt x="6570545" y="1623253"/>
                    <a:pt x="6587248" y="1606550"/>
                    <a:pt x="6607852" y="1606550"/>
                  </a:cubicBezTo>
                  <a:close/>
                  <a:moveTo>
                    <a:pt x="6525302" y="1606550"/>
                  </a:moveTo>
                  <a:cubicBezTo>
                    <a:pt x="6544153" y="1606550"/>
                    <a:pt x="6559434" y="1623253"/>
                    <a:pt x="6559434" y="1643857"/>
                  </a:cubicBezTo>
                  <a:cubicBezTo>
                    <a:pt x="6559434" y="1664461"/>
                    <a:pt x="6544153" y="1681164"/>
                    <a:pt x="6525302" y="1681164"/>
                  </a:cubicBezTo>
                  <a:cubicBezTo>
                    <a:pt x="6506451" y="1681164"/>
                    <a:pt x="6491170" y="1664461"/>
                    <a:pt x="6491170" y="1643857"/>
                  </a:cubicBezTo>
                  <a:cubicBezTo>
                    <a:pt x="6491170" y="1623253"/>
                    <a:pt x="6506451" y="1606550"/>
                    <a:pt x="6525302" y="1606550"/>
                  </a:cubicBezTo>
                  <a:close/>
                  <a:moveTo>
                    <a:pt x="6439577" y="1606550"/>
                  </a:moveTo>
                  <a:cubicBezTo>
                    <a:pt x="6458428" y="1606550"/>
                    <a:pt x="6473709" y="1623253"/>
                    <a:pt x="6473709" y="1643857"/>
                  </a:cubicBezTo>
                  <a:cubicBezTo>
                    <a:pt x="6473709" y="1664461"/>
                    <a:pt x="6458428" y="1681164"/>
                    <a:pt x="6439577" y="1681164"/>
                  </a:cubicBezTo>
                  <a:cubicBezTo>
                    <a:pt x="6420726" y="1681164"/>
                    <a:pt x="6405445" y="1664461"/>
                    <a:pt x="6405445" y="1643857"/>
                  </a:cubicBezTo>
                  <a:cubicBezTo>
                    <a:pt x="6405445" y="1623253"/>
                    <a:pt x="6420726" y="1606550"/>
                    <a:pt x="6439577" y="1606550"/>
                  </a:cubicBezTo>
                  <a:close/>
                  <a:moveTo>
                    <a:pt x="6353852" y="1606550"/>
                  </a:moveTo>
                  <a:cubicBezTo>
                    <a:pt x="6372703" y="1606550"/>
                    <a:pt x="6387984" y="1623253"/>
                    <a:pt x="6387984" y="1643857"/>
                  </a:cubicBezTo>
                  <a:cubicBezTo>
                    <a:pt x="6387984" y="1664461"/>
                    <a:pt x="6372703" y="1681164"/>
                    <a:pt x="6353852" y="1681164"/>
                  </a:cubicBezTo>
                  <a:cubicBezTo>
                    <a:pt x="6335001" y="1681164"/>
                    <a:pt x="6319720" y="1664461"/>
                    <a:pt x="6319720" y="1643857"/>
                  </a:cubicBezTo>
                  <a:cubicBezTo>
                    <a:pt x="6319720" y="1623253"/>
                    <a:pt x="6335001" y="1606550"/>
                    <a:pt x="6353852" y="1606550"/>
                  </a:cubicBezTo>
                  <a:close/>
                  <a:moveTo>
                    <a:pt x="6268920" y="1606550"/>
                  </a:moveTo>
                  <a:cubicBezTo>
                    <a:pt x="6288209" y="1606550"/>
                    <a:pt x="6303845" y="1623253"/>
                    <a:pt x="6303845" y="1643857"/>
                  </a:cubicBezTo>
                  <a:cubicBezTo>
                    <a:pt x="6303845" y="1664461"/>
                    <a:pt x="6288209" y="1681164"/>
                    <a:pt x="6268920" y="1681164"/>
                  </a:cubicBezTo>
                  <a:cubicBezTo>
                    <a:pt x="6249631" y="1681164"/>
                    <a:pt x="6233995" y="1664461"/>
                    <a:pt x="6233995" y="1643857"/>
                  </a:cubicBezTo>
                  <a:cubicBezTo>
                    <a:pt x="6233995" y="1623253"/>
                    <a:pt x="6249631" y="1606550"/>
                    <a:pt x="6268920" y="1606550"/>
                  </a:cubicBezTo>
                  <a:close/>
                  <a:moveTo>
                    <a:pt x="6188752" y="1606550"/>
                  </a:moveTo>
                  <a:cubicBezTo>
                    <a:pt x="6207603" y="1606550"/>
                    <a:pt x="6222884" y="1623253"/>
                    <a:pt x="6222884" y="1643857"/>
                  </a:cubicBezTo>
                  <a:cubicBezTo>
                    <a:pt x="6222884" y="1664461"/>
                    <a:pt x="6207603" y="1681164"/>
                    <a:pt x="6188752" y="1681164"/>
                  </a:cubicBezTo>
                  <a:cubicBezTo>
                    <a:pt x="6169901" y="1681164"/>
                    <a:pt x="6154620" y="1664461"/>
                    <a:pt x="6154620" y="1643857"/>
                  </a:cubicBezTo>
                  <a:cubicBezTo>
                    <a:pt x="6154620" y="1623253"/>
                    <a:pt x="6169901" y="1606550"/>
                    <a:pt x="6188752" y="1606550"/>
                  </a:cubicBezTo>
                  <a:close/>
                  <a:moveTo>
                    <a:pt x="6103027" y="1606550"/>
                  </a:moveTo>
                  <a:cubicBezTo>
                    <a:pt x="6121878" y="1606550"/>
                    <a:pt x="6137159" y="1623253"/>
                    <a:pt x="6137159" y="1643857"/>
                  </a:cubicBezTo>
                  <a:cubicBezTo>
                    <a:pt x="6137159" y="1664461"/>
                    <a:pt x="6121878" y="1681164"/>
                    <a:pt x="6103027" y="1681164"/>
                  </a:cubicBezTo>
                  <a:cubicBezTo>
                    <a:pt x="6084176" y="1681164"/>
                    <a:pt x="6068895" y="1664461"/>
                    <a:pt x="6068895" y="1643857"/>
                  </a:cubicBezTo>
                  <a:cubicBezTo>
                    <a:pt x="6068895" y="1623253"/>
                    <a:pt x="6084176" y="1606550"/>
                    <a:pt x="6103027" y="1606550"/>
                  </a:cubicBezTo>
                  <a:close/>
                  <a:moveTo>
                    <a:pt x="6017302" y="1606550"/>
                  </a:moveTo>
                  <a:cubicBezTo>
                    <a:pt x="6036153" y="1606550"/>
                    <a:pt x="6051434" y="1623253"/>
                    <a:pt x="6051434" y="1643857"/>
                  </a:cubicBezTo>
                  <a:cubicBezTo>
                    <a:pt x="6051434" y="1664461"/>
                    <a:pt x="6036153" y="1681164"/>
                    <a:pt x="6017302" y="1681164"/>
                  </a:cubicBezTo>
                  <a:cubicBezTo>
                    <a:pt x="5998451" y="1681164"/>
                    <a:pt x="5983170" y="1664461"/>
                    <a:pt x="5983170" y="1643857"/>
                  </a:cubicBezTo>
                  <a:cubicBezTo>
                    <a:pt x="5983170" y="1623253"/>
                    <a:pt x="5998451" y="1606550"/>
                    <a:pt x="6017302" y="1606550"/>
                  </a:cubicBezTo>
                  <a:close/>
                  <a:moveTo>
                    <a:pt x="5932370" y="1606550"/>
                  </a:moveTo>
                  <a:cubicBezTo>
                    <a:pt x="5951659" y="1606550"/>
                    <a:pt x="5967295" y="1623253"/>
                    <a:pt x="5967295" y="1643857"/>
                  </a:cubicBezTo>
                  <a:cubicBezTo>
                    <a:pt x="5967295" y="1664461"/>
                    <a:pt x="5951659" y="1681164"/>
                    <a:pt x="5932370" y="1681164"/>
                  </a:cubicBezTo>
                  <a:cubicBezTo>
                    <a:pt x="5913081" y="1681164"/>
                    <a:pt x="5897445" y="1664461"/>
                    <a:pt x="5897445" y="1643857"/>
                  </a:cubicBezTo>
                  <a:cubicBezTo>
                    <a:pt x="5897445" y="1623253"/>
                    <a:pt x="5913081" y="1606550"/>
                    <a:pt x="5932370" y="1606550"/>
                  </a:cubicBezTo>
                  <a:close/>
                  <a:moveTo>
                    <a:pt x="5849821" y="1606550"/>
                  </a:moveTo>
                  <a:cubicBezTo>
                    <a:pt x="5869987" y="1606550"/>
                    <a:pt x="5886334" y="1623253"/>
                    <a:pt x="5886334" y="1643857"/>
                  </a:cubicBezTo>
                  <a:cubicBezTo>
                    <a:pt x="5886334" y="1664461"/>
                    <a:pt x="5869987" y="1681164"/>
                    <a:pt x="5849821" y="1681164"/>
                  </a:cubicBezTo>
                  <a:cubicBezTo>
                    <a:pt x="5829655" y="1681164"/>
                    <a:pt x="5813308" y="1664461"/>
                    <a:pt x="5813308" y="1643857"/>
                  </a:cubicBezTo>
                  <a:cubicBezTo>
                    <a:pt x="5813308" y="1623253"/>
                    <a:pt x="5829655" y="1606550"/>
                    <a:pt x="5849821" y="1606550"/>
                  </a:cubicBezTo>
                  <a:close/>
                  <a:moveTo>
                    <a:pt x="5766477" y="1606550"/>
                  </a:moveTo>
                  <a:cubicBezTo>
                    <a:pt x="5785328" y="1606550"/>
                    <a:pt x="5800609" y="1623253"/>
                    <a:pt x="5800609" y="1643857"/>
                  </a:cubicBezTo>
                  <a:cubicBezTo>
                    <a:pt x="5800609" y="1664461"/>
                    <a:pt x="5785328" y="1681164"/>
                    <a:pt x="5766477" y="1681164"/>
                  </a:cubicBezTo>
                  <a:cubicBezTo>
                    <a:pt x="5747626" y="1681164"/>
                    <a:pt x="5732345" y="1664461"/>
                    <a:pt x="5732345" y="1643857"/>
                  </a:cubicBezTo>
                  <a:cubicBezTo>
                    <a:pt x="5732345" y="1623253"/>
                    <a:pt x="5747626" y="1606550"/>
                    <a:pt x="5766477" y="1606550"/>
                  </a:cubicBezTo>
                  <a:close/>
                  <a:moveTo>
                    <a:pt x="5680752" y="1606550"/>
                  </a:moveTo>
                  <a:cubicBezTo>
                    <a:pt x="5699603" y="1606550"/>
                    <a:pt x="5714884" y="1623253"/>
                    <a:pt x="5714884" y="1643857"/>
                  </a:cubicBezTo>
                  <a:cubicBezTo>
                    <a:pt x="5714884" y="1664461"/>
                    <a:pt x="5699603" y="1681164"/>
                    <a:pt x="5680752" y="1681164"/>
                  </a:cubicBezTo>
                  <a:cubicBezTo>
                    <a:pt x="5661901" y="1681164"/>
                    <a:pt x="5646620" y="1664461"/>
                    <a:pt x="5646620" y="1643857"/>
                  </a:cubicBezTo>
                  <a:cubicBezTo>
                    <a:pt x="5646620" y="1623253"/>
                    <a:pt x="5661901" y="1606550"/>
                    <a:pt x="5680752" y="1606550"/>
                  </a:cubicBezTo>
                  <a:close/>
                  <a:moveTo>
                    <a:pt x="5595820" y="1606550"/>
                  </a:moveTo>
                  <a:cubicBezTo>
                    <a:pt x="5615109" y="1606550"/>
                    <a:pt x="5630745" y="1623253"/>
                    <a:pt x="5630745" y="1643857"/>
                  </a:cubicBezTo>
                  <a:cubicBezTo>
                    <a:pt x="5630745" y="1664461"/>
                    <a:pt x="5615109" y="1681164"/>
                    <a:pt x="5595820" y="1681164"/>
                  </a:cubicBezTo>
                  <a:cubicBezTo>
                    <a:pt x="5576531" y="1681164"/>
                    <a:pt x="5560895" y="1664461"/>
                    <a:pt x="5560895" y="1643857"/>
                  </a:cubicBezTo>
                  <a:cubicBezTo>
                    <a:pt x="5560895" y="1623253"/>
                    <a:pt x="5576531" y="1606550"/>
                    <a:pt x="5595820" y="1606550"/>
                  </a:cubicBezTo>
                  <a:close/>
                  <a:moveTo>
                    <a:pt x="5510095" y="1606550"/>
                  </a:moveTo>
                  <a:cubicBezTo>
                    <a:pt x="5529384" y="1606550"/>
                    <a:pt x="5545020" y="1623253"/>
                    <a:pt x="5545020" y="1643857"/>
                  </a:cubicBezTo>
                  <a:cubicBezTo>
                    <a:pt x="5545020" y="1664461"/>
                    <a:pt x="5529384" y="1681164"/>
                    <a:pt x="5510095" y="1681164"/>
                  </a:cubicBezTo>
                  <a:cubicBezTo>
                    <a:pt x="5490806" y="1681164"/>
                    <a:pt x="5475170" y="1664461"/>
                    <a:pt x="5475170" y="1643857"/>
                  </a:cubicBezTo>
                  <a:cubicBezTo>
                    <a:pt x="5475170" y="1623253"/>
                    <a:pt x="5490806" y="1606550"/>
                    <a:pt x="5510095" y="1606550"/>
                  </a:cubicBezTo>
                  <a:close/>
                  <a:moveTo>
                    <a:pt x="5429927" y="1606550"/>
                  </a:moveTo>
                  <a:cubicBezTo>
                    <a:pt x="5448778" y="1606550"/>
                    <a:pt x="5464059" y="1623253"/>
                    <a:pt x="5464059" y="1643857"/>
                  </a:cubicBezTo>
                  <a:cubicBezTo>
                    <a:pt x="5464059" y="1664461"/>
                    <a:pt x="5448778" y="1681164"/>
                    <a:pt x="5429927" y="1681164"/>
                  </a:cubicBezTo>
                  <a:cubicBezTo>
                    <a:pt x="5411076" y="1681164"/>
                    <a:pt x="5395795" y="1664461"/>
                    <a:pt x="5395795" y="1643857"/>
                  </a:cubicBezTo>
                  <a:cubicBezTo>
                    <a:pt x="5395795" y="1623253"/>
                    <a:pt x="5411076" y="1606550"/>
                    <a:pt x="5429927" y="1606550"/>
                  </a:cubicBezTo>
                  <a:close/>
                  <a:moveTo>
                    <a:pt x="5344202" y="1606550"/>
                  </a:moveTo>
                  <a:cubicBezTo>
                    <a:pt x="5363053" y="1606550"/>
                    <a:pt x="5378334" y="1623253"/>
                    <a:pt x="5378334" y="1643857"/>
                  </a:cubicBezTo>
                  <a:cubicBezTo>
                    <a:pt x="5378334" y="1664461"/>
                    <a:pt x="5363053" y="1681164"/>
                    <a:pt x="5344202" y="1681164"/>
                  </a:cubicBezTo>
                  <a:cubicBezTo>
                    <a:pt x="5325351" y="1681164"/>
                    <a:pt x="5310070" y="1664461"/>
                    <a:pt x="5310070" y="1643857"/>
                  </a:cubicBezTo>
                  <a:cubicBezTo>
                    <a:pt x="5310070" y="1623253"/>
                    <a:pt x="5325351" y="1606550"/>
                    <a:pt x="5344202" y="1606550"/>
                  </a:cubicBezTo>
                  <a:close/>
                  <a:moveTo>
                    <a:pt x="5258477" y="1606550"/>
                  </a:moveTo>
                  <a:cubicBezTo>
                    <a:pt x="5277328" y="1606550"/>
                    <a:pt x="5292609" y="1623253"/>
                    <a:pt x="5292609" y="1643857"/>
                  </a:cubicBezTo>
                  <a:cubicBezTo>
                    <a:pt x="5292609" y="1664461"/>
                    <a:pt x="5277328" y="1681164"/>
                    <a:pt x="5258477" y="1681164"/>
                  </a:cubicBezTo>
                  <a:cubicBezTo>
                    <a:pt x="5239626" y="1681164"/>
                    <a:pt x="5224345" y="1664461"/>
                    <a:pt x="5224345" y="1643857"/>
                  </a:cubicBezTo>
                  <a:cubicBezTo>
                    <a:pt x="5224345" y="1623253"/>
                    <a:pt x="5239626" y="1606550"/>
                    <a:pt x="5258477" y="1606550"/>
                  </a:cubicBezTo>
                  <a:close/>
                  <a:moveTo>
                    <a:pt x="4921927" y="1606550"/>
                  </a:moveTo>
                  <a:cubicBezTo>
                    <a:pt x="4940778" y="1606550"/>
                    <a:pt x="4956059" y="1623253"/>
                    <a:pt x="4956059" y="1643857"/>
                  </a:cubicBezTo>
                  <a:cubicBezTo>
                    <a:pt x="4956059" y="1664461"/>
                    <a:pt x="4940778" y="1681164"/>
                    <a:pt x="4921927" y="1681164"/>
                  </a:cubicBezTo>
                  <a:cubicBezTo>
                    <a:pt x="4903076" y="1681164"/>
                    <a:pt x="4887795" y="1664461"/>
                    <a:pt x="4887795" y="1643857"/>
                  </a:cubicBezTo>
                  <a:cubicBezTo>
                    <a:pt x="4887795" y="1623253"/>
                    <a:pt x="4903076" y="1606550"/>
                    <a:pt x="4921927" y="1606550"/>
                  </a:cubicBezTo>
                  <a:close/>
                  <a:moveTo>
                    <a:pt x="4752065" y="1606550"/>
                  </a:moveTo>
                  <a:cubicBezTo>
                    <a:pt x="4770916" y="1606550"/>
                    <a:pt x="4786197" y="1623253"/>
                    <a:pt x="4786197" y="1643857"/>
                  </a:cubicBezTo>
                  <a:cubicBezTo>
                    <a:pt x="4786197" y="1664461"/>
                    <a:pt x="4770916" y="1681164"/>
                    <a:pt x="4752065" y="1681164"/>
                  </a:cubicBezTo>
                  <a:cubicBezTo>
                    <a:pt x="4733214" y="1681164"/>
                    <a:pt x="4717933" y="1664461"/>
                    <a:pt x="4717933" y="1643857"/>
                  </a:cubicBezTo>
                  <a:cubicBezTo>
                    <a:pt x="4717933" y="1623253"/>
                    <a:pt x="4733214" y="1606550"/>
                    <a:pt x="4752065" y="1606550"/>
                  </a:cubicBezTo>
                  <a:close/>
                  <a:moveTo>
                    <a:pt x="3405070" y="1606550"/>
                  </a:moveTo>
                  <a:cubicBezTo>
                    <a:pt x="3424359" y="1606550"/>
                    <a:pt x="3439995" y="1623253"/>
                    <a:pt x="3439995" y="1643857"/>
                  </a:cubicBezTo>
                  <a:cubicBezTo>
                    <a:pt x="3439995" y="1664461"/>
                    <a:pt x="3424359" y="1681164"/>
                    <a:pt x="3405070" y="1681164"/>
                  </a:cubicBezTo>
                  <a:cubicBezTo>
                    <a:pt x="3385781" y="1681164"/>
                    <a:pt x="3370145" y="1664461"/>
                    <a:pt x="3370145" y="1643857"/>
                  </a:cubicBezTo>
                  <a:cubicBezTo>
                    <a:pt x="3370145" y="1623253"/>
                    <a:pt x="3385781" y="1606550"/>
                    <a:pt x="3405070" y="1606550"/>
                  </a:cubicBezTo>
                  <a:close/>
                  <a:moveTo>
                    <a:pt x="3320139" y="1606550"/>
                  </a:moveTo>
                  <a:cubicBezTo>
                    <a:pt x="3338990" y="1606550"/>
                    <a:pt x="3354271" y="1623253"/>
                    <a:pt x="3354271" y="1643857"/>
                  </a:cubicBezTo>
                  <a:cubicBezTo>
                    <a:pt x="3354271" y="1664461"/>
                    <a:pt x="3338990" y="1681164"/>
                    <a:pt x="3320139" y="1681164"/>
                  </a:cubicBezTo>
                  <a:cubicBezTo>
                    <a:pt x="3301288" y="1681164"/>
                    <a:pt x="3286007" y="1664461"/>
                    <a:pt x="3286007" y="1643857"/>
                  </a:cubicBezTo>
                  <a:cubicBezTo>
                    <a:pt x="3286007" y="1623253"/>
                    <a:pt x="3301288" y="1606550"/>
                    <a:pt x="3320139" y="1606550"/>
                  </a:cubicBezTo>
                  <a:close/>
                  <a:moveTo>
                    <a:pt x="3234414" y="1606550"/>
                  </a:moveTo>
                  <a:cubicBezTo>
                    <a:pt x="3253265" y="1606550"/>
                    <a:pt x="3268546" y="1623253"/>
                    <a:pt x="3268546" y="1643857"/>
                  </a:cubicBezTo>
                  <a:cubicBezTo>
                    <a:pt x="3268546" y="1664461"/>
                    <a:pt x="3253265" y="1681164"/>
                    <a:pt x="3234414" y="1681164"/>
                  </a:cubicBezTo>
                  <a:cubicBezTo>
                    <a:pt x="3215563" y="1681164"/>
                    <a:pt x="3200282" y="1664461"/>
                    <a:pt x="3200282" y="1643857"/>
                  </a:cubicBezTo>
                  <a:cubicBezTo>
                    <a:pt x="3200282" y="1623253"/>
                    <a:pt x="3215563" y="1606550"/>
                    <a:pt x="3234414" y="1606550"/>
                  </a:cubicBezTo>
                  <a:close/>
                  <a:moveTo>
                    <a:pt x="3153452" y="1606550"/>
                  </a:moveTo>
                  <a:cubicBezTo>
                    <a:pt x="3172303" y="1606550"/>
                    <a:pt x="3187584" y="1623253"/>
                    <a:pt x="3187584" y="1643857"/>
                  </a:cubicBezTo>
                  <a:cubicBezTo>
                    <a:pt x="3187584" y="1664461"/>
                    <a:pt x="3172303" y="1681164"/>
                    <a:pt x="3153452" y="1681164"/>
                  </a:cubicBezTo>
                  <a:cubicBezTo>
                    <a:pt x="3134601" y="1681164"/>
                    <a:pt x="3119320" y="1664461"/>
                    <a:pt x="3119320" y="1643857"/>
                  </a:cubicBezTo>
                  <a:cubicBezTo>
                    <a:pt x="3119320" y="1623253"/>
                    <a:pt x="3134601" y="1606550"/>
                    <a:pt x="3153452" y="1606550"/>
                  </a:cubicBezTo>
                  <a:close/>
                  <a:moveTo>
                    <a:pt x="3068520" y="1606550"/>
                  </a:moveTo>
                  <a:cubicBezTo>
                    <a:pt x="3087809" y="1606550"/>
                    <a:pt x="3103445" y="1623253"/>
                    <a:pt x="3103445" y="1643857"/>
                  </a:cubicBezTo>
                  <a:cubicBezTo>
                    <a:pt x="3103445" y="1664461"/>
                    <a:pt x="3087809" y="1681164"/>
                    <a:pt x="3068520" y="1681164"/>
                  </a:cubicBezTo>
                  <a:cubicBezTo>
                    <a:pt x="3049231" y="1681164"/>
                    <a:pt x="3033595" y="1664461"/>
                    <a:pt x="3033595" y="1643857"/>
                  </a:cubicBezTo>
                  <a:cubicBezTo>
                    <a:pt x="3033595" y="1623253"/>
                    <a:pt x="3049231" y="1606550"/>
                    <a:pt x="3068520" y="1606550"/>
                  </a:cubicBezTo>
                  <a:close/>
                  <a:moveTo>
                    <a:pt x="2983589" y="1606550"/>
                  </a:moveTo>
                  <a:cubicBezTo>
                    <a:pt x="3002440" y="1606550"/>
                    <a:pt x="3017721" y="1623253"/>
                    <a:pt x="3017721" y="1643857"/>
                  </a:cubicBezTo>
                  <a:cubicBezTo>
                    <a:pt x="3017721" y="1664461"/>
                    <a:pt x="3002440" y="1681164"/>
                    <a:pt x="2983589" y="1681164"/>
                  </a:cubicBezTo>
                  <a:cubicBezTo>
                    <a:pt x="2964738" y="1681164"/>
                    <a:pt x="2949457" y="1664461"/>
                    <a:pt x="2949457" y="1643857"/>
                  </a:cubicBezTo>
                  <a:cubicBezTo>
                    <a:pt x="2949457" y="1623253"/>
                    <a:pt x="2964738" y="1606550"/>
                    <a:pt x="2983589" y="1606550"/>
                  </a:cubicBezTo>
                  <a:close/>
                  <a:moveTo>
                    <a:pt x="2897864" y="1606550"/>
                  </a:moveTo>
                  <a:cubicBezTo>
                    <a:pt x="2916715" y="1606550"/>
                    <a:pt x="2931996" y="1623253"/>
                    <a:pt x="2931996" y="1643857"/>
                  </a:cubicBezTo>
                  <a:cubicBezTo>
                    <a:pt x="2931996" y="1664461"/>
                    <a:pt x="2916715" y="1681164"/>
                    <a:pt x="2897864" y="1681164"/>
                  </a:cubicBezTo>
                  <a:cubicBezTo>
                    <a:pt x="2879013" y="1681164"/>
                    <a:pt x="2863732" y="1664461"/>
                    <a:pt x="2863732" y="1643857"/>
                  </a:cubicBezTo>
                  <a:cubicBezTo>
                    <a:pt x="2863732" y="1623253"/>
                    <a:pt x="2879013" y="1606550"/>
                    <a:pt x="2897864" y="1606550"/>
                  </a:cubicBezTo>
                  <a:close/>
                  <a:moveTo>
                    <a:pt x="2814520" y="1606550"/>
                  </a:moveTo>
                  <a:cubicBezTo>
                    <a:pt x="2834686" y="1606550"/>
                    <a:pt x="2851033" y="1623253"/>
                    <a:pt x="2851033" y="1643857"/>
                  </a:cubicBezTo>
                  <a:cubicBezTo>
                    <a:pt x="2851033" y="1664461"/>
                    <a:pt x="2834686" y="1681164"/>
                    <a:pt x="2814520" y="1681164"/>
                  </a:cubicBezTo>
                  <a:cubicBezTo>
                    <a:pt x="2794354" y="1681164"/>
                    <a:pt x="2778007" y="1664461"/>
                    <a:pt x="2778007" y="1643857"/>
                  </a:cubicBezTo>
                  <a:cubicBezTo>
                    <a:pt x="2778007" y="1623253"/>
                    <a:pt x="2794354" y="1606550"/>
                    <a:pt x="2814520" y="1606550"/>
                  </a:cubicBezTo>
                  <a:close/>
                  <a:moveTo>
                    <a:pt x="2646410" y="1606550"/>
                  </a:moveTo>
                  <a:cubicBezTo>
                    <a:pt x="2665696" y="1606550"/>
                    <a:pt x="2681334" y="1623253"/>
                    <a:pt x="2681334" y="1643857"/>
                  </a:cubicBezTo>
                  <a:cubicBezTo>
                    <a:pt x="2681334" y="1664461"/>
                    <a:pt x="2665696" y="1681164"/>
                    <a:pt x="2646410" y="1681164"/>
                  </a:cubicBezTo>
                  <a:cubicBezTo>
                    <a:pt x="2627123" y="1681164"/>
                    <a:pt x="2611483" y="1664461"/>
                    <a:pt x="2611483" y="1643857"/>
                  </a:cubicBezTo>
                  <a:cubicBezTo>
                    <a:pt x="2611483" y="1623253"/>
                    <a:pt x="2627123" y="1606550"/>
                    <a:pt x="2646410" y="1606550"/>
                  </a:cubicBezTo>
                  <a:close/>
                  <a:moveTo>
                    <a:pt x="2561479" y="1606550"/>
                  </a:moveTo>
                  <a:cubicBezTo>
                    <a:pt x="2580330" y="1606550"/>
                    <a:pt x="2595609" y="1623253"/>
                    <a:pt x="2595609" y="1643857"/>
                  </a:cubicBezTo>
                  <a:cubicBezTo>
                    <a:pt x="2595609" y="1664461"/>
                    <a:pt x="2580330" y="1681164"/>
                    <a:pt x="2561479" y="1681164"/>
                  </a:cubicBezTo>
                  <a:cubicBezTo>
                    <a:pt x="2542628" y="1681164"/>
                    <a:pt x="2527342" y="1664461"/>
                    <a:pt x="2527342" y="1643857"/>
                  </a:cubicBezTo>
                  <a:cubicBezTo>
                    <a:pt x="2527342" y="1623253"/>
                    <a:pt x="2542628" y="1606550"/>
                    <a:pt x="2561479" y="1606550"/>
                  </a:cubicBezTo>
                  <a:close/>
                  <a:moveTo>
                    <a:pt x="2309856" y="1606550"/>
                  </a:moveTo>
                  <a:cubicBezTo>
                    <a:pt x="2329141" y="1606550"/>
                    <a:pt x="2344781" y="1623253"/>
                    <a:pt x="2344781" y="1643857"/>
                  </a:cubicBezTo>
                  <a:cubicBezTo>
                    <a:pt x="2344781" y="1664461"/>
                    <a:pt x="2329141" y="1681164"/>
                    <a:pt x="2309856" y="1681164"/>
                  </a:cubicBezTo>
                  <a:cubicBezTo>
                    <a:pt x="2290564" y="1681164"/>
                    <a:pt x="2274920" y="1664461"/>
                    <a:pt x="2274920" y="1643857"/>
                  </a:cubicBezTo>
                  <a:cubicBezTo>
                    <a:pt x="2274920" y="1623253"/>
                    <a:pt x="2290564" y="1606550"/>
                    <a:pt x="2309856" y="1606550"/>
                  </a:cubicBezTo>
                  <a:close/>
                  <a:moveTo>
                    <a:pt x="2139044" y="1606550"/>
                  </a:moveTo>
                  <a:cubicBezTo>
                    <a:pt x="2157894" y="1606550"/>
                    <a:pt x="2173176" y="1623253"/>
                    <a:pt x="2173176" y="1643857"/>
                  </a:cubicBezTo>
                  <a:cubicBezTo>
                    <a:pt x="2173176" y="1664461"/>
                    <a:pt x="2157894" y="1681164"/>
                    <a:pt x="2139044" y="1681164"/>
                  </a:cubicBezTo>
                  <a:cubicBezTo>
                    <a:pt x="2120193" y="1681164"/>
                    <a:pt x="2104912" y="1664461"/>
                    <a:pt x="2104912" y="1643857"/>
                  </a:cubicBezTo>
                  <a:cubicBezTo>
                    <a:pt x="2104912" y="1623253"/>
                    <a:pt x="2120193" y="1606550"/>
                    <a:pt x="2139044" y="1606550"/>
                  </a:cubicBezTo>
                  <a:close/>
                  <a:moveTo>
                    <a:pt x="2055700" y="1606550"/>
                  </a:moveTo>
                  <a:cubicBezTo>
                    <a:pt x="2075866" y="1606550"/>
                    <a:pt x="2092213" y="1623253"/>
                    <a:pt x="2092213" y="1643857"/>
                  </a:cubicBezTo>
                  <a:cubicBezTo>
                    <a:pt x="2092213" y="1664461"/>
                    <a:pt x="2075866" y="1681164"/>
                    <a:pt x="2055700" y="1681164"/>
                  </a:cubicBezTo>
                  <a:cubicBezTo>
                    <a:pt x="2035534" y="1681164"/>
                    <a:pt x="2019187" y="1664461"/>
                    <a:pt x="2019187" y="1643857"/>
                  </a:cubicBezTo>
                  <a:cubicBezTo>
                    <a:pt x="2019187" y="1623253"/>
                    <a:pt x="2035534" y="1606550"/>
                    <a:pt x="2055700" y="1606550"/>
                  </a:cubicBezTo>
                  <a:close/>
                  <a:moveTo>
                    <a:pt x="1973150" y="1606550"/>
                  </a:moveTo>
                  <a:cubicBezTo>
                    <a:pt x="1992440" y="1606550"/>
                    <a:pt x="2008075" y="1623253"/>
                    <a:pt x="2008075" y="1643857"/>
                  </a:cubicBezTo>
                  <a:cubicBezTo>
                    <a:pt x="2008075" y="1664461"/>
                    <a:pt x="1992440" y="1681164"/>
                    <a:pt x="1973150" y="1681164"/>
                  </a:cubicBezTo>
                  <a:cubicBezTo>
                    <a:pt x="1953861" y="1681164"/>
                    <a:pt x="1938226" y="1664461"/>
                    <a:pt x="1938226" y="1643857"/>
                  </a:cubicBezTo>
                  <a:cubicBezTo>
                    <a:pt x="1938226" y="1623253"/>
                    <a:pt x="1953861" y="1606550"/>
                    <a:pt x="1973150" y="1606550"/>
                  </a:cubicBezTo>
                  <a:close/>
                  <a:moveTo>
                    <a:pt x="1888219" y="1606550"/>
                  </a:moveTo>
                  <a:cubicBezTo>
                    <a:pt x="1907070" y="1606550"/>
                    <a:pt x="1922352" y="1623253"/>
                    <a:pt x="1922352" y="1643857"/>
                  </a:cubicBezTo>
                  <a:cubicBezTo>
                    <a:pt x="1922352" y="1664461"/>
                    <a:pt x="1907070" y="1681164"/>
                    <a:pt x="1888219" y="1681164"/>
                  </a:cubicBezTo>
                  <a:cubicBezTo>
                    <a:pt x="1869369" y="1681164"/>
                    <a:pt x="1854088" y="1664461"/>
                    <a:pt x="1854088" y="1643857"/>
                  </a:cubicBezTo>
                  <a:cubicBezTo>
                    <a:pt x="1854088" y="1623253"/>
                    <a:pt x="1869369" y="1606550"/>
                    <a:pt x="1888219" y="1606550"/>
                  </a:cubicBezTo>
                  <a:close/>
                  <a:moveTo>
                    <a:pt x="1802495" y="1606550"/>
                  </a:moveTo>
                  <a:cubicBezTo>
                    <a:pt x="1821346" y="1606550"/>
                    <a:pt x="1836627" y="1623253"/>
                    <a:pt x="1836627" y="1643857"/>
                  </a:cubicBezTo>
                  <a:cubicBezTo>
                    <a:pt x="1836627" y="1664461"/>
                    <a:pt x="1821346" y="1681164"/>
                    <a:pt x="1802495" y="1681164"/>
                  </a:cubicBezTo>
                  <a:cubicBezTo>
                    <a:pt x="1783644" y="1681164"/>
                    <a:pt x="1768363" y="1664461"/>
                    <a:pt x="1768363" y="1643857"/>
                  </a:cubicBezTo>
                  <a:cubicBezTo>
                    <a:pt x="1768363" y="1623253"/>
                    <a:pt x="1783644" y="1606550"/>
                    <a:pt x="1802495" y="1606550"/>
                  </a:cubicBezTo>
                  <a:close/>
                  <a:moveTo>
                    <a:pt x="1719151" y="1606550"/>
                  </a:moveTo>
                  <a:cubicBezTo>
                    <a:pt x="1739317" y="1606550"/>
                    <a:pt x="1755664" y="1623253"/>
                    <a:pt x="1755664" y="1643857"/>
                  </a:cubicBezTo>
                  <a:cubicBezTo>
                    <a:pt x="1755664" y="1664461"/>
                    <a:pt x="1739317" y="1681164"/>
                    <a:pt x="1719151" y="1681164"/>
                  </a:cubicBezTo>
                  <a:cubicBezTo>
                    <a:pt x="1698985" y="1681164"/>
                    <a:pt x="1682638" y="1664461"/>
                    <a:pt x="1682638" y="1643857"/>
                  </a:cubicBezTo>
                  <a:cubicBezTo>
                    <a:pt x="1682638" y="1623253"/>
                    <a:pt x="1698985" y="1606550"/>
                    <a:pt x="1719151" y="1606550"/>
                  </a:cubicBezTo>
                  <a:close/>
                  <a:moveTo>
                    <a:pt x="1636608" y="1606550"/>
                  </a:moveTo>
                  <a:cubicBezTo>
                    <a:pt x="1655898" y="1606550"/>
                    <a:pt x="1671533" y="1623253"/>
                    <a:pt x="1671533" y="1643857"/>
                  </a:cubicBezTo>
                  <a:cubicBezTo>
                    <a:pt x="1671533" y="1664461"/>
                    <a:pt x="1655898" y="1681164"/>
                    <a:pt x="1636608" y="1681164"/>
                  </a:cubicBezTo>
                  <a:cubicBezTo>
                    <a:pt x="1617319" y="1681164"/>
                    <a:pt x="1601683" y="1664461"/>
                    <a:pt x="1601683" y="1643857"/>
                  </a:cubicBezTo>
                  <a:cubicBezTo>
                    <a:pt x="1601683" y="1623253"/>
                    <a:pt x="1617319" y="1606550"/>
                    <a:pt x="1636608" y="1606550"/>
                  </a:cubicBezTo>
                  <a:close/>
                  <a:moveTo>
                    <a:pt x="1551677" y="1606550"/>
                  </a:moveTo>
                  <a:cubicBezTo>
                    <a:pt x="1570528" y="1606550"/>
                    <a:pt x="1585810" y="1623253"/>
                    <a:pt x="1585810" y="1643857"/>
                  </a:cubicBezTo>
                  <a:cubicBezTo>
                    <a:pt x="1585810" y="1664461"/>
                    <a:pt x="1570528" y="1681164"/>
                    <a:pt x="1551677" y="1681164"/>
                  </a:cubicBezTo>
                  <a:cubicBezTo>
                    <a:pt x="1532826" y="1681164"/>
                    <a:pt x="1517545" y="1664461"/>
                    <a:pt x="1517545" y="1643857"/>
                  </a:cubicBezTo>
                  <a:cubicBezTo>
                    <a:pt x="1517545" y="1623253"/>
                    <a:pt x="1532826" y="1606550"/>
                    <a:pt x="1551677" y="1606550"/>
                  </a:cubicBezTo>
                  <a:close/>
                  <a:moveTo>
                    <a:pt x="1466114" y="1606550"/>
                  </a:moveTo>
                  <a:cubicBezTo>
                    <a:pt x="1484965" y="1606550"/>
                    <a:pt x="1500247" y="1623253"/>
                    <a:pt x="1500247" y="1643857"/>
                  </a:cubicBezTo>
                  <a:cubicBezTo>
                    <a:pt x="1500247" y="1664461"/>
                    <a:pt x="1484965" y="1681164"/>
                    <a:pt x="1466114" y="1681164"/>
                  </a:cubicBezTo>
                  <a:cubicBezTo>
                    <a:pt x="1447265" y="1681164"/>
                    <a:pt x="1431983" y="1664461"/>
                    <a:pt x="1431983" y="1643857"/>
                  </a:cubicBezTo>
                  <a:cubicBezTo>
                    <a:pt x="1431983" y="1623253"/>
                    <a:pt x="1447265" y="1606550"/>
                    <a:pt x="1466114" y="1606550"/>
                  </a:cubicBezTo>
                  <a:close/>
                  <a:moveTo>
                    <a:pt x="9474877" y="1527175"/>
                  </a:moveTo>
                  <a:cubicBezTo>
                    <a:pt x="9493728" y="1527175"/>
                    <a:pt x="9509009" y="1542456"/>
                    <a:pt x="9509009" y="1561307"/>
                  </a:cubicBezTo>
                  <a:cubicBezTo>
                    <a:pt x="9509009" y="1580158"/>
                    <a:pt x="9493728" y="1595439"/>
                    <a:pt x="9474877" y="1595439"/>
                  </a:cubicBezTo>
                  <a:cubicBezTo>
                    <a:pt x="9456026" y="1595439"/>
                    <a:pt x="9440745" y="1580158"/>
                    <a:pt x="9440745" y="1561307"/>
                  </a:cubicBezTo>
                  <a:cubicBezTo>
                    <a:pt x="9440745" y="1542456"/>
                    <a:pt x="9456026" y="1527175"/>
                    <a:pt x="9474877" y="1527175"/>
                  </a:cubicBezTo>
                  <a:close/>
                  <a:moveTo>
                    <a:pt x="9138327" y="1527175"/>
                  </a:moveTo>
                  <a:cubicBezTo>
                    <a:pt x="9157178" y="1527175"/>
                    <a:pt x="9172459" y="1542456"/>
                    <a:pt x="9172459" y="1561307"/>
                  </a:cubicBezTo>
                  <a:cubicBezTo>
                    <a:pt x="9172459" y="1580158"/>
                    <a:pt x="9157178" y="1595439"/>
                    <a:pt x="9138327" y="1595439"/>
                  </a:cubicBezTo>
                  <a:cubicBezTo>
                    <a:pt x="9119476" y="1595439"/>
                    <a:pt x="9104195" y="1580158"/>
                    <a:pt x="9104195" y="1561307"/>
                  </a:cubicBezTo>
                  <a:cubicBezTo>
                    <a:pt x="9104195" y="1542456"/>
                    <a:pt x="9119476" y="1527175"/>
                    <a:pt x="9138327" y="1527175"/>
                  </a:cubicBezTo>
                  <a:close/>
                  <a:moveTo>
                    <a:pt x="9052602" y="1527175"/>
                  </a:moveTo>
                  <a:cubicBezTo>
                    <a:pt x="9071453" y="1527175"/>
                    <a:pt x="9086734" y="1542456"/>
                    <a:pt x="9086734" y="1561307"/>
                  </a:cubicBezTo>
                  <a:cubicBezTo>
                    <a:pt x="9086734" y="1580158"/>
                    <a:pt x="9071453" y="1595439"/>
                    <a:pt x="9052602" y="1595439"/>
                  </a:cubicBezTo>
                  <a:cubicBezTo>
                    <a:pt x="9033751" y="1595439"/>
                    <a:pt x="9018470" y="1580158"/>
                    <a:pt x="9018470" y="1561307"/>
                  </a:cubicBezTo>
                  <a:cubicBezTo>
                    <a:pt x="9018470" y="1542456"/>
                    <a:pt x="9033751" y="1527175"/>
                    <a:pt x="9052602" y="1527175"/>
                  </a:cubicBezTo>
                  <a:close/>
                  <a:moveTo>
                    <a:pt x="8966877" y="1527175"/>
                  </a:moveTo>
                  <a:cubicBezTo>
                    <a:pt x="8985728" y="1527175"/>
                    <a:pt x="9001009" y="1542456"/>
                    <a:pt x="9001009" y="1561307"/>
                  </a:cubicBezTo>
                  <a:cubicBezTo>
                    <a:pt x="9001009" y="1580158"/>
                    <a:pt x="8985728" y="1595439"/>
                    <a:pt x="8966877" y="1595439"/>
                  </a:cubicBezTo>
                  <a:cubicBezTo>
                    <a:pt x="8948026" y="1595439"/>
                    <a:pt x="8932745" y="1580158"/>
                    <a:pt x="8932745" y="1561307"/>
                  </a:cubicBezTo>
                  <a:cubicBezTo>
                    <a:pt x="8932745" y="1542456"/>
                    <a:pt x="8948026" y="1527175"/>
                    <a:pt x="8966877" y="1527175"/>
                  </a:cubicBezTo>
                  <a:close/>
                  <a:moveTo>
                    <a:pt x="8884327" y="1527175"/>
                  </a:moveTo>
                  <a:cubicBezTo>
                    <a:pt x="8904931" y="1527175"/>
                    <a:pt x="8921634" y="1542456"/>
                    <a:pt x="8921634" y="1561307"/>
                  </a:cubicBezTo>
                  <a:cubicBezTo>
                    <a:pt x="8921634" y="1580158"/>
                    <a:pt x="8904931" y="1595439"/>
                    <a:pt x="8884327" y="1595439"/>
                  </a:cubicBezTo>
                  <a:cubicBezTo>
                    <a:pt x="8863723" y="1595439"/>
                    <a:pt x="8847020" y="1580158"/>
                    <a:pt x="8847020" y="1561307"/>
                  </a:cubicBezTo>
                  <a:cubicBezTo>
                    <a:pt x="8847020" y="1542456"/>
                    <a:pt x="8863723" y="1527175"/>
                    <a:pt x="8884327" y="1527175"/>
                  </a:cubicBezTo>
                  <a:close/>
                  <a:moveTo>
                    <a:pt x="8801777" y="1527175"/>
                  </a:moveTo>
                  <a:cubicBezTo>
                    <a:pt x="8820628" y="1527175"/>
                    <a:pt x="8835909" y="1542456"/>
                    <a:pt x="8835909" y="1561307"/>
                  </a:cubicBezTo>
                  <a:cubicBezTo>
                    <a:pt x="8835909" y="1580158"/>
                    <a:pt x="8820628" y="1595439"/>
                    <a:pt x="8801777" y="1595439"/>
                  </a:cubicBezTo>
                  <a:cubicBezTo>
                    <a:pt x="8782926" y="1595439"/>
                    <a:pt x="8767645" y="1580158"/>
                    <a:pt x="8767645" y="1561307"/>
                  </a:cubicBezTo>
                  <a:cubicBezTo>
                    <a:pt x="8767645" y="1542456"/>
                    <a:pt x="8782926" y="1527175"/>
                    <a:pt x="8801777" y="1527175"/>
                  </a:cubicBezTo>
                  <a:close/>
                  <a:moveTo>
                    <a:pt x="8716052" y="1527175"/>
                  </a:moveTo>
                  <a:cubicBezTo>
                    <a:pt x="8734903" y="1527175"/>
                    <a:pt x="8750184" y="1542456"/>
                    <a:pt x="8750184" y="1561307"/>
                  </a:cubicBezTo>
                  <a:cubicBezTo>
                    <a:pt x="8750184" y="1580158"/>
                    <a:pt x="8734903" y="1595439"/>
                    <a:pt x="8716052" y="1595439"/>
                  </a:cubicBezTo>
                  <a:cubicBezTo>
                    <a:pt x="8697201" y="1595439"/>
                    <a:pt x="8681920" y="1580158"/>
                    <a:pt x="8681920" y="1561307"/>
                  </a:cubicBezTo>
                  <a:cubicBezTo>
                    <a:pt x="8681920" y="1542456"/>
                    <a:pt x="8697201" y="1527175"/>
                    <a:pt x="8716052" y="1527175"/>
                  </a:cubicBezTo>
                  <a:close/>
                  <a:moveTo>
                    <a:pt x="8630327" y="1527175"/>
                  </a:moveTo>
                  <a:cubicBezTo>
                    <a:pt x="8649178" y="1527175"/>
                    <a:pt x="8664459" y="1542456"/>
                    <a:pt x="8664459" y="1561307"/>
                  </a:cubicBezTo>
                  <a:cubicBezTo>
                    <a:pt x="8664459" y="1580158"/>
                    <a:pt x="8649178" y="1595439"/>
                    <a:pt x="8630327" y="1595439"/>
                  </a:cubicBezTo>
                  <a:cubicBezTo>
                    <a:pt x="8611476" y="1595439"/>
                    <a:pt x="8596195" y="1580158"/>
                    <a:pt x="8596195" y="1561307"/>
                  </a:cubicBezTo>
                  <a:cubicBezTo>
                    <a:pt x="8596195" y="1542456"/>
                    <a:pt x="8611476" y="1527175"/>
                    <a:pt x="8630327" y="1527175"/>
                  </a:cubicBezTo>
                  <a:close/>
                  <a:moveTo>
                    <a:pt x="8544602" y="1527175"/>
                  </a:moveTo>
                  <a:cubicBezTo>
                    <a:pt x="8563453" y="1527175"/>
                    <a:pt x="8578734" y="1542456"/>
                    <a:pt x="8578734" y="1561307"/>
                  </a:cubicBezTo>
                  <a:cubicBezTo>
                    <a:pt x="8578734" y="1580158"/>
                    <a:pt x="8563453" y="1595439"/>
                    <a:pt x="8544602" y="1595439"/>
                  </a:cubicBezTo>
                  <a:cubicBezTo>
                    <a:pt x="8525751" y="1595439"/>
                    <a:pt x="8510470" y="1580158"/>
                    <a:pt x="8510470" y="1561307"/>
                  </a:cubicBezTo>
                  <a:cubicBezTo>
                    <a:pt x="8510470" y="1542456"/>
                    <a:pt x="8525751" y="1527175"/>
                    <a:pt x="8544602" y="1527175"/>
                  </a:cubicBezTo>
                  <a:close/>
                  <a:moveTo>
                    <a:pt x="8465227" y="1527175"/>
                  </a:moveTo>
                  <a:cubicBezTo>
                    <a:pt x="8484078" y="1527175"/>
                    <a:pt x="8499359" y="1542456"/>
                    <a:pt x="8499359" y="1561307"/>
                  </a:cubicBezTo>
                  <a:cubicBezTo>
                    <a:pt x="8499359" y="1580158"/>
                    <a:pt x="8484078" y="1595439"/>
                    <a:pt x="8465227" y="1595439"/>
                  </a:cubicBezTo>
                  <a:cubicBezTo>
                    <a:pt x="8446376" y="1595439"/>
                    <a:pt x="8431095" y="1580158"/>
                    <a:pt x="8431095" y="1561307"/>
                  </a:cubicBezTo>
                  <a:cubicBezTo>
                    <a:pt x="8431095" y="1542456"/>
                    <a:pt x="8446376" y="1527175"/>
                    <a:pt x="8465227" y="1527175"/>
                  </a:cubicBezTo>
                  <a:close/>
                  <a:moveTo>
                    <a:pt x="8379502" y="1527175"/>
                  </a:moveTo>
                  <a:cubicBezTo>
                    <a:pt x="8398353" y="1527175"/>
                    <a:pt x="8413634" y="1542456"/>
                    <a:pt x="8413634" y="1561307"/>
                  </a:cubicBezTo>
                  <a:cubicBezTo>
                    <a:pt x="8413634" y="1580158"/>
                    <a:pt x="8398353" y="1595439"/>
                    <a:pt x="8379502" y="1595439"/>
                  </a:cubicBezTo>
                  <a:cubicBezTo>
                    <a:pt x="8360651" y="1595439"/>
                    <a:pt x="8345370" y="1580158"/>
                    <a:pt x="8345370" y="1561307"/>
                  </a:cubicBezTo>
                  <a:cubicBezTo>
                    <a:pt x="8345370" y="1542456"/>
                    <a:pt x="8360651" y="1527175"/>
                    <a:pt x="8379502" y="1527175"/>
                  </a:cubicBezTo>
                  <a:close/>
                  <a:moveTo>
                    <a:pt x="8293777" y="1527175"/>
                  </a:moveTo>
                  <a:cubicBezTo>
                    <a:pt x="8312628" y="1527175"/>
                    <a:pt x="8327909" y="1542456"/>
                    <a:pt x="8327909" y="1561307"/>
                  </a:cubicBezTo>
                  <a:cubicBezTo>
                    <a:pt x="8327909" y="1580158"/>
                    <a:pt x="8312628" y="1595439"/>
                    <a:pt x="8293777" y="1595439"/>
                  </a:cubicBezTo>
                  <a:cubicBezTo>
                    <a:pt x="8274926" y="1595439"/>
                    <a:pt x="8259645" y="1580158"/>
                    <a:pt x="8259645" y="1561307"/>
                  </a:cubicBezTo>
                  <a:cubicBezTo>
                    <a:pt x="8259645" y="1542456"/>
                    <a:pt x="8274926" y="1527175"/>
                    <a:pt x="8293777" y="1527175"/>
                  </a:cubicBezTo>
                  <a:close/>
                  <a:moveTo>
                    <a:pt x="8208052" y="1527175"/>
                  </a:moveTo>
                  <a:cubicBezTo>
                    <a:pt x="8226903" y="1527175"/>
                    <a:pt x="8242184" y="1542456"/>
                    <a:pt x="8242184" y="1561307"/>
                  </a:cubicBezTo>
                  <a:cubicBezTo>
                    <a:pt x="8242184" y="1580158"/>
                    <a:pt x="8226903" y="1595439"/>
                    <a:pt x="8208052" y="1595439"/>
                  </a:cubicBezTo>
                  <a:cubicBezTo>
                    <a:pt x="8189201" y="1595439"/>
                    <a:pt x="8173920" y="1580158"/>
                    <a:pt x="8173920" y="1561307"/>
                  </a:cubicBezTo>
                  <a:cubicBezTo>
                    <a:pt x="8173920" y="1542456"/>
                    <a:pt x="8189201" y="1527175"/>
                    <a:pt x="8208052" y="1527175"/>
                  </a:cubicBezTo>
                  <a:close/>
                  <a:moveTo>
                    <a:pt x="8125502" y="1527175"/>
                  </a:moveTo>
                  <a:cubicBezTo>
                    <a:pt x="8146106" y="1527175"/>
                    <a:pt x="8162809" y="1542456"/>
                    <a:pt x="8162809" y="1561307"/>
                  </a:cubicBezTo>
                  <a:cubicBezTo>
                    <a:pt x="8162809" y="1580158"/>
                    <a:pt x="8146106" y="1595439"/>
                    <a:pt x="8125502" y="1595439"/>
                  </a:cubicBezTo>
                  <a:cubicBezTo>
                    <a:pt x="8104898" y="1595439"/>
                    <a:pt x="8088195" y="1580158"/>
                    <a:pt x="8088195" y="1561307"/>
                  </a:cubicBezTo>
                  <a:cubicBezTo>
                    <a:pt x="8088195" y="1542456"/>
                    <a:pt x="8104898" y="1527175"/>
                    <a:pt x="8125502" y="1527175"/>
                  </a:cubicBezTo>
                  <a:close/>
                  <a:moveTo>
                    <a:pt x="7871502" y="1527175"/>
                  </a:moveTo>
                  <a:cubicBezTo>
                    <a:pt x="7890353" y="1527175"/>
                    <a:pt x="7905634" y="1542456"/>
                    <a:pt x="7905634" y="1561307"/>
                  </a:cubicBezTo>
                  <a:cubicBezTo>
                    <a:pt x="7905634" y="1580158"/>
                    <a:pt x="7890353" y="1595439"/>
                    <a:pt x="7871502" y="1595439"/>
                  </a:cubicBezTo>
                  <a:cubicBezTo>
                    <a:pt x="7852651" y="1595439"/>
                    <a:pt x="7837370" y="1580158"/>
                    <a:pt x="7837370" y="1561307"/>
                  </a:cubicBezTo>
                  <a:cubicBezTo>
                    <a:pt x="7837370" y="1542456"/>
                    <a:pt x="7852651" y="1527175"/>
                    <a:pt x="7871502" y="1527175"/>
                  </a:cubicBezTo>
                  <a:close/>
                  <a:moveTo>
                    <a:pt x="7785777" y="1527175"/>
                  </a:moveTo>
                  <a:cubicBezTo>
                    <a:pt x="7804628" y="1527175"/>
                    <a:pt x="7819909" y="1542456"/>
                    <a:pt x="7819909" y="1561307"/>
                  </a:cubicBezTo>
                  <a:cubicBezTo>
                    <a:pt x="7819909" y="1580158"/>
                    <a:pt x="7804628" y="1595439"/>
                    <a:pt x="7785777" y="1595439"/>
                  </a:cubicBezTo>
                  <a:cubicBezTo>
                    <a:pt x="7766926" y="1595439"/>
                    <a:pt x="7751645" y="1580158"/>
                    <a:pt x="7751645" y="1561307"/>
                  </a:cubicBezTo>
                  <a:cubicBezTo>
                    <a:pt x="7751645" y="1542456"/>
                    <a:pt x="7766926" y="1527175"/>
                    <a:pt x="7785777" y="1527175"/>
                  </a:cubicBezTo>
                  <a:close/>
                  <a:moveTo>
                    <a:pt x="7706402" y="1527175"/>
                  </a:moveTo>
                  <a:cubicBezTo>
                    <a:pt x="7725253" y="1527175"/>
                    <a:pt x="7740534" y="1542456"/>
                    <a:pt x="7740534" y="1561307"/>
                  </a:cubicBezTo>
                  <a:cubicBezTo>
                    <a:pt x="7740534" y="1580158"/>
                    <a:pt x="7725253" y="1595439"/>
                    <a:pt x="7706402" y="1595439"/>
                  </a:cubicBezTo>
                  <a:cubicBezTo>
                    <a:pt x="7687551" y="1595439"/>
                    <a:pt x="7672270" y="1580158"/>
                    <a:pt x="7672270" y="1561307"/>
                  </a:cubicBezTo>
                  <a:cubicBezTo>
                    <a:pt x="7672270" y="1542456"/>
                    <a:pt x="7687551" y="1527175"/>
                    <a:pt x="7706402" y="1527175"/>
                  </a:cubicBezTo>
                  <a:close/>
                  <a:moveTo>
                    <a:pt x="7620677" y="1527175"/>
                  </a:moveTo>
                  <a:cubicBezTo>
                    <a:pt x="7639528" y="1527175"/>
                    <a:pt x="7654809" y="1542456"/>
                    <a:pt x="7654809" y="1561307"/>
                  </a:cubicBezTo>
                  <a:cubicBezTo>
                    <a:pt x="7654809" y="1580158"/>
                    <a:pt x="7639528" y="1595439"/>
                    <a:pt x="7620677" y="1595439"/>
                  </a:cubicBezTo>
                  <a:cubicBezTo>
                    <a:pt x="7601826" y="1595439"/>
                    <a:pt x="7586545" y="1580158"/>
                    <a:pt x="7586545" y="1561307"/>
                  </a:cubicBezTo>
                  <a:cubicBezTo>
                    <a:pt x="7586545" y="1542456"/>
                    <a:pt x="7601826" y="1527175"/>
                    <a:pt x="7620677" y="1527175"/>
                  </a:cubicBezTo>
                  <a:close/>
                  <a:moveTo>
                    <a:pt x="7534952" y="1527175"/>
                  </a:moveTo>
                  <a:cubicBezTo>
                    <a:pt x="7553803" y="1527175"/>
                    <a:pt x="7569084" y="1542456"/>
                    <a:pt x="7569084" y="1561307"/>
                  </a:cubicBezTo>
                  <a:cubicBezTo>
                    <a:pt x="7569084" y="1580158"/>
                    <a:pt x="7553803" y="1595439"/>
                    <a:pt x="7534952" y="1595439"/>
                  </a:cubicBezTo>
                  <a:cubicBezTo>
                    <a:pt x="7516101" y="1595439"/>
                    <a:pt x="7500820" y="1580158"/>
                    <a:pt x="7500820" y="1561307"/>
                  </a:cubicBezTo>
                  <a:cubicBezTo>
                    <a:pt x="7500820" y="1542456"/>
                    <a:pt x="7516101" y="1527175"/>
                    <a:pt x="7534952" y="1527175"/>
                  </a:cubicBezTo>
                  <a:close/>
                  <a:moveTo>
                    <a:pt x="7449227" y="1527175"/>
                  </a:moveTo>
                  <a:cubicBezTo>
                    <a:pt x="7468078" y="1527175"/>
                    <a:pt x="7483359" y="1542456"/>
                    <a:pt x="7483359" y="1561307"/>
                  </a:cubicBezTo>
                  <a:cubicBezTo>
                    <a:pt x="7483359" y="1580158"/>
                    <a:pt x="7468078" y="1595439"/>
                    <a:pt x="7449227" y="1595439"/>
                  </a:cubicBezTo>
                  <a:cubicBezTo>
                    <a:pt x="7430376" y="1595439"/>
                    <a:pt x="7415095" y="1580158"/>
                    <a:pt x="7415095" y="1561307"/>
                  </a:cubicBezTo>
                  <a:cubicBezTo>
                    <a:pt x="7415095" y="1542456"/>
                    <a:pt x="7430376" y="1527175"/>
                    <a:pt x="7449227" y="1527175"/>
                  </a:cubicBezTo>
                  <a:close/>
                  <a:moveTo>
                    <a:pt x="7366677" y="1527175"/>
                  </a:moveTo>
                  <a:cubicBezTo>
                    <a:pt x="7387281" y="1527175"/>
                    <a:pt x="7403984" y="1542456"/>
                    <a:pt x="7403984" y="1561307"/>
                  </a:cubicBezTo>
                  <a:cubicBezTo>
                    <a:pt x="7403984" y="1580158"/>
                    <a:pt x="7387281" y="1595439"/>
                    <a:pt x="7366677" y="1595439"/>
                  </a:cubicBezTo>
                  <a:cubicBezTo>
                    <a:pt x="7346073" y="1595439"/>
                    <a:pt x="7329370" y="1580158"/>
                    <a:pt x="7329370" y="1561307"/>
                  </a:cubicBezTo>
                  <a:cubicBezTo>
                    <a:pt x="7329370" y="1542456"/>
                    <a:pt x="7346073" y="1527175"/>
                    <a:pt x="7366677" y="1527175"/>
                  </a:cubicBezTo>
                  <a:close/>
                  <a:moveTo>
                    <a:pt x="7284127" y="1527175"/>
                  </a:moveTo>
                  <a:cubicBezTo>
                    <a:pt x="7302978" y="1527175"/>
                    <a:pt x="7318259" y="1542456"/>
                    <a:pt x="7318259" y="1561307"/>
                  </a:cubicBezTo>
                  <a:cubicBezTo>
                    <a:pt x="7318259" y="1580158"/>
                    <a:pt x="7302978" y="1595439"/>
                    <a:pt x="7284127" y="1595439"/>
                  </a:cubicBezTo>
                  <a:cubicBezTo>
                    <a:pt x="7265276" y="1595439"/>
                    <a:pt x="7249995" y="1580158"/>
                    <a:pt x="7249995" y="1561307"/>
                  </a:cubicBezTo>
                  <a:cubicBezTo>
                    <a:pt x="7249995" y="1542456"/>
                    <a:pt x="7265276" y="1527175"/>
                    <a:pt x="7284127" y="1527175"/>
                  </a:cubicBezTo>
                  <a:close/>
                  <a:moveTo>
                    <a:pt x="7198402" y="1527175"/>
                  </a:moveTo>
                  <a:cubicBezTo>
                    <a:pt x="7217253" y="1527175"/>
                    <a:pt x="7232534" y="1542456"/>
                    <a:pt x="7232534" y="1561307"/>
                  </a:cubicBezTo>
                  <a:cubicBezTo>
                    <a:pt x="7232534" y="1580158"/>
                    <a:pt x="7217253" y="1595439"/>
                    <a:pt x="7198402" y="1595439"/>
                  </a:cubicBezTo>
                  <a:cubicBezTo>
                    <a:pt x="7179551" y="1595439"/>
                    <a:pt x="7164270" y="1580158"/>
                    <a:pt x="7164270" y="1561307"/>
                  </a:cubicBezTo>
                  <a:cubicBezTo>
                    <a:pt x="7164270" y="1542456"/>
                    <a:pt x="7179551" y="1527175"/>
                    <a:pt x="7198402" y="1527175"/>
                  </a:cubicBezTo>
                  <a:close/>
                  <a:moveTo>
                    <a:pt x="7112677" y="1527175"/>
                  </a:moveTo>
                  <a:cubicBezTo>
                    <a:pt x="7131528" y="1527175"/>
                    <a:pt x="7146809" y="1542456"/>
                    <a:pt x="7146809" y="1561307"/>
                  </a:cubicBezTo>
                  <a:cubicBezTo>
                    <a:pt x="7146809" y="1580158"/>
                    <a:pt x="7131528" y="1595439"/>
                    <a:pt x="7112677" y="1595439"/>
                  </a:cubicBezTo>
                  <a:cubicBezTo>
                    <a:pt x="7093826" y="1595439"/>
                    <a:pt x="7078545" y="1580158"/>
                    <a:pt x="7078545" y="1561307"/>
                  </a:cubicBezTo>
                  <a:cubicBezTo>
                    <a:pt x="7078545" y="1542456"/>
                    <a:pt x="7093826" y="1527175"/>
                    <a:pt x="7112677" y="1527175"/>
                  </a:cubicBezTo>
                  <a:close/>
                  <a:moveTo>
                    <a:pt x="7027745" y="1527175"/>
                  </a:moveTo>
                  <a:cubicBezTo>
                    <a:pt x="7047034" y="1527175"/>
                    <a:pt x="7062670" y="1542456"/>
                    <a:pt x="7062670" y="1561307"/>
                  </a:cubicBezTo>
                  <a:cubicBezTo>
                    <a:pt x="7062670" y="1580158"/>
                    <a:pt x="7047034" y="1595439"/>
                    <a:pt x="7027745" y="1595439"/>
                  </a:cubicBezTo>
                  <a:cubicBezTo>
                    <a:pt x="7008456" y="1595439"/>
                    <a:pt x="6992820" y="1580158"/>
                    <a:pt x="6992820" y="1561307"/>
                  </a:cubicBezTo>
                  <a:cubicBezTo>
                    <a:pt x="6992820" y="1542456"/>
                    <a:pt x="7008456" y="1527175"/>
                    <a:pt x="7027745" y="1527175"/>
                  </a:cubicBezTo>
                  <a:close/>
                  <a:moveTo>
                    <a:pt x="6947577" y="1527175"/>
                  </a:moveTo>
                  <a:cubicBezTo>
                    <a:pt x="6966428" y="1527175"/>
                    <a:pt x="6981709" y="1542456"/>
                    <a:pt x="6981709" y="1561307"/>
                  </a:cubicBezTo>
                  <a:cubicBezTo>
                    <a:pt x="6981709" y="1580158"/>
                    <a:pt x="6966428" y="1595439"/>
                    <a:pt x="6947577" y="1595439"/>
                  </a:cubicBezTo>
                  <a:cubicBezTo>
                    <a:pt x="6928726" y="1595439"/>
                    <a:pt x="6913445" y="1580158"/>
                    <a:pt x="6913445" y="1561307"/>
                  </a:cubicBezTo>
                  <a:cubicBezTo>
                    <a:pt x="6913445" y="1542456"/>
                    <a:pt x="6928726" y="1527175"/>
                    <a:pt x="6947577" y="1527175"/>
                  </a:cubicBezTo>
                  <a:close/>
                  <a:moveTo>
                    <a:pt x="6861852" y="1527175"/>
                  </a:moveTo>
                  <a:cubicBezTo>
                    <a:pt x="6880703" y="1527175"/>
                    <a:pt x="6895984" y="1542456"/>
                    <a:pt x="6895984" y="1561307"/>
                  </a:cubicBezTo>
                  <a:cubicBezTo>
                    <a:pt x="6895984" y="1580158"/>
                    <a:pt x="6880703" y="1595439"/>
                    <a:pt x="6861852" y="1595439"/>
                  </a:cubicBezTo>
                  <a:cubicBezTo>
                    <a:pt x="6843001" y="1595439"/>
                    <a:pt x="6827720" y="1580158"/>
                    <a:pt x="6827720" y="1561307"/>
                  </a:cubicBezTo>
                  <a:cubicBezTo>
                    <a:pt x="6827720" y="1542456"/>
                    <a:pt x="6843001" y="1527175"/>
                    <a:pt x="6861852" y="1527175"/>
                  </a:cubicBezTo>
                  <a:close/>
                  <a:moveTo>
                    <a:pt x="6776127" y="1527175"/>
                  </a:moveTo>
                  <a:cubicBezTo>
                    <a:pt x="6794978" y="1527175"/>
                    <a:pt x="6810259" y="1542456"/>
                    <a:pt x="6810259" y="1561307"/>
                  </a:cubicBezTo>
                  <a:cubicBezTo>
                    <a:pt x="6810259" y="1580158"/>
                    <a:pt x="6794978" y="1595439"/>
                    <a:pt x="6776127" y="1595439"/>
                  </a:cubicBezTo>
                  <a:cubicBezTo>
                    <a:pt x="6757276" y="1595439"/>
                    <a:pt x="6741995" y="1580158"/>
                    <a:pt x="6741995" y="1561307"/>
                  </a:cubicBezTo>
                  <a:cubicBezTo>
                    <a:pt x="6741995" y="1542456"/>
                    <a:pt x="6757276" y="1527175"/>
                    <a:pt x="6776127" y="1527175"/>
                  </a:cubicBezTo>
                  <a:close/>
                  <a:moveTo>
                    <a:pt x="6691195" y="1527175"/>
                  </a:moveTo>
                  <a:cubicBezTo>
                    <a:pt x="6710484" y="1527175"/>
                    <a:pt x="6726120" y="1542456"/>
                    <a:pt x="6726120" y="1561307"/>
                  </a:cubicBezTo>
                  <a:cubicBezTo>
                    <a:pt x="6726120" y="1580158"/>
                    <a:pt x="6710484" y="1595439"/>
                    <a:pt x="6691195" y="1595439"/>
                  </a:cubicBezTo>
                  <a:cubicBezTo>
                    <a:pt x="6671906" y="1595439"/>
                    <a:pt x="6656270" y="1580158"/>
                    <a:pt x="6656270" y="1561307"/>
                  </a:cubicBezTo>
                  <a:cubicBezTo>
                    <a:pt x="6656270" y="1542456"/>
                    <a:pt x="6671906" y="1527175"/>
                    <a:pt x="6691195" y="1527175"/>
                  </a:cubicBezTo>
                  <a:close/>
                  <a:moveTo>
                    <a:pt x="6607852" y="1527175"/>
                  </a:moveTo>
                  <a:cubicBezTo>
                    <a:pt x="6628456" y="1527175"/>
                    <a:pt x="6645159" y="1542456"/>
                    <a:pt x="6645159" y="1561307"/>
                  </a:cubicBezTo>
                  <a:cubicBezTo>
                    <a:pt x="6645159" y="1580158"/>
                    <a:pt x="6628456" y="1595439"/>
                    <a:pt x="6607852" y="1595439"/>
                  </a:cubicBezTo>
                  <a:cubicBezTo>
                    <a:pt x="6587248" y="1595439"/>
                    <a:pt x="6570545" y="1580158"/>
                    <a:pt x="6570545" y="1561307"/>
                  </a:cubicBezTo>
                  <a:cubicBezTo>
                    <a:pt x="6570545" y="1542456"/>
                    <a:pt x="6587248" y="1527175"/>
                    <a:pt x="6607852" y="1527175"/>
                  </a:cubicBezTo>
                  <a:close/>
                  <a:moveTo>
                    <a:pt x="6525302" y="1527175"/>
                  </a:moveTo>
                  <a:cubicBezTo>
                    <a:pt x="6544153" y="1527175"/>
                    <a:pt x="6559434" y="1542456"/>
                    <a:pt x="6559434" y="1561307"/>
                  </a:cubicBezTo>
                  <a:cubicBezTo>
                    <a:pt x="6559434" y="1580158"/>
                    <a:pt x="6544153" y="1595439"/>
                    <a:pt x="6525302" y="1595439"/>
                  </a:cubicBezTo>
                  <a:cubicBezTo>
                    <a:pt x="6506451" y="1595439"/>
                    <a:pt x="6491170" y="1580158"/>
                    <a:pt x="6491170" y="1561307"/>
                  </a:cubicBezTo>
                  <a:cubicBezTo>
                    <a:pt x="6491170" y="1542456"/>
                    <a:pt x="6506451" y="1527175"/>
                    <a:pt x="6525302" y="1527175"/>
                  </a:cubicBezTo>
                  <a:close/>
                  <a:moveTo>
                    <a:pt x="6439577" y="1527175"/>
                  </a:moveTo>
                  <a:cubicBezTo>
                    <a:pt x="6458428" y="1527175"/>
                    <a:pt x="6473709" y="1542456"/>
                    <a:pt x="6473709" y="1561307"/>
                  </a:cubicBezTo>
                  <a:cubicBezTo>
                    <a:pt x="6473709" y="1580158"/>
                    <a:pt x="6458428" y="1595439"/>
                    <a:pt x="6439577" y="1595439"/>
                  </a:cubicBezTo>
                  <a:cubicBezTo>
                    <a:pt x="6420726" y="1595439"/>
                    <a:pt x="6405445" y="1580158"/>
                    <a:pt x="6405445" y="1561307"/>
                  </a:cubicBezTo>
                  <a:cubicBezTo>
                    <a:pt x="6405445" y="1542456"/>
                    <a:pt x="6420726" y="1527175"/>
                    <a:pt x="6439577" y="1527175"/>
                  </a:cubicBezTo>
                  <a:close/>
                  <a:moveTo>
                    <a:pt x="6353852" y="1527175"/>
                  </a:moveTo>
                  <a:cubicBezTo>
                    <a:pt x="6372703" y="1527175"/>
                    <a:pt x="6387984" y="1542456"/>
                    <a:pt x="6387984" y="1561307"/>
                  </a:cubicBezTo>
                  <a:cubicBezTo>
                    <a:pt x="6387984" y="1580158"/>
                    <a:pt x="6372703" y="1595439"/>
                    <a:pt x="6353852" y="1595439"/>
                  </a:cubicBezTo>
                  <a:cubicBezTo>
                    <a:pt x="6335001" y="1595439"/>
                    <a:pt x="6319720" y="1580158"/>
                    <a:pt x="6319720" y="1561307"/>
                  </a:cubicBezTo>
                  <a:cubicBezTo>
                    <a:pt x="6319720" y="1542456"/>
                    <a:pt x="6335001" y="1527175"/>
                    <a:pt x="6353852" y="1527175"/>
                  </a:cubicBezTo>
                  <a:close/>
                  <a:moveTo>
                    <a:pt x="6268920" y="1527175"/>
                  </a:moveTo>
                  <a:cubicBezTo>
                    <a:pt x="6288209" y="1527175"/>
                    <a:pt x="6303845" y="1542456"/>
                    <a:pt x="6303845" y="1561307"/>
                  </a:cubicBezTo>
                  <a:cubicBezTo>
                    <a:pt x="6303845" y="1580158"/>
                    <a:pt x="6288209" y="1595439"/>
                    <a:pt x="6268920" y="1595439"/>
                  </a:cubicBezTo>
                  <a:cubicBezTo>
                    <a:pt x="6249631" y="1595439"/>
                    <a:pt x="6233995" y="1580158"/>
                    <a:pt x="6233995" y="1561307"/>
                  </a:cubicBezTo>
                  <a:cubicBezTo>
                    <a:pt x="6233995" y="1542456"/>
                    <a:pt x="6249631" y="1527175"/>
                    <a:pt x="6268920" y="1527175"/>
                  </a:cubicBezTo>
                  <a:close/>
                  <a:moveTo>
                    <a:pt x="6188752" y="1527175"/>
                  </a:moveTo>
                  <a:cubicBezTo>
                    <a:pt x="6207603" y="1527175"/>
                    <a:pt x="6222884" y="1542456"/>
                    <a:pt x="6222884" y="1561307"/>
                  </a:cubicBezTo>
                  <a:cubicBezTo>
                    <a:pt x="6222884" y="1580158"/>
                    <a:pt x="6207603" y="1595439"/>
                    <a:pt x="6188752" y="1595439"/>
                  </a:cubicBezTo>
                  <a:cubicBezTo>
                    <a:pt x="6169901" y="1595439"/>
                    <a:pt x="6154620" y="1580158"/>
                    <a:pt x="6154620" y="1561307"/>
                  </a:cubicBezTo>
                  <a:cubicBezTo>
                    <a:pt x="6154620" y="1542456"/>
                    <a:pt x="6169901" y="1527175"/>
                    <a:pt x="6188752" y="1527175"/>
                  </a:cubicBezTo>
                  <a:close/>
                  <a:moveTo>
                    <a:pt x="6103027" y="1527175"/>
                  </a:moveTo>
                  <a:cubicBezTo>
                    <a:pt x="6121878" y="1527175"/>
                    <a:pt x="6137159" y="1542456"/>
                    <a:pt x="6137159" y="1561307"/>
                  </a:cubicBezTo>
                  <a:cubicBezTo>
                    <a:pt x="6137159" y="1580158"/>
                    <a:pt x="6121878" y="1595439"/>
                    <a:pt x="6103027" y="1595439"/>
                  </a:cubicBezTo>
                  <a:cubicBezTo>
                    <a:pt x="6084176" y="1595439"/>
                    <a:pt x="6068895" y="1580158"/>
                    <a:pt x="6068895" y="1561307"/>
                  </a:cubicBezTo>
                  <a:cubicBezTo>
                    <a:pt x="6068895" y="1542456"/>
                    <a:pt x="6084176" y="1527175"/>
                    <a:pt x="6103027" y="1527175"/>
                  </a:cubicBezTo>
                  <a:close/>
                  <a:moveTo>
                    <a:pt x="6017302" y="1527175"/>
                  </a:moveTo>
                  <a:cubicBezTo>
                    <a:pt x="6036153" y="1527175"/>
                    <a:pt x="6051434" y="1542456"/>
                    <a:pt x="6051434" y="1561307"/>
                  </a:cubicBezTo>
                  <a:cubicBezTo>
                    <a:pt x="6051434" y="1580158"/>
                    <a:pt x="6036153" y="1595439"/>
                    <a:pt x="6017302" y="1595439"/>
                  </a:cubicBezTo>
                  <a:cubicBezTo>
                    <a:pt x="5998451" y="1595439"/>
                    <a:pt x="5983170" y="1580158"/>
                    <a:pt x="5983170" y="1561307"/>
                  </a:cubicBezTo>
                  <a:cubicBezTo>
                    <a:pt x="5983170" y="1542456"/>
                    <a:pt x="5998451" y="1527175"/>
                    <a:pt x="6017302" y="1527175"/>
                  </a:cubicBezTo>
                  <a:close/>
                  <a:moveTo>
                    <a:pt x="5932370" y="1527175"/>
                  </a:moveTo>
                  <a:cubicBezTo>
                    <a:pt x="5951659" y="1527175"/>
                    <a:pt x="5967295" y="1542456"/>
                    <a:pt x="5967295" y="1561307"/>
                  </a:cubicBezTo>
                  <a:cubicBezTo>
                    <a:pt x="5967295" y="1580158"/>
                    <a:pt x="5951659" y="1595439"/>
                    <a:pt x="5932370" y="1595439"/>
                  </a:cubicBezTo>
                  <a:cubicBezTo>
                    <a:pt x="5913081" y="1595439"/>
                    <a:pt x="5897445" y="1580158"/>
                    <a:pt x="5897445" y="1561307"/>
                  </a:cubicBezTo>
                  <a:cubicBezTo>
                    <a:pt x="5897445" y="1542456"/>
                    <a:pt x="5913081" y="1527175"/>
                    <a:pt x="5932370" y="1527175"/>
                  </a:cubicBezTo>
                  <a:close/>
                  <a:moveTo>
                    <a:pt x="5849821" y="1527175"/>
                  </a:moveTo>
                  <a:cubicBezTo>
                    <a:pt x="5869987" y="1527175"/>
                    <a:pt x="5886334" y="1542456"/>
                    <a:pt x="5886334" y="1561307"/>
                  </a:cubicBezTo>
                  <a:cubicBezTo>
                    <a:pt x="5886334" y="1580158"/>
                    <a:pt x="5869987" y="1595439"/>
                    <a:pt x="5849821" y="1595439"/>
                  </a:cubicBezTo>
                  <a:cubicBezTo>
                    <a:pt x="5829655" y="1595439"/>
                    <a:pt x="5813308" y="1580158"/>
                    <a:pt x="5813308" y="1561307"/>
                  </a:cubicBezTo>
                  <a:cubicBezTo>
                    <a:pt x="5813308" y="1542456"/>
                    <a:pt x="5829655" y="1527175"/>
                    <a:pt x="5849821" y="1527175"/>
                  </a:cubicBezTo>
                  <a:close/>
                  <a:moveTo>
                    <a:pt x="5766477" y="1527175"/>
                  </a:moveTo>
                  <a:cubicBezTo>
                    <a:pt x="5785328" y="1527175"/>
                    <a:pt x="5800609" y="1542456"/>
                    <a:pt x="5800609" y="1561307"/>
                  </a:cubicBezTo>
                  <a:cubicBezTo>
                    <a:pt x="5800609" y="1580158"/>
                    <a:pt x="5785328" y="1595439"/>
                    <a:pt x="5766477" y="1595439"/>
                  </a:cubicBezTo>
                  <a:cubicBezTo>
                    <a:pt x="5747626" y="1595439"/>
                    <a:pt x="5732345" y="1580158"/>
                    <a:pt x="5732345" y="1561307"/>
                  </a:cubicBezTo>
                  <a:cubicBezTo>
                    <a:pt x="5732345" y="1542456"/>
                    <a:pt x="5747626" y="1527175"/>
                    <a:pt x="5766477" y="1527175"/>
                  </a:cubicBezTo>
                  <a:close/>
                  <a:moveTo>
                    <a:pt x="5680752" y="1527175"/>
                  </a:moveTo>
                  <a:cubicBezTo>
                    <a:pt x="5699603" y="1527175"/>
                    <a:pt x="5714884" y="1542456"/>
                    <a:pt x="5714884" y="1561307"/>
                  </a:cubicBezTo>
                  <a:cubicBezTo>
                    <a:pt x="5714884" y="1580158"/>
                    <a:pt x="5699603" y="1595439"/>
                    <a:pt x="5680752" y="1595439"/>
                  </a:cubicBezTo>
                  <a:cubicBezTo>
                    <a:pt x="5661901" y="1595439"/>
                    <a:pt x="5646620" y="1580158"/>
                    <a:pt x="5646620" y="1561307"/>
                  </a:cubicBezTo>
                  <a:cubicBezTo>
                    <a:pt x="5646620" y="1542456"/>
                    <a:pt x="5661901" y="1527175"/>
                    <a:pt x="5680752" y="1527175"/>
                  </a:cubicBezTo>
                  <a:close/>
                  <a:moveTo>
                    <a:pt x="5595820" y="1527175"/>
                  </a:moveTo>
                  <a:cubicBezTo>
                    <a:pt x="5615109" y="1527175"/>
                    <a:pt x="5630745" y="1542456"/>
                    <a:pt x="5630745" y="1561307"/>
                  </a:cubicBezTo>
                  <a:cubicBezTo>
                    <a:pt x="5630745" y="1580158"/>
                    <a:pt x="5615109" y="1595439"/>
                    <a:pt x="5595820" y="1595439"/>
                  </a:cubicBezTo>
                  <a:cubicBezTo>
                    <a:pt x="5576531" y="1595439"/>
                    <a:pt x="5560895" y="1580158"/>
                    <a:pt x="5560895" y="1561307"/>
                  </a:cubicBezTo>
                  <a:cubicBezTo>
                    <a:pt x="5560895" y="1542456"/>
                    <a:pt x="5576531" y="1527175"/>
                    <a:pt x="5595820" y="1527175"/>
                  </a:cubicBezTo>
                  <a:close/>
                  <a:moveTo>
                    <a:pt x="5258477" y="1527175"/>
                  </a:moveTo>
                  <a:cubicBezTo>
                    <a:pt x="5277328" y="1527175"/>
                    <a:pt x="5292609" y="1542456"/>
                    <a:pt x="5292609" y="1561307"/>
                  </a:cubicBezTo>
                  <a:cubicBezTo>
                    <a:pt x="5292609" y="1580158"/>
                    <a:pt x="5277328" y="1595439"/>
                    <a:pt x="5258477" y="1595439"/>
                  </a:cubicBezTo>
                  <a:cubicBezTo>
                    <a:pt x="5239626" y="1595439"/>
                    <a:pt x="5224345" y="1580158"/>
                    <a:pt x="5224345" y="1561307"/>
                  </a:cubicBezTo>
                  <a:cubicBezTo>
                    <a:pt x="5224345" y="1542456"/>
                    <a:pt x="5239626" y="1527175"/>
                    <a:pt x="5258477" y="1527175"/>
                  </a:cubicBezTo>
                  <a:close/>
                  <a:moveTo>
                    <a:pt x="4921927" y="1527175"/>
                  </a:moveTo>
                  <a:cubicBezTo>
                    <a:pt x="4940778" y="1527175"/>
                    <a:pt x="4956059" y="1542456"/>
                    <a:pt x="4956059" y="1561307"/>
                  </a:cubicBezTo>
                  <a:cubicBezTo>
                    <a:pt x="4956059" y="1580158"/>
                    <a:pt x="4940778" y="1595439"/>
                    <a:pt x="4921927" y="1595439"/>
                  </a:cubicBezTo>
                  <a:cubicBezTo>
                    <a:pt x="4903076" y="1595439"/>
                    <a:pt x="4887795" y="1580158"/>
                    <a:pt x="4887795" y="1561307"/>
                  </a:cubicBezTo>
                  <a:cubicBezTo>
                    <a:pt x="4887795" y="1542456"/>
                    <a:pt x="4903076" y="1527175"/>
                    <a:pt x="4921927" y="1527175"/>
                  </a:cubicBezTo>
                  <a:close/>
                  <a:moveTo>
                    <a:pt x="3320139" y="1527175"/>
                  </a:moveTo>
                  <a:cubicBezTo>
                    <a:pt x="3338990" y="1527175"/>
                    <a:pt x="3354271" y="1542456"/>
                    <a:pt x="3354271" y="1561307"/>
                  </a:cubicBezTo>
                  <a:cubicBezTo>
                    <a:pt x="3354271" y="1580158"/>
                    <a:pt x="3338990" y="1595439"/>
                    <a:pt x="3320139" y="1595439"/>
                  </a:cubicBezTo>
                  <a:cubicBezTo>
                    <a:pt x="3301288" y="1595439"/>
                    <a:pt x="3286007" y="1580158"/>
                    <a:pt x="3286007" y="1561307"/>
                  </a:cubicBezTo>
                  <a:cubicBezTo>
                    <a:pt x="3286007" y="1542456"/>
                    <a:pt x="3301288" y="1527175"/>
                    <a:pt x="3320139" y="1527175"/>
                  </a:cubicBezTo>
                  <a:close/>
                  <a:moveTo>
                    <a:pt x="3234414" y="1527175"/>
                  </a:moveTo>
                  <a:cubicBezTo>
                    <a:pt x="3253265" y="1527175"/>
                    <a:pt x="3268546" y="1542456"/>
                    <a:pt x="3268546" y="1561307"/>
                  </a:cubicBezTo>
                  <a:cubicBezTo>
                    <a:pt x="3268546" y="1580158"/>
                    <a:pt x="3253265" y="1595439"/>
                    <a:pt x="3234414" y="1595439"/>
                  </a:cubicBezTo>
                  <a:cubicBezTo>
                    <a:pt x="3215563" y="1595439"/>
                    <a:pt x="3200282" y="1580158"/>
                    <a:pt x="3200282" y="1561307"/>
                  </a:cubicBezTo>
                  <a:cubicBezTo>
                    <a:pt x="3200282" y="1542456"/>
                    <a:pt x="3215563" y="1527175"/>
                    <a:pt x="3234414" y="1527175"/>
                  </a:cubicBezTo>
                  <a:close/>
                  <a:moveTo>
                    <a:pt x="3153452" y="1527175"/>
                  </a:moveTo>
                  <a:cubicBezTo>
                    <a:pt x="3172303" y="1527175"/>
                    <a:pt x="3187584" y="1542456"/>
                    <a:pt x="3187584" y="1561307"/>
                  </a:cubicBezTo>
                  <a:cubicBezTo>
                    <a:pt x="3187584" y="1580158"/>
                    <a:pt x="3172303" y="1595439"/>
                    <a:pt x="3153452" y="1595439"/>
                  </a:cubicBezTo>
                  <a:cubicBezTo>
                    <a:pt x="3134601" y="1595439"/>
                    <a:pt x="3119320" y="1580158"/>
                    <a:pt x="3119320" y="1561307"/>
                  </a:cubicBezTo>
                  <a:cubicBezTo>
                    <a:pt x="3119320" y="1542456"/>
                    <a:pt x="3134601" y="1527175"/>
                    <a:pt x="3153452" y="1527175"/>
                  </a:cubicBezTo>
                  <a:close/>
                  <a:moveTo>
                    <a:pt x="3068520" y="1527175"/>
                  </a:moveTo>
                  <a:cubicBezTo>
                    <a:pt x="3087809" y="1527175"/>
                    <a:pt x="3103445" y="1542456"/>
                    <a:pt x="3103445" y="1561307"/>
                  </a:cubicBezTo>
                  <a:cubicBezTo>
                    <a:pt x="3103445" y="1580158"/>
                    <a:pt x="3087809" y="1595439"/>
                    <a:pt x="3068520" y="1595439"/>
                  </a:cubicBezTo>
                  <a:cubicBezTo>
                    <a:pt x="3049231" y="1595439"/>
                    <a:pt x="3033595" y="1580158"/>
                    <a:pt x="3033595" y="1561307"/>
                  </a:cubicBezTo>
                  <a:cubicBezTo>
                    <a:pt x="3033595" y="1542456"/>
                    <a:pt x="3049231" y="1527175"/>
                    <a:pt x="3068520" y="1527175"/>
                  </a:cubicBezTo>
                  <a:close/>
                  <a:moveTo>
                    <a:pt x="2983589" y="1527175"/>
                  </a:moveTo>
                  <a:cubicBezTo>
                    <a:pt x="3002440" y="1527175"/>
                    <a:pt x="3017721" y="1542456"/>
                    <a:pt x="3017721" y="1561307"/>
                  </a:cubicBezTo>
                  <a:cubicBezTo>
                    <a:pt x="3017721" y="1580158"/>
                    <a:pt x="3002440" y="1595439"/>
                    <a:pt x="2983589" y="1595439"/>
                  </a:cubicBezTo>
                  <a:cubicBezTo>
                    <a:pt x="2964738" y="1595439"/>
                    <a:pt x="2949457" y="1580158"/>
                    <a:pt x="2949457" y="1561307"/>
                  </a:cubicBezTo>
                  <a:cubicBezTo>
                    <a:pt x="2949457" y="1542456"/>
                    <a:pt x="2964738" y="1527175"/>
                    <a:pt x="2983589" y="1527175"/>
                  </a:cubicBezTo>
                  <a:close/>
                  <a:moveTo>
                    <a:pt x="2897864" y="1527175"/>
                  </a:moveTo>
                  <a:cubicBezTo>
                    <a:pt x="2916715" y="1527175"/>
                    <a:pt x="2931996" y="1542456"/>
                    <a:pt x="2931996" y="1561307"/>
                  </a:cubicBezTo>
                  <a:cubicBezTo>
                    <a:pt x="2931996" y="1580158"/>
                    <a:pt x="2916715" y="1595439"/>
                    <a:pt x="2897864" y="1595439"/>
                  </a:cubicBezTo>
                  <a:cubicBezTo>
                    <a:pt x="2879013" y="1595439"/>
                    <a:pt x="2863732" y="1580158"/>
                    <a:pt x="2863732" y="1561307"/>
                  </a:cubicBezTo>
                  <a:cubicBezTo>
                    <a:pt x="2863732" y="1542456"/>
                    <a:pt x="2879013" y="1527175"/>
                    <a:pt x="2897864" y="1527175"/>
                  </a:cubicBezTo>
                  <a:close/>
                  <a:moveTo>
                    <a:pt x="2814520" y="1527175"/>
                  </a:moveTo>
                  <a:cubicBezTo>
                    <a:pt x="2834686" y="1527175"/>
                    <a:pt x="2851033" y="1542456"/>
                    <a:pt x="2851033" y="1561307"/>
                  </a:cubicBezTo>
                  <a:cubicBezTo>
                    <a:pt x="2851033" y="1580158"/>
                    <a:pt x="2834686" y="1595439"/>
                    <a:pt x="2814520" y="1595439"/>
                  </a:cubicBezTo>
                  <a:cubicBezTo>
                    <a:pt x="2794354" y="1595439"/>
                    <a:pt x="2778007" y="1580158"/>
                    <a:pt x="2778007" y="1561307"/>
                  </a:cubicBezTo>
                  <a:cubicBezTo>
                    <a:pt x="2778007" y="1542456"/>
                    <a:pt x="2794354" y="1527175"/>
                    <a:pt x="2814520" y="1527175"/>
                  </a:cubicBezTo>
                  <a:close/>
                  <a:moveTo>
                    <a:pt x="2646410" y="1527175"/>
                  </a:moveTo>
                  <a:cubicBezTo>
                    <a:pt x="2665696" y="1527175"/>
                    <a:pt x="2681334" y="1542456"/>
                    <a:pt x="2681334" y="1561307"/>
                  </a:cubicBezTo>
                  <a:cubicBezTo>
                    <a:pt x="2681334" y="1580158"/>
                    <a:pt x="2665696" y="1595439"/>
                    <a:pt x="2646410" y="1595439"/>
                  </a:cubicBezTo>
                  <a:cubicBezTo>
                    <a:pt x="2627123" y="1595439"/>
                    <a:pt x="2611483" y="1580158"/>
                    <a:pt x="2611483" y="1561307"/>
                  </a:cubicBezTo>
                  <a:cubicBezTo>
                    <a:pt x="2611483" y="1542456"/>
                    <a:pt x="2627123" y="1527175"/>
                    <a:pt x="2646410" y="1527175"/>
                  </a:cubicBezTo>
                  <a:close/>
                  <a:moveTo>
                    <a:pt x="2561479" y="1527175"/>
                  </a:moveTo>
                  <a:cubicBezTo>
                    <a:pt x="2580330" y="1527175"/>
                    <a:pt x="2595609" y="1542456"/>
                    <a:pt x="2595609" y="1561307"/>
                  </a:cubicBezTo>
                  <a:cubicBezTo>
                    <a:pt x="2595609" y="1580158"/>
                    <a:pt x="2580330" y="1595439"/>
                    <a:pt x="2561479" y="1595439"/>
                  </a:cubicBezTo>
                  <a:cubicBezTo>
                    <a:pt x="2542628" y="1595439"/>
                    <a:pt x="2527342" y="1580158"/>
                    <a:pt x="2527342" y="1561307"/>
                  </a:cubicBezTo>
                  <a:cubicBezTo>
                    <a:pt x="2527342" y="1542456"/>
                    <a:pt x="2542628" y="1527175"/>
                    <a:pt x="2561479" y="1527175"/>
                  </a:cubicBezTo>
                  <a:close/>
                  <a:moveTo>
                    <a:pt x="2475754" y="1527175"/>
                  </a:moveTo>
                  <a:cubicBezTo>
                    <a:pt x="2494608" y="1527175"/>
                    <a:pt x="2509883" y="1542456"/>
                    <a:pt x="2509883" y="1561307"/>
                  </a:cubicBezTo>
                  <a:cubicBezTo>
                    <a:pt x="2509883" y="1580158"/>
                    <a:pt x="2494608" y="1595439"/>
                    <a:pt x="2475754" y="1595439"/>
                  </a:cubicBezTo>
                  <a:cubicBezTo>
                    <a:pt x="2456900" y="1595439"/>
                    <a:pt x="2441619" y="1580158"/>
                    <a:pt x="2441619" y="1561307"/>
                  </a:cubicBezTo>
                  <a:cubicBezTo>
                    <a:pt x="2441619" y="1542456"/>
                    <a:pt x="2456900" y="1527175"/>
                    <a:pt x="2475754" y="1527175"/>
                  </a:cubicBezTo>
                  <a:close/>
                  <a:moveTo>
                    <a:pt x="2394790" y="1527175"/>
                  </a:moveTo>
                  <a:cubicBezTo>
                    <a:pt x="2413638" y="1527175"/>
                    <a:pt x="2428919" y="1542456"/>
                    <a:pt x="2428919" y="1561307"/>
                  </a:cubicBezTo>
                  <a:cubicBezTo>
                    <a:pt x="2428919" y="1580158"/>
                    <a:pt x="2413638" y="1595439"/>
                    <a:pt x="2394790" y="1595439"/>
                  </a:cubicBezTo>
                  <a:cubicBezTo>
                    <a:pt x="2375933" y="1595439"/>
                    <a:pt x="2360656" y="1580158"/>
                    <a:pt x="2360656" y="1561307"/>
                  </a:cubicBezTo>
                  <a:cubicBezTo>
                    <a:pt x="2360656" y="1542456"/>
                    <a:pt x="2375933" y="1527175"/>
                    <a:pt x="2394790" y="1527175"/>
                  </a:cubicBezTo>
                  <a:close/>
                  <a:moveTo>
                    <a:pt x="2309856" y="1527175"/>
                  </a:moveTo>
                  <a:cubicBezTo>
                    <a:pt x="2329141" y="1527175"/>
                    <a:pt x="2344781" y="1542456"/>
                    <a:pt x="2344781" y="1561307"/>
                  </a:cubicBezTo>
                  <a:cubicBezTo>
                    <a:pt x="2344781" y="1580158"/>
                    <a:pt x="2329141" y="1595439"/>
                    <a:pt x="2309856" y="1595439"/>
                  </a:cubicBezTo>
                  <a:cubicBezTo>
                    <a:pt x="2290564" y="1595439"/>
                    <a:pt x="2274920" y="1580158"/>
                    <a:pt x="2274920" y="1561307"/>
                  </a:cubicBezTo>
                  <a:cubicBezTo>
                    <a:pt x="2274920" y="1542456"/>
                    <a:pt x="2290564" y="1527175"/>
                    <a:pt x="2309856" y="1527175"/>
                  </a:cubicBezTo>
                  <a:close/>
                  <a:moveTo>
                    <a:pt x="2139049" y="1527175"/>
                  </a:moveTo>
                  <a:cubicBezTo>
                    <a:pt x="2157900" y="1527175"/>
                    <a:pt x="2173182" y="1542456"/>
                    <a:pt x="2173182" y="1561307"/>
                  </a:cubicBezTo>
                  <a:cubicBezTo>
                    <a:pt x="2173182" y="1580158"/>
                    <a:pt x="2157900" y="1595439"/>
                    <a:pt x="2139049" y="1595439"/>
                  </a:cubicBezTo>
                  <a:cubicBezTo>
                    <a:pt x="2120198" y="1595439"/>
                    <a:pt x="2104917" y="1580158"/>
                    <a:pt x="2104917" y="1561307"/>
                  </a:cubicBezTo>
                  <a:cubicBezTo>
                    <a:pt x="2104917" y="1542456"/>
                    <a:pt x="2120198" y="1527175"/>
                    <a:pt x="2139049" y="1527175"/>
                  </a:cubicBezTo>
                  <a:close/>
                  <a:moveTo>
                    <a:pt x="2055706" y="1527175"/>
                  </a:moveTo>
                  <a:cubicBezTo>
                    <a:pt x="2075871" y="1527175"/>
                    <a:pt x="2092218" y="1542456"/>
                    <a:pt x="2092218" y="1561307"/>
                  </a:cubicBezTo>
                  <a:cubicBezTo>
                    <a:pt x="2092218" y="1580158"/>
                    <a:pt x="2075871" y="1595439"/>
                    <a:pt x="2055706" y="1595439"/>
                  </a:cubicBezTo>
                  <a:cubicBezTo>
                    <a:pt x="2035539" y="1595439"/>
                    <a:pt x="2019193" y="1580158"/>
                    <a:pt x="2019193" y="1561307"/>
                  </a:cubicBezTo>
                  <a:cubicBezTo>
                    <a:pt x="2019193" y="1542456"/>
                    <a:pt x="2035539" y="1527175"/>
                    <a:pt x="2055706" y="1527175"/>
                  </a:cubicBezTo>
                  <a:close/>
                  <a:moveTo>
                    <a:pt x="1973156" y="1527175"/>
                  </a:moveTo>
                  <a:cubicBezTo>
                    <a:pt x="1992445" y="1527175"/>
                    <a:pt x="2008081" y="1542456"/>
                    <a:pt x="2008081" y="1561307"/>
                  </a:cubicBezTo>
                  <a:cubicBezTo>
                    <a:pt x="2008081" y="1580158"/>
                    <a:pt x="1992445" y="1595439"/>
                    <a:pt x="1973156" y="1595439"/>
                  </a:cubicBezTo>
                  <a:cubicBezTo>
                    <a:pt x="1953868" y="1595439"/>
                    <a:pt x="1938231" y="1580158"/>
                    <a:pt x="1938231" y="1561307"/>
                  </a:cubicBezTo>
                  <a:cubicBezTo>
                    <a:pt x="1938231" y="1542456"/>
                    <a:pt x="1953868" y="1527175"/>
                    <a:pt x="1973156" y="1527175"/>
                  </a:cubicBezTo>
                  <a:close/>
                  <a:moveTo>
                    <a:pt x="1888226" y="1527175"/>
                  </a:moveTo>
                  <a:cubicBezTo>
                    <a:pt x="1907077" y="1527175"/>
                    <a:pt x="1922358" y="1542456"/>
                    <a:pt x="1922358" y="1561307"/>
                  </a:cubicBezTo>
                  <a:cubicBezTo>
                    <a:pt x="1922358" y="1580158"/>
                    <a:pt x="1907077" y="1595439"/>
                    <a:pt x="1888226" y="1595439"/>
                  </a:cubicBezTo>
                  <a:cubicBezTo>
                    <a:pt x="1869375" y="1595439"/>
                    <a:pt x="1854094" y="1580158"/>
                    <a:pt x="1854094" y="1561307"/>
                  </a:cubicBezTo>
                  <a:cubicBezTo>
                    <a:pt x="1854094" y="1542456"/>
                    <a:pt x="1869375" y="1527175"/>
                    <a:pt x="1888226" y="1527175"/>
                  </a:cubicBezTo>
                  <a:close/>
                  <a:moveTo>
                    <a:pt x="1802501" y="1527175"/>
                  </a:moveTo>
                  <a:cubicBezTo>
                    <a:pt x="1821352" y="1527175"/>
                    <a:pt x="1836634" y="1542456"/>
                    <a:pt x="1836634" y="1561307"/>
                  </a:cubicBezTo>
                  <a:cubicBezTo>
                    <a:pt x="1836634" y="1580158"/>
                    <a:pt x="1821352" y="1595439"/>
                    <a:pt x="1802501" y="1595439"/>
                  </a:cubicBezTo>
                  <a:cubicBezTo>
                    <a:pt x="1783651" y="1595439"/>
                    <a:pt x="1768370" y="1580158"/>
                    <a:pt x="1768370" y="1561307"/>
                  </a:cubicBezTo>
                  <a:cubicBezTo>
                    <a:pt x="1768370" y="1542456"/>
                    <a:pt x="1783651" y="1527175"/>
                    <a:pt x="1802501" y="1527175"/>
                  </a:cubicBezTo>
                  <a:close/>
                  <a:moveTo>
                    <a:pt x="1719157" y="1527175"/>
                  </a:moveTo>
                  <a:cubicBezTo>
                    <a:pt x="1739324" y="1527175"/>
                    <a:pt x="1755671" y="1542456"/>
                    <a:pt x="1755671" y="1561307"/>
                  </a:cubicBezTo>
                  <a:cubicBezTo>
                    <a:pt x="1755671" y="1580158"/>
                    <a:pt x="1739324" y="1595439"/>
                    <a:pt x="1719157" y="1595439"/>
                  </a:cubicBezTo>
                  <a:cubicBezTo>
                    <a:pt x="1698992" y="1595439"/>
                    <a:pt x="1682645" y="1580158"/>
                    <a:pt x="1682645" y="1561307"/>
                  </a:cubicBezTo>
                  <a:cubicBezTo>
                    <a:pt x="1682645" y="1542456"/>
                    <a:pt x="1698992" y="1527175"/>
                    <a:pt x="1719157" y="1527175"/>
                  </a:cubicBezTo>
                  <a:close/>
                  <a:moveTo>
                    <a:pt x="1636608" y="1527175"/>
                  </a:moveTo>
                  <a:cubicBezTo>
                    <a:pt x="1655897" y="1527175"/>
                    <a:pt x="1671533" y="1542456"/>
                    <a:pt x="1671533" y="1561307"/>
                  </a:cubicBezTo>
                  <a:cubicBezTo>
                    <a:pt x="1671533" y="1580158"/>
                    <a:pt x="1655897" y="1595439"/>
                    <a:pt x="1636608" y="1595439"/>
                  </a:cubicBezTo>
                  <a:cubicBezTo>
                    <a:pt x="1617319" y="1595439"/>
                    <a:pt x="1601683" y="1580158"/>
                    <a:pt x="1601683" y="1561307"/>
                  </a:cubicBezTo>
                  <a:cubicBezTo>
                    <a:pt x="1601683" y="1542456"/>
                    <a:pt x="1617319" y="1527175"/>
                    <a:pt x="1636608" y="1527175"/>
                  </a:cubicBezTo>
                  <a:close/>
                  <a:moveTo>
                    <a:pt x="1551677" y="1527175"/>
                  </a:moveTo>
                  <a:cubicBezTo>
                    <a:pt x="1570528" y="1527175"/>
                    <a:pt x="1585810" y="1542456"/>
                    <a:pt x="1585810" y="1561307"/>
                  </a:cubicBezTo>
                  <a:cubicBezTo>
                    <a:pt x="1585810" y="1580158"/>
                    <a:pt x="1570528" y="1595439"/>
                    <a:pt x="1551677" y="1595439"/>
                  </a:cubicBezTo>
                  <a:cubicBezTo>
                    <a:pt x="1532826" y="1595439"/>
                    <a:pt x="1517545" y="1580158"/>
                    <a:pt x="1517545" y="1561307"/>
                  </a:cubicBezTo>
                  <a:cubicBezTo>
                    <a:pt x="1517545" y="1542456"/>
                    <a:pt x="1532826" y="1527175"/>
                    <a:pt x="1551677" y="1527175"/>
                  </a:cubicBezTo>
                  <a:close/>
                  <a:moveTo>
                    <a:pt x="1466114" y="1527175"/>
                  </a:moveTo>
                  <a:cubicBezTo>
                    <a:pt x="1484965" y="1527175"/>
                    <a:pt x="1500247" y="1542456"/>
                    <a:pt x="1500247" y="1561307"/>
                  </a:cubicBezTo>
                  <a:cubicBezTo>
                    <a:pt x="1500247" y="1580158"/>
                    <a:pt x="1484965" y="1595439"/>
                    <a:pt x="1466114" y="1595439"/>
                  </a:cubicBezTo>
                  <a:cubicBezTo>
                    <a:pt x="1447265" y="1595439"/>
                    <a:pt x="1431983" y="1580158"/>
                    <a:pt x="1431983" y="1561307"/>
                  </a:cubicBezTo>
                  <a:cubicBezTo>
                    <a:pt x="1431983" y="1542456"/>
                    <a:pt x="1447265" y="1527175"/>
                    <a:pt x="1466114" y="1527175"/>
                  </a:cubicBezTo>
                  <a:close/>
                  <a:moveTo>
                    <a:pt x="9138327" y="1441450"/>
                  </a:moveTo>
                  <a:cubicBezTo>
                    <a:pt x="9157178" y="1441450"/>
                    <a:pt x="9172459" y="1456731"/>
                    <a:pt x="9172459" y="1475582"/>
                  </a:cubicBezTo>
                  <a:cubicBezTo>
                    <a:pt x="9172459" y="1494433"/>
                    <a:pt x="9157178" y="1509714"/>
                    <a:pt x="9138327" y="1509714"/>
                  </a:cubicBezTo>
                  <a:cubicBezTo>
                    <a:pt x="9119476" y="1509714"/>
                    <a:pt x="9104195" y="1494433"/>
                    <a:pt x="9104195" y="1475582"/>
                  </a:cubicBezTo>
                  <a:cubicBezTo>
                    <a:pt x="9104195" y="1456731"/>
                    <a:pt x="9119476" y="1441450"/>
                    <a:pt x="9138327" y="1441450"/>
                  </a:cubicBezTo>
                  <a:close/>
                  <a:moveTo>
                    <a:pt x="8966877" y="1441450"/>
                  </a:moveTo>
                  <a:cubicBezTo>
                    <a:pt x="8985728" y="1441450"/>
                    <a:pt x="9001009" y="1456731"/>
                    <a:pt x="9001009" y="1475582"/>
                  </a:cubicBezTo>
                  <a:cubicBezTo>
                    <a:pt x="9001009" y="1494433"/>
                    <a:pt x="8985728" y="1509714"/>
                    <a:pt x="8966877" y="1509714"/>
                  </a:cubicBezTo>
                  <a:cubicBezTo>
                    <a:pt x="8948026" y="1509714"/>
                    <a:pt x="8932745" y="1494433"/>
                    <a:pt x="8932745" y="1475582"/>
                  </a:cubicBezTo>
                  <a:cubicBezTo>
                    <a:pt x="8932745" y="1456731"/>
                    <a:pt x="8948026" y="1441450"/>
                    <a:pt x="8966877" y="1441450"/>
                  </a:cubicBezTo>
                  <a:close/>
                  <a:moveTo>
                    <a:pt x="8884327" y="1441450"/>
                  </a:moveTo>
                  <a:cubicBezTo>
                    <a:pt x="8904931" y="1441450"/>
                    <a:pt x="8921634" y="1456731"/>
                    <a:pt x="8921634" y="1475582"/>
                  </a:cubicBezTo>
                  <a:cubicBezTo>
                    <a:pt x="8921634" y="1494433"/>
                    <a:pt x="8904931" y="1509714"/>
                    <a:pt x="8884327" y="1509714"/>
                  </a:cubicBezTo>
                  <a:cubicBezTo>
                    <a:pt x="8863723" y="1509714"/>
                    <a:pt x="8847020" y="1494433"/>
                    <a:pt x="8847020" y="1475582"/>
                  </a:cubicBezTo>
                  <a:cubicBezTo>
                    <a:pt x="8847020" y="1456731"/>
                    <a:pt x="8863723" y="1441450"/>
                    <a:pt x="8884327" y="1441450"/>
                  </a:cubicBezTo>
                  <a:close/>
                  <a:moveTo>
                    <a:pt x="8801777" y="1441450"/>
                  </a:moveTo>
                  <a:cubicBezTo>
                    <a:pt x="8820628" y="1441450"/>
                    <a:pt x="8835909" y="1456731"/>
                    <a:pt x="8835909" y="1475582"/>
                  </a:cubicBezTo>
                  <a:cubicBezTo>
                    <a:pt x="8835909" y="1494433"/>
                    <a:pt x="8820628" y="1509714"/>
                    <a:pt x="8801777" y="1509714"/>
                  </a:cubicBezTo>
                  <a:cubicBezTo>
                    <a:pt x="8782926" y="1509714"/>
                    <a:pt x="8767645" y="1494433"/>
                    <a:pt x="8767645" y="1475582"/>
                  </a:cubicBezTo>
                  <a:cubicBezTo>
                    <a:pt x="8767645" y="1456731"/>
                    <a:pt x="8782926" y="1441450"/>
                    <a:pt x="8801777" y="1441450"/>
                  </a:cubicBezTo>
                  <a:close/>
                  <a:moveTo>
                    <a:pt x="8716052" y="1441450"/>
                  </a:moveTo>
                  <a:cubicBezTo>
                    <a:pt x="8734903" y="1441450"/>
                    <a:pt x="8750184" y="1456731"/>
                    <a:pt x="8750184" y="1475582"/>
                  </a:cubicBezTo>
                  <a:cubicBezTo>
                    <a:pt x="8750184" y="1494433"/>
                    <a:pt x="8734903" y="1509714"/>
                    <a:pt x="8716052" y="1509714"/>
                  </a:cubicBezTo>
                  <a:cubicBezTo>
                    <a:pt x="8697201" y="1509714"/>
                    <a:pt x="8681920" y="1494433"/>
                    <a:pt x="8681920" y="1475582"/>
                  </a:cubicBezTo>
                  <a:cubicBezTo>
                    <a:pt x="8681920" y="1456731"/>
                    <a:pt x="8697201" y="1441450"/>
                    <a:pt x="8716052" y="1441450"/>
                  </a:cubicBezTo>
                  <a:close/>
                  <a:moveTo>
                    <a:pt x="8630327" y="1441450"/>
                  </a:moveTo>
                  <a:cubicBezTo>
                    <a:pt x="8649178" y="1441450"/>
                    <a:pt x="8664459" y="1456731"/>
                    <a:pt x="8664459" y="1475582"/>
                  </a:cubicBezTo>
                  <a:cubicBezTo>
                    <a:pt x="8664459" y="1494433"/>
                    <a:pt x="8649178" y="1509714"/>
                    <a:pt x="8630327" y="1509714"/>
                  </a:cubicBezTo>
                  <a:cubicBezTo>
                    <a:pt x="8611476" y="1509714"/>
                    <a:pt x="8596195" y="1494433"/>
                    <a:pt x="8596195" y="1475582"/>
                  </a:cubicBezTo>
                  <a:cubicBezTo>
                    <a:pt x="8596195" y="1456731"/>
                    <a:pt x="8611476" y="1441450"/>
                    <a:pt x="8630327" y="1441450"/>
                  </a:cubicBezTo>
                  <a:close/>
                  <a:moveTo>
                    <a:pt x="8544602" y="1441450"/>
                  </a:moveTo>
                  <a:cubicBezTo>
                    <a:pt x="8563453" y="1441450"/>
                    <a:pt x="8578734" y="1456731"/>
                    <a:pt x="8578734" y="1475582"/>
                  </a:cubicBezTo>
                  <a:cubicBezTo>
                    <a:pt x="8578734" y="1494433"/>
                    <a:pt x="8563453" y="1509714"/>
                    <a:pt x="8544602" y="1509714"/>
                  </a:cubicBezTo>
                  <a:cubicBezTo>
                    <a:pt x="8525751" y="1509714"/>
                    <a:pt x="8510470" y="1494433"/>
                    <a:pt x="8510470" y="1475582"/>
                  </a:cubicBezTo>
                  <a:cubicBezTo>
                    <a:pt x="8510470" y="1456731"/>
                    <a:pt x="8525751" y="1441450"/>
                    <a:pt x="8544602" y="1441450"/>
                  </a:cubicBezTo>
                  <a:close/>
                  <a:moveTo>
                    <a:pt x="8465227" y="1441450"/>
                  </a:moveTo>
                  <a:cubicBezTo>
                    <a:pt x="8484078" y="1441450"/>
                    <a:pt x="8499359" y="1456731"/>
                    <a:pt x="8499359" y="1475582"/>
                  </a:cubicBezTo>
                  <a:cubicBezTo>
                    <a:pt x="8499359" y="1494433"/>
                    <a:pt x="8484078" y="1509714"/>
                    <a:pt x="8465227" y="1509714"/>
                  </a:cubicBezTo>
                  <a:cubicBezTo>
                    <a:pt x="8446376" y="1509714"/>
                    <a:pt x="8431095" y="1494433"/>
                    <a:pt x="8431095" y="1475582"/>
                  </a:cubicBezTo>
                  <a:cubicBezTo>
                    <a:pt x="8431095" y="1456731"/>
                    <a:pt x="8446376" y="1441450"/>
                    <a:pt x="8465227" y="1441450"/>
                  </a:cubicBezTo>
                  <a:close/>
                  <a:moveTo>
                    <a:pt x="8379502" y="1441450"/>
                  </a:moveTo>
                  <a:cubicBezTo>
                    <a:pt x="8398353" y="1441450"/>
                    <a:pt x="8413634" y="1456731"/>
                    <a:pt x="8413634" y="1475582"/>
                  </a:cubicBezTo>
                  <a:cubicBezTo>
                    <a:pt x="8413634" y="1494433"/>
                    <a:pt x="8398353" y="1509714"/>
                    <a:pt x="8379502" y="1509714"/>
                  </a:cubicBezTo>
                  <a:cubicBezTo>
                    <a:pt x="8360651" y="1509714"/>
                    <a:pt x="8345370" y="1494433"/>
                    <a:pt x="8345370" y="1475582"/>
                  </a:cubicBezTo>
                  <a:cubicBezTo>
                    <a:pt x="8345370" y="1456731"/>
                    <a:pt x="8360651" y="1441450"/>
                    <a:pt x="8379502" y="1441450"/>
                  </a:cubicBezTo>
                  <a:close/>
                  <a:moveTo>
                    <a:pt x="8293777" y="1441450"/>
                  </a:moveTo>
                  <a:cubicBezTo>
                    <a:pt x="8312628" y="1441450"/>
                    <a:pt x="8327909" y="1456731"/>
                    <a:pt x="8327909" y="1475582"/>
                  </a:cubicBezTo>
                  <a:cubicBezTo>
                    <a:pt x="8327909" y="1494433"/>
                    <a:pt x="8312628" y="1509714"/>
                    <a:pt x="8293777" y="1509714"/>
                  </a:cubicBezTo>
                  <a:cubicBezTo>
                    <a:pt x="8274926" y="1509714"/>
                    <a:pt x="8259645" y="1494433"/>
                    <a:pt x="8259645" y="1475582"/>
                  </a:cubicBezTo>
                  <a:cubicBezTo>
                    <a:pt x="8259645" y="1456731"/>
                    <a:pt x="8274926" y="1441450"/>
                    <a:pt x="8293777" y="1441450"/>
                  </a:cubicBezTo>
                  <a:close/>
                  <a:moveTo>
                    <a:pt x="8208052" y="1441450"/>
                  </a:moveTo>
                  <a:cubicBezTo>
                    <a:pt x="8226903" y="1441450"/>
                    <a:pt x="8242184" y="1456731"/>
                    <a:pt x="8242184" y="1475582"/>
                  </a:cubicBezTo>
                  <a:cubicBezTo>
                    <a:pt x="8242184" y="1494433"/>
                    <a:pt x="8226903" y="1509714"/>
                    <a:pt x="8208052" y="1509714"/>
                  </a:cubicBezTo>
                  <a:cubicBezTo>
                    <a:pt x="8189201" y="1509714"/>
                    <a:pt x="8173920" y="1494433"/>
                    <a:pt x="8173920" y="1475582"/>
                  </a:cubicBezTo>
                  <a:cubicBezTo>
                    <a:pt x="8173920" y="1456731"/>
                    <a:pt x="8189201" y="1441450"/>
                    <a:pt x="8208052" y="1441450"/>
                  </a:cubicBezTo>
                  <a:close/>
                  <a:moveTo>
                    <a:pt x="8125502" y="1441450"/>
                  </a:moveTo>
                  <a:cubicBezTo>
                    <a:pt x="8146106" y="1441450"/>
                    <a:pt x="8162809" y="1456731"/>
                    <a:pt x="8162809" y="1475582"/>
                  </a:cubicBezTo>
                  <a:cubicBezTo>
                    <a:pt x="8162809" y="1494433"/>
                    <a:pt x="8146106" y="1509714"/>
                    <a:pt x="8125502" y="1509714"/>
                  </a:cubicBezTo>
                  <a:cubicBezTo>
                    <a:pt x="8104898" y="1509714"/>
                    <a:pt x="8088195" y="1494433"/>
                    <a:pt x="8088195" y="1475582"/>
                  </a:cubicBezTo>
                  <a:cubicBezTo>
                    <a:pt x="8088195" y="1456731"/>
                    <a:pt x="8104898" y="1441450"/>
                    <a:pt x="8125502" y="1441450"/>
                  </a:cubicBezTo>
                  <a:close/>
                  <a:moveTo>
                    <a:pt x="7957227" y="1441450"/>
                  </a:moveTo>
                  <a:cubicBezTo>
                    <a:pt x="7976078" y="1441450"/>
                    <a:pt x="7991359" y="1456731"/>
                    <a:pt x="7991359" y="1475582"/>
                  </a:cubicBezTo>
                  <a:cubicBezTo>
                    <a:pt x="7991359" y="1494433"/>
                    <a:pt x="7976078" y="1509714"/>
                    <a:pt x="7957227" y="1509714"/>
                  </a:cubicBezTo>
                  <a:cubicBezTo>
                    <a:pt x="7938376" y="1509714"/>
                    <a:pt x="7923095" y="1494433"/>
                    <a:pt x="7923095" y="1475582"/>
                  </a:cubicBezTo>
                  <a:cubicBezTo>
                    <a:pt x="7923095" y="1456731"/>
                    <a:pt x="7938376" y="1441450"/>
                    <a:pt x="7957227" y="1441450"/>
                  </a:cubicBezTo>
                  <a:close/>
                  <a:moveTo>
                    <a:pt x="7871502" y="1441450"/>
                  </a:moveTo>
                  <a:cubicBezTo>
                    <a:pt x="7890353" y="1441450"/>
                    <a:pt x="7905634" y="1456731"/>
                    <a:pt x="7905634" y="1475582"/>
                  </a:cubicBezTo>
                  <a:cubicBezTo>
                    <a:pt x="7905634" y="1494433"/>
                    <a:pt x="7890353" y="1509714"/>
                    <a:pt x="7871502" y="1509714"/>
                  </a:cubicBezTo>
                  <a:cubicBezTo>
                    <a:pt x="7852651" y="1509714"/>
                    <a:pt x="7837370" y="1494433"/>
                    <a:pt x="7837370" y="1475582"/>
                  </a:cubicBezTo>
                  <a:cubicBezTo>
                    <a:pt x="7837370" y="1456731"/>
                    <a:pt x="7852651" y="1441450"/>
                    <a:pt x="7871502" y="1441450"/>
                  </a:cubicBezTo>
                  <a:close/>
                  <a:moveTo>
                    <a:pt x="7785777" y="1441450"/>
                  </a:moveTo>
                  <a:cubicBezTo>
                    <a:pt x="7804628" y="1441450"/>
                    <a:pt x="7819909" y="1456731"/>
                    <a:pt x="7819909" y="1475582"/>
                  </a:cubicBezTo>
                  <a:cubicBezTo>
                    <a:pt x="7819909" y="1494433"/>
                    <a:pt x="7804628" y="1509714"/>
                    <a:pt x="7785777" y="1509714"/>
                  </a:cubicBezTo>
                  <a:cubicBezTo>
                    <a:pt x="7766926" y="1509714"/>
                    <a:pt x="7751645" y="1494433"/>
                    <a:pt x="7751645" y="1475582"/>
                  </a:cubicBezTo>
                  <a:cubicBezTo>
                    <a:pt x="7751645" y="1456731"/>
                    <a:pt x="7766926" y="1441450"/>
                    <a:pt x="7785777" y="1441450"/>
                  </a:cubicBezTo>
                  <a:close/>
                  <a:moveTo>
                    <a:pt x="7706402" y="1441450"/>
                  </a:moveTo>
                  <a:cubicBezTo>
                    <a:pt x="7725253" y="1441450"/>
                    <a:pt x="7740534" y="1456731"/>
                    <a:pt x="7740534" y="1475582"/>
                  </a:cubicBezTo>
                  <a:cubicBezTo>
                    <a:pt x="7740534" y="1494433"/>
                    <a:pt x="7725253" y="1509714"/>
                    <a:pt x="7706402" y="1509714"/>
                  </a:cubicBezTo>
                  <a:cubicBezTo>
                    <a:pt x="7687551" y="1509714"/>
                    <a:pt x="7672270" y="1494433"/>
                    <a:pt x="7672270" y="1475582"/>
                  </a:cubicBezTo>
                  <a:cubicBezTo>
                    <a:pt x="7672270" y="1456731"/>
                    <a:pt x="7687551" y="1441450"/>
                    <a:pt x="7706402" y="1441450"/>
                  </a:cubicBezTo>
                  <a:close/>
                  <a:moveTo>
                    <a:pt x="7620677" y="1441450"/>
                  </a:moveTo>
                  <a:cubicBezTo>
                    <a:pt x="7639528" y="1441450"/>
                    <a:pt x="7654809" y="1456731"/>
                    <a:pt x="7654809" y="1475582"/>
                  </a:cubicBezTo>
                  <a:cubicBezTo>
                    <a:pt x="7654809" y="1494433"/>
                    <a:pt x="7639528" y="1509714"/>
                    <a:pt x="7620677" y="1509714"/>
                  </a:cubicBezTo>
                  <a:cubicBezTo>
                    <a:pt x="7601826" y="1509714"/>
                    <a:pt x="7586545" y="1494433"/>
                    <a:pt x="7586545" y="1475582"/>
                  </a:cubicBezTo>
                  <a:cubicBezTo>
                    <a:pt x="7586545" y="1456731"/>
                    <a:pt x="7601826" y="1441450"/>
                    <a:pt x="7620677" y="1441450"/>
                  </a:cubicBezTo>
                  <a:close/>
                  <a:moveTo>
                    <a:pt x="7534952" y="1441450"/>
                  </a:moveTo>
                  <a:cubicBezTo>
                    <a:pt x="7553803" y="1441450"/>
                    <a:pt x="7569084" y="1456731"/>
                    <a:pt x="7569084" y="1475582"/>
                  </a:cubicBezTo>
                  <a:cubicBezTo>
                    <a:pt x="7569084" y="1494433"/>
                    <a:pt x="7553803" y="1509714"/>
                    <a:pt x="7534952" y="1509714"/>
                  </a:cubicBezTo>
                  <a:cubicBezTo>
                    <a:pt x="7516101" y="1509714"/>
                    <a:pt x="7500820" y="1494433"/>
                    <a:pt x="7500820" y="1475582"/>
                  </a:cubicBezTo>
                  <a:cubicBezTo>
                    <a:pt x="7500820" y="1456731"/>
                    <a:pt x="7516101" y="1441450"/>
                    <a:pt x="7534952" y="1441450"/>
                  </a:cubicBezTo>
                  <a:close/>
                  <a:moveTo>
                    <a:pt x="7449227" y="1441450"/>
                  </a:moveTo>
                  <a:cubicBezTo>
                    <a:pt x="7468078" y="1441450"/>
                    <a:pt x="7483359" y="1456731"/>
                    <a:pt x="7483359" y="1475582"/>
                  </a:cubicBezTo>
                  <a:cubicBezTo>
                    <a:pt x="7483359" y="1494433"/>
                    <a:pt x="7468078" y="1509714"/>
                    <a:pt x="7449227" y="1509714"/>
                  </a:cubicBezTo>
                  <a:cubicBezTo>
                    <a:pt x="7430376" y="1509714"/>
                    <a:pt x="7415095" y="1494433"/>
                    <a:pt x="7415095" y="1475582"/>
                  </a:cubicBezTo>
                  <a:cubicBezTo>
                    <a:pt x="7415095" y="1456731"/>
                    <a:pt x="7430376" y="1441450"/>
                    <a:pt x="7449227" y="1441450"/>
                  </a:cubicBezTo>
                  <a:close/>
                  <a:moveTo>
                    <a:pt x="7366677" y="1441450"/>
                  </a:moveTo>
                  <a:cubicBezTo>
                    <a:pt x="7387281" y="1441450"/>
                    <a:pt x="7403984" y="1456731"/>
                    <a:pt x="7403984" y="1475582"/>
                  </a:cubicBezTo>
                  <a:cubicBezTo>
                    <a:pt x="7403984" y="1494433"/>
                    <a:pt x="7387281" y="1509714"/>
                    <a:pt x="7366677" y="1509714"/>
                  </a:cubicBezTo>
                  <a:cubicBezTo>
                    <a:pt x="7346073" y="1509714"/>
                    <a:pt x="7329370" y="1494433"/>
                    <a:pt x="7329370" y="1475582"/>
                  </a:cubicBezTo>
                  <a:cubicBezTo>
                    <a:pt x="7329370" y="1456731"/>
                    <a:pt x="7346073" y="1441450"/>
                    <a:pt x="7366677" y="1441450"/>
                  </a:cubicBezTo>
                  <a:close/>
                  <a:moveTo>
                    <a:pt x="7284127" y="1441450"/>
                  </a:moveTo>
                  <a:cubicBezTo>
                    <a:pt x="7302978" y="1441450"/>
                    <a:pt x="7318259" y="1456731"/>
                    <a:pt x="7318259" y="1475582"/>
                  </a:cubicBezTo>
                  <a:cubicBezTo>
                    <a:pt x="7318259" y="1494433"/>
                    <a:pt x="7302978" y="1509714"/>
                    <a:pt x="7284127" y="1509714"/>
                  </a:cubicBezTo>
                  <a:cubicBezTo>
                    <a:pt x="7265276" y="1509714"/>
                    <a:pt x="7249995" y="1494433"/>
                    <a:pt x="7249995" y="1475582"/>
                  </a:cubicBezTo>
                  <a:cubicBezTo>
                    <a:pt x="7249995" y="1456731"/>
                    <a:pt x="7265276" y="1441450"/>
                    <a:pt x="7284127" y="1441450"/>
                  </a:cubicBezTo>
                  <a:close/>
                  <a:moveTo>
                    <a:pt x="7198402" y="1441450"/>
                  </a:moveTo>
                  <a:cubicBezTo>
                    <a:pt x="7217253" y="1441450"/>
                    <a:pt x="7232534" y="1456731"/>
                    <a:pt x="7232534" y="1475582"/>
                  </a:cubicBezTo>
                  <a:cubicBezTo>
                    <a:pt x="7232534" y="1494433"/>
                    <a:pt x="7217253" y="1509714"/>
                    <a:pt x="7198402" y="1509714"/>
                  </a:cubicBezTo>
                  <a:cubicBezTo>
                    <a:pt x="7179551" y="1509714"/>
                    <a:pt x="7164270" y="1494433"/>
                    <a:pt x="7164270" y="1475582"/>
                  </a:cubicBezTo>
                  <a:cubicBezTo>
                    <a:pt x="7164270" y="1456731"/>
                    <a:pt x="7179551" y="1441450"/>
                    <a:pt x="7198402" y="1441450"/>
                  </a:cubicBezTo>
                  <a:close/>
                  <a:moveTo>
                    <a:pt x="7112677" y="1441450"/>
                  </a:moveTo>
                  <a:cubicBezTo>
                    <a:pt x="7131528" y="1441450"/>
                    <a:pt x="7146809" y="1456731"/>
                    <a:pt x="7146809" y="1475582"/>
                  </a:cubicBezTo>
                  <a:cubicBezTo>
                    <a:pt x="7146809" y="1494433"/>
                    <a:pt x="7131528" y="1509714"/>
                    <a:pt x="7112677" y="1509714"/>
                  </a:cubicBezTo>
                  <a:cubicBezTo>
                    <a:pt x="7093826" y="1509714"/>
                    <a:pt x="7078545" y="1494433"/>
                    <a:pt x="7078545" y="1475582"/>
                  </a:cubicBezTo>
                  <a:cubicBezTo>
                    <a:pt x="7078545" y="1456731"/>
                    <a:pt x="7093826" y="1441450"/>
                    <a:pt x="7112677" y="1441450"/>
                  </a:cubicBezTo>
                  <a:close/>
                  <a:moveTo>
                    <a:pt x="7027745" y="1441450"/>
                  </a:moveTo>
                  <a:cubicBezTo>
                    <a:pt x="7047034" y="1441450"/>
                    <a:pt x="7062670" y="1456731"/>
                    <a:pt x="7062670" y="1475582"/>
                  </a:cubicBezTo>
                  <a:cubicBezTo>
                    <a:pt x="7062670" y="1494433"/>
                    <a:pt x="7047034" y="1509714"/>
                    <a:pt x="7027745" y="1509714"/>
                  </a:cubicBezTo>
                  <a:cubicBezTo>
                    <a:pt x="7008456" y="1509714"/>
                    <a:pt x="6992820" y="1494433"/>
                    <a:pt x="6992820" y="1475582"/>
                  </a:cubicBezTo>
                  <a:cubicBezTo>
                    <a:pt x="6992820" y="1456731"/>
                    <a:pt x="7008456" y="1441450"/>
                    <a:pt x="7027745" y="1441450"/>
                  </a:cubicBezTo>
                  <a:close/>
                  <a:moveTo>
                    <a:pt x="6947577" y="1441450"/>
                  </a:moveTo>
                  <a:cubicBezTo>
                    <a:pt x="6966428" y="1441450"/>
                    <a:pt x="6981709" y="1456731"/>
                    <a:pt x="6981709" y="1475582"/>
                  </a:cubicBezTo>
                  <a:cubicBezTo>
                    <a:pt x="6981709" y="1494433"/>
                    <a:pt x="6966428" y="1509714"/>
                    <a:pt x="6947577" y="1509714"/>
                  </a:cubicBezTo>
                  <a:cubicBezTo>
                    <a:pt x="6928726" y="1509714"/>
                    <a:pt x="6913445" y="1494433"/>
                    <a:pt x="6913445" y="1475582"/>
                  </a:cubicBezTo>
                  <a:cubicBezTo>
                    <a:pt x="6913445" y="1456731"/>
                    <a:pt x="6928726" y="1441450"/>
                    <a:pt x="6947577" y="1441450"/>
                  </a:cubicBezTo>
                  <a:close/>
                  <a:moveTo>
                    <a:pt x="6861852" y="1441450"/>
                  </a:moveTo>
                  <a:cubicBezTo>
                    <a:pt x="6880703" y="1441450"/>
                    <a:pt x="6895984" y="1456731"/>
                    <a:pt x="6895984" y="1475582"/>
                  </a:cubicBezTo>
                  <a:cubicBezTo>
                    <a:pt x="6895984" y="1494433"/>
                    <a:pt x="6880703" y="1509714"/>
                    <a:pt x="6861852" y="1509714"/>
                  </a:cubicBezTo>
                  <a:cubicBezTo>
                    <a:pt x="6843001" y="1509714"/>
                    <a:pt x="6827720" y="1494433"/>
                    <a:pt x="6827720" y="1475582"/>
                  </a:cubicBezTo>
                  <a:cubicBezTo>
                    <a:pt x="6827720" y="1456731"/>
                    <a:pt x="6843001" y="1441450"/>
                    <a:pt x="6861852" y="1441450"/>
                  </a:cubicBezTo>
                  <a:close/>
                  <a:moveTo>
                    <a:pt x="6776127" y="1441450"/>
                  </a:moveTo>
                  <a:cubicBezTo>
                    <a:pt x="6794978" y="1441450"/>
                    <a:pt x="6810259" y="1456731"/>
                    <a:pt x="6810259" y="1475582"/>
                  </a:cubicBezTo>
                  <a:cubicBezTo>
                    <a:pt x="6810259" y="1494433"/>
                    <a:pt x="6794978" y="1509714"/>
                    <a:pt x="6776127" y="1509714"/>
                  </a:cubicBezTo>
                  <a:cubicBezTo>
                    <a:pt x="6757276" y="1509714"/>
                    <a:pt x="6741995" y="1494433"/>
                    <a:pt x="6741995" y="1475582"/>
                  </a:cubicBezTo>
                  <a:cubicBezTo>
                    <a:pt x="6741995" y="1456731"/>
                    <a:pt x="6757276" y="1441450"/>
                    <a:pt x="6776127" y="1441450"/>
                  </a:cubicBezTo>
                  <a:close/>
                  <a:moveTo>
                    <a:pt x="6691195" y="1441450"/>
                  </a:moveTo>
                  <a:cubicBezTo>
                    <a:pt x="6710484" y="1441450"/>
                    <a:pt x="6726120" y="1456731"/>
                    <a:pt x="6726120" y="1475582"/>
                  </a:cubicBezTo>
                  <a:cubicBezTo>
                    <a:pt x="6726120" y="1494433"/>
                    <a:pt x="6710484" y="1509714"/>
                    <a:pt x="6691195" y="1509714"/>
                  </a:cubicBezTo>
                  <a:cubicBezTo>
                    <a:pt x="6671906" y="1509714"/>
                    <a:pt x="6656270" y="1494433"/>
                    <a:pt x="6656270" y="1475582"/>
                  </a:cubicBezTo>
                  <a:cubicBezTo>
                    <a:pt x="6656270" y="1456731"/>
                    <a:pt x="6671906" y="1441450"/>
                    <a:pt x="6691195" y="1441450"/>
                  </a:cubicBezTo>
                  <a:close/>
                  <a:moveTo>
                    <a:pt x="6607852" y="1441450"/>
                  </a:moveTo>
                  <a:cubicBezTo>
                    <a:pt x="6628456" y="1441450"/>
                    <a:pt x="6645159" y="1456731"/>
                    <a:pt x="6645159" y="1475582"/>
                  </a:cubicBezTo>
                  <a:cubicBezTo>
                    <a:pt x="6645159" y="1494433"/>
                    <a:pt x="6628456" y="1509714"/>
                    <a:pt x="6607852" y="1509714"/>
                  </a:cubicBezTo>
                  <a:cubicBezTo>
                    <a:pt x="6587248" y="1509714"/>
                    <a:pt x="6570545" y="1494433"/>
                    <a:pt x="6570545" y="1475582"/>
                  </a:cubicBezTo>
                  <a:cubicBezTo>
                    <a:pt x="6570545" y="1456731"/>
                    <a:pt x="6587248" y="1441450"/>
                    <a:pt x="6607852" y="1441450"/>
                  </a:cubicBezTo>
                  <a:close/>
                  <a:moveTo>
                    <a:pt x="6525302" y="1441450"/>
                  </a:moveTo>
                  <a:cubicBezTo>
                    <a:pt x="6544153" y="1441450"/>
                    <a:pt x="6559434" y="1456731"/>
                    <a:pt x="6559434" y="1475582"/>
                  </a:cubicBezTo>
                  <a:cubicBezTo>
                    <a:pt x="6559434" y="1494433"/>
                    <a:pt x="6544153" y="1509714"/>
                    <a:pt x="6525302" y="1509714"/>
                  </a:cubicBezTo>
                  <a:cubicBezTo>
                    <a:pt x="6506451" y="1509714"/>
                    <a:pt x="6491170" y="1494433"/>
                    <a:pt x="6491170" y="1475582"/>
                  </a:cubicBezTo>
                  <a:cubicBezTo>
                    <a:pt x="6491170" y="1456731"/>
                    <a:pt x="6506451" y="1441450"/>
                    <a:pt x="6525302" y="1441450"/>
                  </a:cubicBezTo>
                  <a:close/>
                  <a:moveTo>
                    <a:pt x="6439577" y="1441450"/>
                  </a:moveTo>
                  <a:cubicBezTo>
                    <a:pt x="6458428" y="1441450"/>
                    <a:pt x="6473709" y="1456731"/>
                    <a:pt x="6473709" y="1475582"/>
                  </a:cubicBezTo>
                  <a:cubicBezTo>
                    <a:pt x="6473709" y="1494433"/>
                    <a:pt x="6458428" y="1509714"/>
                    <a:pt x="6439577" y="1509714"/>
                  </a:cubicBezTo>
                  <a:cubicBezTo>
                    <a:pt x="6420726" y="1509714"/>
                    <a:pt x="6405445" y="1494433"/>
                    <a:pt x="6405445" y="1475582"/>
                  </a:cubicBezTo>
                  <a:cubicBezTo>
                    <a:pt x="6405445" y="1456731"/>
                    <a:pt x="6420726" y="1441450"/>
                    <a:pt x="6439577" y="1441450"/>
                  </a:cubicBezTo>
                  <a:close/>
                  <a:moveTo>
                    <a:pt x="6353852" y="1441450"/>
                  </a:moveTo>
                  <a:cubicBezTo>
                    <a:pt x="6372703" y="1441450"/>
                    <a:pt x="6387984" y="1456731"/>
                    <a:pt x="6387984" y="1475582"/>
                  </a:cubicBezTo>
                  <a:cubicBezTo>
                    <a:pt x="6387984" y="1494433"/>
                    <a:pt x="6372703" y="1509714"/>
                    <a:pt x="6353852" y="1509714"/>
                  </a:cubicBezTo>
                  <a:cubicBezTo>
                    <a:pt x="6335001" y="1509714"/>
                    <a:pt x="6319720" y="1494433"/>
                    <a:pt x="6319720" y="1475582"/>
                  </a:cubicBezTo>
                  <a:cubicBezTo>
                    <a:pt x="6319720" y="1456731"/>
                    <a:pt x="6335001" y="1441450"/>
                    <a:pt x="6353852" y="1441450"/>
                  </a:cubicBezTo>
                  <a:close/>
                  <a:moveTo>
                    <a:pt x="6268920" y="1441450"/>
                  </a:moveTo>
                  <a:cubicBezTo>
                    <a:pt x="6288209" y="1441450"/>
                    <a:pt x="6303845" y="1456731"/>
                    <a:pt x="6303845" y="1475582"/>
                  </a:cubicBezTo>
                  <a:cubicBezTo>
                    <a:pt x="6303845" y="1494433"/>
                    <a:pt x="6288209" y="1509714"/>
                    <a:pt x="6268920" y="1509714"/>
                  </a:cubicBezTo>
                  <a:cubicBezTo>
                    <a:pt x="6249631" y="1509714"/>
                    <a:pt x="6233995" y="1494433"/>
                    <a:pt x="6233995" y="1475582"/>
                  </a:cubicBezTo>
                  <a:cubicBezTo>
                    <a:pt x="6233995" y="1456731"/>
                    <a:pt x="6249631" y="1441450"/>
                    <a:pt x="6268920" y="1441450"/>
                  </a:cubicBezTo>
                  <a:close/>
                  <a:moveTo>
                    <a:pt x="6188752" y="1441450"/>
                  </a:moveTo>
                  <a:cubicBezTo>
                    <a:pt x="6207603" y="1441450"/>
                    <a:pt x="6222884" y="1456731"/>
                    <a:pt x="6222884" y="1475582"/>
                  </a:cubicBezTo>
                  <a:cubicBezTo>
                    <a:pt x="6222884" y="1494433"/>
                    <a:pt x="6207603" y="1509714"/>
                    <a:pt x="6188752" y="1509714"/>
                  </a:cubicBezTo>
                  <a:cubicBezTo>
                    <a:pt x="6169901" y="1509714"/>
                    <a:pt x="6154620" y="1494433"/>
                    <a:pt x="6154620" y="1475582"/>
                  </a:cubicBezTo>
                  <a:cubicBezTo>
                    <a:pt x="6154620" y="1456731"/>
                    <a:pt x="6169901" y="1441450"/>
                    <a:pt x="6188752" y="1441450"/>
                  </a:cubicBezTo>
                  <a:close/>
                  <a:moveTo>
                    <a:pt x="6103027" y="1441450"/>
                  </a:moveTo>
                  <a:cubicBezTo>
                    <a:pt x="6121878" y="1441450"/>
                    <a:pt x="6137159" y="1456731"/>
                    <a:pt x="6137159" y="1475582"/>
                  </a:cubicBezTo>
                  <a:cubicBezTo>
                    <a:pt x="6137159" y="1494433"/>
                    <a:pt x="6121878" y="1509714"/>
                    <a:pt x="6103027" y="1509714"/>
                  </a:cubicBezTo>
                  <a:cubicBezTo>
                    <a:pt x="6084176" y="1509714"/>
                    <a:pt x="6068895" y="1494433"/>
                    <a:pt x="6068895" y="1475582"/>
                  </a:cubicBezTo>
                  <a:cubicBezTo>
                    <a:pt x="6068895" y="1456731"/>
                    <a:pt x="6084176" y="1441450"/>
                    <a:pt x="6103027" y="1441450"/>
                  </a:cubicBezTo>
                  <a:close/>
                  <a:moveTo>
                    <a:pt x="6017302" y="1441450"/>
                  </a:moveTo>
                  <a:cubicBezTo>
                    <a:pt x="6036153" y="1441450"/>
                    <a:pt x="6051434" y="1456731"/>
                    <a:pt x="6051434" y="1475582"/>
                  </a:cubicBezTo>
                  <a:cubicBezTo>
                    <a:pt x="6051434" y="1494433"/>
                    <a:pt x="6036153" y="1509714"/>
                    <a:pt x="6017302" y="1509714"/>
                  </a:cubicBezTo>
                  <a:cubicBezTo>
                    <a:pt x="5998451" y="1509714"/>
                    <a:pt x="5983170" y="1494433"/>
                    <a:pt x="5983170" y="1475582"/>
                  </a:cubicBezTo>
                  <a:cubicBezTo>
                    <a:pt x="5983170" y="1456731"/>
                    <a:pt x="5998451" y="1441450"/>
                    <a:pt x="6017302" y="1441450"/>
                  </a:cubicBezTo>
                  <a:close/>
                  <a:moveTo>
                    <a:pt x="5932370" y="1441450"/>
                  </a:moveTo>
                  <a:cubicBezTo>
                    <a:pt x="5951659" y="1441450"/>
                    <a:pt x="5967295" y="1456731"/>
                    <a:pt x="5967295" y="1475582"/>
                  </a:cubicBezTo>
                  <a:cubicBezTo>
                    <a:pt x="5967295" y="1494433"/>
                    <a:pt x="5951659" y="1509714"/>
                    <a:pt x="5932370" y="1509714"/>
                  </a:cubicBezTo>
                  <a:cubicBezTo>
                    <a:pt x="5913081" y="1509714"/>
                    <a:pt x="5897445" y="1494433"/>
                    <a:pt x="5897445" y="1475582"/>
                  </a:cubicBezTo>
                  <a:cubicBezTo>
                    <a:pt x="5897445" y="1456731"/>
                    <a:pt x="5913081" y="1441450"/>
                    <a:pt x="5932370" y="1441450"/>
                  </a:cubicBezTo>
                  <a:close/>
                  <a:moveTo>
                    <a:pt x="5849821" y="1441450"/>
                  </a:moveTo>
                  <a:cubicBezTo>
                    <a:pt x="5869987" y="1441450"/>
                    <a:pt x="5886334" y="1456731"/>
                    <a:pt x="5886334" y="1475582"/>
                  </a:cubicBezTo>
                  <a:cubicBezTo>
                    <a:pt x="5886334" y="1494433"/>
                    <a:pt x="5869987" y="1509714"/>
                    <a:pt x="5849821" y="1509714"/>
                  </a:cubicBezTo>
                  <a:cubicBezTo>
                    <a:pt x="5829655" y="1509714"/>
                    <a:pt x="5813308" y="1494433"/>
                    <a:pt x="5813308" y="1475582"/>
                  </a:cubicBezTo>
                  <a:cubicBezTo>
                    <a:pt x="5813308" y="1456731"/>
                    <a:pt x="5829655" y="1441450"/>
                    <a:pt x="5849821" y="1441450"/>
                  </a:cubicBezTo>
                  <a:close/>
                  <a:moveTo>
                    <a:pt x="5766477" y="1441450"/>
                  </a:moveTo>
                  <a:cubicBezTo>
                    <a:pt x="5785328" y="1441450"/>
                    <a:pt x="5800609" y="1456731"/>
                    <a:pt x="5800609" y="1475582"/>
                  </a:cubicBezTo>
                  <a:cubicBezTo>
                    <a:pt x="5800609" y="1494433"/>
                    <a:pt x="5785328" y="1509714"/>
                    <a:pt x="5766477" y="1509714"/>
                  </a:cubicBezTo>
                  <a:cubicBezTo>
                    <a:pt x="5747626" y="1509714"/>
                    <a:pt x="5732345" y="1494433"/>
                    <a:pt x="5732345" y="1475582"/>
                  </a:cubicBezTo>
                  <a:cubicBezTo>
                    <a:pt x="5732345" y="1456731"/>
                    <a:pt x="5747626" y="1441450"/>
                    <a:pt x="5766477" y="1441450"/>
                  </a:cubicBezTo>
                  <a:close/>
                  <a:moveTo>
                    <a:pt x="5680752" y="1441450"/>
                  </a:moveTo>
                  <a:cubicBezTo>
                    <a:pt x="5699603" y="1441450"/>
                    <a:pt x="5714884" y="1456731"/>
                    <a:pt x="5714884" y="1475582"/>
                  </a:cubicBezTo>
                  <a:cubicBezTo>
                    <a:pt x="5714884" y="1494433"/>
                    <a:pt x="5699603" y="1509714"/>
                    <a:pt x="5680752" y="1509714"/>
                  </a:cubicBezTo>
                  <a:cubicBezTo>
                    <a:pt x="5661901" y="1509714"/>
                    <a:pt x="5646620" y="1494433"/>
                    <a:pt x="5646620" y="1475582"/>
                  </a:cubicBezTo>
                  <a:cubicBezTo>
                    <a:pt x="5646620" y="1456731"/>
                    <a:pt x="5661901" y="1441450"/>
                    <a:pt x="5680752" y="1441450"/>
                  </a:cubicBezTo>
                  <a:close/>
                  <a:moveTo>
                    <a:pt x="5595820" y="1441450"/>
                  </a:moveTo>
                  <a:cubicBezTo>
                    <a:pt x="5615109" y="1441450"/>
                    <a:pt x="5630745" y="1456731"/>
                    <a:pt x="5630745" y="1475582"/>
                  </a:cubicBezTo>
                  <a:cubicBezTo>
                    <a:pt x="5630745" y="1494433"/>
                    <a:pt x="5615109" y="1509714"/>
                    <a:pt x="5595820" y="1509714"/>
                  </a:cubicBezTo>
                  <a:cubicBezTo>
                    <a:pt x="5576531" y="1509714"/>
                    <a:pt x="5560895" y="1494433"/>
                    <a:pt x="5560895" y="1475582"/>
                  </a:cubicBezTo>
                  <a:cubicBezTo>
                    <a:pt x="5560895" y="1456731"/>
                    <a:pt x="5576531" y="1441450"/>
                    <a:pt x="5595820" y="1441450"/>
                  </a:cubicBezTo>
                  <a:close/>
                  <a:moveTo>
                    <a:pt x="5344202" y="1441450"/>
                  </a:moveTo>
                  <a:cubicBezTo>
                    <a:pt x="5363053" y="1441450"/>
                    <a:pt x="5378334" y="1456731"/>
                    <a:pt x="5378334" y="1475582"/>
                  </a:cubicBezTo>
                  <a:cubicBezTo>
                    <a:pt x="5378334" y="1494433"/>
                    <a:pt x="5363053" y="1509714"/>
                    <a:pt x="5344202" y="1509714"/>
                  </a:cubicBezTo>
                  <a:cubicBezTo>
                    <a:pt x="5325351" y="1509714"/>
                    <a:pt x="5310070" y="1494433"/>
                    <a:pt x="5310070" y="1475582"/>
                  </a:cubicBezTo>
                  <a:cubicBezTo>
                    <a:pt x="5310070" y="1456731"/>
                    <a:pt x="5325351" y="1441450"/>
                    <a:pt x="5344202" y="1441450"/>
                  </a:cubicBezTo>
                  <a:close/>
                  <a:moveTo>
                    <a:pt x="4836995" y="1441450"/>
                  </a:moveTo>
                  <a:cubicBezTo>
                    <a:pt x="4856284" y="1441450"/>
                    <a:pt x="4871920" y="1456731"/>
                    <a:pt x="4871920" y="1475582"/>
                  </a:cubicBezTo>
                  <a:cubicBezTo>
                    <a:pt x="4871920" y="1494433"/>
                    <a:pt x="4856284" y="1509714"/>
                    <a:pt x="4836995" y="1509714"/>
                  </a:cubicBezTo>
                  <a:cubicBezTo>
                    <a:pt x="4817706" y="1509714"/>
                    <a:pt x="4802070" y="1494433"/>
                    <a:pt x="4802070" y="1475582"/>
                  </a:cubicBezTo>
                  <a:cubicBezTo>
                    <a:pt x="4802070" y="1456731"/>
                    <a:pt x="4817706" y="1441450"/>
                    <a:pt x="4836995" y="1441450"/>
                  </a:cubicBezTo>
                  <a:close/>
                  <a:moveTo>
                    <a:pt x="3234414" y="1441450"/>
                  </a:moveTo>
                  <a:cubicBezTo>
                    <a:pt x="3253265" y="1441450"/>
                    <a:pt x="3268546" y="1456731"/>
                    <a:pt x="3268546" y="1475582"/>
                  </a:cubicBezTo>
                  <a:cubicBezTo>
                    <a:pt x="3268546" y="1494433"/>
                    <a:pt x="3253265" y="1509714"/>
                    <a:pt x="3234414" y="1509714"/>
                  </a:cubicBezTo>
                  <a:cubicBezTo>
                    <a:pt x="3215563" y="1509714"/>
                    <a:pt x="3200282" y="1494433"/>
                    <a:pt x="3200282" y="1475582"/>
                  </a:cubicBezTo>
                  <a:cubicBezTo>
                    <a:pt x="3200282" y="1456731"/>
                    <a:pt x="3215563" y="1441450"/>
                    <a:pt x="3234414" y="1441450"/>
                  </a:cubicBezTo>
                  <a:close/>
                  <a:moveTo>
                    <a:pt x="3153452" y="1441450"/>
                  </a:moveTo>
                  <a:cubicBezTo>
                    <a:pt x="3172303" y="1441450"/>
                    <a:pt x="3187584" y="1456731"/>
                    <a:pt x="3187584" y="1475582"/>
                  </a:cubicBezTo>
                  <a:cubicBezTo>
                    <a:pt x="3187584" y="1494433"/>
                    <a:pt x="3172303" y="1509714"/>
                    <a:pt x="3153452" y="1509714"/>
                  </a:cubicBezTo>
                  <a:cubicBezTo>
                    <a:pt x="3134601" y="1509714"/>
                    <a:pt x="3119320" y="1494433"/>
                    <a:pt x="3119320" y="1475582"/>
                  </a:cubicBezTo>
                  <a:cubicBezTo>
                    <a:pt x="3119320" y="1456731"/>
                    <a:pt x="3134601" y="1441450"/>
                    <a:pt x="3153452" y="1441450"/>
                  </a:cubicBezTo>
                  <a:close/>
                  <a:moveTo>
                    <a:pt x="3068520" y="1441450"/>
                  </a:moveTo>
                  <a:cubicBezTo>
                    <a:pt x="3087809" y="1441450"/>
                    <a:pt x="3103445" y="1456731"/>
                    <a:pt x="3103445" y="1475582"/>
                  </a:cubicBezTo>
                  <a:cubicBezTo>
                    <a:pt x="3103445" y="1494433"/>
                    <a:pt x="3087809" y="1509714"/>
                    <a:pt x="3068520" y="1509714"/>
                  </a:cubicBezTo>
                  <a:cubicBezTo>
                    <a:pt x="3049231" y="1509714"/>
                    <a:pt x="3033595" y="1494433"/>
                    <a:pt x="3033595" y="1475582"/>
                  </a:cubicBezTo>
                  <a:cubicBezTo>
                    <a:pt x="3033595" y="1456731"/>
                    <a:pt x="3049231" y="1441450"/>
                    <a:pt x="3068520" y="1441450"/>
                  </a:cubicBezTo>
                  <a:close/>
                  <a:moveTo>
                    <a:pt x="2983589" y="1441450"/>
                  </a:moveTo>
                  <a:cubicBezTo>
                    <a:pt x="3002440" y="1441450"/>
                    <a:pt x="3017721" y="1456731"/>
                    <a:pt x="3017721" y="1475582"/>
                  </a:cubicBezTo>
                  <a:cubicBezTo>
                    <a:pt x="3017721" y="1494433"/>
                    <a:pt x="3002440" y="1509714"/>
                    <a:pt x="2983589" y="1509714"/>
                  </a:cubicBezTo>
                  <a:cubicBezTo>
                    <a:pt x="2964738" y="1509714"/>
                    <a:pt x="2949457" y="1494433"/>
                    <a:pt x="2949457" y="1475582"/>
                  </a:cubicBezTo>
                  <a:cubicBezTo>
                    <a:pt x="2949457" y="1456731"/>
                    <a:pt x="2964738" y="1441450"/>
                    <a:pt x="2983589" y="1441450"/>
                  </a:cubicBezTo>
                  <a:close/>
                  <a:moveTo>
                    <a:pt x="2897864" y="1441450"/>
                  </a:moveTo>
                  <a:cubicBezTo>
                    <a:pt x="2916715" y="1441450"/>
                    <a:pt x="2931996" y="1456731"/>
                    <a:pt x="2931996" y="1475582"/>
                  </a:cubicBezTo>
                  <a:cubicBezTo>
                    <a:pt x="2931996" y="1494433"/>
                    <a:pt x="2916715" y="1509714"/>
                    <a:pt x="2897864" y="1509714"/>
                  </a:cubicBezTo>
                  <a:cubicBezTo>
                    <a:pt x="2879013" y="1509714"/>
                    <a:pt x="2863732" y="1494433"/>
                    <a:pt x="2863732" y="1475582"/>
                  </a:cubicBezTo>
                  <a:cubicBezTo>
                    <a:pt x="2863732" y="1456731"/>
                    <a:pt x="2879013" y="1441450"/>
                    <a:pt x="2897864" y="1441450"/>
                  </a:cubicBezTo>
                  <a:close/>
                  <a:moveTo>
                    <a:pt x="2646410" y="1441450"/>
                  </a:moveTo>
                  <a:cubicBezTo>
                    <a:pt x="2665696" y="1441450"/>
                    <a:pt x="2681334" y="1456731"/>
                    <a:pt x="2681334" y="1475582"/>
                  </a:cubicBezTo>
                  <a:cubicBezTo>
                    <a:pt x="2681334" y="1494433"/>
                    <a:pt x="2665696" y="1509714"/>
                    <a:pt x="2646410" y="1509714"/>
                  </a:cubicBezTo>
                  <a:cubicBezTo>
                    <a:pt x="2627123" y="1509714"/>
                    <a:pt x="2611483" y="1494433"/>
                    <a:pt x="2611483" y="1475582"/>
                  </a:cubicBezTo>
                  <a:cubicBezTo>
                    <a:pt x="2611483" y="1456731"/>
                    <a:pt x="2627123" y="1441450"/>
                    <a:pt x="2646410" y="1441450"/>
                  </a:cubicBezTo>
                  <a:close/>
                  <a:moveTo>
                    <a:pt x="2561479" y="1441450"/>
                  </a:moveTo>
                  <a:cubicBezTo>
                    <a:pt x="2580330" y="1441450"/>
                    <a:pt x="2595609" y="1456731"/>
                    <a:pt x="2595609" y="1475582"/>
                  </a:cubicBezTo>
                  <a:cubicBezTo>
                    <a:pt x="2595609" y="1494433"/>
                    <a:pt x="2580330" y="1509714"/>
                    <a:pt x="2561479" y="1509714"/>
                  </a:cubicBezTo>
                  <a:cubicBezTo>
                    <a:pt x="2542628" y="1509714"/>
                    <a:pt x="2527342" y="1494433"/>
                    <a:pt x="2527342" y="1475582"/>
                  </a:cubicBezTo>
                  <a:cubicBezTo>
                    <a:pt x="2527342" y="1456731"/>
                    <a:pt x="2542628" y="1441450"/>
                    <a:pt x="2561479" y="1441450"/>
                  </a:cubicBezTo>
                  <a:close/>
                  <a:moveTo>
                    <a:pt x="2475754" y="1441450"/>
                  </a:moveTo>
                  <a:cubicBezTo>
                    <a:pt x="2494608" y="1441450"/>
                    <a:pt x="2509883" y="1456731"/>
                    <a:pt x="2509883" y="1475582"/>
                  </a:cubicBezTo>
                  <a:cubicBezTo>
                    <a:pt x="2509883" y="1494433"/>
                    <a:pt x="2494608" y="1509714"/>
                    <a:pt x="2475754" y="1509714"/>
                  </a:cubicBezTo>
                  <a:cubicBezTo>
                    <a:pt x="2456900" y="1509714"/>
                    <a:pt x="2441619" y="1494433"/>
                    <a:pt x="2441619" y="1475582"/>
                  </a:cubicBezTo>
                  <a:cubicBezTo>
                    <a:pt x="2441619" y="1456731"/>
                    <a:pt x="2456900" y="1441450"/>
                    <a:pt x="2475754" y="1441450"/>
                  </a:cubicBezTo>
                  <a:close/>
                  <a:moveTo>
                    <a:pt x="2309856" y="1441450"/>
                  </a:moveTo>
                  <a:cubicBezTo>
                    <a:pt x="2329141" y="1441450"/>
                    <a:pt x="2344781" y="1456731"/>
                    <a:pt x="2344781" y="1475582"/>
                  </a:cubicBezTo>
                  <a:cubicBezTo>
                    <a:pt x="2344781" y="1494433"/>
                    <a:pt x="2329141" y="1509714"/>
                    <a:pt x="2309856" y="1509714"/>
                  </a:cubicBezTo>
                  <a:cubicBezTo>
                    <a:pt x="2290564" y="1509714"/>
                    <a:pt x="2274920" y="1494433"/>
                    <a:pt x="2274920" y="1475582"/>
                  </a:cubicBezTo>
                  <a:cubicBezTo>
                    <a:pt x="2274920" y="1456731"/>
                    <a:pt x="2290564" y="1441450"/>
                    <a:pt x="2309856" y="1441450"/>
                  </a:cubicBezTo>
                  <a:close/>
                  <a:moveTo>
                    <a:pt x="2139049" y="1441450"/>
                  </a:moveTo>
                  <a:cubicBezTo>
                    <a:pt x="2157900" y="1441450"/>
                    <a:pt x="2173180" y="1456731"/>
                    <a:pt x="2173180" y="1475582"/>
                  </a:cubicBezTo>
                  <a:cubicBezTo>
                    <a:pt x="2173180" y="1494433"/>
                    <a:pt x="2157900" y="1509714"/>
                    <a:pt x="2139049" y="1509714"/>
                  </a:cubicBezTo>
                  <a:cubicBezTo>
                    <a:pt x="2120198" y="1509714"/>
                    <a:pt x="2104917" y="1494433"/>
                    <a:pt x="2104917" y="1475582"/>
                  </a:cubicBezTo>
                  <a:cubicBezTo>
                    <a:pt x="2104917" y="1456731"/>
                    <a:pt x="2120198" y="1441450"/>
                    <a:pt x="2139049" y="1441450"/>
                  </a:cubicBezTo>
                  <a:close/>
                  <a:moveTo>
                    <a:pt x="2055705" y="1441450"/>
                  </a:moveTo>
                  <a:cubicBezTo>
                    <a:pt x="2075871" y="1441450"/>
                    <a:pt x="2092218" y="1456731"/>
                    <a:pt x="2092218" y="1475582"/>
                  </a:cubicBezTo>
                  <a:cubicBezTo>
                    <a:pt x="2092218" y="1494433"/>
                    <a:pt x="2075871" y="1509714"/>
                    <a:pt x="2055705" y="1509714"/>
                  </a:cubicBezTo>
                  <a:cubicBezTo>
                    <a:pt x="2035539" y="1509714"/>
                    <a:pt x="2019193" y="1494433"/>
                    <a:pt x="2019193" y="1475582"/>
                  </a:cubicBezTo>
                  <a:cubicBezTo>
                    <a:pt x="2019193" y="1456731"/>
                    <a:pt x="2035539" y="1441450"/>
                    <a:pt x="2055705" y="1441450"/>
                  </a:cubicBezTo>
                  <a:close/>
                  <a:moveTo>
                    <a:pt x="1973155" y="1441450"/>
                  </a:moveTo>
                  <a:cubicBezTo>
                    <a:pt x="1992444" y="1441450"/>
                    <a:pt x="2008080" y="1456731"/>
                    <a:pt x="2008080" y="1475582"/>
                  </a:cubicBezTo>
                  <a:cubicBezTo>
                    <a:pt x="2008080" y="1494433"/>
                    <a:pt x="1992444" y="1509714"/>
                    <a:pt x="1973155" y="1509714"/>
                  </a:cubicBezTo>
                  <a:cubicBezTo>
                    <a:pt x="1953866" y="1509714"/>
                    <a:pt x="1938230" y="1494433"/>
                    <a:pt x="1938230" y="1475582"/>
                  </a:cubicBezTo>
                  <a:cubicBezTo>
                    <a:pt x="1938230" y="1456731"/>
                    <a:pt x="1953866" y="1441450"/>
                    <a:pt x="1973155" y="1441450"/>
                  </a:cubicBezTo>
                  <a:close/>
                  <a:moveTo>
                    <a:pt x="1888224" y="1441450"/>
                  </a:moveTo>
                  <a:cubicBezTo>
                    <a:pt x="1907075" y="1441450"/>
                    <a:pt x="1922356" y="1456731"/>
                    <a:pt x="1922356" y="1475582"/>
                  </a:cubicBezTo>
                  <a:cubicBezTo>
                    <a:pt x="1922356" y="1494433"/>
                    <a:pt x="1907075" y="1509714"/>
                    <a:pt x="1888224" y="1509714"/>
                  </a:cubicBezTo>
                  <a:cubicBezTo>
                    <a:pt x="1869373" y="1509714"/>
                    <a:pt x="1854092" y="1494433"/>
                    <a:pt x="1854092" y="1475582"/>
                  </a:cubicBezTo>
                  <a:cubicBezTo>
                    <a:pt x="1854092" y="1456731"/>
                    <a:pt x="1869373" y="1441450"/>
                    <a:pt x="1888224" y="1441450"/>
                  </a:cubicBezTo>
                  <a:close/>
                  <a:moveTo>
                    <a:pt x="1802499" y="1441450"/>
                  </a:moveTo>
                  <a:cubicBezTo>
                    <a:pt x="1821350" y="1441450"/>
                    <a:pt x="1836631" y="1456731"/>
                    <a:pt x="1836631" y="1475582"/>
                  </a:cubicBezTo>
                  <a:cubicBezTo>
                    <a:pt x="1836631" y="1494433"/>
                    <a:pt x="1821350" y="1509714"/>
                    <a:pt x="1802499" y="1509714"/>
                  </a:cubicBezTo>
                  <a:cubicBezTo>
                    <a:pt x="1783648" y="1509714"/>
                    <a:pt x="1768367" y="1494433"/>
                    <a:pt x="1768367" y="1475582"/>
                  </a:cubicBezTo>
                  <a:cubicBezTo>
                    <a:pt x="1768367" y="1456731"/>
                    <a:pt x="1783648" y="1441450"/>
                    <a:pt x="1802499" y="1441450"/>
                  </a:cubicBezTo>
                  <a:close/>
                  <a:moveTo>
                    <a:pt x="1719155" y="1441450"/>
                  </a:moveTo>
                  <a:cubicBezTo>
                    <a:pt x="1739320" y="1441450"/>
                    <a:pt x="1755668" y="1456731"/>
                    <a:pt x="1755668" y="1475582"/>
                  </a:cubicBezTo>
                  <a:cubicBezTo>
                    <a:pt x="1755668" y="1494433"/>
                    <a:pt x="1739320" y="1509714"/>
                    <a:pt x="1719155" y="1509714"/>
                  </a:cubicBezTo>
                  <a:cubicBezTo>
                    <a:pt x="1698989" y="1509714"/>
                    <a:pt x="1682642" y="1494433"/>
                    <a:pt x="1682642" y="1475582"/>
                  </a:cubicBezTo>
                  <a:cubicBezTo>
                    <a:pt x="1682642" y="1456731"/>
                    <a:pt x="1698989" y="1441450"/>
                    <a:pt x="1719155" y="1441450"/>
                  </a:cubicBezTo>
                  <a:close/>
                  <a:moveTo>
                    <a:pt x="1636604" y="1441450"/>
                  </a:moveTo>
                  <a:cubicBezTo>
                    <a:pt x="1655893" y="1441450"/>
                    <a:pt x="1671530" y="1456731"/>
                    <a:pt x="1671530" y="1475582"/>
                  </a:cubicBezTo>
                  <a:cubicBezTo>
                    <a:pt x="1671530" y="1494433"/>
                    <a:pt x="1655893" y="1509714"/>
                    <a:pt x="1636604" y="1509714"/>
                  </a:cubicBezTo>
                  <a:cubicBezTo>
                    <a:pt x="1617316" y="1509714"/>
                    <a:pt x="1601679" y="1494433"/>
                    <a:pt x="1601679" y="1475582"/>
                  </a:cubicBezTo>
                  <a:cubicBezTo>
                    <a:pt x="1601679" y="1456731"/>
                    <a:pt x="1617316" y="1441450"/>
                    <a:pt x="1636604" y="1441450"/>
                  </a:cubicBezTo>
                  <a:close/>
                  <a:moveTo>
                    <a:pt x="1551677" y="1441450"/>
                  </a:moveTo>
                  <a:cubicBezTo>
                    <a:pt x="1570528" y="1441450"/>
                    <a:pt x="1585810" y="1456731"/>
                    <a:pt x="1585810" y="1475582"/>
                  </a:cubicBezTo>
                  <a:cubicBezTo>
                    <a:pt x="1585810" y="1494433"/>
                    <a:pt x="1570528" y="1509714"/>
                    <a:pt x="1551677" y="1509714"/>
                  </a:cubicBezTo>
                  <a:cubicBezTo>
                    <a:pt x="1532826" y="1509714"/>
                    <a:pt x="1517546" y="1494433"/>
                    <a:pt x="1517546" y="1475582"/>
                  </a:cubicBezTo>
                  <a:cubicBezTo>
                    <a:pt x="1517546" y="1456731"/>
                    <a:pt x="1532826" y="1441450"/>
                    <a:pt x="1551677" y="1441450"/>
                  </a:cubicBezTo>
                  <a:close/>
                  <a:moveTo>
                    <a:pt x="1466114" y="1441450"/>
                  </a:moveTo>
                  <a:cubicBezTo>
                    <a:pt x="1484965" y="1441450"/>
                    <a:pt x="1500247" y="1456731"/>
                    <a:pt x="1500247" y="1475582"/>
                  </a:cubicBezTo>
                  <a:cubicBezTo>
                    <a:pt x="1500247" y="1494433"/>
                    <a:pt x="1484965" y="1509714"/>
                    <a:pt x="1466114" y="1509714"/>
                  </a:cubicBezTo>
                  <a:cubicBezTo>
                    <a:pt x="1447265" y="1509714"/>
                    <a:pt x="1431983" y="1494433"/>
                    <a:pt x="1431983" y="1475582"/>
                  </a:cubicBezTo>
                  <a:cubicBezTo>
                    <a:pt x="1431983" y="1456731"/>
                    <a:pt x="1447265" y="1441450"/>
                    <a:pt x="1466114" y="1441450"/>
                  </a:cubicBezTo>
                  <a:close/>
                  <a:moveTo>
                    <a:pt x="1380392" y="1441450"/>
                  </a:moveTo>
                  <a:cubicBezTo>
                    <a:pt x="1399243" y="1441450"/>
                    <a:pt x="1414522" y="1456731"/>
                    <a:pt x="1414522" y="1475582"/>
                  </a:cubicBezTo>
                  <a:cubicBezTo>
                    <a:pt x="1414522" y="1494433"/>
                    <a:pt x="1399243" y="1509714"/>
                    <a:pt x="1380392" y="1509714"/>
                  </a:cubicBezTo>
                  <a:cubicBezTo>
                    <a:pt x="1361539" y="1509714"/>
                    <a:pt x="1346258" y="1494433"/>
                    <a:pt x="1346258" y="1475582"/>
                  </a:cubicBezTo>
                  <a:cubicBezTo>
                    <a:pt x="1346258" y="1456731"/>
                    <a:pt x="1361539" y="1441450"/>
                    <a:pt x="1380392" y="1441450"/>
                  </a:cubicBezTo>
                  <a:close/>
                  <a:moveTo>
                    <a:pt x="9474877" y="1354138"/>
                  </a:moveTo>
                  <a:cubicBezTo>
                    <a:pt x="9493728" y="1354138"/>
                    <a:pt x="9509009" y="1369774"/>
                    <a:pt x="9509009" y="1389063"/>
                  </a:cubicBezTo>
                  <a:cubicBezTo>
                    <a:pt x="9509009" y="1408352"/>
                    <a:pt x="9493728" y="1423988"/>
                    <a:pt x="9474877" y="1423988"/>
                  </a:cubicBezTo>
                  <a:cubicBezTo>
                    <a:pt x="9456026" y="1423988"/>
                    <a:pt x="9440745" y="1408352"/>
                    <a:pt x="9440745" y="1389063"/>
                  </a:cubicBezTo>
                  <a:cubicBezTo>
                    <a:pt x="9440745" y="1369774"/>
                    <a:pt x="9456026" y="1354138"/>
                    <a:pt x="9474877" y="1354138"/>
                  </a:cubicBezTo>
                  <a:close/>
                  <a:moveTo>
                    <a:pt x="9052602" y="1354138"/>
                  </a:moveTo>
                  <a:cubicBezTo>
                    <a:pt x="9071453" y="1354138"/>
                    <a:pt x="9086734" y="1369774"/>
                    <a:pt x="9086734" y="1389063"/>
                  </a:cubicBezTo>
                  <a:cubicBezTo>
                    <a:pt x="9086734" y="1408352"/>
                    <a:pt x="9071453" y="1423988"/>
                    <a:pt x="9052602" y="1423988"/>
                  </a:cubicBezTo>
                  <a:cubicBezTo>
                    <a:pt x="9033751" y="1423988"/>
                    <a:pt x="9018470" y="1408352"/>
                    <a:pt x="9018470" y="1389063"/>
                  </a:cubicBezTo>
                  <a:cubicBezTo>
                    <a:pt x="9018470" y="1369774"/>
                    <a:pt x="9033751" y="1354138"/>
                    <a:pt x="9052602" y="1354138"/>
                  </a:cubicBezTo>
                  <a:close/>
                  <a:moveTo>
                    <a:pt x="8966877" y="1354138"/>
                  </a:moveTo>
                  <a:cubicBezTo>
                    <a:pt x="8985728" y="1354138"/>
                    <a:pt x="9001009" y="1369774"/>
                    <a:pt x="9001009" y="1389063"/>
                  </a:cubicBezTo>
                  <a:cubicBezTo>
                    <a:pt x="9001009" y="1408352"/>
                    <a:pt x="8985728" y="1423988"/>
                    <a:pt x="8966877" y="1423988"/>
                  </a:cubicBezTo>
                  <a:cubicBezTo>
                    <a:pt x="8948026" y="1423988"/>
                    <a:pt x="8932745" y="1408352"/>
                    <a:pt x="8932745" y="1389063"/>
                  </a:cubicBezTo>
                  <a:cubicBezTo>
                    <a:pt x="8932745" y="1369774"/>
                    <a:pt x="8948026" y="1354138"/>
                    <a:pt x="8966877" y="1354138"/>
                  </a:cubicBezTo>
                  <a:close/>
                  <a:moveTo>
                    <a:pt x="8884327" y="1354138"/>
                  </a:moveTo>
                  <a:cubicBezTo>
                    <a:pt x="8904931" y="1354138"/>
                    <a:pt x="8921634" y="1369774"/>
                    <a:pt x="8921634" y="1389063"/>
                  </a:cubicBezTo>
                  <a:cubicBezTo>
                    <a:pt x="8921634" y="1408352"/>
                    <a:pt x="8904931" y="1423988"/>
                    <a:pt x="8884327" y="1423988"/>
                  </a:cubicBezTo>
                  <a:cubicBezTo>
                    <a:pt x="8863723" y="1423988"/>
                    <a:pt x="8847020" y="1408352"/>
                    <a:pt x="8847020" y="1389063"/>
                  </a:cubicBezTo>
                  <a:cubicBezTo>
                    <a:pt x="8847020" y="1369774"/>
                    <a:pt x="8863723" y="1354138"/>
                    <a:pt x="8884327" y="1354138"/>
                  </a:cubicBezTo>
                  <a:close/>
                  <a:moveTo>
                    <a:pt x="8801777" y="1354138"/>
                  </a:moveTo>
                  <a:cubicBezTo>
                    <a:pt x="8820628" y="1354138"/>
                    <a:pt x="8835909" y="1369774"/>
                    <a:pt x="8835909" y="1389063"/>
                  </a:cubicBezTo>
                  <a:cubicBezTo>
                    <a:pt x="8835909" y="1408352"/>
                    <a:pt x="8820628" y="1423988"/>
                    <a:pt x="8801777" y="1423988"/>
                  </a:cubicBezTo>
                  <a:cubicBezTo>
                    <a:pt x="8782926" y="1423988"/>
                    <a:pt x="8767645" y="1408352"/>
                    <a:pt x="8767645" y="1389063"/>
                  </a:cubicBezTo>
                  <a:cubicBezTo>
                    <a:pt x="8767645" y="1369774"/>
                    <a:pt x="8782926" y="1354138"/>
                    <a:pt x="8801777" y="1354138"/>
                  </a:cubicBezTo>
                  <a:close/>
                  <a:moveTo>
                    <a:pt x="8716052" y="1354138"/>
                  </a:moveTo>
                  <a:cubicBezTo>
                    <a:pt x="8734903" y="1354138"/>
                    <a:pt x="8750184" y="1369774"/>
                    <a:pt x="8750184" y="1389063"/>
                  </a:cubicBezTo>
                  <a:cubicBezTo>
                    <a:pt x="8750184" y="1408352"/>
                    <a:pt x="8734903" y="1423988"/>
                    <a:pt x="8716052" y="1423988"/>
                  </a:cubicBezTo>
                  <a:cubicBezTo>
                    <a:pt x="8697201" y="1423988"/>
                    <a:pt x="8681920" y="1408352"/>
                    <a:pt x="8681920" y="1389063"/>
                  </a:cubicBezTo>
                  <a:cubicBezTo>
                    <a:pt x="8681920" y="1369774"/>
                    <a:pt x="8697201" y="1354138"/>
                    <a:pt x="8716052" y="1354138"/>
                  </a:cubicBezTo>
                  <a:close/>
                  <a:moveTo>
                    <a:pt x="8630327" y="1354138"/>
                  </a:moveTo>
                  <a:cubicBezTo>
                    <a:pt x="8649178" y="1354138"/>
                    <a:pt x="8664459" y="1369774"/>
                    <a:pt x="8664459" y="1389063"/>
                  </a:cubicBezTo>
                  <a:cubicBezTo>
                    <a:pt x="8664459" y="1408352"/>
                    <a:pt x="8649178" y="1423988"/>
                    <a:pt x="8630327" y="1423988"/>
                  </a:cubicBezTo>
                  <a:cubicBezTo>
                    <a:pt x="8611476" y="1423988"/>
                    <a:pt x="8596195" y="1408352"/>
                    <a:pt x="8596195" y="1389063"/>
                  </a:cubicBezTo>
                  <a:cubicBezTo>
                    <a:pt x="8596195" y="1369774"/>
                    <a:pt x="8611476" y="1354138"/>
                    <a:pt x="8630327" y="1354138"/>
                  </a:cubicBezTo>
                  <a:close/>
                  <a:moveTo>
                    <a:pt x="8544602" y="1354138"/>
                  </a:moveTo>
                  <a:cubicBezTo>
                    <a:pt x="8563453" y="1354138"/>
                    <a:pt x="8578734" y="1369774"/>
                    <a:pt x="8578734" y="1389063"/>
                  </a:cubicBezTo>
                  <a:cubicBezTo>
                    <a:pt x="8578734" y="1408352"/>
                    <a:pt x="8563453" y="1423988"/>
                    <a:pt x="8544602" y="1423988"/>
                  </a:cubicBezTo>
                  <a:cubicBezTo>
                    <a:pt x="8525751" y="1423988"/>
                    <a:pt x="8510470" y="1408352"/>
                    <a:pt x="8510470" y="1389063"/>
                  </a:cubicBezTo>
                  <a:cubicBezTo>
                    <a:pt x="8510470" y="1369774"/>
                    <a:pt x="8525751" y="1354138"/>
                    <a:pt x="8544602" y="1354138"/>
                  </a:cubicBezTo>
                  <a:close/>
                  <a:moveTo>
                    <a:pt x="8465227" y="1354138"/>
                  </a:moveTo>
                  <a:cubicBezTo>
                    <a:pt x="8484078" y="1354138"/>
                    <a:pt x="8499359" y="1369774"/>
                    <a:pt x="8499359" y="1389063"/>
                  </a:cubicBezTo>
                  <a:cubicBezTo>
                    <a:pt x="8499359" y="1408352"/>
                    <a:pt x="8484078" y="1423988"/>
                    <a:pt x="8465227" y="1423988"/>
                  </a:cubicBezTo>
                  <a:cubicBezTo>
                    <a:pt x="8446376" y="1423988"/>
                    <a:pt x="8431095" y="1408352"/>
                    <a:pt x="8431095" y="1389063"/>
                  </a:cubicBezTo>
                  <a:cubicBezTo>
                    <a:pt x="8431095" y="1369774"/>
                    <a:pt x="8446376" y="1354138"/>
                    <a:pt x="8465227" y="1354138"/>
                  </a:cubicBezTo>
                  <a:close/>
                  <a:moveTo>
                    <a:pt x="8379502" y="1354138"/>
                  </a:moveTo>
                  <a:cubicBezTo>
                    <a:pt x="8398353" y="1354138"/>
                    <a:pt x="8413634" y="1369774"/>
                    <a:pt x="8413634" y="1389063"/>
                  </a:cubicBezTo>
                  <a:cubicBezTo>
                    <a:pt x="8413634" y="1408352"/>
                    <a:pt x="8398353" y="1423988"/>
                    <a:pt x="8379502" y="1423988"/>
                  </a:cubicBezTo>
                  <a:cubicBezTo>
                    <a:pt x="8360651" y="1423988"/>
                    <a:pt x="8345370" y="1408352"/>
                    <a:pt x="8345370" y="1389063"/>
                  </a:cubicBezTo>
                  <a:cubicBezTo>
                    <a:pt x="8345370" y="1369774"/>
                    <a:pt x="8360651" y="1354138"/>
                    <a:pt x="8379502" y="1354138"/>
                  </a:cubicBezTo>
                  <a:close/>
                  <a:moveTo>
                    <a:pt x="8293777" y="1354138"/>
                  </a:moveTo>
                  <a:cubicBezTo>
                    <a:pt x="8312628" y="1354138"/>
                    <a:pt x="8327909" y="1369774"/>
                    <a:pt x="8327909" y="1389063"/>
                  </a:cubicBezTo>
                  <a:cubicBezTo>
                    <a:pt x="8327909" y="1408352"/>
                    <a:pt x="8312628" y="1423988"/>
                    <a:pt x="8293777" y="1423988"/>
                  </a:cubicBezTo>
                  <a:cubicBezTo>
                    <a:pt x="8274926" y="1423988"/>
                    <a:pt x="8259645" y="1408352"/>
                    <a:pt x="8259645" y="1389063"/>
                  </a:cubicBezTo>
                  <a:cubicBezTo>
                    <a:pt x="8259645" y="1369774"/>
                    <a:pt x="8274926" y="1354138"/>
                    <a:pt x="8293777" y="1354138"/>
                  </a:cubicBezTo>
                  <a:close/>
                  <a:moveTo>
                    <a:pt x="8208052" y="1354138"/>
                  </a:moveTo>
                  <a:cubicBezTo>
                    <a:pt x="8226903" y="1354138"/>
                    <a:pt x="8242184" y="1369774"/>
                    <a:pt x="8242184" y="1389063"/>
                  </a:cubicBezTo>
                  <a:cubicBezTo>
                    <a:pt x="8242184" y="1408352"/>
                    <a:pt x="8226903" y="1423988"/>
                    <a:pt x="8208052" y="1423988"/>
                  </a:cubicBezTo>
                  <a:cubicBezTo>
                    <a:pt x="8189201" y="1423988"/>
                    <a:pt x="8173920" y="1408352"/>
                    <a:pt x="8173920" y="1389063"/>
                  </a:cubicBezTo>
                  <a:cubicBezTo>
                    <a:pt x="8173920" y="1369774"/>
                    <a:pt x="8189201" y="1354138"/>
                    <a:pt x="8208052" y="1354138"/>
                  </a:cubicBezTo>
                  <a:close/>
                  <a:moveTo>
                    <a:pt x="8125502" y="1354138"/>
                  </a:moveTo>
                  <a:cubicBezTo>
                    <a:pt x="8146106" y="1354138"/>
                    <a:pt x="8162809" y="1369774"/>
                    <a:pt x="8162809" y="1389063"/>
                  </a:cubicBezTo>
                  <a:cubicBezTo>
                    <a:pt x="8162809" y="1408352"/>
                    <a:pt x="8146106" y="1423988"/>
                    <a:pt x="8125502" y="1423988"/>
                  </a:cubicBezTo>
                  <a:cubicBezTo>
                    <a:pt x="8104898" y="1423988"/>
                    <a:pt x="8088195" y="1408352"/>
                    <a:pt x="8088195" y="1389063"/>
                  </a:cubicBezTo>
                  <a:cubicBezTo>
                    <a:pt x="8088195" y="1369774"/>
                    <a:pt x="8104898" y="1354138"/>
                    <a:pt x="8125502" y="1354138"/>
                  </a:cubicBezTo>
                  <a:close/>
                  <a:moveTo>
                    <a:pt x="8042952" y="1354138"/>
                  </a:moveTo>
                  <a:cubicBezTo>
                    <a:pt x="8061803" y="1354138"/>
                    <a:pt x="8077084" y="1369774"/>
                    <a:pt x="8077084" y="1389063"/>
                  </a:cubicBezTo>
                  <a:cubicBezTo>
                    <a:pt x="8077084" y="1408352"/>
                    <a:pt x="8061803" y="1423988"/>
                    <a:pt x="8042952" y="1423988"/>
                  </a:cubicBezTo>
                  <a:cubicBezTo>
                    <a:pt x="8024101" y="1423988"/>
                    <a:pt x="8008820" y="1408352"/>
                    <a:pt x="8008820" y="1389063"/>
                  </a:cubicBezTo>
                  <a:cubicBezTo>
                    <a:pt x="8008820" y="1369774"/>
                    <a:pt x="8024101" y="1354138"/>
                    <a:pt x="8042952" y="1354138"/>
                  </a:cubicBezTo>
                  <a:close/>
                  <a:moveTo>
                    <a:pt x="7957227" y="1354138"/>
                  </a:moveTo>
                  <a:cubicBezTo>
                    <a:pt x="7976078" y="1354138"/>
                    <a:pt x="7991359" y="1369774"/>
                    <a:pt x="7991359" y="1389063"/>
                  </a:cubicBezTo>
                  <a:cubicBezTo>
                    <a:pt x="7991359" y="1408352"/>
                    <a:pt x="7976078" y="1423988"/>
                    <a:pt x="7957227" y="1423988"/>
                  </a:cubicBezTo>
                  <a:cubicBezTo>
                    <a:pt x="7938376" y="1423988"/>
                    <a:pt x="7923095" y="1408352"/>
                    <a:pt x="7923095" y="1389063"/>
                  </a:cubicBezTo>
                  <a:cubicBezTo>
                    <a:pt x="7923095" y="1369774"/>
                    <a:pt x="7938376" y="1354138"/>
                    <a:pt x="7957227" y="1354138"/>
                  </a:cubicBezTo>
                  <a:close/>
                  <a:moveTo>
                    <a:pt x="7785777" y="1354138"/>
                  </a:moveTo>
                  <a:cubicBezTo>
                    <a:pt x="7804628" y="1354138"/>
                    <a:pt x="7819909" y="1369774"/>
                    <a:pt x="7819909" y="1389063"/>
                  </a:cubicBezTo>
                  <a:cubicBezTo>
                    <a:pt x="7819909" y="1408352"/>
                    <a:pt x="7804628" y="1423988"/>
                    <a:pt x="7785777" y="1423988"/>
                  </a:cubicBezTo>
                  <a:cubicBezTo>
                    <a:pt x="7766926" y="1423988"/>
                    <a:pt x="7751645" y="1408352"/>
                    <a:pt x="7751645" y="1389063"/>
                  </a:cubicBezTo>
                  <a:cubicBezTo>
                    <a:pt x="7751645" y="1369774"/>
                    <a:pt x="7766926" y="1354138"/>
                    <a:pt x="7785777" y="1354138"/>
                  </a:cubicBezTo>
                  <a:close/>
                  <a:moveTo>
                    <a:pt x="7706402" y="1354138"/>
                  </a:moveTo>
                  <a:cubicBezTo>
                    <a:pt x="7725253" y="1354138"/>
                    <a:pt x="7740534" y="1369774"/>
                    <a:pt x="7740534" y="1389063"/>
                  </a:cubicBezTo>
                  <a:cubicBezTo>
                    <a:pt x="7740534" y="1408352"/>
                    <a:pt x="7725253" y="1423988"/>
                    <a:pt x="7706402" y="1423988"/>
                  </a:cubicBezTo>
                  <a:cubicBezTo>
                    <a:pt x="7687551" y="1423988"/>
                    <a:pt x="7672270" y="1408352"/>
                    <a:pt x="7672270" y="1389063"/>
                  </a:cubicBezTo>
                  <a:cubicBezTo>
                    <a:pt x="7672270" y="1369774"/>
                    <a:pt x="7687551" y="1354138"/>
                    <a:pt x="7706402" y="1354138"/>
                  </a:cubicBezTo>
                  <a:close/>
                  <a:moveTo>
                    <a:pt x="7620677" y="1354138"/>
                  </a:moveTo>
                  <a:cubicBezTo>
                    <a:pt x="7639528" y="1354138"/>
                    <a:pt x="7654809" y="1369774"/>
                    <a:pt x="7654809" y="1389063"/>
                  </a:cubicBezTo>
                  <a:cubicBezTo>
                    <a:pt x="7654809" y="1408352"/>
                    <a:pt x="7639528" y="1423988"/>
                    <a:pt x="7620677" y="1423988"/>
                  </a:cubicBezTo>
                  <a:cubicBezTo>
                    <a:pt x="7601826" y="1423988"/>
                    <a:pt x="7586545" y="1408352"/>
                    <a:pt x="7586545" y="1389063"/>
                  </a:cubicBezTo>
                  <a:cubicBezTo>
                    <a:pt x="7586545" y="1369774"/>
                    <a:pt x="7601826" y="1354138"/>
                    <a:pt x="7620677" y="1354138"/>
                  </a:cubicBezTo>
                  <a:close/>
                  <a:moveTo>
                    <a:pt x="7534952" y="1354138"/>
                  </a:moveTo>
                  <a:cubicBezTo>
                    <a:pt x="7553803" y="1354138"/>
                    <a:pt x="7569084" y="1369774"/>
                    <a:pt x="7569084" y="1389063"/>
                  </a:cubicBezTo>
                  <a:cubicBezTo>
                    <a:pt x="7569084" y="1408352"/>
                    <a:pt x="7553803" y="1423988"/>
                    <a:pt x="7534952" y="1423988"/>
                  </a:cubicBezTo>
                  <a:cubicBezTo>
                    <a:pt x="7516101" y="1423988"/>
                    <a:pt x="7500820" y="1408352"/>
                    <a:pt x="7500820" y="1389063"/>
                  </a:cubicBezTo>
                  <a:cubicBezTo>
                    <a:pt x="7500820" y="1369774"/>
                    <a:pt x="7516101" y="1354138"/>
                    <a:pt x="7534952" y="1354138"/>
                  </a:cubicBezTo>
                  <a:close/>
                  <a:moveTo>
                    <a:pt x="7449227" y="1354138"/>
                  </a:moveTo>
                  <a:cubicBezTo>
                    <a:pt x="7468078" y="1354138"/>
                    <a:pt x="7483359" y="1369774"/>
                    <a:pt x="7483359" y="1389063"/>
                  </a:cubicBezTo>
                  <a:cubicBezTo>
                    <a:pt x="7483359" y="1408352"/>
                    <a:pt x="7468078" y="1423988"/>
                    <a:pt x="7449227" y="1423988"/>
                  </a:cubicBezTo>
                  <a:cubicBezTo>
                    <a:pt x="7430376" y="1423988"/>
                    <a:pt x="7415095" y="1408352"/>
                    <a:pt x="7415095" y="1389063"/>
                  </a:cubicBezTo>
                  <a:cubicBezTo>
                    <a:pt x="7415095" y="1369774"/>
                    <a:pt x="7430376" y="1354138"/>
                    <a:pt x="7449227" y="1354138"/>
                  </a:cubicBezTo>
                  <a:close/>
                  <a:moveTo>
                    <a:pt x="7366677" y="1354138"/>
                  </a:moveTo>
                  <a:cubicBezTo>
                    <a:pt x="7387281" y="1354138"/>
                    <a:pt x="7403984" y="1369774"/>
                    <a:pt x="7403984" y="1389063"/>
                  </a:cubicBezTo>
                  <a:cubicBezTo>
                    <a:pt x="7403984" y="1408352"/>
                    <a:pt x="7387281" y="1423988"/>
                    <a:pt x="7366677" y="1423988"/>
                  </a:cubicBezTo>
                  <a:cubicBezTo>
                    <a:pt x="7346073" y="1423988"/>
                    <a:pt x="7329370" y="1408352"/>
                    <a:pt x="7329370" y="1389063"/>
                  </a:cubicBezTo>
                  <a:cubicBezTo>
                    <a:pt x="7329370" y="1369774"/>
                    <a:pt x="7346073" y="1354138"/>
                    <a:pt x="7366677" y="1354138"/>
                  </a:cubicBezTo>
                  <a:close/>
                  <a:moveTo>
                    <a:pt x="7284127" y="1354138"/>
                  </a:moveTo>
                  <a:cubicBezTo>
                    <a:pt x="7302978" y="1354138"/>
                    <a:pt x="7318259" y="1369774"/>
                    <a:pt x="7318259" y="1389063"/>
                  </a:cubicBezTo>
                  <a:cubicBezTo>
                    <a:pt x="7318259" y="1408352"/>
                    <a:pt x="7302978" y="1423988"/>
                    <a:pt x="7284127" y="1423988"/>
                  </a:cubicBezTo>
                  <a:cubicBezTo>
                    <a:pt x="7265276" y="1423988"/>
                    <a:pt x="7249995" y="1408352"/>
                    <a:pt x="7249995" y="1389063"/>
                  </a:cubicBezTo>
                  <a:cubicBezTo>
                    <a:pt x="7249995" y="1369774"/>
                    <a:pt x="7265276" y="1354138"/>
                    <a:pt x="7284127" y="1354138"/>
                  </a:cubicBezTo>
                  <a:close/>
                  <a:moveTo>
                    <a:pt x="7198402" y="1354138"/>
                  </a:moveTo>
                  <a:cubicBezTo>
                    <a:pt x="7217253" y="1354138"/>
                    <a:pt x="7232534" y="1369774"/>
                    <a:pt x="7232534" y="1389063"/>
                  </a:cubicBezTo>
                  <a:cubicBezTo>
                    <a:pt x="7232534" y="1408352"/>
                    <a:pt x="7217253" y="1423988"/>
                    <a:pt x="7198402" y="1423988"/>
                  </a:cubicBezTo>
                  <a:cubicBezTo>
                    <a:pt x="7179551" y="1423988"/>
                    <a:pt x="7164270" y="1408352"/>
                    <a:pt x="7164270" y="1389063"/>
                  </a:cubicBezTo>
                  <a:cubicBezTo>
                    <a:pt x="7164270" y="1369774"/>
                    <a:pt x="7179551" y="1354138"/>
                    <a:pt x="7198402" y="1354138"/>
                  </a:cubicBezTo>
                  <a:close/>
                  <a:moveTo>
                    <a:pt x="7112677" y="1354138"/>
                  </a:moveTo>
                  <a:cubicBezTo>
                    <a:pt x="7131528" y="1354138"/>
                    <a:pt x="7146809" y="1369774"/>
                    <a:pt x="7146809" y="1389063"/>
                  </a:cubicBezTo>
                  <a:cubicBezTo>
                    <a:pt x="7146809" y="1408352"/>
                    <a:pt x="7131528" y="1423988"/>
                    <a:pt x="7112677" y="1423988"/>
                  </a:cubicBezTo>
                  <a:cubicBezTo>
                    <a:pt x="7093826" y="1423988"/>
                    <a:pt x="7078545" y="1408352"/>
                    <a:pt x="7078545" y="1389063"/>
                  </a:cubicBezTo>
                  <a:cubicBezTo>
                    <a:pt x="7078545" y="1369774"/>
                    <a:pt x="7093826" y="1354138"/>
                    <a:pt x="7112677" y="1354138"/>
                  </a:cubicBezTo>
                  <a:close/>
                  <a:moveTo>
                    <a:pt x="7027745" y="1354138"/>
                  </a:moveTo>
                  <a:cubicBezTo>
                    <a:pt x="7047034" y="1354138"/>
                    <a:pt x="7062670" y="1369774"/>
                    <a:pt x="7062670" y="1389063"/>
                  </a:cubicBezTo>
                  <a:cubicBezTo>
                    <a:pt x="7062670" y="1408352"/>
                    <a:pt x="7047034" y="1423988"/>
                    <a:pt x="7027745" y="1423988"/>
                  </a:cubicBezTo>
                  <a:cubicBezTo>
                    <a:pt x="7008456" y="1423988"/>
                    <a:pt x="6992820" y="1408352"/>
                    <a:pt x="6992820" y="1389063"/>
                  </a:cubicBezTo>
                  <a:cubicBezTo>
                    <a:pt x="6992820" y="1369774"/>
                    <a:pt x="7008456" y="1354138"/>
                    <a:pt x="7027745" y="1354138"/>
                  </a:cubicBezTo>
                  <a:close/>
                  <a:moveTo>
                    <a:pt x="6947577" y="1354138"/>
                  </a:moveTo>
                  <a:cubicBezTo>
                    <a:pt x="6966428" y="1354138"/>
                    <a:pt x="6981709" y="1369774"/>
                    <a:pt x="6981709" y="1389063"/>
                  </a:cubicBezTo>
                  <a:cubicBezTo>
                    <a:pt x="6981709" y="1408352"/>
                    <a:pt x="6966428" y="1423988"/>
                    <a:pt x="6947577" y="1423988"/>
                  </a:cubicBezTo>
                  <a:cubicBezTo>
                    <a:pt x="6928726" y="1423988"/>
                    <a:pt x="6913445" y="1408352"/>
                    <a:pt x="6913445" y="1389063"/>
                  </a:cubicBezTo>
                  <a:cubicBezTo>
                    <a:pt x="6913445" y="1369774"/>
                    <a:pt x="6928726" y="1354138"/>
                    <a:pt x="6947577" y="1354138"/>
                  </a:cubicBezTo>
                  <a:close/>
                  <a:moveTo>
                    <a:pt x="6861852" y="1354138"/>
                  </a:moveTo>
                  <a:cubicBezTo>
                    <a:pt x="6880703" y="1354138"/>
                    <a:pt x="6895984" y="1369774"/>
                    <a:pt x="6895984" y="1389063"/>
                  </a:cubicBezTo>
                  <a:cubicBezTo>
                    <a:pt x="6895984" y="1408352"/>
                    <a:pt x="6880703" y="1423988"/>
                    <a:pt x="6861852" y="1423988"/>
                  </a:cubicBezTo>
                  <a:cubicBezTo>
                    <a:pt x="6843001" y="1423988"/>
                    <a:pt x="6827720" y="1408352"/>
                    <a:pt x="6827720" y="1389063"/>
                  </a:cubicBezTo>
                  <a:cubicBezTo>
                    <a:pt x="6827720" y="1369774"/>
                    <a:pt x="6843001" y="1354138"/>
                    <a:pt x="6861852" y="1354138"/>
                  </a:cubicBezTo>
                  <a:close/>
                  <a:moveTo>
                    <a:pt x="6776127" y="1354138"/>
                  </a:moveTo>
                  <a:cubicBezTo>
                    <a:pt x="6794978" y="1354138"/>
                    <a:pt x="6810259" y="1369774"/>
                    <a:pt x="6810259" y="1389063"/>
                  </a:cubicBezTo>
                  <a:cubicBezTo>
                    <a:pt x="6810259" y="1408352"/>
                    <a:pt x="6794978" y="1423988"/>
                    <a:pt x="6776127" y="1423988"/>
                  </a:cubicBezTo>
                  <a:cubicBezTo>
                    <a:pt x="6757276" y="1423988"/>
                    <a:pt x="6741995" y="1408352"/>
                    <a:pt x="6741995" y="1389063"/>
                  </a:cubicBezTo>
                  <a:cubicBezTo>
                    <a:pt x="6741995" y="1369774"/>
                    <a:pt x="6757276" y="1354138"/>
                    <a:pt x="6776127" y="1354138"/>
                  </a:cubicBezTo>
                  <a:close/>
                  <a:moveTo>
                    <a:pt x="6691195" y="1354138"/>
                  </a:moveTo>
                  <a:cubicBezTo>
                    <a:pt x="6710484" y="1354138"/>
                    <a:pt x="6726120" y="1369774"/>
                    <a:pt x="6726120" y="1389063"/>
                  </a:cubicBezTo>
                  <a:cubicBezTo>
                    <a:pt x="6726120" y="1408352"/>
                    <a:pt x="6710484" y="1423988"/>
                    <a:pt x="6691195" y="1423988"/>
                  </a:cubicBezTo>
                  <a:cubicBezTo>
                    <a:pt x="6671906" y="1423988"/>
                    <a:pt x="6656270" y="1408352"/>
                    <a:pt x="6656270" y="1389063"/>
                  </a:cubicBezTo>
                  <a:cubicBezTo>
                    <a:pt x="6656270" y="1369774"/>
                    <a:pt x="6671906" y="1354138"/>
                    <a:pt x="6691195" y="1354138"/>
                  </a:cubicBezTo>
                  <a:close/>
                  <a:moveTo>
                    <a:pt x="6607852" y="1354138"/>
                  </a:moveTo>
                  <a:cubicBezTo>
                    <a:pt x="6628456" y="1354138"/>
                    <a:pt x="6645159" y="1369774"/>
                    <a:pt x="6645159" y="1389063"/>
                  </a:cubicBezTo>
                  <a:cubicBezTo>
                    <a:pt x="6645159" y="1408352"/>
                    <a:pt x="6628456" y="1423988"/>
                    <a:pt x="6607852" y="1423988"/>
                  </a:cubicBezTo>
                  <a:cubicBezTo>
                    <a:pt x="6587248" y="1423988"/>
                    <a:pt x="6570545" y="1408352"/>
                    <a:pt x="6570545" y="1389063"/>
                  </a:cubicBezTo>
                  <a:cubicBezTo>
                    <a:pt x="6570545" y="1369774"/>
                    <a:pt x="6587248" y="1354138"/>
                    <a:pt x="6607852" y="1354138"/>
                  </a:cubicBezTo>
                  <a:close/>
                  <a:moveTo>
                    <a:pt x="6525302" y="1354138"/>
                  </a:moveTo>
                  <a:cubicBezTo>
                    <a:pt x="6544153" y="1354138"/>
                    <a:pt x="6559434" y="1369774"/>
                    <a:pt x="6559434" y="1389063"/>
                  </a:cubicBezTo>
                  <a:cubicBezTo>
                    <a:pt x="6559434" y="1408352"/>
                    <a:pt x="6544153" y="1423988"/>
                    <a:pt x="6525302" y="1423988"/>
                  </a:cubicBezTo>
                  <a:cubicBezTo>
                    <a:pt x="6506451" y="1423988"/>
                    <a:pt x="6491170" y="1408352"/>
                    <a:pt x="6491170" y="1389063"/>
                  </a:cubicBezTo>
                  <a:cubicBezTo>
                    <a:pt x="6491170" y="1369774"/>
                    <a:pt x="6506451" y="1354138"/>
                    <a:pt x="6525302" y="1354138"/>
                  </a:cubicBezTo>
                  <a:close/>
                  <a:moveTo>
                    <a:pt x="6439577" y="1354138"/>
                  </a:moveTo>
                  <a:cubicBezTo>
                    <a:pt x="6458428" y="1354138"/>
                    <a:pt x="6473709" y="1369774"/>
                    <a:pt x="6473709" y="1389063"/>
                  </a:cubicBezTo>
                  <a:cubicBezTo>
                    <a:pt x="6473709" y="1408352"/>
                    <a:pt x="6458428" y="1423988"/>
                    <a:pt x="6439577" y="1423988"/>
                  </a:cubicBezTo>
                  <a:cubicBezTo>
                    <a:pt x="6420726" y="1423988"/>
                    <a:pt x="6405445" y="1408352"/>
                    <a:pt x="6405445" y="1389063"/>
                  </a:cubicBezTo>
                  <a:cubicBezTo>
                    <a:pt x="6405445" y="1369774"/>
                    <a:pt x="6420726" y="1354138"/>
                    <a:pt x="6439577" y="1354138"/>
                  </a:cubicBezTo>
                  <a:close/>
                  <a:moveTo>
                    <a:pt x="6353852" y="1354138"/>
                  </a:moveTo>
                  <a:cubicBezTo>
                    <a:pt x="6372703" y="1354138"/>
                    <a:pt x="6387984" y="1369774"/>
                    <a:pt x="6387984" y="1389063"/>
                  </a:cubicBezTo>
                  <a:cubicBezTo>
                    <a:pt x="6387984" y="1408352"/>
                    <a:pt x="6372703" y="1423988"/>
                    <a:pt x="6353852" y="1423988"/>
                  </a:cubicBezTo>
                  <a:cubicBezTo>
                    <a:pt x="6335001" y="1423988"/>
                    <a:pt x="6319720" y="1408352"/>
                    <a:pt x="6319720" y="1389063"/>
                  </a:cubicBezTo>
                  <a:cubicBezTo>
                    <a:pt x="6319720" y="1369774"/>
                    <a:pt x="6335001" y="1354138"/>
                    <a:pt x="6353852" y="1354138"/>
                  </a:cubicBezTo>
                  <a:close/>
                  <a:moveTo>
                    <a:pt x="6268920" y="1354138"/>
                  </a:moveTo>
                  <a:cubicBezTo>
                    <a:pt x="6288209" y="1354138"/>
                    <a:pt x="6303845" y="1369774"/>
                    <a:pt x="6303845" y="1389063"/>
                  </a:cubicBezTo>
                  <a:cubicBezTo>
                    <a:pt x="6303845" y="1408352"/>
                    <a:pt x="6288209" y="1423988"/>
                    <a:pt x="6268920" y="1423988"/>
                  </a:cubicBezTo>
                  <a:cubicBezTo>
                    <a:pt x="6249631" y="1423988"/>
                    <a:pt x="6233995" y="1408352"/>
                    <a:pt x="6233995" y="1389063"/>
                  </a:cubicBezTo>
                  <a:cubicBezTo>
                    <a:pt x="6233995" y="1369774"/>
                    <a:pt x="6249631" y="1354138"/>
                    <a:pt x="6268920" y="1354138"/>
                  </a:cubicBezTo>
                  <a:close/>
                  <a:moveTo>
                    <a:pt x="6188752" y="1354138"/>
                  </a:moveTo>
                  <a:cubicBezTo>
                    <a:pt x="6207603" y="1354138"/>
                    <a:pt x="6222884" y="1369774"/>
                    <a:pt x="6222884" y="1389063"/>
                  </a:cubicBezTo>
                  <a:cubicBezTo>
                    <a:pt x="6222884" y="1408352"/>
                    <a:pt x="6207603" y="1423988"/>
                    <a:pt x="6188752" y="1423988"/>
                  </a:cubicBezTo>
                  <a:cubicBezTo>
                    <a:pt x="6169901" y="1423988"/>
                    <a:pt x="6154620" y="1408352"/>
                    <a:pt x="6154620" y="1389063"/>
                  </a:cubicBezTo>
                  <a:cubicBezTo>
                    <a:pt x="6154620" y="1369774"/>
                    <a:pt x="6169901" y="1354138"/>
                    <a:pt x="6188752" y="1354138"/>
                  </a:cubicBezTo>
                  <a:close/>
                  <a:moveTo>
                    <a:pt x="6103027" y="1354138"/>
                  </a:moveTo>
                  <a:cubicBezTo>
                    <a:pt x="6121878" y="1354138"/>
                    <a:pt x="6137159" y="1369774"/>
                    <a:pt x="6137159" y="1389063"/>
                  </a:cubicBezTo>
                  <a:cubicBezTo>
                    <a:pt x="6137159" y="1408352"/>
                    <a:pt x="6121878" y="1423988"/>
                    <a:pt x="6103027" y="1423988"/>
                  </a:cubicBezTo>
                  <a:cubicBezTo>
                    <a:pt x="6084176" y="1423988"/>
                    <a:pt x="6068895" y="1408352"/>
                    <a:pt x="6068895" y="1389063"/>
                  </a:cubicBezTo>
                  <a:cubicBezTo>
                    <a:pt x="6068895" y="1369774"/>
                    <a:pt x="6084176" y="1354138"/>
                    <a:pt x="6103027" y="1354138"/>
                  </a:cubicBezTo>
                  <a:close/>
                  <a:moveTo>
                    <a:pt x="5932370" y="1354138"/>
                  </a:moveTo>
                  <a:cubicBezTo>
                    <a:pt x="5951659" y="1354138"/>
                    <a:pt x="5967295" y="1369774"/>
                    <a:pt x="5967295" y="1389063"/>
                  </a:cubicBezTo>
                  <a:cubicBezTo>
                    <a:pt x="5967295" y="1408352"/>
                    <a:pt x="5951659" y="1423988"/>
                    <a:pt x="5932370" y="1423988"/>
                  </a:cubicBezTo>
                  <a:cubicBezTo>
                    <a:pt x="5913081" y="1423988"/>
                    <a:pt x="5897445" y="1408352"/>
                    <a:pt x="5897445" y="1389063"/>
                  </a:cubicBezTo>
                  <a:cubicBezTo>
                    <a:pt x="5897445" y="1369774"/>
                    <a:pt x="5913081" y="1354138"/>
                    <a:pt x="5932370" y="1354138"/>
                  </a:cubicBezTo>
                  <a:close/>
                  <a:moveTo>
                    <a:pt x="5849821" y="1354138"/>
                  </a:moveTo>
                  <a:cubicBezTo>
                    <a:pt x="5869987" y="1354138"/>
                    <a:pt x="5886334" y="1369774"/>
                    <a:pt x="5886334" y="1389063"/>
                  </a:cubicBezTo>
                  <a:cubicBezTo>
                    <a:pt x="5886334" y="1408352"/>
                    <a:pt x="5869987" y="1423988"/>
                    <a:pt x="5849821" y="1423988"/>
                  </a:cubicBezTo>
                  <a:cubicBezTo>
                    <a:pt x="5829655" y="1423988"/>
                    <a:pt x="5813308" y="1408352"/>
                    <a:pt x="5813308" y="1389063"/>
                  </a:cubicBezTo>
                  <a:cubicBezTo>
                    <a:pt x="5813308" y="1369774"/>
                    <a:pt x="5829655" y="1354138"/>
                    <a:pt x="5849821" y="1354138"/>
                  </a:cubicBezTo>
                  <a:close/>
                  <a:moveTo>
                    <a:pt x="5766477" y="1354138"/>
                  </a:moveTo>
                  <a:cubicBezTo>
                    <a:pt x="5785328" y="1354138"/>
                    <a:pt x="5800609" y="1369774"/>
                    <a:pt x="5800609" y="1389063"/>
                  </a:cubicBezTo>
                  <a:cubicBezTo>
                    <a:pt x="5800609" y="1408352"/>
                    <a:pt x="5785328" y="1423988"/>
                    <a:pt x="5766477" y="1423988"/>
                  </a:cubicBezTo>
                  <a:cubicBezTo>
                    <a:pt x="5747626" y="1423988"/>
                    <a:pt x="5732345" y="1408352"/>
                    <a:pt x="5732345" y="1389063"/>
                  </a:cubicBezTo>
                  <a:cubicBezTo>
                    <a:pt x="5732345" y="1369774"/>
                    <a:pt x="5747626" y="1354138"/>
                    <a:pt x="5766477" y="1354138"/>
                  </a:cubicBezTo>
                  <a:close/>
                  <a:moveTo>
                    <a:pt x="5680752" y="1354138"/>
                  </a:moveTo>
                  <a:cubicBezTo>
                    <a:pt x="5699603" y="1354138"/>
                    <a:pt x="5714884" y="1369774"/>
                    <a:pt x="5714884" y="1389063"/>
                  </a:cubicBezTo>
                  <a:cubicBezTo>
                    <a:pt x="5714884" y="1408352"/>
                    <a:pt x="5699603" y="1423988"/>
                    <a:pt x="5680752" y="1423988"/>
                  </a:cubicBezTo>
                  <a:cubicBezTo>
                    <a:pt x="5661901" y="1423988"/>
                    <a:pt x="5646620" y="1408352"/>
                    <a:pt x="5646620" y="1389063"/>
                  </a:cubicBezTo>
                  <a:cubicBezTo>
                    <a:pt x="5646620" y="1369774"/>
                    <a:pt x="5661901" y="1354138"/>
                    <a:pt x="5680752" y="1354138"/>
                  </a:cubicBezTo>
                  <a:close/>
                  <a:moveTo>
                    <a:pt x="5429927" y="1354138"/>
                  </a:moveTo>
                  <a:cubicBezTo>
                    <a:pt x="5448778" y="1354138"/>
                    <a:pt x="5464059" y="1369774"/>
                    <a:pt x="5464059" y="1389063"/>
                  </a:cubicBezTo>
                  <a:cubicBezTo>
                    <a:pt x="5464059" y="1408352"/>
                    <a:pt x="5448778" y="1423988"/>
                    <a:pt x="5429927" y="1423988"/>
                  </a:cubicBezTo>
                  <a:cubicBezTo>
                    <a:pt x="5411076" y="1423988"/>
                    <a:pt x="5395795" y="1408352"/>
                    <a:pt x="5395795" y="1389063"/>
                  </a:cubicBezTo>
                  <a:cubicBezTo>
                    <a:pt x="5395795" y="1369774"/>
                    <a:pt x="5411076" y="1354138"/>
                    <a:pt x="5429927" y="1354138"/>
                  </a:cubicBezTo>
                  <a:close/>
                  <a:moveTo>
                    <a:pt x="5344202" y="1354138"/>
                  </a:moveTo>
                  <a:cubicBezTo>
                    <a:pt x="5363053" y="1354138"/>
                    <a:pt x="5378334" y="1369774"/>
                    <a:pt x="5378334" y="1389063"/>
                  </a:cubicBezTo>
                  <a:cubicBezTo>
                    <a:pt x="5378334" y="1408352"/>
                    <a:pt x="5363053" y="1423988"/>
                    <a:pt x="5344202" y="1423988"/>
                  </a:cubicBezTo>
                  <a:cubicBezTo>
                    <a:pt x="5325351" y="1423988"/>
                    <a:pt x="5310070" y="1408352"/>
                    <a:pt x="5310070" y="1389063"/>
                  </a:cubicBezTo>
                  <a:cubicBezTo>
                    <a:pt x="5310070" y="1369774"/>
                    <a:pt x="5325351" y="1354138"/>
                    <a:pt x="5344202" y="1354138"/>
                  </a:cubicBezTo>
                  <a:close/>
                  <a:moveTo>
                    <a:pt x="5173545" y="1354138"/>
                  </a:moveTo>
                  <a:cubicBezTo>
                    <a:pt x="5192834" y="1354138"/>
                    <a:pt x="5208470" y="1369774"/>
                    <a:pt x="5208470" y="1389063"/>
                  </a:cubicBezTo>
                  <a:cubicBezTo>
                    <a:pt x="5208470" y="1408352"/>
                    <a:pt x="5192834" y="1423988"/>
                    <a:pt x="5173545" y="1423988"/>
                  </a:cubicBezTo>
                  <a:cubicBezTo>
                    <a:pt x="5154256" y="1423988"/>
                    <a:pt x="5138620" y="1408352"/>
                    <a:pt x="5138620" y="1389063"/>
                  </a:cubicBezTo>
                  <a:cubicBezTo>
                    <a:pt x="5138620" y="1369774"/>
                    <a:pt x="5154256" y="1354138"/>
                    <a:pt x="5173545" y="1354138"/>
                  </a:cubicBezTo>
                  <a:close/>
                  <a:moveTo>
                    <a:pt x="3234414" y="1354138"/>
                  </a:moveTo>
                  <a:cubicBezTo>
                    <a:pt x="3253265" y="1354138"/>
                    <a:pt x="3268546" y="1369774"/>
                    <a:pt x="3268546" y="1389063"/>
                  </a:cubicBezTo>
                  <a:cubicBezTo>
                    <a:pt x="3268546" y="1408352"/>
                    <a:pt x="3253265" y="1423988"/>
                    <a:pt x="3234414" y="1423988"/>
                  </a:cubicBezTo>
                  <a:cubicBezTo>
                    <a:pt x="3215563" y="1423988"/>
                    <a:pt x="3200282" y="1408352"/>
                    <a:pt x="3200282" y="1389063"/>
                  </a:cubicBezTo>
                  <a:cubicBezTo>
                    <a:pt x="3200282" y="1369774"/>
                    <a:pt x="3215563" y="1354138"/>
                    <a:pt x="3234414" y="1354138"/>
                  </a:cubicBezTo>
                  <a:close/>
                  <a:moveTo>
                    <a:pt x="3153452" y="1354138"/>
                  </a:moveTo>
                  <a:cubicBezTo>
                    <a:pt x="3172303" y="1354138"/>
                    <a:pt x="3187584" y="1369774"/>
                    <a:pt x="3187584" y="1389063"/>
                  </a:cubicBezTo>
                  <a:cubicBezTo>
                    <a:pt x="3187584" y="1408352"/>
                    <a:pt x="3172303" y="1423988"/>
                    <a:pt x="3153452" y="1423988"/>
                  </a:cubicBezTo>
                  <a:cubicBezTo>
                    <a:pt x="3134601" y="1423988"/>
                    <a:pt x="3119320" y="1408352"/>
                    <a:pt x="3119320" y="1389063"/>
                  </a:cubicBezTo>
                  <a:cubicBezTo>
                    <a:pt x="3119320" y="1369774"/>
                    <a:pt x="3134601" y="1354138"/>
                    <a:pt x="3153452" y="1354138"/>
                  </a:cubicBezTo>
                  <a:close/>
                  <a:moveTo>
                    <a:pt x="3068520" y="1354138"/>
                  </a:moveTo>
                  <a:cubicBezTo>
                    <a:pt x="3087809" y="1354138"/>
                    <a:pt x="3103445" y="1369774"/>
                    <a:pt x="3103445" y="1389063"/>
                  </a:cubicBezTo>
                  <a:cubicBezTo>
                    <a:pt x="3103445" y="1408352"/>
                    <a:pt x="3087809" y="1423988"/>
                    <a:pt x="3068520" y="1423988"/>
                  </a:cubicBezTo>
                  <a:cubicBezTo>
                    <a:pt x="3049231" y="1423988"/>
                    <a:pt x="3033595" y="1408352"/>
                    <a:pt x="3033595" y="1389063"/>
                  </a:cubicBezTo>
                  <a:cubicBezTo>
                    <a:pt x="3033595" y="1369774"/>
                    <a:pt x="3049231" y="1354138"/>
                    <a:pt x="3068520" y="1354138"/>
                  </a:cubicBezTo>
                  <a:close/>
                  <a:moveTo>
                    <a:pt x="2983589" y="1354138"/>
                  </a:moveTo>
                  <a:cubicBezTo>
                    <a:pt x="3002440" y="1354138"/>
                    <a:pt x="3017721" y="1369774"/>
                    <a:pt x="3017721" y="1389063"/>
                  </a:cubicBezTo>
                  <a:cubicBezTo>
                    <a:pt x="3017721" y="1408352"/>
                    <a:pt x="3002440" y="1423988"/>
                    <a:pt x="2983589" y="1423988"/>
                  </a:cubicBezTo>
                  <a:cubicBezTo>
                    <a:pt x="2964738" y="1423988"/>
                    <a:pt x="2949457" y="1408352"/>
                    <a:pt x="2949457" y="1389063"/>
                  </a:cubicBezTo>
                  <a:cubicBezTo>
                    <a:pt x="2949457" y="1369774"/>
                    <a:pt x="2964738" y="1354138"/>
                    <a:pt x="2983589" y="1354138"/>
                  </a:cubicBezTo>
                  <a:close/>
                  <a:moveTo>
                    <a:pt x="2897864" y="1354138"/>
                  </a:moveTo>
                  <a:cubicBezTo>
                    <a:pt x="2916715" y="1354138"/>
                    <a:pt x="2931996" y="1369774"/>
                    <a:pt x="2931996" y="1389063"/>
                  </a:cubicBezTo>
                  <a:cubicBezTo>
                    <a:pt x="2931996" y="1408352"/>
                    <a:pt x="2916715" y="1423988"/>
                    <a:pt x="2897864" y="1423988"/>
                  </a:cubicBezTo>
                  <a:cubicBezTo>
                    <a:pt x="2879013" y="1423988"/>
                    <a:pt x="2863732" y="1408352"/>
                    <a:pt x="2863732" y="1389063"/>
                  </a:cubicBezTo>
                  <a:cubicBezTo>
                    <a:pt x="2863732" y="1369774"/>
                    <a:pt x="2879013" y="1354138"/>
                    <a:pt x="2897864" y="1354138"/>
                  </a:cubicBezTo>
                  <a:close/>
                  <a:moveTo>
                    <a:pt x="2475754" y="1354138"/>
                  </a:moveTo>
                  <a:cubicBezTo>
                    <a:pt x="2494608" y="1354138"/>
                    <a:pt x="2509883" y="1369774"/>
                    <a:pt x="2509883" y="1389063"/>
                  </a:cubicBezTo>
                  <a:cubicBezTo>
                    <a:pt x="2509883" y="1408352"/>
                    <a:pt x="2494608" y="1423988"/>
                    <a:pt x="2475754" y="1423988"/>
                  </a:cubicBezTo>
                  <a:cubicBezTo>
                    <a:pt x="2456900" y="1423988"/>
                    <a:pt x="2441619" y="1408352"/>
                    <a:pt x="2441619" y="1389063"/>
                  </a:cubicBezTo>
                  <a:cubicBezTo>
                    <a:pt x="2441619" y="1369774"/>
                    <a:pt x="2456900" y="1354138"/>
                    <a:pt x="2475754" y="1354138"/>
                  </a:cubicBezTo>
                  <a:close/>
                  <a:moveTo>
                    <a:pt x="2394790" y="1354138"/>
                  </a:moveTo>
                  <a:cubicBezTo>
                    <a:pt x="2413638" y="1354138"/>
                    <a:pt x="2428919" y="1369774"/>
                    <a:pt x="2428919" y="1389063"/>
                  </a:cubicBezTo>
                  <a:cubicBezTo>
                    <a:pt x="2428919" y="1408352"/>
                    <a:pt x="2413638" y="1423988"/>
                    <a:pt x="2394790" y="1423988"/>
                  </a:cubicBezTo>
                  <a:cubicBezTo>
                    <a:pt x="2375933" y="1423988"/>
                    <a:pt x="2360656" y="1408352"/>
                    <a:pt x="2360656" y="1389063"/>
                  </a:cubicBezTo>
                  <a:cubicBezTo>
                    <a:pt x="2360656" y="1369774"/>
                    <a:pt x="2375933" y="1354138"/>
                    <a:pt x="2394790" y="1354138"/>
                  </a:cubicBezTo>
                  <a:close/>
                  <a:moveTo>
                    <a:pt x="2309856" y="1354138"/>
                  </a:moveTo>
                  <a:cubicBezTo>
                    <a:pt x="2329141" y="1354138"/>
                    <a:pt x="2344781" y="1369774"/>
                    <a:pt x="2344781" y="1389063"/>
                  </a:cubicBezTo>
                  <a:cubicBezTo>
                    <a:pt x="2344781" y="1408352"/>
                    <a:pt x="2329141" y="1423988"/>
                    <a:pt x="2309856" y="1423988"/>
                  </a:cubicBezTo>
                  <a:cubicBezTo>
                    <a:pt x="2290564" y="1423988"/>
                    <a:pt x="2274920" y="1408352"/>
                    <a:pt x="2274920" y="1389063"/>
                  </a:cubicBezTo>
                  <a:cubicBezTo>
                    <a:pt x="2274920" y="1369774"/>
                    <a:pt x="2290564" y="1354138"/>
                    <a:pt x="2309856" y="1354138"/>
                  </a:cubicBezTo>
                  <a:close/>
                  <a:moveTo>
                    <a:pt x="2224919" y="1354138"/>
                  </a:moveTo>
                  <a:cubicBezTo>
                    <a:pt x="2243761" y="1354138"/>
                    <a:pt x="2259040" y="1369774"/>
                    <a:pt x="2259040" y="1389063"/>
                  </a:cubicBezTo>
                  <a:cubicBezTo>
                    <a:pt x="2259040" y="1408352"/>
                    <a:pt x="2243761" y="1423988"/>
                    <a:pt x="2224919" y="1423988"/>
                  </a:cubicBezTo>
                  <a:cubicBezTo>
                    <a:pt x="2206066" y="1423988"/>
                    <a:pt x="2190786" y="1408352"/>
                    <a:pt x="2190786" y="1389063"/>
                  </a:cubicBezTo>
                  <a:cubicBezTo>
                    <a:pt x="2190786" y="1369774"/>
                    <a:pt x="2206066" y="1354138"/>
                    <a:pt x="2224919" y="1354138"/>
                  </a:cubicBezTo>
                  <a:close/>
                  <a:moveTo>
                    <a:pt x="2139203" y="1354138"/>
                  </a:moveTo>
                  <a:cubicBezTo>
                    <a:pt x="2158055" y="1354138"/>
                    <a:pt x="2173331" y="1369774"/>
                    <a:pt x="2173331" y="1389063"/>
                  </a:cubicBezTo>
                  <a:cubicBezTo>
                    <a:pt x="2173331" y="1408352"/>
                    <a:pt x="2158055" y="1423988"/>
                    <a:pt x="2139203" y="1423988"/>
                  </a:cubicBezTo>
                  <a:cubicBezTo>
                    <a:pt x="2120347" y="1423988"/>
                    <a:pt x="2105064" y="1408352"/>
                    <a:pt x="2105064" y="1389063"/>
                  </a:cubicBezTo>
                  <a:cubicBezTo>
                    <a:pt x="2105064" y="1369774"/>
                    <a:pt x="2120347" y="1354138"/>
                    <a:pt x="2139203" y="1354138"/>
                  </a:cubicBezTo>
                  <a:close/>
                  <a:moveTo>
                    <a:pt x="2055704" y="1354138"/>
                  </a:moveTo>
                  <a:cubicBezTo>
                    <a:pt x="2075871" y="1354138"/>
                    <a:pt x="2092218" y="1369774"/>
                    <a:pt x="2092218" y="1389063"/>
                  </a:cubicBezTo>
                  <a:cubicBezTo>
                    <a:pt x="2092218" y="1408352"/>
                    <a:pt x="2075871" y="1423988"/>
                    <a:pt x="2055704" y="1423988"/>
                  </a:cubicBezTo>
                  <a:cubicBezTo>
                    <a:pt x="2035539" y="1423988"/>
                    <a:pt x="2019192" y="1408352"/>
                    <a:pt x="2019192" y="1389063"/>
                  </a:cubicBezTo>
                  <a:cubicBezTo>
                    <a:pt x="2019192" y="1369774"/>
                    <a:pt x="2035539" y="1354138"/>
                    <a:pt x="2055704" y="1354138"/>
                  </a:cubicBezTo>
                  <a:close/>
                  <a:moveTo>
                    <a:pt x="1973161" y="1354138"/>
                  </a:moveTo>
                  <a:cubicBezTo>
                    <a:pt x="1992450" y="1354138"/>
                    <a:pt x="2008085" y="1369774"/>
                    <a:pt x="2008085" y="1389063"/>
                  </a:cubicBezTo>
                  <a:cubicBezTo>
                    <a:pt x="2008085" y="1408352"/>
                    <a:pt x="1992450" y="1423988"/>
                    <a:pt x="1973161" y="1423988"/>
                  </a:cubicBezTo>
                  <a:cubicBezTo>
                    <a:pt x="1953872" y="1423988"/>
                    <a:pt x="1938236" y="1408352"/>
                    <a:pt x="1938236" y="1389063"/>
                  </a:cubicBezTo>
                  <a:cubicBezTo>
                    <a:pt x="1938236" y="1369774"/>
                    <a:pt x="1953872" y="1354138"/>
                    <a:pt x="1973161" y="1354138"/>
                  </a:cubicBezTo>
                  <a:close/>
                  <a:moveTo>
                    <a:pt x="1888231" y="1354138"/>
                  </a:moveTo>
                  <a:cubicBezTo>
                    <a:pt x="1907082" y="1354138"/>
                    <a:pt x="1922362" y="1369774"/>
                    <a:pt x="1922362" y="1389063"/>
                  </a:cubicBezTo>
                  <a:cubicBezTo>
                    <a:pt x="1922362" y="1408352"/>
                    <a:pt x="1907082" y="1423988"/>
                    <a:pt x="1888231" y="1423988"/>
                  </a:cubicBezTo>
                  <a:cubicBezTo>
                    <a:pt x="1869380" y="1423988"/>
                    <a:pt x="1854099" y="1408352"/>
                    <a:pt x="1854099" y="1389063"/>
                  </a:cubicBezTo>
                  <a:cubicBezTo>
                    <a:pt x="1854099" y="1369774"/>
                    <a:pt x="1869380" y="1354138"/>
                    <a:pt x="1888231" y="1354138"/>
                  </a:cubicBezTo>
                  <a:close/>
                  <a:moveTo>
                    <a:pt x="1802511" y="1354138"/>
                  </a:moveTo>
                  <a:cubicBezTo>
                    <a:pt x="1821362" y="1354138"/>
                    <a:pt x="1836643" y="1369774"/>
                    <a:pt x="1836643" y="1389063"/>
                  </a:cubicBezTo>
                  <a:cubicBezTo>
                    <a:pt x="1836643" y="1408352"/>
                    <a:pt x="1821362" y="1423988"/>
                    <a:pt x="1802511" y="1423988"/>
                  </a:cubicBezTo>
                  <a:cubicBezTo>
                    <a:pt x="1783659" y="1423988"/>
                    <a:pt x="1768379" y="1408352"/>
                    <a:pt x="1768379" y="1389063"/>
                  </a:cubicBezTo>
                  <a:cubicBezTo>
                    <a:pt x="1768379" y="1369774"/>
                    <a:pt x="1783659" y="1354138"/>
                    <a:pt x="1802511" y="1354138"/>
                  </a:cubicBezTo>
                  <a:close/>
                  <a:moveTo>
                    <a:pt x="1719168" y="1354138"/>
                  </a:moveTo>
                  <a:cubicBezTo>
                    <a:pt x="1739335" y="1354138"/>
                    <a:pt x="1755682" y="1369774"/>
                    <a:pt x="1755682" y="1389063"/>
                  </a:cubicBezTo>
                  <a:cubicBezTo>
                    <a:pt x="1755682" y="1408352"/>
                    <a:pt x="1739335" y="1423988"/>
                    <a:pt x="1719168" y="1423988"/>
                  </a:cubicBezTo>
                  <a:cubicBezTo>
                    <a:pt x="1699002" y="1423988"/>
                    <a:pt x="1682655" y="1408352"/>
                    <a:pt x="1682655" y="1389063"/>
                  </a:cubicBezTo>
                  <a:cubicBezTo>
                    <a:pt x="1682655" y="1369774"/>
                    <a:pt x="1699002" y="1354138"/>
                    <a:pt x="1719168" y="1354138"/>
                  </a:cubicBezTo>
                  <a:close/>
                  <a:moveTo>
                    <a:pt x="1636604" y="1354138"/>
                  </a:moveTo>
                  <a:cubicBezTo>
                    <a:pt x="1655893" y="1354138"/>
                    <a:pt x="1671530" y="1369774"/>
                    <a:pt x="1671530" y="1389063"/>
                  </a:cubicBezTo>
                  <a:cubicBezTo>
                    <a:pt x="1671530" y="1408352"/>
                    <a:pt x="1655893" y="1423988"/>
                    <a:pt x="1636604" y="1423988"/>
                  </a:cubicBezTo>
                  <a:cubicBezTo>
                    <a:pt x="1617315" y="1423988"/>
                    <a:pt x="1601679" y="1408352"/>
                    <a:pt x="1601679" y="1389063"/>
                  </a:cubicBezTo>
                  <a:cubicBezTo>
                    <a:pt x="1601679" y="1369774"/>
                    <a:pt x="1617315" y="1354138"/>
                    <a:pt x="1636604" y="1354138"/>
                  </a:cubicBezTo>
                  <a:close/>
                  <a:moveTo>
                    <a:pt x="1551678" y="1354138"/>
                  </a:moveTo>
                  <a:cubicBezTo>
                    <a:pt x="1570529" y="1354138"/>
                    <a:pt x="1585810" y="1369774"/>
                    <a:pt x="1585810" y="1389063"/>
                  </a:cubicBezTo>
                  <a:cubicBezTo>
                    <a:pt x="1585810" y="1408352"/>
                    <a:pt x="1570529" y="1423988"/>
                    <a:pt x="1551678" y="1423988"/>
                  </a:cubicBezTo>
                  <a:cubicBezTo>
                    <a:pt x="1532826" y="1423988"/>
                    <a:pt x="1517546" y="1408352"/>
                    <a:pt x="1517546" y="1389063"/>
                  </a:cubicBezTo>
                  <a:cubicBezTo>
                    <a:pt x="1517546" y="1369774"/>
                    <a:pt x="1532826" y="1354138"/>
                    <a:pt x="1551678" y="1354138"/>
                  </a:cubicBezTo>
                  <a:close/>
                  <a:moveTo>
                    <a:pt x="1465953" y="1354138"/>
                  </a:moveTo>
                  <a:cubicBezTo>
                    <a:pt x="1484804" y="1354138"/>
                    <a:pt x="1500085" y="1369774"/>
                    <a:pt x="1500085" y="1389063"/>
                  </a:cubicBezTo>
                  <a:cubicBezTo>
                    <a:pt x="1500085" y="1408352"/>
                    <a:pt x="1484804" y="1423988"/>
                    <a:pt x="1465953" y="1423988"/>
                  </a:cubicBezTo>
                  <a:cubicBezTo>
                    <a:pt x="1447101" y="1423988"/>
                    <a:pt x="1431821" y="1408352"/>
                    <a:pt x="1431821" y="1389063"/>
                  </a:cubicBezTo>
                  <a:cubicBezTo>
                    <a:pt x="1431821" y="1369774"/>
                    <a:pt x="1447101" y="1354138"/>
                    <a:pt x="1465953" y="1354138"/>
                  </a:cubicBezTo>
                  <a:close/>
                  <a:moveTo>
                    <a:pt x="1380392" y="1354138"/>
                  </a:moveTo>
                  <a:cubicBezTo>
                    <a:pt x="1399243" y="1354138"/>
                    <a:pt x="1414522" y="1369774"/>
                    <a:pt x="1414522" y="1389063"/>
                  </a:cubicBezTo>
                  <a:cubicBezTo>
                    <a:pt x="1414522" y="1408352"/>
                    <a:pt x="1399243" y="1423988"/>
                    <a:pt x="1380392" y="1423988"/>
                  </a:cubicBezTo>
                  <a:cubicBezTo>
                    <a:pt x="1361539" y="1423988"/>
                    <a:pt x="1346258" y="1408352"/>
                    <a:pt x="1346258" y="1389063"/>
                  </a:cubicBezTo>
                  <a:cubicBezTo>
                    <a:pt x="1346258" y="1369774"/>
                    <a:pt x="1361539" y="1354138"/>
                    <a:pt x="1380392" y="1354138"/>
                  </a:cubicBezTo>
                  <a:close/>
                  <a:moveTo>
                    <a:pt x="9474877" y="1274763"/>
                  </a:moveTo>
                  <a:cubicBezTo>
                    <a:pt x="9493728" y="1274763"/>
                    <a:pt x="9509009" y="1290044"/>
                    <a:pt x="9509009" y="1308895"/>
                  </a:cubicBezTo>
                  <a:cubicBezTo>
                    <a:pt x="9509009" y="1327746"/>
                    <a:pt x="9493728" y="1343027"/>
                    <a:pt x="9474877" y="1343027"/>
                  </a:cubicBezTo>
                  <a:cubicBezTo>
                    <a:pt x="9456026" y="1343027"/>
                    <a:pt x="9440745" y="1327746"/>
                    <a:pt x="9440745" y="1308895"/>
                  </a:cubicBezTo>
                  <a:cubicBezTo>
                    <a:pt x="9440745" y="1290044"/>
                    <a:pt x="9456026" y="1274763"/>
                    <a:pt x="9474877" y="1274763"/>
                  </a:cubicBezTo>
                  <a:close/>
                  <a:moveTo>
                    <a:pt x="8801777" y="1274763"/>
                  </a:moveTo>
                  <a:cubicBezTo>
                    <a:pt x="8820628" y="1274763"/>
                    <a:pt x="8835909" y="1290044"/>
                    <a:pt x="8835909" y="1308895"/>
                  </a:cubicBezTo>
                  <a:cubicBezTo>
                    <a:pt x="8835909" y="1327746"/>
                    <a:pt x="8820628" y="1343027"/>
                    <a:pt x="8801777" y="1343027"/>
                  </a:cubicBezTo>
                  <a:cubicBezTo>
                    <a:pt x="8782926" y="1343027"/>
                    <a:pt x="8767645" y="1327746"/>
                    <a:pt x="8767645" y="1308895"/>
                  </a:cubicBezTo>
                  <a:cubicBezTo>
                    <a:pt x="8767645" y="1290044"/>
                    <a:pt x="8782926" y="1274763"/>
                    <a:pt x="8801777" y="1274763"/>
                  </a:cubicBezTo>
                  <a:close/>
                  <a:moveTo>
                    <a:pt x="8716052" y="1274763"/>
                  </a:moveTo>
                  <a:cubicBezTo>
                    <a:pt x="8734903" y="1274763"/>
                    <a:pt x="8750184" y="1290044"/>
                    <a:pt x="8750184" y="1308895"/>
                  </a:cubicBezTo>
                  <a:cubicBezTo>
                    <a:pt x="8750184" y="1327746"/>
                    <a:pt x="8734903" y="1343027"/>
                    <a:pt x="8716052" y="1343027"/>
                  </a:cubicBezTo>
                  <a:cubicBezTo>
                    <a:pt x="8697201" y="1343027"/>
                    <a:pt x="8681920" y="1327746"/>
                    <a:pt x="8681920" y="1308895"/>
                  </a:cubicBezTo>
                  <a:cubicBezTo>
                    <a:pt x="8681920" y="1290044"/>
                    <a:pt x="8697201" y="1274763"/>
                    <a:pt x="8716052" y="1274763"/>
                  </a:cubicBezTo>
                  <a:close/>
                  <a:moveTo>
                    <a:pt x="8630327" y="1274763"/>
                  </a:moveTo>
                  <a:cubicBezTo>
                    <a:pt x="8649178" y="1274763"/>
                    <a:pt x="8664459" y="1290044"/>
                    <a:pt x="8664459" y="1308895"/>
                  </a:cubicBezTo>
                  <a:cubicBezTo>
                    <a:pt x="8664459" y="1327746"/>
                    <a:pt x="8649178" y="1343027"/>
                    <a:pt x="8630327" y="1343027"/>
                  </a:cubicBezTo>
                  <a:cubicBezTo>
                    <a:pt x="8611476" y="1343027"/>
                    <a:pt x="8596195" y="1327746"/>
                    <a:pt x="8596195" y="1308895"/>
                  </a:cubicBezTo>
                  <a:cubicBezTo>
                    <a:pt x="8596195" y="1290044"/>
                    <a:pt x="8611476" y="1274763"/>
                    <a:pt x="8630327" y="1274763"/>
                  </a:cubicBezTo>
                  <a:close/>
                  <a:moveTo>
                    <a:pt x="8544602" y="1274763"/>
                  </a:moveTo>
                  <a:cubicBezTo>
                    <a:pt x="8563453" y="1274763"/>
                    <a:pt x="8578734" y="1290044"/>
                    <a:pt x="8578734" y="1308895"/>
                  </a:cubicBezTo>
                  <a:cubicBezTo>
                    <a:pt x="8578734" y="1327746"/>
                    <a:pt x="8563453" y="1343027"/>
                    <a:pt x="8544602" y="1343027"/>
                  </a:cubicBezTo>
                  <a:cubicBezTo>
                    <a:pt x="8525751" y="1343027"/>
                    <a:pt x="8510470" y="1327746"/>
                    <a:pt x="8510470" y="1308895"/>
                  </a:cubicBezTo>
                  <a:cubicBezTo>
                    <a:pt x="8510470" y="1290044"/>
                    <a:pt x="8525751" y="1274763"/>
                    <a:pt x="8544602" y="1274763"/>
                  </a:cubicBezTo>
                  <a:close/>
                  <a:moveTo>
                    <a:pt x="8465227" y="1274763"/>
                  </a:moveTo>
                  <a:cubicBezTo>
                    <a:pt x="8484078" y="1274763"/>
                    <a:pt x="8499359" y="1290044"/>
                    <a:pt x="8499359" y="1308895"/>
                  </a:cubicBezTo>
                  <a:cubicBezTo>
                    <a:pt x="8499359" y="1327746"/>
                    <a:pt x="8484078" y="1343027"/>
                    <a:pt x="8465227" y="1343027"/>
                  </a:cubicBezTo>
                  <a:cubicBezTo>
                    <a:pt x="8446376" y="1343027"/>
                    <a:pt x="8431095" y="1327746"/>
                    <a:pt x="8431095" y="1308895"/>
                  </a:cubicBezTo>
                  <a:cubicBezTo>
                    <a:pt x="8431095" y="1290044"/>
                    <a:pt x="8446376" y="1274763"/>
                    <a:pt x="8465227" y="1274763"/>
                  </a:cubicBezTo>
                  <a:close/>
                  <a:moveTo>
                    <a:pt x="8379502" y="1274763"/>
                  </a:moveTo>
                  <a:cubicBezTo>
                    <a:pt x="8398353" y="1274763"/>
                    <a:pt x="8413634" y="1290044"/>
                    <a:pt x="8413634" y="1308895"/>
                  </a:cubicBezTo>
                  <a:cubicBezTo>
                    <a:pt x="8413634" y="1327746"/>
                    <a:pt x="8398353" y="1343027"/>
                    <a:pt x="8379502" y="1343027"/>
                  </a:cubicBezTo>
                  <a:cubicBezTo>
                    <a:pt x="8360651" y="1343027"/>
                    <a:pt x="8345370" y="1327746"/>
                    <a:pt x="8345370" y="1308895"/>
                  </a:cubicBezTo>
                  <a:cubicBezTo>
                    <a:pt x="8345370" y="1290044"/>
                    <a:pt x="8360651" y="1274763"/>
                    <a:pt x="8379502" y="1274763"/>
                  </a:cubicBezTo>
                  <a:close/>
                  <a:moveTo>
                    <a:pt x="8293777" y="1274763"/>
                  </a:moveTo>
                  <a:cubicBezTo>
                    <a:pt x="8312628" y="1274763"/>
                    <a:pt x="8327909" y="1290044"/>
                    <a:pt x="8327909" y="1308895"/>
                  </a:cubicBezTo>
                  <a:cubicBezTo>
                    <a:pt x="8327909" y="1327746"/>
                    <a:pt x="8312628" y="1343027"/>
                    <a:pt x="8293777" y="1343027"/>
                  </a:cubicBezTo>
                  <a:cubicBezTo>
                    <a:pt x="8274926" y="1343027"/>
                    <a:pt x="8259645" y="1327746"/>
                    <a:pt x="8259645" y="1308895"/>
                  </a:cubicBezTo>
                  <a:cubicBezTo>
                    <a:pt x="8259645" y="1290044"/>
                    <a:pt x="8274926" y="1274763"/>
                    <a:pt x="8293777" y="1274763"/>
                  </a:cubicBezTo>
                  <a:close/>
                  <a:moveTo>
                    <a:pt x="8208052" y="1274763"/>
                  </a:moveTo>
                  <a:cubicBezTo>
                    <a:pt x="8226903" y="1274763"/>
                    <a:pt x="8242184" y="1290044"/>
                    <a:pt x="8242184" y="1308895"/>
                  </a:cubicBezTo>
                  <a:cubicBezTo>
                    <a:pt x="8242184" y="1327746"/>
                    <a:pt x="8226903" y="1343027"/>
                    <a:pt x="8208052" y="1343027"/>
                  </a:cubicBezTo>
                  <a:cubicBezTo>
                    <a:pt x="8189201" y="1343027"/>
                    <a:pt x="8173920" y="1327746"/>
                    <a:pt x="8173920" y="1308895"/>
                  </a:cubicBezTo>
                  <a:cubicBezTo>
                    <a:pt x="8173920" y="1290044"/>
                    <a:pt x="8189201" y="1274763"/>
                    <a:pt x="8208052" y="1274763"/>
                  </a:cubicBezTo>
                  <a:close/>
                  <a:moveTo>
                    <a:pt x="8125502" y="1274763"/>
                  </a:moveTo>
                  <a:cubicBezTo>
                    <a:pt x="8146106" y="1274763"/>
                    <a:pt x="8162809" y="1290044"/>
                    <a:pt x="8162809" y="1308895"/>
                  </a:cubicBezTo>
                  <a:cubicBezTo>
                    <a:pt x="8162809" y="1327746"/>
                    <a:pt x="8146106" y="1343027"/>
                    <a:pt x="8125502" y="1343027"/>
                  </a:cubicBezTo>
                  <a:cubicBezTo>
                    <a:pt x="8104898" y="1343027"/>
                    <a:pt x="8088195" y="1327746"/>
                    <a:pt x="8088195" y="1308895"/>
                  </a:cubicBezTo>
                  <a:cubicBezTo>
                    <a:pt x="8088195" y="1290044"/>
                    <a:pt x="8104898" y="1274763"/>
                    <a:pt x="8125502" y="1274763"/>
                  </a:cubicBezTo>
                  <a:close/>
                  <a:moveTo>
                    <a:pt x="8042952" y="1274763"/>
                  </a:moveTo>
                  <a:cubicBezTo>
                    <a:pt x="8061803" y="1274763"/>
                    <a:pt x="8077084" y="1290044"/>
                    <a:pt x="8077084" y="1308895"/>
                  </a:cubicBezTo>
                  <a:cubicBezTo>
                    <a:pt x="8077084" y="1327746"/>
                    <a:pt x="8061803" y="1343027"/>
                    <a:pt x="8042952" y="1343027"/>
                  </a:cubicBezTo>
                  <a:cubicBezTo>
                    <a:pt x="8024101" y="1343027"/>
                    <a:pt x="8008820" y="1327746"/>
                    <a:pt x="8008820" y="1308895"/>
                  </a:cubicBezTo>
                  <a:cubicBezTo>
                    <a:pt x="8008820" y="1290044"/>
                    <a:pt x="8024101" y="1274763"/>
                    <a:pt x="8042952" y="1274763"/>
                  </a:cubicBezTo>
                  <a:close/>
                  <a:moveTo>
                    <a:pt x="7957227" y="1274763"/>
                  </a:moveTo>
                  <a:cubicBezTo>
                    <a:pt x="7976078" y="1274763"/>
                    <a:pt x="7991359" y="1290044"/>
                    <a:pt x="7991359" y="1308895"/>
                  </a:cubicBezTo>
                  <a:cubicBezTo>
                    <a:pt x="7991359" y="1327746"/>
                    <a:pt x="7976078" y="1343027"/>
                    <a:pt x="7957227" y="1343027"/>
                  </a:cubicBezTo>
                  <a:cubicBezTo>
                    <a:pt x="7938376" y="1343027"/>
                    <a:pt x="7923095" y="1327746"/>
                    <a:pt x="7923095" y="1308895"/>
                  </a:cubicBezTo>
                  <a:cubicBezTo>
                    <a:pt x="7923095" y="1290044"/>
                    <a:pt x="7938376" y="1274763"/>
                    <a:pt x="7957227" y="1274763"/>
                  </a:cubicBezTo>
                  <a:close/>
                  <a:moveTo>
                    <a:pt x="7871502" y="1274763"/>
                  </a:moveTo>
                  <a:cubicBezTo>
                    <a:pt x="7890353" y="1274763"/>
                    <a:pt x="7905634" y="1290044"/>
                    <a:pt x="7905634" y="1308895"/>
                  </a:cubicBezTo>
                  <a:cubicBezTo>
                    <a:pt x="7905634" y="1327746"/>
                    <a:pt x="7890353" y="1343027"/>
                    <a:pt x="7871502" y="1343027"/>
                  </a:cubicBezTo>
                  <a:cubicBezTo>
                    <a:pt x="7852651" y="1343027"/>
                    <a:pt x="7837370" y="1327746"/>
                    <a:pt x="7837370" y="1308895"/>
                  </a:cubicBezTo>
                  <a:cubicBezTo>
                    <a:pt x="7837370" y="1290044"/>
                    <a:pt x="7852651" y="1274763"/>
                    <a:pt x="7871502" y="1274763"/>
                  </a:cubicBezTo>
                  <a:close/>
                  <a:moveTo>
                    <a:pt x="7785777" y="1274763"/>
                  </a:moveTo>
                  <a:cubicBezTo>
                    <a:pt x="7804628" y="1274763"/>
                    <a:pt x="7819909" y="1290044"/>
                    <a:pt x="7819909" y="1308895"/>
                  </a:cubicBezTo>
                  <a:cubicBezTo>
                    <a:pt x="7819909" y="1327746"/>
                    <a:pt x="7804628" y="1343027"/>
                    <a:pt x="7785777" y="1343027"/>
                  </a:cubicBezTo>
                  <a:cubicBezTo>
                    <a:pt x="7766926" y="1343027"/>
                    <a:pt x="7751645" y="1327746"/>
                    <a:pt x="7751645" y="1308895"/>
                  </a:cubicBezTo>
                  <a:cubicBezTo>
                    <a:pt x="7751645" y="1290044"/>
                    <a:pt x="7766926" y="1274763"/>
                    <a:pt x="7785777" y="1274763"/>
                  </a:cubicBezTo>
                  <a:close/>
                  <a:moveTo>
                    <a:pt x="7706402" y="1274763"/>
                  </a:moveTo>
                  <a:cubicBezTo>
                    <a:pt x="7725253" y="1274763"/>
                    <a:pt x="7740534" y="1290044"/>
                    <a:pt x="7740534" y="1308895"/>
                  </a:cubicBezTo>
                  <a:cubicBezTo>
                    <a:pt x="7740534" y="1327746"/>
                    <a:pt x="7725253" y="1343027"/>
                    <a:pt x="7706402" y="1343027"/>
                  </a:cubicBezTo>
                  <a:cubicBezTo>
                    <a:pt x="7687551" y="1343027"/>
                    <a:pt x="7672270" y="1327746"/>
                    <a:pt x="7672270" y="1308895"/>
                  </a:cubicBezTo>
                  <a:cubicBezTo>
                    <a:pt x="7672270" y="1290044"/>
                    <a:pt x="7687551" y="1274763"/>
                    <a:pt x="7706402" y="1274763"/>
                  </a:cubicBezTo>
                  <a:close/>
                  <a:moveTo>
                    <a:pt x="7620677" y="1274763"/>
                  </a:moveTo>
                  <a:cubicBezTo>
                    <a:pt x="7639528" y="1274763"/>
                    <a:pt x="7654809" y="1290044"/>
                    <a:pt x="7654809" y="1308895"/>
                  </a:cubicBezTo>
                  <a:cubicBezTo>
                    <a:pt x="7654809" y="1327746"/>
                    <a:pt x="7639528" y="1343027"/>
                    <a:pt x="7620677" y="1343027"/>
                  </a:cubicBezTo>
                  <a:cubicBezTo>
                    <a:pt x="7601826" y="1343027"/>
                    <a:pt x="7586545" y="1327746"/>
                    <a:pt x="7586545" y="1308895"/>
                  </a:cubicBezTo>
                  <a:cubicBezTo>
                    <a:pt x="7586545" y="1290044"/>
                    <a:pt x="7601826" y="1274763"/>
                    <a:pt x="7620677" y="1274763"/>
                  </a:cubicBezTo>
                  <a:close/>
                  <a:moveTo>
                    <a:pt x="7534952" y="1274763"/>
                  </a:moveTo>
                  <a:cubicBezTo>
                    <a:pt x="7553803" y="1274763"/>
                    <a:pt x="7569084" y="1290044"/>
                    <a:pt x="7569084" y="1308895"/>
                  </a:cubicBezTo>
                  <a:cubicBezTo>
                    <a:pt x="7569084" y="1327746"/>
                    <a:pt x="7553803" y="1343027"/>
                    <a:pt x="7534952" y="1343027"/>
                  </a:cubicBezTo>
                  <a:cubicBezTo>
                    <a:pt x="7516101" y="1343027"/>
                    <a:pt x="7500820" y="1327746"/>
                    <a:pt x="7500820" y="1308895"/>
                  </a:cubicBezTo>
                  <a:cubicBezTo>
                    <a:pt x="7500820" y="1290044"/>
                    <a:pt x="7516101" y="1274763"/>
                    <a:pt x="7534952" y="1274763"/>
                  </a:cubicBezTo>
                  <a:close/>
                  <a:moveTo>
                    <a:pt x="7449227" y="1274763"/>
                  </a:moveTo>
                  <a:cubicBezTo>
                    <a:pt x="7468078" y="1274763"/>
                    <a:pt x="7483359" y="1290044"/>
                    <a:pt x="7483359" y="1308895"/>
                  </a:cubicBezTo>
                  <a:cubicBezTo>
                    <a:pt x="7483359" y="1327746"/>
                    <a:pt x="7468078" y="1343027"/>
                    <a:pt x="7449227" y="1343027"/>
                  </a:cubicBezTo>
                  <a:cubicBezTo>
                    <a:pt x="7430376" y="1343027"/>
                    <a:pt x="7415095" y="1327746"/>
                    <a:pt x="7415095" y="1308895"/>
                  </a:cubicBezTo>
                  <a:cubicBezTo>
                    <a:pt x="7415095" y="1290044"/>
                    <a:pt x="7430376" y="1274763"/>
                    <a:pt x="7449227" y="1274763"/>
                  </a:cubicBezTo>
                  <a:close/>
                  <a:moveTo>
                    <a:pt x="7366677" y="1274763"/>
                  </a:moveTo>
                  <a:cubicBezTo>
                    <a:pt x="7387281" y="1274763"/>
                    <a:pt x="7403984" y="1290044"/>
                    <a:pt x="7403984" y="1308895"/>
                  </a:cubicBezTo>
                  <a:cubicBezTo>
                    <a:pt x="7403984" y="1327746"/>
                    <a:pt x="7387281" y="1343027"/>
                    <a:pt x="7366677" y="1343027"/>
                  </a:cubicBezTo>
                  <a:cubicBezTo>
                    <a:pt x="7346073" y="1343027"/>
                    <a:pt x="7329370" y="1327746"/>
                    <a:pt x="7329370" y="1308895"/>
                  </a:cubicBezTo>
                  <a:cubicBezTo>
                    <a:pt x="7329370" y="1290044"/>
                    <a:pt x="7346073" y="1274763"/>
                    <a:pt x="7366677" y="1274763"/>
                  </a:cubicBezTo>
                  <a:close/>
                  <a:moveTo>
                    <a:pt x="7284127" y="1274763"/>
                  </a:moveTo>
                  <a:cubicBezTo>
                    <a:pt x="7302978" y="1274763"/>
                    <a:pt x="7318259" y="1290044"/>
                    <a:pt x="7318259" y="1308895"/>
                  </a:cubicBezTo>
                  <a:cubicBezTo>
                    <a:pt x="7318259" y="1327746"/>
                    <a:pt x="7302978" y="1343027"/>
                    <a:pt x="7284127" y="1343027"/>
                  </a:cubicBezTo>
                  <a:cubicBezTo>
                    <a:pt x="7265276" y="1343027"/>
                    <a:pt x="7249995" y="1327746"/>
                    <a:pt x="7249995" y="1308895"/>
                  </a:cubicBezTo>
                  <a:cubicBezTo>
                    <a:pt x="7249995" y="1290044"/>
                    <a:pt x="7265276" y="1274763"/>
                    <a:pt x="7284127" y="1274763"/>
                  </a:cubicBezTo>
                  <a:close/>
                  <a:moveTo>
                    <a:pt x="7198402" y="1274763"/>
                  </a:moveTo>
                  <a:cubicBezTo>
                    <a:pt x="7217253" y="1274763"/>
                    <a:pt x="7232534" y="1290044"/>
                    <a:pt x="7232534" y="1308895"/>
                  </a:cubicBezTo>
                  <a:cubicBezTo>
                    <a:pt x="7232534" y="1327746"/>
                    <a:pt x="7217253" y="1343027"/>
                    <a:pt x="7198402" y="1343027"/>
                  </a:cubicBezTo>
                  <a:cubicBezTo>
                    <a:pt x="7179551" y="1343027"/>
                    <a:pt x="7164270" y="1327746"/>
                    <a:pt x="7164270" y="1308895"/>
                  </a:cubicBezTo>
                  <a:cubicBezTo>
                    <a:pt x="7164270" y="1290044"/>
                    <a:pt x="7179551" y="1274763"/>
                    <a:pt x="7198402" y="1274763"/>
                  </a:cubicBezTo>
                  <a:close/>
                  <a:moveTo>
                    <a:pt x="7112677" y="1274763"/>
                  </a:moveTo>
                  <a:cubicBezTo>
                    <a:pt x="7131528" y="1274763"/>
                    <a:pt x="7146809" y="1290044"/>
                    <a:pt x="7146809" y="1308895"/>
                  </a:cubicBezTo>
                  <a:cubicBezTo>
                    <a:pt x="7146809" y="1327746"/>
                    <a:pt x="7131528" y="1343027"/>
                    <a:pt x="7112677" y="1343027"/>
                  </a:cubicBezTo>
                  <a:cubicBezTo>
                    <a:pt x="7093826" y="1343027"/>
                    <a:pt x="7078545" y="1327746"/>
                    <a:pt x="7078545" y="1308895"/>
                  </a:cubicBezTo>
                  <a:cubicBezTo>
                    <a:pt x="7078545" y="1290044"/>
                    <a:pt x="7093826" y="1274763"/>
                    <a:pt x="7112677" y="1274763"/>
                  </a:cubicBezTo>
                  <a:close/>
                  <a:moveTo>
                    <a:pt x="7027745" y="1274763"/>
                  </a:moveTo>
                  <a:cubicBezTo>
                    <a:pt x="7047034" y="1274763"/>
                    <a:pt x="7062670" y="1290044"/>
                    <a:pt x="7062670" y="1308895"/>
                  </a:cubicBezTo>
                  <a:cubicBezTo>
                    <a:pt x="7062670" y="1327746"/>
                    <a:pt x="7047034" y="1343027"/>
                    <a:pt x="7027745" y="1343027"/>
                  </a:cubicBezTo>
                  <a:cubicBezTo>
                    <a:pt x="7008456" y="1343027"/>
                    <a:pt x="6992820" y="1327746"/>
                    <a:pt x="6992820" y="1308895"/>
                  </a:cubicBezTo>
                  <a:cubicBezTo>
                    <a:pt x="6992820" y="1290044"/>
                    <a:pt x="7008456" y="1274763"/>
                    <a:pt x="7027745" y="1274763"/>
                  </a:cubicBezTo>
                  <a:close/>
                  <a:moveTo>
                    <a:pt x="6947577" y="1274763"/>
                  </a:moveTo>
                  <a:cubicBezTo>
                    <a:pt x="6966428" y="1274763"/>
                    <a:pt x="6981709" y="1290044"/>
                    <a:pt x="6981709" y="1308895"/>
                  </a:cubicBezTo>
                  <a:cubicBezTo>
                    <a:pt x="6981709" y="1327746"/>
                    <a:pt x="6966428" y="1343027"/>
                    <a:pt x="6947577" y="1343027"/>
                  </a:cubicBezTo>
                  <a:cubicBezTo>
                    <a:pt x="6928726" y="1343027"/>
                    <a:pt x="6913445" y="1327746"/>
                    <a:pt x="6913445" y="1308895"/>
                  </a:cubicBezTo>
                  <a:cubicBezTo>
                    <a:pt x="6913445" y="1290044"/>
                    <a:pt x="6928726" y="1274763"/>
                    <a:pt x="6947577" y="1274763"/>
                  </a:cubicBezTo>
                  <a:close/>
                  <a:moveTo>
                    <a:pt x="6861852" y="1274763"/>
                  </a:moveTo>
                  <a:cubicBezTo>
                    <a:pt x="6880703" y="1274763"/>
                    <a:pt x="6895984" y="1290044"/>
                    <a:pt x="6895984" y="1308895"/>
                  </a:cubicBezTo>
                  <a:cubicBezTo>
                    <a:pt x="6895984" y="1327746"/>
                    <a:pt x="6880703" y="1343027"/>
                    <a:pt x="6861852" y="1343027"/>
                  </a:cubicBezTo>
                  <a:cubicBezTo>
                    <a:pt x="6843001" y="1343027"/>
                    <a:pt x="6827720" y="1327746"/>
                    <a:pt x="6827720" y="1308895"/>
                  </a:cubicBezTo>
                  <a:cubicBezTo>
                    <a:pt x="6827720" y="1290044"/>
                    <a:pt x="6843001" y="1274763"/>
                    <a:pt x="6861852" y="1274763"/>
                  </a:cubicBezTo>
                  <a:close/>
                  <a:moveTo>
                    <a:pt x="6776127" y="1274763"/>
                  </a:moveTo>
                  <a:cubicBezTo>
                    <a:pt x="6794978" y="1274763"/>
                    <a:pt x="6810259" y="1290044"/>
                    <a:pt x="6810259" y="1308895"/>
                  </a:cubicBezTo>
                  <a:cubicBezTo>
                    <a:pt x="6810259" y="1327746"/>
                    <a:pt x="6794978" y="1343027"/>
                    <a:pt x="6776127" y="1343027"/>
                  </a:cubicBezTo>
                  <a:cubicBezTo>
                    <a:pt x="6757276" y="1343027"/>
                    <a:pt x="6741995" y="1327746"/>
                    <a:pt x="6741995" y="1308895"/>
                  </a:cubicBezTo>
                  <a:cubicBezTo>
                    <a:pt x="6741995" y="1290044"/>
                    <a:pt x="6757276" y="1274763"/>
                    <a:pt x="6776127" y="1274763"/>
                  </a:cubicBezTo>
                  <a:close/>
                  <a:moveTo>
                    <a:pt x="6691195" y="1274763"/>
                  </a:moveTo>
                  <a:cubicBezTo>
                    <a:pt x="6710484" y="1274763"/>
                    <a:pt x="6726120" y="1290044"/>
                    <a:pt x="6726120" y="1308895"/>
                  </a:cubicBezTo>
                  <a:cubicBezTo>
                    <a:pt x="6726120" y="1327746"/>
                    <a:pt x="6710484" y="1343027"/>
                    <a:pt x="6691195" y="1343027"/>
                  </a:cubicBezTo>
                  <a:cubicBezTo>
                    <a:pt x="6671906" y="1343027"/>
                    <a:pt x="6656270" y="1327746"/>
                    <a:pt x="6656270" y="1308895"/>
                  </a:cubicBezTo>
                  <a:cubicBezTo>
                    <a:pt x="6656270" y="1290044"/>
                    <a:pt x="6671906" y="1274763"/>
                    <a:pt x="6691195" y="1274763"/>
                  </a:cubicBezTo>
                  <a:close/>
                  <a:moveTo>
                    <a:pt x="6607852" y="1274763"/>
                  </a:moveTo>
                  <a:cubicBezTo>
                    <a:pt x="6628456" y="1274763"/>
                    <a:pt x="6645159" y="1290044"/>
                    <a:pt x="6645159" y="1308895"/>
                  </a:cubicBezTo>
                  <a:cubicBezTo>
                    <a:pt x="6645159" y="1327746"/>
                    <a:pt x="6628456" y="1343027"/>
                    <a:pt x="6607852" y="1343027"/>
                  </a:cubicBezTo>
                  <a:cubicBezTo>
                    <a:pt x="6587248" y="1343027"/>
                    <a:pt x="6570545" y="1327746"/>
                    <a:pt x="6570545" y="1308895"/>
                  </a:cubicBezTo>
                  <a:cubicBezTo>
                    <a:pt x="6570545" y="1290044"/>
                    <a:pt x="6587248" y="1274763"/>
                    <a:pt x="6607852" y="1274763"/>
                  </a:cubicBezTo>
                  <a:close/>
                  <a:moveTo>
                    <a:pt x="6525302" y="1274763"/>
                  </a:moveTo>
                  <a:cubicBezTo>
                    <a:pt x="6544153" y="1274763"/>
                    <a:pt x="6559434" y="1290044"/>
                    <a:pt x="6559434" y="1308895"/>
                  </a:cubicBezTo>
                  <a:cubicBezTo>
                    <a:pt x="6559434" y="1327746"/>
                    <a:pt x="6544153" y="1343027"/>
                    <a:pt x="6525302" y="1343027"/>
                  </a:cubicBezTo>
                  <a:cubicBezTo>
                    <a:pt x="6506451" y="1343027"/>
                    <a:pt x="6491170" y="1327746"/>
                    <a:pt x="6491170" y="1308895"/>
                  </a:cubicBezTo>
                  <a:cubicBezTo>
                    <a:pt x="6491170" y="1290044"/>
                    <a:pt x="6506451" y="1274763"/>
                    <a:pt x="6525302" y="1274763"/>
                  </a:cubicBezTo>
                  <a:close/>
                  <a:moveTo>
                    <a:pt x="6439577" y="1274763"/>
                  </a:moveTo>
                  <a:cubicBezTo>
                    <a:pt x="6458428" y="1274763"/>
                    <a:pt x="6473709" y="1290044"/>
                    <a:pt x="6473709" y="1308895"/>
                  </a:cubicBezTo>
                  <a:cubicBezTo>
                    <a:pt x="6473709" y="1327746"/>
                    <a:pt x="6458428" y="1343027"/>
                    <a:pt x="6439577" y="1343027"/>
                  </a:cubicBezTo>
                  <a:cubicBezTo>
                    <a:pt x="6420726" y="1343027"/>
                    <a:pt x="6405445" y="1327746"/>
                    <a:pt x="6405445" y="1308895"/>
                  </a:cubicBezTo>
                  <a:cubicBezTo>
                    <a:pt x="6405445" y="1290044"/>
                    <a:pt x="6420726" y="1274763"/>
                    <a:pt x="6439577" y="1274763"/>
                  </a:cubicBezTo>
                  <a:close/>
                  <a:moveTo>
                    <a:pt x="6353852" y="1274763"/>
                  </a:moveTo>
                  <a:cubicBezTo>
                    <a:pt x="6372703" y="1274763"/>
                    <a:pt x="6387984" y="1290044"/>
                    <a:pt x="6387984" y="1308895"/>
                  </a:cubicBezTo>
                  <a:cubicBezTo>
                    <a:pt x="6387984" y="1327746"/>
                    <a:pt x="6372703" y="1343027"/>
                    <a:pt x="6353852" y="1343027"/>
                  </a:cubicBezTo>
                  <a:cubicBezTo>
                    <a:pt x="6335001" y="1343027"/>
                    <a:pt x="6319720" y="1327746"/>
                    <a:pt x="6319720" y="1308895"/>
                  </a:cubicBezTo>
                  <a:cubicBezTo>
                    <a:pt x="6319720" y="1290044"/>
                    <a:pt x="6335001" y="1274763"/>
                    <a:pt x="6353852" y="1274763"/>
                  </a:cubicBezTo>
                  <a:close/>
                  <a:moveTo>
                    <a:pt x="6268920" y="1274763"/>
                  </a:moveTo>
                  <a:cubicBezTo>
                    <a:pt x="6288209" y="1274763"/>
                    <a:pt x="6303845" y="1290044"/>
                    <a:pt x="6303845" y="1308895"/>
                  </a:cubicBezTo>
                  <a:cubicBezTo>
                    <a:pt x="6303845" y="1327746"/>
                    <a:pt x="6288209" y="1343027"/>
                    <a:pt x="6268920" y="1343027"/>
                  </a:cubicBezTo>
                  <a:cubicBezTo>
                    <a:pt x="6249631" y="1343027"/>
                    <a:pt x="6233995" y="1327746"/>
                    <a:pt x="6233995" y="1308895"/>
                  </a:cubicBezTo>
                  <a:cubicBezTo>
                    <a:pt x="6233995" y="1290044"/>
                    <a:pt x="6249631" y="1274763"/>
                    <a:pt x="6268920" y="1274763"/>
                  </a:cubicBezTo>
                  <a:close/>
                  <a:moveTo>
                    <a:pt x="6188752" y="1274763"/>
                  </a:moveTo>
                  <a:cubicBezTo>
                    <a:pt x="6207603" y="1274763"/>
                    <a:pt x="6222884" y="1290044"/>
                    <a:pt x="6222884" y="1308895"/>
                  </a:cubicBezTo>
                  <a:cubicBezTo>
                    <a:pt x="6222884" y="1327746"/>
                    <a:pt x="6207603" y="1343027"/>
                    <a:pt x="6188752" y="1343027"/>
                  </a:cubicBezTo>
                  <a:cubicBezTo>
                    <a:pt x="6169901" y="1343027"/>
                    <a:pt x="6154620" y="1327746"/>
                    <a:pt x="6154620" y="1308895"/>
                  </a:cubicBezTo>
                  <a:cubicBezTo>
                    <a:pt x="6154620" y="1290044"/>
                    <a:pt x="6169901" y="1274763"/>
                    <a:pt x="6188752" y="1274763"/>
                  </a:cubicBezTo>
                  <a:close/>
                  <a:moveTo>
                    <a:pt x="6103027" y="1274763"/>
                  </a:moveTo>
                  <a:cubicBezTo>
                    <a:pt x="6121878" y="1274763"/>
                    <a:pt x="6137159" y="1290044"/>
                    <a:pt x="6137159" y="1308895"/>
                  </a:cubicBezTo>
                  <a:cubicBezTo>
                    <a:pt x="6137159" y="1327746"/>
                    <a:pt x="6121878" y="1343027"/>
                    <a:pt x="6103027" y="1343027"/>
                  </a:cubicBezTo>
                  <a:cubicBezTo>
                    <a:pt x="6084176" y="1343027"/>
                    <a:pt x="6068895" y="1327746"/>
                    <a:pt x="6068895" y="1308895"/>
                  </a:cubicBezTo>
                  <a:cubicBezTo>
                    <a:pt x="6068895" y="1290044"/>
                    <a:pt x="6084176" y="1274763"/>
                    <a:pt x="6103027" y="1274763"/>
                  </a:cubicBezTo>
                  <a:close/>
                  <a:moveTo>
                    <a:pt x="6017302" y="1274763"/>
                  </a:moveTo>
                  <a:cubicBezTo>
                    <a:pt x="6036153" y="1274763"/>
                    <a:pt x="6051434" y="1290044"/>
                    <a:pt x="6051434" y="1308895"/>
                  </a:cubicBezTo>
                  <a:cubicBezTo>
                    <a:pt x="6051434" y="1327746"/>
                    <a:pt x="6036153" y="1343027"/>
                    <a:pt x="6017302" y="1343027"/>
                  </a:cubicBezTo>
                  <a:cubicBezTo>
                    <a:pt x="5998451" y="1343027"/>
                    <a:pt x="5983170" y="1327746"/>
                    <a:pt x="5983170" y="1308895"/>
                  </a:cubicBezTo>
                  <a:cubicBezTo>
                    <a:pt x="5983170" y="1290044"/>
                    <a:pt x="5998451" y="1274763"/>
                    <a:pt x="6017302" y="1274763"/>
                  </a:cubicBezTo>
                  <a:close/>
                  <a:moveTo>
                    <a:pt x="5932370" y="1274763"/>
                  </a:moveTo>
                  <a:cubicBezTo>
                    <a:pt x="5951659" y="1274763"/>
                    <a:pt x="5967295" y="1290044"/>
                    <a:pt x="5967295" y="1308895"/>
                  </a:cubicBezTo>
                  <a:cubicBezTo>
                    <a:pt x="5967295" y="1327746"/>
                    <a:pt x="5951659" y="1343027"/>
                    <a:pt x="5932370" y="1343027"/>
                  </a:cubicBezTo>
                  <a:cubicBezTo>
                    <a:pt x="5913081" y="1343027"/>
                    <a:pt x="5897445" y="1327746"/>
                    <a:pt x="5897445" y="1308895"/>
                  </a:cubicBezTo>
                  <a:cubicBezTo>
                    <a:pt x="5897445" y="1290044"/>
                    <a:pt x="5913081" y="1274763"/>
                    <a:pt x="5932370" y="1274763"/>
                  </a:cubicBezTo>
                  <a:close/>
                  <a:moveTo>
                    <a:pt x="5766477" y="1274763"/>
                  </a:moveTo>
                  <a:cubicBezTo>
                    <a:pt x="5785328" y="1274763"/>
                    <a:pt x="5800609" y="1290044"/>
                    <a:pt x="5800609" y="1308895"/>
                  </a:cubicBezTo>
                  <a:cubicBezTo>
                    <a:pt x="5800609" y="1327746"/>
                    <a:pt x="5785328" y="1343027"/>
                    <a:pt x="5766477" y="1343027"/>
                  </a:cubicBezTo>
                  <a:cubicBezTo>
                    <a:pt x="5747626" y="1343027"/>
                    <a:pt x="5732345" y="1327746"/>
                    <a:pt x="5732345" y="1308895"/>
                  </a:cubicBezTo>
                  <a:cubicBezTo>
                    <a:pt x="5732345" y="1290044"/>
                    <a:pt x="5747626" y="1274763"/>
                    <a:pt x="5766477" y="1274763"/>
                  </a:cubicBezTo>
                  <a:close/>
                  <a:moveTo>
                    <a:pt x="5680752" y="1274763"/>
                  </a:moveTo>
                  <a:cubicBezTo>
                    <a:pt x="5699603" y="1274763"/>
                    <a:pt x="5714884" y="1290044"/>
                    <a:pt x="5714884" y="1308895"/>
                  </a:cubicBezTo>
                  <a:cubicBezTo>
                    <a:pt x="5714884" y="1327746"/>
                    <a:pt x="5699603" y="1343027"/>
                    <a:pt x="5680752" y="1343027"/>
                  </a:cubicBezTo>
                  <a:cubicBezTo>
                    <a:pt x="5661901" y="1343027"/>
                    <a:pt x="5646620" y="1327746"/>
                    <a:pt x="5646620" y="1308895"/>
                  </a:cubicBezTo>
                  <a:cubicBezTo>
                    <a:pt x="5646620" y="1290044"/>
                    <a:pt x="5661901" y="1274763"/>
                    <a:pt x="5680752" y="1274763"/>
                  </a:cubicBezTo>
                  <a:close/>
                  <a:moveTo>
                    <a:pt x="5595820" y="1274763"/>
                  </a:moveTo>
                  <a:cubicBezTo>
                    <a:pt x="5615109" y="1274763"/>
                    <a:pt x="5630745" y="1290044"/>
                    <a:pt x="5630745" y="1308895"/>
                  </a:cubicBezTo>
                  <a:cubicBezTo>
                    <a:pt x="5630745" y="1327746"/>
                    <a:pt x="5615109" y="1343027"/>
                    <a:pt x="5595820" y="1343027"/>
                  </a:cubicBezTo>
                  <a:cubicBezTo>
                    <a:pt x="5576531" y="1343027"/>
                    <a:pt x="5560895" y="1327746"/>
                    <a:pt x="5560895" y="1308895"/>
                  </a:cubicBezTo>
                  <a:cubicBezTo>
                    <a:pt x="5560895" y="1290044"/>
                    <a:pt x="5576531" y="1274763"/>
                    <a:pt x="5595820" y="1274763"/>
                  </a:cubicBezTo>
                  <a:close/>
                  <a:moveTo>
                    <a:pt x="5344202" y="1274763"/>
                  </a:moveTo>
                  <a:cubicBezTo>
                    <a:pt x="5363053" y="1274763"/>
                    <a:pt x="5378334" y="1290044"/>
                    <a:pt x="5378334" y="1308895"/>
                  </a:cubicBezTo>
                  <a:cubicBezTo>
                    <a:pt x="5378334" y="1327746"/>
                    <a:pt x="5363053" y="1343027"/>
                    <a:pt x="5344202" y="1343027"/>
                  </a:cubicBezTo>
                  <a:cubicBezTo>
                    <a:pt x="5325351" y="1343027"/>
                    <a:pt x="5310070" y="1327746"/>
                    <a:pt x="5310070" y="1308895"/>
                  </a:cubicBezTo>
                  <a:cubicBezTo>
                    <a:pt x="5310070" y="1290044"/>
                    <a:pt x="5325351" y="1274763"/>
                    <a:pt x="5344202" y="1274763"/>
                  </a:cubicBezTo>
                  <a:close/>
                  <a:moveTo>
                    <a:pt x="5258477" y="1274763"/>
                  </a:moveTo>
                  <a:cubicBezTo>
                    <a:pt x="5277328" y="1274763"/>
                    <a:pt x="5292609" y="1290044"/>
                    <a:pt x="5292609" y="1308895"/>
                  </a:cubicBezTo>
                  <a:cubicBezTo>
                    <a:pt x="5292609" y="1327746"/>
                    <a:pt x="5277328" y="1343027"/>
                    <a:pt x="5258477" y="1343027"/>
                  </a:cubicBezTo>
                  <a:cubicBezTo>
                    <a:pt x="5239626" y="1343027"/>
                    <a:pt x="5224345" y="1327746"/>
                    <a:pt x="5224345" y="1308895"/>
                  </a:cubicBezTo>
                  <a:cubicBezTo>
                    <a:pt x="5224345" y="1290044"/>
                    <a:pt x="5239626" y="1274763"/>
                    <a:pt x="5258477" y="1274763"/>
                  </a:cubicBezTo>
                  <a:close/>
                  <a:moveTo>
                    <a:pt x="5173545" y="1274763"/>
                  </a:moveTo>
                  <a:cubicBezTo>
                    <a:pt x="5192834" y="1274763"/>
                    <a:pt x="5208470" y="1290044"/>
                    <a:pt x="5208470" y="1308895"/>
                  </a:cubicBezTo>
                  <a:cubicBezTo>
                    <a:pt x="5208470" y="1327746"/>
                    <a:pt x="5192834" y="1343027"/>
                    <a:pt x="5173545" y="1343027"/>
                  </a:cubicBezTo>
                  <a:cubicBezTo>
                    <a:pt x="5154256" y="1343027"/>
                    <a:pt x="5138620" y="1327746"/>
                    <a:pt x="5138620" y="1308895"/>
                  </a:cubicBezTo>
                  <a:cubicBezTo>
                    <a:pt x="5138620" y="1290044"/>
                    <a:pt x="5154256" y="1274763"/>
                    <a:pt x="5173545" y="1274763"/>
                  </a:cubicBezTo>
                  <a:close/>
                  <a:moveTo>
                    <a:pt x="3234414" y="1274763"/>
                  </a:moveTo>
                  <a:cubicBezTo>
                    <a:pt x="3253265" y="1274763"/>
                    <a:pt x="3268546" y="1290044"/>
                    <a:pt x="3268546" y="1308895"/>
                  </a:cubicBezTo>
                  <a:cubicBezTo>
                    <a:pt x="3268546" y="1327746"/>
                    <a:pt x="3253265" y="1343027"/>
                    <a:pt x="3234414" y="1343027"/>
                  </a:cubicBezTo>
                  <a:cubicBezTo>
                    <a:pt x="3215563" y="1343027"/>
                    <a:pt x="3200282" y="1327746"/>
                    <a:pt x="3200282" y="1308895"/>
                  </a:cubicBezTo>
                  <a:cubicBezTo>
                    <a:pt x="3200282" y="1290044"/>
                    <a:pt x="3215563" y="1274763"/>
                    <a:pt x="3234414" y="1274763"/>
                  </a:cubicBezTo>
                  <a:close/>
                  <a:moveTo>
                    <a:pt x="3068520" y="1274763"/>
                  </a:moveTo>
                  <a:cubicBezTo>
                    <a:pt x="3087809" y="1274763"/>
                    <a:pt x="3103445" y="1290044"/>
                    <a:pt x="3103445" y="1308895"/>
                  </a:cubicBezTo>
                  <a:cubicBezTo>
                    <a:pt x="3103445" y="1327746"/>
                    <a:pt x="3087809" y="1343027"/>
                    <a:pt x="3068520" y="1343027"/>
                  </a:cubicBezTo>
                  <a:cubicBezTo>
                    <a:pt x="3049231" y="1343027"/>
                    <a:pt x="3033595" y="1327746"/>
                    <a:pt x="3033595" y="1308895"/>
                  </a:cubicBezTo>
                  <a:cubicBezTo>
                    <a:pt x="3033595" y="1290044"/>
                    <a:pt x="3049231" y="1274763"/>
                    <a:pt x="3068520" y="1274763"/>
                  </a:cubicBezTo>
                  <a:close/>
                  <a:moveTo>
                    <a:pt x="2983589" y="1274763"/>
                  </a:moveTo>
                  <a:cubicBezTo>
                    <a:pt x="3002440" y="1274763"/>
                    <a:pt x="3017721" y="1290044"/>
                    <a:pt x="3017721" y="1308895"/>
                  </a:cubicBezTo>
                  <a:cubicBezTo>
                    <a:pt x="3017721" y="1327746"/>
                    <a:pt x="3002440" y="1343027"/>
                    <a:pt x="2983589" y="1343027"/>
                  </a:cubicBezTo>
                  <a:cubicBezTo>
                    <a:pt x="2964738" y="1343027"/>
                    <a:pt x="2949457" y="1327746"/>
                    <a:pt x="2949457" y="1308895"/>
                  </a:cubicBezTo>
                  <a:cubicBezTo>
                    <a:pt x="2949457" y="1290044"/>
                    <a:pt x="2964738" y="1274763"/>
                    <a:pt x="2983589" y="1274763"/>
                  </a:cubicBezTo>
                  <a:close/>
                  <a:moveTo>
                    <a:pt x="2897864" y="1274763"/>
                  </a:moveTo>
                  <a:cubicBezTo>
                    <a:pt x="2916715" y="1274763"/>
                    <a:pt x="2931996" y="1290044"/>
                    <a:pt x="2931996" y="1308895"/>
                  </a:cubicBezTo>
                  <a:cubicBezTo>
                    <a:pt x="2931996" y="1327746"/>
                    <a:pt x="2916715" y="1343027"/>
                    <a:pt x="2897864" y="1343027"/>
                  </a:cubicBezTo>
                  <a:cubicBezTo>
                    <a:pt x="2879013" y="1343027"/>
                    <a:pt x="2863732" y="1327746"/>
                    <a:pt x="2863732" y="1308895"/>
                  </a:cubicBezTo>
                  <a:cubicBezTo>
                    <a:pt x="2863732" y="1290044"/>
                    <a:pt x="2879013" y="1274763"/>
                    <a:pt x="2897864" y="1274763"/>
                  </a:cubicBezTo>
                  <a:close/>
                  <a:moveTo>
                    <a:pt x="2394790" y="1274763"/>
                  </a:moveTo>
                  <a:cubicBezTo>
                    <a:pt x="2413638" y="1274763"/>
                    <a:pt x="2428919" y="1290044"/>
                    <a:pt x="2428919" y="1308895"/>
                  </a:cubicBezTo>
                  <a:cubicBezTo>
                    <a:pt x="2428919" y="1327746"/>
                    <a:pt x="2413638" y="1343027"/>
                    <a:pt x="2394790" y="1343027"/>
                  </a:cubicBezTo>
                  <a:cubicBezTo>
                    <a:pt x="2375933" y="1343027"/>
                    <a:pt x="2360656" y="1327746"/>
                    <a:pt x="2360656" y="1308895"/>
                  </a:cubicBezTo>
                  <a:cubicBezTo>
                    <a:pt x="2360656" y="1290044"/>
                    <a:pt x="2375933" y="1274763"/>
                    <a:pt x="2394790" y="1274763"/>
                  </a:cubicBezTo>
                  <a:close/>
                  <a:moveTo>
                    <a:pt x="2224919" y="1274763"/>
                  </a:moveTo>
                  <a:cubicBezTo>
                    <a:pt x="2243761" y="1274763"/>
                    <a:pt x="2259040" y="1290044"/>
                    <a:pt x="2259040" y="1308895"/>
                  </a:cubicBezTo>
                  <a:cubicBezTo>
                    <a:pt x="2259040" y="1327746"/>
                    <a:pt x="2243761" y="1343027"/>
                    <a:pt x="2224919" y="1343027"/>
                  </a:cubicBezTo>
                  <a:cubicBezTo>
                    <a:pt x="2206066" y="1343027"/>
                    <a:pt x="2190786" y="1327746"/>
                    <a:pt x="2190786" y="1308895"/>
                  </a:cubicBezTo>
                  <a:cubicBezTo>
                    <a:pt x="2190786" y="1290044"/>
                    <a:pt x="2206066" y="1274763"/>
                    <a:pt x="2224919" y="1274763"/>
                  </a:cubicBezTo>
                  <a:close/>
                  <a:moveTo>
                    <a:pt x="2139057" y="1274763"/>
                  </a:moveTo>
                  <a:cubicBezTo>
                    <a:pt x="2157907" y="1274763"/>
                    <a:pt x="2173188" y="1290044"/>
                    <a:pt x="2173188" y="1308895"/>
                  </a:cubicBezTo>
                  <a:cubicBezTo>
                    <a:pt x="2173188" y="1327746"/>
                    <a:pt x="2157907" y="1343027"/>
                    <a:pt x="2139057" y="1343027"/>
                  </a:cubicBezTo>
                  <a:cubicBezTo>
                    <a:pt x="2120205" y="1343027"/>
                    <a:pt x="2104925" y="1327746"/>
                    <a:pt x="2104925" y="1308895"/>
                  </a:cubicBezTo>
                  <a:cubicBezTo>
                    <a:pt x="2104925" y="1290044"/>
                    <a:pt x="2120205" y="1274763"/>
                    <a:pt x="2139057" y="1274763"/>
                  </a:cubicBezTo>
                  <a:close/>
                  <a:moveTo>
                    <a:pt x="2055713" y="1274763"/>
                  </a:moveTo>
                  <a:cubicBezTo>
                    <a:pt x="2075879" y="1274763"/>
                    <a:pt x="2092226" y="1290044"/>
                    <a:pt x="2092226" y="1308895"/>
                  </a:cubicBezTo>
                  <a:cubicBezTo>
                    <a:pt x="2092226" y="1327746"/>
                    <a:pt x="2075879" y="1343027"/>
                    <a:pt x="2055713" y="1343027"/>
                  </a:cubicBezTo>
                  <a:cubicBezTo>
                    <a:pt x="2035547" y="1343027"/>
                    <a:pt x="2019201" y="1327746"/>
                    <a:pt x="2019201" y="1308895"/>
                  </a:cubicBezTo>
                  <a:cubicBezTo>
                    <a:pt x="2019201" y="1290044"/>
                    <a:pt x="2035547" y="1274763"/>
                    <a:pt x="2055713" y="1274763"/>
                  </a:cubicBezTo>
                  <a:close/>
                  <a:moveTo>
                    <a:pt x="1973164" y="1274763"/>
                  </a:moveTo>
                  <a:cubicBezTo>
                    <a:pt x="1992453" y="1274763"/>
                    <a:pt x="2008088" y="1290044"/>
                    <a:pt x="2008088" y="1308895"/>
                  </a:cubicBezTo>
                  <a:cubicBezTo>
                    <a:pt x="2008088" y="1327746"/>
                    <a:pt x="1992453" y="1343027"/>
                    <a:pt x="1973164" y="1343027"/>
                  </a:cubicBezTo>
                  <a:cubicBezTo>
                    <a:pt x="1953875" y="1343027"/>
                    <a:pt x="1938239" y="1327746"/>
                    <a:pt x="1938239" y="1308895"/>
                  </a:cubicBezTo>
                  <a:cubicBezTo>
                    <a:pt x="1938239" y="1290044"/>
                    <a:pt x="1953875" y="1274763"/>
                    <a:pt x="1973164" y="1274763"/>
                  </a:cubicBezTo>
                  <a:close/>
                  <a:moveTo>
                    <a:pt x="1888234" y="1274763"/>
                  </a:moveTo>
                  <a:cubicBezTo>
                    <a:pt x="1907085" y="1274763"/>
                    <a:pt x="1922366" y="1290044"/>
                    <a:pt x="1922366" y="1308895"/>
                  </a:cubicBezTo>
                  <a:cubicBezTo>
                    <a:pt x="1922366" y="1327746"/>
                    <a:pt x="1907085" y="1343027"/>
                    <a:pt x="1888234" y="1343027"/>
                  </a:cubicBezTo>
                  <a:cubicBezTo>
                    <a:pt x="1869383" y="1343027"/>
                    <a:pt x="1854102" y="1327746"/>
                    <a:pt x="1854102" y="1308895"/>
                  </a:cubicBezTo>
                  <a:cubicBezTo>
                    <a:pt x="1854102" y="1290044"/>
                    <a:pt x="1869383" y="1274763"/>
                    <a:pt x="1888234" y="1274763"/>
                  </a:cubicBezTo>
                  <a:close/>
                  <a:moveTo>
                    <a:pt x="1802510" y="1274763"/>
                  </a:moveTo>
                  <a:cubicBezTo>
                    <a:pt x="1821362" y="1274763"/>
                    <a:pt x="1836643" y="1290044"/>
                    <a:pt x="1836643" y="1308895"/>
                  </a:cubicBezTo>
                  <a:cubicBezTo>
                    <a:pt x="1836643" y="1327746"/>
                    <a:pt x="1821362" y="1343027"/>
                    <a:pt x="1802510" y="1343027"/>
                  </a:cubicBezTo>
                  <a:cubicBezTo>
                    <a:pt x="1783659" y="1343027"/>
                    <a:pt x="1768379" y="1327746"/>
                    <a:pt x="1768379" y="1308895"/>
                  </a:cubicBezTo>
                  <a:cubicBezTo>
                    <a:pt x="1768379" y="1290044"/>
                    <a:pt x="1783659" y="1274763"/>
                    <a:pt x="1802510" y="1274763"/>
                  </a:cubicBezTo>
                  <a:close/>
                  <a:moveTo>
                    <a:pt x="1719169" y="1274763"/>
                  </a:moveTo>
                  <a:cubicBezTo>
                    <a:pt x="1739335" y="1274763"/>
                    <a:pt x="1755682" y="1290044"/>
                    <a:pt x="1755682" y="1308895"/>
                  </a:cubicBezTo>
                  <a:cubicBezTo>
                    <a:pt x="1755682" y="1327746"/>
                    <a:pt x="1739335" y="1343027"/>
                    <a:pt x="1719169" y="1343027"/>
                  </a:cubicBezTo>
                  <a:cubicBezTo>
                    <a:pt x="1699002" y="1343027"/>
                    <a:pt x="1682656" y="1327746"/>
                    <a:pt x="1682656" y="1308895"/>
                  </a:cubicBezTo>
                  <a:cubicBezTo>
                    <a:pt x="1682656" y="1290044"/>
                    <a:pt x="1699002" y="1274763"/>
                    <a:pt x="1719169" y="1274763"/>
                  </a:cubicBezTo>
                  <a:close/>
                  <a:moveTo>
                    <a:pt x="1636604" y="1274763"/>
                  </a:moveTo>
                  <a:cubicBezTo>
                    <a:pt x="1655893" y="1274763"/>
                    <a:pt x="1671529" y="1290044"/>
                    <a:pt x="1671529" y="1308895"/>
                  </a:cubicBezTo>
                  <a:cubicBezTo>
                    <a:pt x="1671529" y="1327746"/>
                    <a:pt x="1655893" y="1343027"/>
                    <a:pt x="1636604" y="1343027"/>
                  </a:cubicBezTo>
                  <a:cubicBezTo>
                    <a:pt x="1617315" y="1343027"/>
                    <a:pt x="1601679" y="1327746"/>
                    <a:pt x="1601679" y="1308895"/>
                  </a:cubicBezTo>
                  <a:cubicBezTo>
                    <a:pt x="1601679" y="1290044"/>
                    <a:pt x="1617315" y="1274763"/>
                    <a:pt x="1636604" y="1274763"/>
                  </a:cubicBezTo>
                  <a:close/>
                  <a:moveTo>
                    <a:pt x="1551670" y="1274763"/>
                  </a:moveTo>
                  <a:cubicBezTo>
                    <a:pt x="1570521" y="1274763"/>
                    <a:pt x="1585803" y="1290044"/>
                    <a:pt x="1585803" y="1308895"/>
                  </a:cubicBezTo>
                  <a:cubicBezTo>
                    <a:pt x="1585803" y="1327746"/>
                    <a:pt x="1570521" y="1343027"/>
                    <a:pt x="1551670" y="1343027"/>
                  </a:cubicBezTo>
                  <a:cubicBezTo>
                    <a:pt x="1532819" y="1343027"/>
                    <a:pt x="1517538" y="1327746"/>
                    <a:pt x="1517538" y="1308895"/>
                  </a:cubicBezTo>
                  <a:cubicBezTo>
                    <a:pt x="1517538" y="1290044"/>
                    <a:pt x="1532819" y="1274763"/>
                    <a:pt x="1551670" y="1274763"/>
                  </a:cubicBezTo>
                  <a:close/>
                  <a:moveTo>
                    <a:pt x="1465953" y="1274763"/>
                  </a:moveTo>
                  <a:cubicBezTo>
                    <a:pt x="1484804" y="1274763"/>
                    <a:pt x="1500086" y="1290044"/>
                    <a:pt x="1500086" y="1308895"/>
                  </a:cubicBezTo>
                  <a:cubicBezTo>
                    <a:pt x="1500086" y="1327746"/>
                    <a:pt x="1484804" y="1343027"/>
                    <a:pt x="1465953" y="1343027"/>
                  </a:cubicBezTo>
                  <a:cubicBezTo>
                    <a:pt x="1447102" y="1343027"/>
                    <a:pt x="1431821" y="1327746"/>
                    <a:pt x="1431821" y="1308895"/>
                  </a:cubicBezTo>
                  <a:cubicBezTo>
                    <a:pt x="1431821" y="1290044"/>
                    <a:pt x="1447102" y="1274763"/>
                    <a:pt x="1465953" y="1274763"/>
                  </a:cubicBezTo>
                  <a:close/>
                  <a:moveTo>
                    <a:pt x="1380392" y="1274763"/>
                  </a:moveTo>
                  <a:cubicBezTo>
                    <a:pt x="1399243" y="1274763"/>
                    <a:pt x="1414522" y="1290044"/>
                    <a:pt x="1414522" y="1308895"/>
                  </a:cubicBezTo>
                  <a:cubicBezTo>
                    <a:pt x="1414522" y="1327746"/>
                    <a:pt x="1399243" y="1343027"/>
                    <a:pt x="1380392" y="1343027"/>
                  </a:cubicBezTo>
                  <a:cubicBezTo>
                    <a:pt x="1361539" y="1343027"/>
                    <a:pt x="1346258" y="1327746"/>
                    <a:pt x="1346258" y="1308895"/>
                  </a:cubicBezTo>
                  <a:cubicBezTo>
                    <a:pt x="1346258" y="1290044"/>
                    <a:pt x="1361539" y="1274763"/>
                    <a:pt x="1380392" y="1274763"/>
                  </a:cubicBezTo>
                  <a:close/>
                  <a:moveTo>
                    <a:pt x="9474877" y="1189038"/>
                  </a:moveTo>
                  <a:cubicBezTo>
                    <a:pt x="9493728" y="1189038"/>
                    <a:pt x="9509009" y="1204319"/>
                    <a:pt x="9509009" y="1223170"/>
                  </a:cubicBezTo>
                  <a:cubicBezTo>
                    <a:pt x="9509009" y="1242021"/>
                    <a:pt x="9493728" y="1257302"/>
                    <a:pt x="9474877" y="1257302"/>
                  </a:cubicBezTo>
                  <a:cubicBezTo>
                    <a:pt x="9456026" y="1257302"/>
                    <a:pt x="9440745" y="1242021"/>
                    <a:pt x="9440745" y="1223170"/>
                  </a:cubicBezTo>
                  <a:cubicBezTo>
                    <a:pt x="9440745" y="1204319"/>
                    <a:pt x="9456026" y="1189038"/>
                    <a:pt x="9474877" y="1189038"/>
                  </a:cubicBezTo>
                  <a:close/>
                  <a:moveTo>
                    <a:pt x="8801777" y="1189038"/>
                  </a:moveTo>
                  <a:cubicBezTo>
                    <a:pt x="8820628" y="1189038"/>
                    <a:pt x="8835909" y="1204319"/>
                    <a:pt x="8835909" y="1223170"/>
                  </a:cubicBezTo>
                  <a:cubicBezTo>
                    <a:pt x="8835909" y="1242021"/>
                    <a:pt x="8820628" y="1257302"/>
                    <a:pt x="8801777" y="1257302"/>
                  </a:cubicBezTo>
                  <a:cubicBezTo>
                    <a:pt x="8782926" y="1257302"/>
                    <a:pt x="8767645" y="1242021"/>
                    <a:pt x="8767645" y="1223170"/>
                  </a:cubicBezTo>
                  <a:cubicBezTo>
                    <a:pt x="8767645" y="1204319"/>
                    <a:pt x="8782926" y="1189038"/>
                    <a:pt x="8801777" y="1189038"/>
                  </a:cubicBezTo>
                  <a:close/>
                  <a:moveTo>
                    <a:pt x="8716052" y="1189038"/>
                  </a:moveTo>
                  <a:cubicBezTo>
                    <a:pt x="8734903" y="1189038"/>
                    <a:pt x="8750184" y="1204319"/>
                    <a:pt x="8750184" y="1223170"/>
                  </a:cubicBezTo>
                  <a:cubicBezTo>
                    <a:pt x="8750184" y="1242021"/>
                    <a:pt x="8734903" y="1257302"/>
                    <a:pt x="8716052" y="1257302"/>
                  </a:cubicBezTo>
                  <a:cubicBezTo>
                    <a:pt x="8697201" y="1257302"/>
                    <a:pt x="8681920" y="1242021"/>
                    <a:pt x="8681920" y="1223170"/>
                  </a:cubicBezTo>
                  <a:cubicBezTo>
                    <a:pt x="8681920" y="1204319"/>
                    <a:pt x="8697201" y="1189038"/>
                    <a:pt x="8716052" y="1189038"/>
                  </a:cubicBezTo>
                  <a:close/>
                  <a:moveTo>
                    <a:pt x="8630327" y="1189038"/>
                  </a:moveTo>
                  <a:cubicBezTo>
                    <a:pt x="8649178" y="1189038"/>
                    <a:pt x="8664459" y="1204319"/>
                    <a:pt x="8664459" y="1223170"/>
                  </a:cubicBezTo>
                  <a:cubicBezTo>
                    <a:pt x="8664459" y="1242021"/>
                    <a:pt x="8649178" y="1257302"/>
                    <a:pt x="8630327" y="1257302"/>
                  </a:cubicBezTo>
                  <a:cubicBezTo>
                    <a:pt x="8611476" y="1257302"/>
                    <a:pt x="8596195" y="1242021"/>
                    <a:pt x="8596195" y="1223170"/>
                  </a:cubicBezTo>
                  <a:cubicBezTo>
                    <a:pt x="8596195" y="1204319"/>
                    <a:pt x="8611476" y="1189038"/>
                    <a:pt x="8630327" y="1189038"/>
                  </a:cubicBezTo>
                  <a:close/>
                  <a:moveTo>
                    <a:pt x="8544602" y="1189038"/>
                  </a:moveTo>
                  <a:cubicBezTo>
                    <a:pt x="8563453" y="1189038"/>
                    <a:pt x="8578734" y="1204319"/>
                    <a:pt x="8578734" y="1223170"/>
                  </a:cubicBezTo>
                  <a:cubicBezTo>
                    <a:pt x="8578734" y="1242021"/>
                    <a:pt x="8563453" y="1257302"/>
                    <a:pt x="8544602" y="1257302"/>
                  </a:cubicBezTo>
                  <a:cubicBezTo>
                    <a:pt x="8525751" y="1257302"/>
                    <a:pt x="8510470" y="1242021"/>
                    <a:pt x="8510470" y="1223170"/>
                  </a:cubicBezTo>
                  <a:cubicBezTo>
                    <a:pt x="8510470" y="1204319"/>
                    <a:pt x="8525751" y="1189038"/>
                    <a:pt x="8544602" y="1189038"/>
                  </a:cubicBezTo>
                  <a:close/>
                  <a:moveTo>
                    <a:pt x="8465227" y="1189038"/>
                  </a:moveTo>
                  <a:cubicBezTo>
                    <a:pt x="8484078" y="1189038"/>
                    <a:pt x="8499359" y="1204319"/>
                    <a:pt x="8499359" y="1223170"/>
                  </a:cubicBezTo>
                  <a:cubicBezTo>
                    <a:pt x="8499359" y="1242021"/>
                    <a:pt x="8484078" y="1257302"/>
                    <a:pt x="8465227" y="1257302"/>
                  </a:cubicBezTo>
                  <a:cubicBezTo>
                    <a:pt x="8446376" y="1257302"/>
                    <a:pt x="8431095" y="1242021"/>
                    <a:pt x="8431095" y="1223170"/>
                  </a:cubicBezTo>
                  <a:cubicBezTo>
                    <a:pt x="8431095" y="1204319"/>
                    <a:pt x="8446376" y="1189038"/>
                    <a:pt x="8465227" y="1189038"/>
                  </a:cubicBezTo>
                  <a:close/>
                  <a:moveTo>
                    <a:pt x="8379502" y="1189038"/>
                  </a:moveTo>
                  <a:cubicBezTo>
                    <a:pt x="8398353" y="1189038"/>
                    <a:pt x="8413634" y="1204319"/>
                    <a:pt x="8413634" y="1223170"/>
                  </a:cubicBezTo>
                  <a:cubicBezTo>
                    <a:pt x="8413634" y="1242021"/>
                    <a:pt x="8398353" y="1257302"/>
                    <a:pt x="8379502" y="1257302"/>
                  </a:cubicBezTo>
                  <a:cubicBezTo>
                    <a:pt x="8360651" y="1257302"/>
                    <a:pt x="8345370" y="1242021"/>
                    <a:pt x="8345370" y="1223170"/>
                  </a:cubicBezTo>
                  <a:cubicBezTo>
                    <a:pt x="8345370" y="1204319"/>
                    <a:pt x="8360651" y="1189038"/>
                    <a:pt x="8379502" y="1189038"/>
                  </a:cubicBezTo>
                  <a:close/>
                  <a:moveTo>
                    <a:pt x="8293777" y="1189038"/>
                  </a:moveTo>
                  <a:cubicBezTo>
                    <a:pt x="8312628" y="1189038"/>
                    <a:pt x="8327909" y="1204319"/>
                    <a:pt x="8327909" y="1223170"/>
                  </a:cubicBezTo>
                  <a:cubicBezTo>
                    <a:pt x="8327909" y="1242021"/>
                    <a:pt x="8312628" y="1257302"/>
                    <a:pt x="8293777" y="1257302"/>
                  </a:cubicBezTo>
                  <a:cubicBezTo>
                    <a:pt x="8274926" y="1257302"/>
                    <a:pt x="8259645" y="1242021"/>
                    <a:pt x="8259645" y="1223170"/>
                  </a:cubicBezTo>
                  <a:cubicBezTo>
                    <a:pt x="8259645" y="1204319"/>
                    <a:pt x="8274926" y="1189038"/>
                    <a:pt x="8293777" y="1189038"/>
                  </a:cubicBezTo>
                  <a:close/>
                  <a:moveTo>
                    <a:pt x="8208052" y="1189038"/>
                  </a:moveTo>
                  <a:cubicBezTo>
                    <a:pt x="8226903" y="1189038"/>
                    <a:pt x="8242184" y="1204319"/>
                    <a:pt x="8242184" y="1223170"/>
                  </a:cubicBezTo>
                  <a:cubicBezTo>
                    <a:pt x="8242184" y="1242021"/>
                    <a:pt x="8226903" y="1257302"/>
                    <a:pt x="8208052" y="1257302"/>
                  </a:cubicBezTo>
                  <a:cubicBezTo>
                    <a:pt x="8189201" y="1257302"/>
                    <a:pt x="8173920" y="1242021"/>
                    <a:pt x="8173920" y="1223170"/>
                  </a:cubicBezTo>
                  <a:cubicBezTo>
                    <a:pt x="8173920" y="1204319"/>
                    <a:pt x="8189201" y="1189038"/>
                    <a:pt x="8208052" y="1189038"/>
                  </a:cubicBezTo>
                  <a:close/>
                  <a:moveTo>
                    <a:pt x="8125502" y="1189038"/>
                  </a:moveTo>
                  <a:cubicBezTo>
                    <a:pt x="8146106" y="1189038"/>
                    <a:pt x="8162809" y="1204319"/>
                    <a:pt x="8162809" y="1223170"/>
                  </a:cubicBezTo>
                  <a:cubicBezTo>
                    <a:pt x="8162809" y="1242021"/>
                    <a:pt x="8146106" y="1257302"/>
                    <a:pt x="8125502" y="1257302"/>
                  </a:cubicBezTo>
                  <a:cubicBezTo>
                    <a:pt x="8104898" y="1257302"/>
                    <a:pt x="8088195" y="1242021"/>
                    <a:pt x="8088195" y="1223170"/>
                  </a:cubicBezTo>
                  <a:cubicBezTo>
                    <a:pt x="8088195" y="1204319"/>
                    <a:pt x="8104898" y="1189038"/>
                    <a:pt x="8125502" y="1189038"/>
                  </a:cubicBezTo>
                  <a:close/>
                  <a:moveTo>
                    <a:pt x="8042952" y="1189038"/>
                  </a:moveTo>
                  <a:cubicBezTo>
                    <a:pt x="8061803" y="1189038"/>
                    <a:pt x="8077084" y="1204319"/>
                    <a:pt x="8077084" y="1223170"/>
                  </a:cubicBezTo>
                  <a:cubicBezTo>
                    <a:pt x="8077084" y="1242021"/>
                    <a:pt x="8061803" y="1257302"/>
                    <a:pt x="8042952" y="1257302"/>
                  </a:cubicBezTo>
                  <a:cubicBezTo>
                    <a:pt x="8024101" y="1257302"/>
                    <a:pt x="8008820" y="1242021"/>
                    <a:pt x="8008820" y="1223170"/>
                  </a:cubicBezTo>
                  <a:cubicBezTo>
                    <a:pt x="8008820" y="1204319"/>
                    <a:pt x="8024101" y="1189038"/>
                    <a:pt x="8042952" y="1189038"/>
                  </a:cubicBezTo>
                  <a:close/>
                  <a:moveTo>
                    <a:pt x="7957227" y="1189038"/>
                  </a:moveTo>
                  <a:cubicBezTo>
                    <a:pt x="7976078" y="1189038"/>
                    <a:pt x="7991359" y="1204319"/>
                    <a:pt x="7991359" y="1223170"/>
                  </a:cubicBezTo>
                  <a:cubicBezTo>
                    <a:pt x="7991359" y="1242021"/>
                    <a:pt x="7976078" y="1257302"/>
                    <a:pt x="7957227" y="1257302"/>
                  </a:cubicBezTo>
                  <a:cubicBezTo>
                    <a:pt x="7938376" y="1257302"/>
                    <a:pt x="7923095" y="1242021"/>
                    <a:pt x="7923095" y="1223170"/>
                  </a:cubicBezTo>
                  <a:cubicBezTo>
                    <a:pt x="7923095" y="1204319"/>
                    <a:pt x="7938376" y="1189038"/>
                    <a:pt x="7957227" y="1189038"/>
                  </a:cubicBezTo>
                  <a:close/>
                  <a:moveTo>
                    <a:pt x="7871502" y="1189038"/>
                  </a:moveTo>
                  <a:cubicBezTo>
                    <a:pt x="7890353" y="1189038"/>
                    <a:pt x="7905634" y="1204319"/>
                    <a:pt x="7905634" y="1223170"/>
                  </a:cubicBezTo>
                  <a:cubicBezTo>
                    <a:pt x="7905634" y="1242021"/>
                    <a:pt x="7890353" y="1257302"/>
                    <a:pt x="7871502" y="1257302"/>
                  </a:cubicBezTo>
                  <a:cubicBezTo>
                    <a:pt x="7852651" y="1257302"/>
                    <a:pt x="7837370" y="1242021"/>
                    <a:pt x="7837370" y="1223170"/>
                  </a:cubicBezTo>
                  <a:cubicBezTo>
                    <a:pt x="7837370" y="1204319"/>
                    <a:pt x="7852651" y="1189038"/>
                    <a:pt x="7871502" y="1189038"/>
                  </a:cubicBezTo>
                  <a:close/>
                  <a:moveTo>
                    <a:pt x="7785777" y="1189038"/>
                  </a:moveTo>
                  <a:cubicBezTo>
                    <a:pt x="7804628" y="1189038"/>
                    <a:pt x="7819909" y="1204319"/>
                    <a:pt x="7819909" y="1223170"/>
                  </a:cubicBezTo>
                  <a:cubicBezTo>
                    <a:pt x="7819909" y="1242021"/>
                    <a:pt x="7804628" y="1257302"/>
                    <a:pt x="7785777" y="1257302"/>
                  </a:cubicBezTo>
                  <a:cubicBezTo>
                    <a:pt x="7766926" y="1257302"/>
                    <a:pt x="7751645" y="1242021"/>
                    <a:pt x="7751645" y="1223170"/>
                  </a:cubicBezTo>
                  <a:cubicBezTo>
                    <a:pt x="7751645" y="1204319"/>
                    <a:pt x="7766926" y="1189038"/>
                    <a:pt x="7785777" y="1189038"/>
                  </a:cubicBezTo>
                  <a:close/>
                  <a:moveTo>
                    <a:pt x="7706402" y="1189038"/>
                  </a:moveTo>
                  <a:cubicBezTo>
                    <a:pt x="7725253" y="1189038"/>
                    <a:pt x="7740534" y="1204319"/>
                    <a:pt x="7740534" y="1223170"/>
                  </a:cubicBezTo>
                  <a:cubicBezTo>
                    <a:pt x="7740534" y="1242021"/>
                    <a:pt x="7725253" y="1257302"/>
                    <a:pt x="7706402" y="1257302"/>
                  </a:cubicBezTo>
                  <a:cubicBezTo>
                    <a:pt x="7687551" y="1257302"/>
                    <a:pt x="7672270" y="1242021"/>
                    <a:pt x="7672270" y="1223170"/>
                  </a:cubicBezTo>
                  <a:cubicBezTo>
                    <a:pt x="7672270" y="1204319"/>
                    <a:pt x="7687551" y="1189038"/>
                    <a:pt x="7706402" y="1189038"/>
                  </a:cubicBezTo>
                  <a:close/>
                  <a:moveTo>
                    <a:pt x="7620677" y="1189038"/>
                  </a:moveTo>
                  <a:cubicBezTo>
                    <a:pt x="7639528" y="1189038"/>
                    <a:pt x="7654809" y="1204319"/>
                    <a:pt x="7654809" y="1223170"/>
                  </a:cubicBezTo>
                  <a:cubicBezTo>
                    <a:pt x="7654809" y="1242021"/>
                    <a:pt x="7639528" y="1257302"/>
                    <a:pt x="7620677" y="1257302"/>
                  </a:cubicBezTo>
                  <a:cubicBezTo>
                    <a:pt x="7601826" y="1257302"/>
                    <a:pt x="7586545" y="1242021"/>
                    <a:pt x="7586545" y="1223170"/>
                  </a:cubicBezTo>
                  <a:cubicBezTo>
                    <a:pt x="7586545" y="1204319"/>
                    <a:pt x="7601826" y="1189038"/>
                    <a:pt x="7620677" y="1189038"/>
                  </a:cubicBezTo>
                  <a:close/>
                  <a:moveTo>
                    <a:pt x="7534952" y="1189038"/>
                  </a:moveTo>
                  <a:cubicBezTo>
                    <a:pt x="7553803" y="1189038"/>
                    <a:pt x="7569084" y="1204319"/>
                    <a:pt x="7569084" y="1223170"/>
                  </a:cubicBezTo>
                  <a:cubicBezTo>
                    <a:pt x="7569084" y="1242021"/>
                    <a:pt x="7553803" y="1257302"/>
                    <a:pt x="7534952" y="1257302"/>
                  </a:cubicBezTo>
                  <a:cubicBezTo>
                    <a:pt x="7516101" y="1257302"/>
                    <a:pt x="7500820" y="1242021"/>
                    <a:pt x="7500820" y="1223170"/>
                  </a:cubicBezTo>
                  <a:cubicBezTo>
                    <a:pt x="7500820" y="1204319"/>
                    <a:pt x="7516101" y="1189038"/>
                    <a:pt x="7534952" y="1189038"/>
                  </a:cubicBezTo>
                  <a:close/>
                  <a:moveTo>
                    <a:pt x="7449227" y="1189038"/>
                  </a:moveTo>
                  <a:cubicBezTo>
                    <a:pt x="7468078" y="1189038"/>
                    <a:pt x="7483359" y="1204319"/>
                    <a:pt x="7483359" y="1223170"/>
                  </a:cubicBezTo>
                  <a:cubicBezTo>
                    <a:pt x="7483359" y="1242021"/>
                    <a:pt x="7468078" y="1257302"/>
                    <a:pt x="7449227" y="1257302"/>
                  </a:cubicBezTo>
                  <a:cubicBezTo>
                    <a:pt x="7430376" y="1257302"/>
                    <a:pt x="7415095" y="1242021"/>
                    <a:pt x="7415095" y="1223170"/>
                  </a:cubicBezTo>
                  <a:cubicBezTo>
                    <a:pt x="7415095" y="1204319"/>
                    <a:pt x="7430376" y="1189038"/>
                    <a:pt x="7449227" y="1189038"/>
                  </a:cubicBezTo>
                  <a:close/>
                  <a:moveTo>
                    <a:pt x="7366677" y="1189038"/>
                  </a:moveTo>
                  <a:cubicBezTo>
                    <a:pt x="7387281" y="1189038"/>
                    <a:pt x="7403984" y="1204319"/>
                    <a:pt x="7403984" y="1223170"/>
                  </a:cubicBezTo>
                  <a:cubicBezTo>
                    <a:pt x="7403984" y="1242021"/>
                    <a:pt x="7387281" y="1257302"/>
                    <a:pt x="7366677" y="1257302"/>
                  </a:cubicBezTo>
                  <a:cubicBezTo>
                    <a:pt x="7346073" y="1257302"/>
                    <a:pt x="7329370" y="1242021"/>
                    <a:pt x="7329370" y="1223170"/>
                  </a:cubicBezTo>
                  <a:cubicBezTo>
                    <a:pt x="7329370" y="1204319"/>
                    <a:pt x="7346073" y="1189038"/>
                    <a:pt x="7366677" y="1189038"/>
                  </a:cubicBezTo>
                  <a:close/>
                  <a:moveTo>
                    <a:pt x="7284127" y="1189038"/>
                  </a:moveTo>
                  <a:cubicBezTo>
                    <a:pt x="7302978" y="1189038"/>
                    <a:pt x="7318259" y="1204319"/>
                    <a:pt x="7318259" y="1223170"/>
                  </a:cubicBezTo>
                  <a:cubicBezTo>
                    <a:pt x="7318259" y="1242021"/>
                    <a:pt x="7302978" y="1257302"/>
                    <a:pt x="7284127" y="1257302"/>
                  </a:cubicBezTo>
                  <a:cubicBezTo>
                    <a:pt x="7265276" y="1257302"/>
                    <a:pt x="7249995" y="1242021"/>
                    <a:pt x="7249995" y="1223170"/>
                  </a:cubicBezTo>
                  <a:cubicBezTo>
                    <a:pt x="7249995" y="1204319"/>
                    <a:pt x="7265276" y="1189038"/>
                    <a:pt x="7284127" y="1189038"/>
                  </a:cubicBezTo>
                  <a:close/>
                  <a:moveTo>
                    <a:pt x="7198402" y="1189038"/>
                  </a:moveTo>
                  <a:cubicBezTo>
                    <a:pt x="7217253" y="1189038"/>
                    <a:pt x="7232534" y="1204319"/>
                    <a:pt x="7232534" y="1223170"/>
                  </a:cubicBezTo>
                  <a:cubicBezTo>
                    <a:pt x="7232534" y="1242021"/>
                    <a:pt x="7217253" y="1257302"/>
                    <a:pt x="7198402" y="1257302"/>
                  </a:cubicBezTo>
                  <a:cubicBezTo>
                    <a:pt x="7179551" y="1257302"/>
                    <a:pt x="7164270" y="1242021"/>
                    <a:pt x="7164270" y="1223170"/>
                  </a:cubicBezTo>
                  <a:cubicBezTo>
                    <a:pt x="7164270" y="1204319"/>
                    <a:pt x="7179551" y="1189038"/>
                    <a:pt x="7198402" y="1189038"/>
                  </a:cubicBezTo>
                  <a:close/>
                  <a:moveTo>
                    <a:pt x="7112677" y="1189038"/>
                  </a:moveTo>
                  <a:cubicBezTo>
                    <a:pt x="7131528" y="1189038"/>
                    <a:pt x="7146809" y="1204319"/>
                    <a:pt x="7146809" y="1223170"/>
                  </a:cubicBezTo>
                  <a:cubicBezTo>
                    <a:pt x="7146809" y="1242021"/>
                    <a:pt x="7131528" y="1257302"/>
                    <a:pt x="7112677" y="1257302"/>
                  </a:cubicBezTo>
                  <a:cubicBezTo>
                    <a:pt x="7093826" y="1257302"/>
                    <a:pt x="7078545" y="1242021"/>
                    <a:pt x="7078545" y="1223170"/>
                  </a:cubicBezTo>
                  <a:cubicBezTo>
                    <a:pt x="7078545" y="1204319"/>
                    <a:pt x="7093826" y="1189038"/>
                    <a:pt x="7112677" y="1189038"/>
                  </a:cubicBezTo>
                  <a:close/>
                  <a:moveTo>
                    <a:pt x="7027745" y="1189038"/>
                  </a:moveTo>
                  <a:cubicBezTo>
                    <a:pt x="7047034" y="1189038"/>
                    <a:pt x="7062670" y="1204319"/>
                    <a:pt x="7062670" y="1223170"/>
                  </a:cubicBezTo>
                  <a:cubicBezTo>
                    <a:pt x="7062670" y="1242021"/>
                    <a:pt x="7047034" y="1257302"/>
                    <a:pt x="7027745" y="1257302"/>
                  </a:cubicBezTo>
                  <a:cubicBezTo>
                    <a:pt x="7008456" y="1257302"/>
                    <a:pt x="6992820" y="1242021"/>
                    <a:pt x="6992820" y="1223170"/>
                  </a:cubicBezTo>
                  <a:cubicBezTo>
                    <a:pt x="6992820" y="1204319"/>
                    <a:pt x="7008456" y="1189038"/>
                    <a:pt x="7027745" y="1189038"/>
                  </a:cubicBezTo>
                  <a:close/>
                  <a:moveTo>
                    <a:pt x="6947577" y="1189038"/>
                  </a:moveTo>
                  <a:cubicBezTo>
                    <a:pt x="6966428" y="1189038"/>
                    <a:pt x="6981709" y="1204319"/>
                    <a:pt x="6981709" y="1223170"/>
                  </a:cubicBezTo>
                  <a:cubicBezTo>
                    <a:pt x="6981709" y="1242021"/>
                    <a:pt x="6966428" y="1257302"/>
                    <a:pt x="6947577" y="1257302"/>
                  </a:cubicBezTo>
                  <a:cubicBezTo>
                    <a:pt x="6928726" y="1257302"/>
                    <a:pt x="6913445" y="1242021"/>
                    <a:pt x="6913445" y="1223170"/>
                  </a:cubicBezTo>
                  <a:cubicBezTo>
                    <a:pt x="6913445" y="1204319"/>
                    <a:pt x="6928726" y="1189038"/>
                    <a:pt x="6947577" y="1189038"/>
                  </a:cubicBezTo>
                  <a:close/>
                  <a:moveTo>
                    <a:pt x="6861852" y="1189038"/>
                  </a:moveTo>
                  <a:cubicBezTo>
                    <a:pt x="6880703" y="1189038"/>
                    <a:pt x="6895984" y="1204319"/>
                    <a:pt x="6895984" y="1223170"/>
                  </a:cubicBezTo>
                  <a:cubicBezTo>
                    <a:pt x="6895984" y="1242021"/>
                    <a:pt x="6880703" y="1257302"/>
                    <a:pt x="6861852" y="1257302"/>
                  </a:cubicBezTo>
                  <a:cubicBezTo>
                    <a:pt x="6843001" y="1257302"/>
                    <a:pt x="6827720" y="1242021"/>
                    <a:pt x="6827720" y="1223170"/>
                  </a:cubicBezTo>
                  <a:cubicBezTo>
                    <a:pt x="6827720" y="1204319"/>
                    <a:pt x="6843001" y="1189038"/>
                    <a:pt x="6861852" y="1189038"/>
                  </a:cubicBezTo>
                  <a:close/>
                  <a:moveTo>
                    <a:pt x="6776127" y="1189038"/>
                  </a:moveTo>
                  <a:cubicBezTo>
                    <a:pt x="6794978" y="1189038"/>
                    <a:pt x="6810259" y="1204319"/>
                    <a:pt x="6810259" y="1223170"/>
                  </a:cubicBezTo>
                  <a:cubicBezTo>
                    <a:pt x="6810259" y="1242021"/>
                    <a:pt x="6794978" y="1257302"/>
                    <a:pt x="6776127" y="1257302"/>
                  </a:cubicBezTo>
                  <a:cubicBezTo>
                    <a:pt x="6757276" y="1257302"/>
                    <a:pt x="6741995" y="1242021"/>
                    <a:pt x="6741995" y="1223170"/>
                  </a:cubicBezTo>
                  <a:cubicBezTo>
                    <a:pt x="6741995" y="1204319"/>
                    <a:pt x="6757276" y="1189038"/>
                    <a:pt x="6776127" y="1189038"/>
                  </a:cubicBezTo>
                  <a:close/>
                  <a:moveTo>
                    <a:pt x="6691195" y="1189038"/>
                  </a:moveTo>
                  <a:cubicBezTo>
                    <a:pt x="6710484" y="1189038"/>
                    <a:pt x="6726120" y="1204319"/>
                    <a:pt x="6726120" y="1223170"/>
                  </a:cubicBezTo>
                  <a:cubicBezTo>
                    <a:pt x="6726120" y="1242021"/>
                    <a:pt x="6710484" y="1257302"/>
                    <a:pt x="6691195" y="1257302"/>
                  </a:cubicBezTo>
                  <a:cubicBezTo>
                    <a:pt x="6671906" y="1257302"/>
                    <a:pt x="6656270" y="1242021"/>
                    <a:pt x="6656270" y="1223170"/>
                  </a:cubicBezTo>
                  <a:cubicBezTo>
                    <a:pt x="6656270" y="1204319"/>
                    <a:pt x="6671906" y="1189038"/>
                    <a:pt x="6691195" y="1189038"/>
                  </a:cubicBezTo>
                  <a:close/>
                  <a:moveTo>
                    <a:pt x="6607852" y="1189038"/>
                  </a:moveTo>
                  <a:cubicBezTo>
                    <a:pt x="6628456" y="1189038"/>
                    <a:pt x="6645159" y="1204319"/>
                    <a:pt x="6645159" y="1223170"/>
                  </a:cubicBezTo>
                  <a:cubicBezTo>
                    <a:pt x="6645159" y="1242021"/>
                    <a:pt x="6628456" y="1257302"/>
                    <a:pt x="6607852" y="1257302"/>
                  </a:cubicBezTo>
                  <a:cubicBezTo>
                    <a:pt x="6587248" y="1257302"/>
                    <a:pt x="6570545" y="1242021"/>
                    <a:pt x="6570545" y="1223170"/>
                  </a:cubicBezTo>
                  <a:cubicBezTo>
                    <a:pt x="6570545" y="1204319"/>
                    <a:pt x="6587248" y="1189038"/>
                    <a:pt x="6607852" y="1189038"/>
                  </a:cubicBezTo>
                  <a:close/>
                  <a:moveTo>
                    <a:pt x="6525302" y="1189038"/>
                  </a:moveTo>
                  <a:cubicBezTo>
                    <a:pt x="6544153" y="1189038"/>
                    <a:pt x="6559434" y="1204319"/>
                    <a:pt x="6559434" y="1223170"/>
                  </a:cubicBezTo>
                  <a:cubicBezTo>
                    <a:pt x="6559434" y="1242021"/>
                    <a:pt x="6544153" y="1257302"/>
                    <a:pt x="6525302" y="1257302"/>
                  </a:cubicBezTo>
                  <a:cubicBezTo>
                    <a:pt x="6506451" y="1257302"/>
                    <a:pt x="6491170" y="1242021"/>
                    <a:pt x="6491170" y="1223170"/>
                  </a:cubicBezTo>
                  <a:cubicBezTo>
                    <a:pt x="6491170" y="1204319"/>
                    <a:pt x="6506451" y="1189038"/>
                    <a:pt x="6525302" y="1189038"/>
                  </a:cubicBezTo>
                  <a:close/>
                  <a:moveTo>
                    <a:pt x="6439577" y="1189038"/>
                  </a:moveTo>
                  <a:cubicBezTo>
                    <a:pt x="6458428" y="1189038"/>
                    <a:pt x="6473709" y="1204319"/>
                    <a:pt x="6473709" y="1223170"/>
                  </a:cubicBezTo>
                  <a:cubicBezTo>
                    <a:pt x="6473709" y="1242021"/>
                    <a:pt x="6458428" y="1257302"/>
                    <a:pt x="6439577" y="1257302"/>
                  </a:cubicBezTo>
                  <a:cubicBezTo>
                    <a:pt x="6420726" y="1257302"/>
                    <a:pt x="6405445" y="1242021"/>
                    <a:pt x="6405445" y="1223170"/>
                  </a:cubicBezTo>
                  <a:cubicBezTo>
                    <a:pt x="6405445" y="1204319"/>
                    <a:pt x="6420726" y="1189038"/>
                    <a:pt x="6439577" y="1189038"/>
                  </a:cubicBezTo>
                  <a:close/>
                  <a:moveTo>
                    <a:pt x="6353852" y="1189038"/>
                  </a:moveTo>
                  <a:cubicBezTo>
                    <a:pt x="6372703" y="1189038"/>
                    <a:pt x="6387984" y="1204319"/>
                    <a:pt x="6387984" y="1223170"/>
                  </a:cubicBezTo>
                  <a:cubicBezTo>
                    <a:pt x="6387984" y="1242021"/>
                    <a:pt x="6372703" y="1257302"/>
                    <a:pt x="6353852" y="1257302"/>
                  </a:cubicBezTo>
                  <a:cubicBezTo>
                    <a:pt x="6335001" y="1257302"/>
                    <a:pt x="6319720" y="1242021"/>
                    <a:pt x="6319720" y="1223170"/>
                  </a:cubicBezTo>
                  <a:cubicBezTo>
                    <a:pt x="6319720" y="1204319"/>
                    <a:pt x="6335001" y="1189038"/>
                    <a:pt x="6353852" y="1189038"/>
                  </a:cubicBezTo>
                  <a:close/>
                  <a:moveTo>
                    <a:pt x="6268920" y="1189038"/>
                  </a:moveTo>
                  <a:cubicBezTo>
                    <a:pt x="6288209" y="1189038"/>
                    <a:pt x="6303845" y="1204319"/>
                    <a:pt x="6303845" y="1223170"/>
                  </a:cubicBezTo>
                  <a:cubicBezTo>
                    <a:pt x="6303845" y="1242021"/>
                    <a:pt x="6288209" y="1257302"/>
                    <a:pt x="6268920" y="1257302"/>
                  </a:cubicBezTo>
                  <a:cubicBezTo>
                    <a:pt x="6249631" y="1257302"/>
                    <a:pt x="6233995" y="1242021"/>
                    <a:pt x="6233995" y="1223170"/>
                  </a:cubicBezTo>
                  <a:cubicBezTo>
                    <a:pt x="6233995" y="1204319"/>
                    <a:pt x="6249631" y="1189038"/>
                    <a:pt x="6268920" y="1189038"/>
                  </a:cubicBezTo>
                  <a:close/>
                  <a:moveTo>
                    <a:pt x="6188752" y="1189038"/>
                  </a:moveTo>
                  <a:cubicBezTo>
                    <a:pt x="6207603" y="1189038"/>
                    <a:pt x="6222884" y="1204319"/>
                    <a:pt x="6222884" y="1223170"/>
                  </a:cubicBezTo>
                  <a:cubicBezTo>
                    <a:pt x="6222884" y="1242021"/>
                    <a:pt x="6207603" y="1257302"/>
                    <a:pt x="6188752" y="1257302"/>
                  </a:cubicBezTo>
                  <a:cubicBezTo>
                    <a:pt x="6169901" y="1257302"/>
                    <a:pt x="6154620" y="1242021"/>
                    <a:pt x="6154620" y="1223170"/>
                  </a:cubicBezTo>
                  <a:cubicBezTo>
                    <a:pt x="6154620" y="1204319"/>
                    <a:pt x="6169901" y="1189038"/>
                    <a:pt x="6188752" y="1189038"/>
                  </a:cubicBezTo>
                  <a:close/>
                  <a:moveTo>
                    <a:pt x="6103027" y="1189038"/>
                  </a:moveTo>
                  <a:cubicBezTo>
                    <a:pt x="6121878" y="1189038"/>
                    <a:pt x="6137159" y="1204319"/>
                    <a:pt x="6137159" y="1223170"/>
                  </a:cubicBezTo>
                  <a:cubicBezTo>
                    <a:pt x="6137159" y="1242021"/>
                    <a:pt x="6121878" y="1257302"/>
                    <a:pt x="6103027" y="1257302"/>
                  </a:cubicBezTo>
                  <a:cubicBezTo>
                    <a:pt x="6084176" y="1257302"/>
                    <a:pt x="6068895" y="1242021"/>
                    <a:pt x="6068895" y="1223170"/>
                  </a:cubicBezTo>
                  <a:cubicBezTo>
                    <a:pt x="6068895" y="1204319"/>
                    <a:pt x="6084176" y="1189038"/>
                    <a:pt x="6103027" y="1189038"/>
                  </a:cubicBezTo>
                  <a:close/>
                  <a:moveTo>
                    <a:pt x="6017302" y="1189038"/>
                  </a:moveTo>
                  <a:cubicBezTo>
                    <a:pt x="6036153" y="1189038"/>
                    <a:pt x="6051434" y="1204319"/>
                    <a:pt x="6051434" y="1223170"/>
                  </a:cubicBezTo>
                  <a:cubicBezTo>
                    <a:pt x="6051434" y="1242021"/>
                    <a:pt x="6036153" y="1257302"/>
                    <a:pt x="6017302" y="1257302"/>
                  </a:cubicBezTo>
                  <a:cubicBezTo>
                    <a:pt x="5998451" y="1257302"/>
                    <a:pt x="5983170" y="1242021"/>
                    <a:pt x="5983170" y="1223170"/>
                  </a:cubicBezTo>
                  <a:cubicBezTo>
                    <a:pt x="5983170" y="1204319"/>
                    <a:pt x="5998451" y="1189038"/>
                    <a:pt x="6017302" y="1189038"/>
                  </a:cubicBezTo>
                  <a:close/>
                  <a:moveTo>
                    <a:pt x="5849821" y="1189038"/>
                  </a:moveTo>
                  <a:cubicBezTo>
                    <a:pt x="5869987" y="1189038"/>
                    <a:pt x="5886334" y="1204319"/>
                    <a:pt x="5886334" y="1223170"/>
                  </a:cubicBezTo>
                  <a:cubicBezTo>
                    <a:pt x="5886334" y="1242021"/>
                    <a:pt x="5869987" y="1257302"/>
                    <a:pt x="5849821" y="1257302"/>
                  </a:cubicBezTo>
                  <a:cubicBezTo>
                    <a:pt x="5829655" y="1257302"/>
                    <a:pt x="5813308" y="1242021"/>
                    <a:pt x="5813308" y="1223170"/>
                  </a:cubicBezTo>
                  <a:cubicBezTo>
                    <a:pt x="5813308" y="1204319"/>
                    <a:pt x="5829655" y="1189038"/>
                    <a:pt x="5849821" y="1189038"/>
                  </a:cubicBezTo>
                  <a:close/>
                  <a:moveTo>
                    <a:pt x="5595820" y="1189038"/>
                  </a:moveTo>
                  <a:cubicBezTo>
                    <a:pt x="5615109" y="1189038"/>
                    <a:pt x="5630745" y="1204319"/>
                    <a:pt x="5630745" y="1223170"/>
                  </a:cubicBezTo>
                  <a:cubicBezTo>
                    <a:pt x="5630745" y="1242021"/>
                    <a:pt x="5615109" y="1257302"/>
                    <a:pt x="5595820" y="1257302"/>
                  </a:cubicBezTo>
                  <a:cubicBezTo>
                    <a:pt x="5576531" y="1257302"/>
                    <a:pt x="5560895" y="1242021"/>
                    <a:pt x="5560895" y="1223170"/>
                  </a:cubicBezTo>
                  <a:cubicBezTo>
                    <a:pt x="5560895" y="1204319"/>
                    <a:pt x="5576531" y="1189038"/>
                    <a:pt x="5595820" y="1189038"/>
                  </a:cubicBezTo>
                  <a:close/>
                  <a:moveTo>
                    <a:pt x="5429927" y="1189038"/>
                  </a:moveTo>
                  <a:cubicBezTo>
                    <a:pt x="5448778" y="1189038"/>
                    <a:pt x="5464059" y="1204319"/>
                    <a:pt x="5464059" y="1223170"/>
                  </a:cubicBezTo>
                  <a:cubicBezTo>
                    <a:pt x="5464059" y="1242021"/>
                    <a:pt x="5448778" y="1257302"/>
                    <a:pt x="5429927" y="1257302"/>
                  </a:cubicBezTo>
                  <a:cubicBezTo>
                    <a:pt x="5411076" y="1257302"/>
                    <a:pt x="5395795" y="1242021"/>
                    <a:pt x="5395795" y="1223170"/>
                  </a:cubicBezTo>
                  <a:cubicBezTo>
                    <a:pt x="5395795" y="1204319"/>
                    <a:pt x="5411076" y="1189038"/>
                    <a:pt x="5429927" y="1189038"/>
                  </a:cubicBezTo>
                  <a:close/>
                  <a:moveTo>
                    <a:pt x="5344202" y="1189038"/>
                  </a:moveTo>
                  <a:cubicBezTo>
                    <a:pt x="5363053" y="1189038"/>
                    <a:pt x="5378334" y="1204319"/>
                    <a:pt x="5378334" y="1223170"/>
                  </a:cubicBezTo>
                  <a:cubicBezTo>
                    <a:pt x="5378334" y="1242021"/>
                    <a:pt x="5363053" y="1257302"/>
                    <a:pt x="5344202" y="1257302"/>
                  </a:cubicBezTo>
                  <a:cubicBezTo>
                    <a:pt x="5325351" y="1257302"/>
                    <a:pt x="5310070" y="1242021"/>
                    <a:pt x="5310070" y="1223170"/>
                  </a:cubicBezTo>
                  <a:cubicBezTo>
                    <a:pt x="5310070" y="1204319"/>
                    <a:pt x="5325351" y="1189038"/>
                    <a:pt x="5344202" y="1189038"/>
                  </a:cubicBezTo>
                  <a:close/>
                  <a:moveTo>
                    <a:pt x="5258477" y="1189038"/>
                  </a:moveTo>
                  <a:cubicBezTo>
                    <a:pt x="5277328" y="1189038"/>
                    <a:pt x="5292609" y="1204319"/>
                    <a:pt x="5292609" y="1223170"/>
                  </a:cubicBezTo>
                  <a:cubicBezTo>
                    <a:pt x="5292609" y="1242021"/>
                    <a:pt x="5277328" y="1257302"/>
                    <a:pt x="5258477" y="1257302"/>
                  </a:cubicBezTo>
                  <a:cubicBezTo>
                    <a:pt x="5239626" y="1257302"/>
                    <a:pt x="5224345" y="1242021"/>
                    <a:pt x="5224345" y="1223170"/>
                  </a:cubicBezTo>
                  <a:cubicBezTo>
                    <a:pt x="5224345" y="1204319"/>
                    <a:pt x="5239626" y="1189038"/>
                    <a:pt x="5258477" y="1189038"/>
                  </a:cubicBezTo>
                  <a:close/>
                  <a:moveTo>
                    <a:pt x="3826552" y="1189038"/>
                  </a:moveTo>
                  <a:cubicBezTo>
                    <a:pt x="3845403" y="1189038"/>
                    <a:pt x="3860684" y="1204319"/>
                    <a:pt x="3860684" y="1223170"/>
                  </a:cubicBezTo>
                  <a:cubicBezTo>
                    <a:pt x="3860684" y="1242021"/>
                    <a:pt x="3845403" y="1257302"/>
                    <a:pt x="3826552" y="1257302"/>
                  </a:cubicBezTo>
                  <a:cubicBezTo>
                    <a:pt x="3807701" y="1257302"/>
                    <a:pt x="3792420" y="1242021"/>
                    <a:pt x="3792420" y="1223170"/>
                  </a:cubicBezTo>
                  <a:cubicBezTo>
                    <a:pt x="3792420" y="1204319"/>
                    <a:pt x="3807701" y="1189038"/>
                    <a:pt x="3826552" y="1189038"/>
                  </a:cubicBezTo>
                  <a:close/>
                  <a:moveTo>
                    <a:pt x="3741620" y="1189038"/>
                  </a:moveTo>
                  <a:cubicBezTo>
                    <a:pt x="3760909" y="1189038"/>
                    <a:pt x="3776545" y="1204319"/>
                    <a:pt x="3776545" y="1223170"/>
                  </a:cubicBezTo>
                  <a:cubicBezTo>
                    <a:pt x="3776545" y="1242021"/>
                    <a:pt x="3760909" y="1257302"/>
                    <a:pt x="3741620" y="1257302"/>
                  </a:cubicBezTo>
                  <a:cubicBezTo>
                    <a:pt x="3722331" y="1257302"/>
                    <a:pt x="3706695" y="1242021"/>
                    <a:pt x="3706695" y="1223170"/>
                  </a:cubicBezTo>
                  <a:cubicBezTo>
                    <a:pt x="3706695" y="1204319"/>
                    <a:pt x="3722331" y="1189038"/>
                    <a:pt x="3741620" y="1189038"/>
                  </a:cubicBezTo>
                  <a:close/>
                  <a:moveTo>
                    <a:pt x="3068520" y="1189038"/>
                  </a:moveTo>
                  <a:cubicBezTo>
                    <a:pt x="3087809" y="1189038"/>
                    <a:pt x="3103445" y="1204319"/>
                    <a:pt x="3103445" y="1223170"/>
                  </a:cubicBezTo>
                  <a:cubicBezTo>
                    <a:pt x="3103445" y="1242021"/>
                    <a:pt x="3087809" y="1257302"/>
                    <a:pt x="3068520" y="1257302"/>
                  </a:cubicBezTo>
                  <a:cubicBezTo>
                    <a:pt x="3049231" y="1257302"/>
                    <a:pt x="3033595" y="1242021"/>
                    <a:pt x="3033595" y="1223170"/>
                  </a:cubicBezTo>
                  <a:cubicBezTo>
                    <a:pt x="3033595" y="1204319"/>
                    <a:pt x="3049231" y="1189038"/>
                    <a:pt x="3068520" y="1189038"/>
                  </a:cubicBezTo>
                  <a:close/>
                  <a:moveTo>
                    <a:pt x="2983589" y="1189038"/>
                  </a:moveTo>
                  <a:cubicBezTo>
                    <a:pt x="3002440" y="1189038"/>
                    <a:pt x="3017721" y="1204319"/>
                    <a:pt x="3017721" y="1223170"/>
                  </a:cubicBezTo>
                  <a:cubicBezTo>
                    <a:pt x="3017721" y="1242021"/>
                    <a:pt x="3002440" y="1257302"/>
                    <a:pt x="2983589" y="1257302"/>
                  </a:cubicBezTo>
                  <a:cubicBezTo>
                    <a:pt x="2964738" y="1257302"/>
                    <a:pt x="2949457" y="1242021"/>
                    <a:pt x="2949457" y="1223170"/>
                  </a:cubicBezTo>
                  <a:cubicBezTo>
                    <a:pt x="2949457" y="1204319"/>
                    <a:pt x="2964738" y="1189038"/>
                    <a:pt x="2983589" y="1189038"/>
                  </a:cubicBezTo>
                  <a:close/>
                  <a:moveTo>
                    <a:pt x="2394790" y="1189038"/>
                  </a:moveTo>
                  <a:cubicBezTo>
                    <a:pt x="2413638" y="1189038"/>
                    <a:pt x="2428919" y="1204319"/>
                    <a:pt x="2428919" y="1223170"/>
                  </a:cubicBezTo>
                  <a:cubicBezTo>
                    <a:pt x="2428919" y="1242021"/>
                    <a:pt x="2413638" y="1257302"/>
                    <a:pt x="2394790" y="1257302"/>
                  </a:cubicBezTo>
                  <a:cubicBezTo>
                    <a:pt x="2375933" y="1257302"/>
                    <a:pt x="2360656" y="1242021"/>
                    <a:pt x="2360656" y="1223170"/>
                  </a:cubicBezTo>
                  <a:cubicBezTo>
                    <a:pt x="2360656" y="1204319"/>
                    <a:pt x="2375933" y="1189038"/>
                    <a:pt x="2394790" y="1189038"/>
                  </a:cubicBezTo>
                  <a:close/>
                  <a:moveTo>
                    <a:pt x="2309856" y="1189038"/>
                  </a:moveTo>
                  <a:cubicBezTo>
                    <a:pt x="2329141" y="1189038"/>
                    <a:pt x="2344781" y="1204319"/>
                    <a:pt x="2344781" y="1223170"/>
                  </a:cubicBezTo>
                  <a:cubicBezTo>
                    <a:pt x="2344781" y="1242021"/>
                    <a:pt x="2329141" y="1257302"/>
                    <a:pt x="2309856" y="1257302"/>
                  </a:cubicBezTo>
                  <a:cubicBezTo>
                    <a:pt x="2290564" y="1257302"/>
                    <a:pt x="2274920" y="1242021"/>
                    <a:pt x="2274920" y="1223170"/>
                  </a:cubicBezTo>
                  <a:cubicBezTo>
                    <a:pt x="2274920" y="1204319"/>
                    <a:pt x="2290564" y="1189038"/>
                    <a:pt x="2309856" y="1189038"/>
                  </a:cubicBezTo>
                  <a:close/>
                  <a:moveTo>
                    <a:pt x="2224780" y="1189038"/>
                  </a:moveTo>
                  <a:cubicBezTo>
                    <a:pt x="2243632" y="1189038"/>
                    <a:pt x="2258913" y="1204319"/>
                    <a:pt x="2258913" y="1223170"/>
                  </a:cubicBezTo>
                  <a:cubicBezTo>
                    <a:pt x="2258913" y="1242021"/>
                    <a:pt x="2243632" y="1257302"/>
                    <a:pt x="2224780" y="1257302"/>
                  </a:cubicBezTo>
                  <a:cubicBezTo>
                    <a:pt x="2205929" y="1257302"/>
                    <a:pt x="2190649" y="1242021"/>
                    <a:pt x="2190649" y="1223170"/>
                  </a:cubicBezTo>
                  <a:cubicBezTo>
                    <a:pt x="2190649" y="1204319"/>
                    <a:pt x="2205929" y="1189038"/>
                    <a:pt x="2224780" y="1189038"/>
                  </a:cubicBezTo>
                  <a:close/>
                  <a:moveTo>
                    <a:pt x="2055713" y="1189038"/>
                  </a:moveTo>
                  <a:cubicBezTo>
                    <a:pt x="2075879" y="1189038"/>
                    <a:pt x="2092226" y="1204319"/>
                    <a:pt x="2092226" y="1223170"/>
                  </a:cubicBezTo>
                  <a:cubicBezTo>
                    <a:pt x="2092226" y="1242021"/>
                    <a:pt x="2075879" y="1257302"/>
                    <a:pt x="2055713" y="1257302"/>
                  </a:cubicBezTo>
                  <a:cubicBezTo>
                    <a:pt x="2035547" y="1257302"/>
                    <a:pt x="2019201" y="1242021"/>
                    <a:pt x="2019201" y="1223170"/>
                  </a:cubicBezTo>
                  <a:cubicBezTo>
                    <a:pt x="2019201" y="1204319"/>
                    <a:pt x="2035547" y="1189038"/>
                    <a:pt x="2055713" y="1189038"/>
                  </a:cubicBezTo>
                  <a:close/>
                  <a:moveTo>
                    <a:pt x="1973163" y="1189038"/>
                  </a:moveTo>
                  <a:cubicBezTo>
                    <a:pt x="1992452" y="1189038"/>
                    <a:pt x="2008088" y="1204319"/>
                    <a:pt x="2008088" y="1223170"/>
                  </a:cubicBezTo>
                  <a:cubicBezTo>
                    <a:pt x="2008088" y="1242021"/>
                    <a:pt x="1992452" y="1257302"/>
                    <a:pt x="1973163" y="1257302"/>
                  </a:cubicBezTo>
                  <a:cubicBezTo>
                    <a:pt x="1953875" y="1257302"/>
                    <a:pt x="1938238" y="1242021"/>
                    <a:pt x="1938238" y="1223170"/>
                  </a:cubicBezTo>
                  <a:cubicBezTo>
                    <a:pt x="1938238" y="1204319"/>
                    <a:pt x="1953875" y="1189038"/>
                    <a:pt x="1973163" y="1189038"/>
                  </a:cubicBezTo>
                  <a:close/>
                  <a:moveTo>
                    <a:pt x="1888234" y="1189038"/>
                  </a:moveTo>
                  <a:cubicBezTo>
                    <a:pt x="1907085" y="1189038"/>
                    <a:pt x="1922366" y="1204319"/>
                    <a:pt x="1922366" y="1223170"/>
                  </a:cubicBezTo>
                  <a:cubicBezTo>
                    <a:pt x="1922366" y="1242021"/>
                    <a:pt x="1907085" y="1257302"/>
                    <a:pt x="1888234" y="1257302"/>
                  </a:cubicBezTo>
                  <a:cubicBezTo>
                    <a:pt x="1869383" y="1257302"/>
                    <a:pt x="1854103" y="1242021"/>
                    <a:pt x="1854103" y="1223170"/>
                  </a:cubicBezTo>
                  <a:cubicBezTo>
                    <a:pt x="1854103" y="1204319"/>
                    <a:pt x="1869383" y="1189038"/>
                    <a:pt x="1888234" y="1189038"/>
                  </a:cubicBezTo>
                  <a:close/>
                  <a:moveTo>
                    <a:pt x="1802510" y="1189038"/>
                  </a:moveTo>
                  <a:cubicBezTo>
                    <a:pt x="1821361" y="1189038"/>
                    <a:pt x="1836643" y="1204319"/>
                    <a:pt x="1836643" y="1223170"/>
                  </a:cubicBezTo>
                  <a:cubicBezTo>
                    <a:pt x="1836643" y="1242021"/>
                    <a:pt x="1821361" y="1257302"/>
                    <a:pt x="1802510" y="1257302"/>
                  </a:cubicBezTo>
                  <a:cubicBezTo>
                    <a:pt x="1783659" y="1257302"/>
                    <a:pt x="1768379" y="1242021"/>
                    <a:pt x="1768379" y="1223170"/>
                  </a:cubicBezTo>
                  <a:cubicBezTo>
                    <a:pt x="1768379" y="1204319"/>
                    <a:pt x="1783659" y="1189038"/>
                    <a:pt x="1802510" y="1189038"/>
                  </a:cubicBezTo>
                  <a:close/>
                  <a:moveTo>
                    <a:pt x="1719169" y="1189038"/>
                  </a:moveTo>
                  <a:cubicBezTo>
                    <a:pt x="1739335" y="1189038"/>
                    <a:pt x="1755682" y="1204319"/>
                    <a:pt x="1755682" y="1223170"/>
                  </a:cubicBezTo>
                  <a:cubicBezTo>
                    <a:pt x="1755682" y="1242021"/>
                    <a:pt x="1739335" y="1257302"/>
                    <a:pt x="1719169" y="1257302"/>
                  </a:cubicBezTo>
                  <a:cubicBezTo>
                    <a:pt x="1699003" y="1257302"/>
                    <a:pt x="1682656" y="1242021"/>
                    <a:pt x="1682656" y="1223170"/>
                  </a:cubicBezTo>
                  <a:cubicBezTo>
                    <a:pt x="1682656" y="1204319"/>
                    <a:pt x="1699003" y="1189038"/>
                    <a:pt x="1719169" y="1189038"/>
                  </a:cubicBezTo>
                  <a:close/>
                  <a:moveTo>
                    <a:pt x="1636604" y="1189038"/>
                  </a:moveTo>
                  <a:cubicBezTo>
                    <a:pt x="1655893" y="1189038"/>
                    <a:pt x="1671529" y="1204319"/>
                    <a:pt x="1671529" y="1223170"/>
                  </a:cubicBezTo>
                  <a:cubicBezTo>
                    <a:pt x="1671529" y="1242021"/>
                    <a:pt x="1655893" y="1257302"/>
                    <a:pt x="1636604" y="1257302"/>
                  </a:cubicBezTo>
                  <a:cubicBezTo>
                    <a:pt x="1617315" y="1257302"/>
                    <a:pt x="1601679" y="1242021"/>
                    <a:pt x="1601679" y="1223170"/>
                  </a:cubicBezTo>
                  <a:cubicBezTo>
                    <a:pt x="1601679" y="1204319"/>
                    <a:pt x="1617315" y="1189038"/>
                    <a:pt x="1636604" y="1189038"/>
                  </a:cubicBezTo>
                  <a:close/>
                  <a:moveTo>
                    <a:pt x="1551670" y="1189038"/>
                  </a:moveTo>
                  <a:cubicBezTo>
                    <a:pt x="1570521" y="1189038"/>
                    <a:pt x="1585803" y="1204319"/>
                    <a:pt x="1585803" y="1223170"/>
                  </a:cubicBezTo>
                  <a:cubicBezTo>
                    <a:pt x="1585803" y="1242021"/>
                    <a:pt x="1570521" y="1257302"/>
                    <a:pt x="1551670" y="1257302"/>
                  </a:cubicBezTo>
                  <a:cubicBezTo>
                    <a:pt x="1532819" y="1257302"/>
                    <a:pt x="1517539" y="1242021"/>
                    <a:pt x="1517539" y="1223170"/>
                  </a:cubicBezTo>
                  <a:cubicBezTo>
                    <a:pt x="1517539" y="1204319"/>
                    <a:pt x="1532819" y="1189038"/>
                    <a:pt x="1551670" y="1189038"/>
                  </a:cubicBezTo>
                  <a:close/>
                  <a:moveTo>
                    <a:pt x="1465953" y="1189038"/>
                  </a:moveTo>
                  <a:cubicBezTo>
                    <a:pt x="1484804" y="1189038"/>
                    <a:pt x="1500086" y="1204319"/>
                    <a:pt x="1500086" y="1223170"/>
                  </a:cubicBezTo>
                  <a:cubicBezTo>
                    <a:pt x="1500086" y="1242021"/>
                    <a:pt x="1484804" y="1257302"/>
                    <a:pt x="1465953" y="1257302"/>
                  </a:cubicBezTo>
                  <a:cubicBezTo>
                    <a:pt x="1447102" y="1257302"/>
                    <a:pt x="1431821" y="1242021"/>
                    <a:pt x="1431821" y="1223170"/>
                  </a:cubicBezTo>
                  <a:cubicBezTo>
                    <a:pt x="1431821" y="1204319"/>
                    <a:pt x="1447102" y="1189038"/>
                    <a:pt x="1465953" y="1189038"/>
                  </a:cubicBezTo>
                  <a:close/>
                  <a:moveTo>
                    <a:pt x="1380392" y="1189038"/>
                  </a:moveTo>
                  <a:cubicBezTo>
                    <a:pt x="1399243" y="1189038"/>
                    <a:pt x="1414522" y="1204319"/>
                    <a:pt x="1414522" y="1223170"/>
                  </a:cubicBezTo>
                  <a:cubicBezTo>
                    <a:pt x="1414522" y="1242021"/>
                    <a:pt x="1399243" y="1257302"/>
                    <a:pt x="1380392" y="1257302"/>
                  </a:cubicBezTo>
                  <a:cubicBezTo>
                    <a:pt x="1361539" y="1257302"/>
                    <a:pt x="1346258" y="1242021"/>
                    <a:pt x="1346258" y="1223170"/>
                  </a:cubicBezTo>
                  <a:cubicBezTo>
                    <a:pt x="1346258" y="1204319"/>
                    <a:pt x="1361539" y="1189038"/>
                    <a:pt x="1380392" y="1189038"/>
                  </a:cubicBezTo>
                  <a:close/>
                  <a:moveTo>
                    <a:pt x="1300222" y="1189038"/>
                  </a:moveTo>
                  <a:cubicBezTo>
                    <a:pt x="1319509" y="1189038"/>
                    <a:pt x="1335148" y="1204319"/>
                    <a:pt x="1335148" y="1223170"/>
                  </a:cubicBezTo>
                  <a:cubicBezTo>
                    <a:pt x="1335148" y="1242021"/>
                    <a:pt x="1319509" y="1257302"/>
                    <a:pt x="1300222" y="1257302"/>
                  </a:cubicBezTo>
                  <a:cubicBezTo>
                    <a:pt x="1280933" y="1257302"/>
                    <a:pt x="1265297" y="1242021"/>
                    <a:pt x="1265297" y="1223170"/>
                  </a:cubicBezTo>
                  <a:cubicBezTo>
                    <a:pt x="1265297" y="1204319"/>
                    <a:pt x="1280933" y="1189038"/>
                    <a:pt x="1300222" y="1189038"/>
                  </a:cubicBezTo>
                  <a:close/>
                  <a:moveTo>
                    <a:pt x="284840" y="1189038"/>
                  </a:moveTo>
                  <a:cubicBezTo>
                    <a:pt x="303691" y="1189038"/>
                    <a:pt x="318971" y="1204319"/>
                    <a:pt x="318971" y="1223170"/>
                  </a:cubicBezTo>
                  <a:cubicBezTo>
                    <a:pt x="318971" y="1242021"/>
                    <a:pt x="303691" y="1257302"/>
                    <a:pt x="284840" y="1257302"/>
                  </a:cubicBezTo>
                  <a:cubicBezTo>
                    <a:pt x="265988" y="1257302"/>
                    <a:pt x="250707" y="1242021"/>
                    <a:pt x="250707" y="1223170"/>
                  </a:cubicBezTo>
                  <a:cubicBezTo>
                    <a:pt x="250707" y="1204319"/>
                    <a:pt x="265988" y="1189038"/>
                    <a:pt x="284840" y="1189038"/>
                  </a:cubicBezTo>
                  <a:close/>
                  <a:moveTo>
                    <a:pt x="202289" y="1189038"/>
                  </a:moveTo>
                  <a:cubicBezTo>
                    <a:pt x="222893" y="1189038"/>
                    <a:pt x="239596" y="1204319"/>
                    <a:pt x="239596" y="1223170"/>
                  </a:cubicBezTo>
                  <a:cubicBezTo>
                    <a:pt x="239596" y="1242021"/>
                    <a:pt x="222893" y="1257302"/>
                    <a:pt x="202289" y="1257302"/>
                  </a:cubicBezTo>
                  <a:cubicBezTo>
                    <a:pt x="181685" y="1257302"/>
                    <a:pt x="164982" y="1242021"/>
                    <a:pt x="164982" y="1223170"/>
                  </a:cubicBezTo>
                  <a:cubicBezTo>
                    <a:pt x="164982" y="1204319"/>
                    <a:pt x="181685" y="1189038"/>
                    <a:pt x="202289" y="1189038"/>
                  </a:cubicBezTo>
                  <a:close/>
                  <a:moveTo>
                    <a:pt x="118945" y="1189038"/>
                  </a:moveTo>
                  <a:cubicBezTo>
                    <a:pt x="138234" y="1189038"/>
                    <a:pt x="153870" y="1204319"/>
                    <a:pt x="153870" y="1223170"/>
                  </a:cubicBezTo>
                  <a:cubicBezTo>
                    <a:pt x="153870" y="1242021"/>
                    <a:pt x="138234" y="1257302"/>
                    <a:pt x="118945" y="1257302"/>
                  </a:cubicBezTo>
                  <a:cubicBezTo>
                    <a:pt x="99656" y="1257302"/>
                    <a:pt x="84020" y="1242021"/>
                    <a:pt x="84020" y="1223170"/>
                  </a:cubicBezTo>
                  <a:cubicBezTo>
                    <a:pt x="84020" y="1204319"/>
                    <a:pt x="99656" y="1189038"/>
                    <a:pt x="118945" y="1189038"/>
                  </a:cubicBezTo>
                  <a:close/>
                  <a:moveTo>
                    <a:pt x="34131" y="1189038"/>
                  </a:moveTo>
                  <a:cubicBezTo>
                    <a:pt x="52982" y="1189038"/>
                    <a:pt x="68265" y="1204319"/>
                    <a:pt x="68265" y="1223170"/>
                  </a:cubicBezTo>
                  <a:cubicBezTo>
                    <a:pt x="68265" y="1242021"/>
                    <a:pt x="52982" y="1257302"/>
                    <a:pt x="34131" y="1257302"/>
                  </a:cubicBezTo>
                  <a:cubicBezTo>
                    <a:pt x="15281" y="1257302"/>
                    <a:pt x="0" y="1242021"/>
                    <a:pt x="0" y="1223170"/>
                  </a:cubicBezTo>
                  <a:cubicBezTo>
                    <a:pt x="0" y="1204319"/>
                    <a:pt x="15281" y="1189038"/>
                    <a:pt x="34131" y="1189038"/>
                  </a:cubicBezTo>
                  <a:close/>
                  <a:moveTo>
                    <a:pt x="9725702" y="1101725"/>
                  </a:moveTo>
                  <a:cubicBezTo>
                    <a:pt x="9744553" y="1101725"/>
                    <a:pt x="9759834" y="1117361"/>
                    <a:pt x="9759834" y="1136650"/>
                  </a:cubicBezTo>
                  <a:cubicBezTo>
                    <a:pt x="9759834" y="1155939"/>
                    <a:pt x="9744553" y="1171575"/>
                    <a:pt x="9725702" y="1171575"/>
                  </a:cubicBezTo>
                  <a:cubicBezTo>
                    <a:pt x="9706851" y="1171575"/>
                    <a:pt x="9691570" y="1155939"/>
                    <a:pt x="9691570" y="1136650"/>
                  </a:cubicBezTo>
                  <a:cubicBezTo>
                    <a:pt x="9691570" y="1117361"/>
                    <a:pt x="9706851" y="1101725"/>
                    <a:pt x="9725702" y="1101725"/>
                  </a:cubicBezTo>
                  <a:close/>
                  <a:moveTo>
                    <a:pt x="9560602" y="1101725"/>
                  </a:moveTo>
                  <a:cubicBezTo>
                    <a:pt x="9579453" y="1101725"/>
                    <a:pt x="9594734" y="1117361"/>
                    <a:pt x="9594734" y="1136650"/>
                  </a:cubicBezTo>
                  <a:cubicBezTo>
                    <a:pt x="9594734" y="1155939"/>
                    <a:pt x="9579453" y="1171575"/>
                    <a:pt x="9560602" y="1171575"/>
                  </a:cubicBezTo>
                  <a:cubicBezTo>
                    <a:pt x="9541751" y="1171575"/>
                    <a:pt x="9526470" y="1155939"/>
                    <a:pt x="9526470" y="1136650"/>
                  </a:cubicBezTo>
                  <a:cubicBezTo>
                    <a:pt x="9526470" y="1117361"/>
                    <a:pt x="9541751" y="1101725"/>
                    <a:pt x="9560602" y="1101725"/>
                  </a:cubicBezTo>
                  <a:close/>
                  <a:moveTo>
                    <a:pt x="9474877" y="1101725"/>
                  </a:moveTo>
                  <a:cubicBezTo>
                    <a:pt x="9493728" y="1101725"/>
                    <a:pt x="9509009" y="1117361"/>
                    <a:pt x="9509009" y="1136650"/>
                  </a:cubicBezTo>
                  <a:cubicBezTo>
                    <a:pt x="9509009" y="1155939"/>
                    <a:pt x="9493728" y="1171575"/>
                    <a:pt x="9474877" y="1171575"/>
                  </a:cubicBezTo>
                  <a:cubicBezTo>
                    <a:pt x="9456026" y="1171575"/>
                    <a:pt x="9440745" y="1155939"/>
                    <a:pt x="9440745" y="1136650"/>
                  </a:cubicBezTo>
                  <a:cubicBezTo>
                    <a:pt x="9440745" y="1117361"/>
                    <a:pt x="9456026" y="1101725"/>
                    <a:pt x="9474877" y="1101725"/>
                  </a:cubicBezTo>
                  <a:close/>
                  <a:moveTo>
                    <a:pt x="9389152" y="1101725"/>
                  </a:moveTo>
                  <a:cubicBezTo>
                    <a:pt x="9408003" y="1101725"/>
                    <a:pt x="9423284" y="1117361"/>
                    <a:pt x="9423284" y="1136650"/>
                  </a:cubicBezTo>
                  <a:cubicBezTo>
                    <a:pt x="9423284" y="1155939"/>
                    <a:pt x="9408003" y="1171575"/>
                    <a:pt x="9389152" y="1171575"/>
                  </a:cubicBezTo>
                  <a:cubicBezTo>
                    <a:pt x="9370301" y="1171575"/>
                    <a:pt x="9355020" y="1155939"/>
                    <a:pt x="9355020" y="1136650"/>
                  </a:cubicBezTo>
                  <a:cubicBezTo>
                    <a:pt x="9355020" y="1117361"/>
                    <a:pt x="9370301" y="1101725"/>
                    <a:pt x="9389152" y="1101725"/>
                  </a:cubicBezTo>
                  <a:close/>
                  <a:moveTo>
                    <a:pt x="8801777" y="1101725"/>
                  </a:moveTo>
                  <a:cubicBezTo>
                    <a:pt x="8820628" y="1101725"/>
                    <a:pt x="8835909" y="1117361"/>
                    <a:pt x="8835909" y="1136650"/>
                  </a:cubicBezTo>
                  <a:cubicBezTo>
                    <a:pt x="8835909" y="1155939"/>
                    <a:pt x="8820628" y="1171575"/>
                    <a:pt x="8801777" y="1171575"/>
                  </a:cubicBezTo>
                  <a:cubicBezTo>
                    <a:pt x="8782926" y="1171575"/>
                    <a:pt x="8767645" y="1155939"/>
                    <a:pt x="8767645" y="1136650"/>
                  </a:cubicBezTo>
                  <a:cubicBezTo>
                    <a:pt x="8767645" y="1117361"/>
                    <a:pt x="8782926" y="1101725"/>
                    <a:pt x="8801777" y="1101725"/>
                  </a:cubicBezTo>
                  <a:close/>
                  <a:moveTo>
                    <a:pt x="8716052" y="1101725"/>
                  </a:moveTo>
                  <a:cubicBezTo>
                    <a:pt x="8734903" y="1101725"/>
                    <a:pt x="8750184" y="1117361"/>
                    <a:pt x="8750184" y="1136650"/>
                  </a:cubicBezTo>
                  <a:cubicBezTo>
                    <a:pt x="8750184" y="1155939"/>
                    <a:pt x="8734903" y="1171575"/>
                    <a:pt x="8716052" y="1171575"/>
                  </a:cubicBezTo>
                  <a:cubicBezTo>
                    <a:pt x="8697201" y="1171575"/>
                    <a:pt x="8681920" y="1155939"/>
                    <a:pt x="8681920" y="1136650"/>
                  </a:cubicBezTo>
                  <a:cubicBezTo>
                    <a:pt x="8681920" y="1117361"/>
                    <a:pt x="8697201" y="1101725"/>
                    <a:pt x="8716052" y="1101725"/>
                  </a:cubicBezTo>
                  <a:close/>
                  <a:moveTo>
                    <a:pt x="8630327" y="1101725"/>
                  </a:moveTo>
                  <a:cubicBezTo>
                    <a:pt x="8649178" y="1101725"/>
                    <a:pt x="8664459" y="1117361"/>
                    <a:pt x="8664459" y="1136650"/>
                  </a:cubicBezTo>
                  <a:cubicBezTo>
                    <a:pt x="8664459" y="1155939"/>
                    <a:pt x="8649178" y="1171575"/>
                    <a:pt x="8630327" y="1171575"/>
                  </a:cubicBezTo>
                  <a:cubicBezTo>
                    <a:pt x="8611476" y="1171575"/>
                    <a:pt x="8596195" y="1155939"/>
                    <a:pt x="8596195" y="1136650"/>
                  </a:cubicBezTo>
                  <a:cubicBezTo>
                    <a:pt x="8596195" y="1117361"/>
                    <a:pt x="8611476" y="1101725"/>
                    <a:pt x="8630327" y="1101725"/>
                  </a:cubicBezTo>
                  <a:close/>
                  <a:moveTo>
                    <a:pt x="8544602" y="1101725"/>
                  </a:moveTo>
                  <a:cubicBezTo>
                    <a:pt x="8563453" y="1101725"/>
                    <a:pt x="8578734" y="1117361"/>
                    <a:pt x="8578734" y="1136650"/>
                  </a:cubicBezTo>
                  <a:cubicBezTo>
                    <a:pt x="8578734" y="1155939"/>
                    <a:pt x="8563453" y="1171575"/>
                    <a:pt x="8544602" y="1171575"/>
                  </a:cubicBezTo>
                  <a:cubicBezTo>
                    <a:pt x="8525751" y="1171575"/>
                    <a:pt x="8510470" y="1155939"/>
                    <a:pt x="8510470" y="1136650"/>
                  </a:cubicBezTo>
                  <a:cubicBezTo>
                    <a:pt x="8510470" y="1117361"/>
                    <a:pt x="8525751" y="1101725"/>
                    <a:pt x="8544602" y="1101725"/>
                  </a:cubicBezTo>
                  <a:close/>
                  <a:moveTo>
                    <a:pt x="8465227" y="1101725"/>
                  </a:moveTo>
                  <a:cubicBezTo>
                    <a:pt x="8484078" y="1101725"/>
                    <a:pt x="8499359" y="1117361"/>
                    <a:pt x="8499359" y="1136650"/>
                  </a:cubicBezTo>
                  <a:cubicBezTo>
                    <a:pt x="8499359" y="1155939"/>
                    <a:pt x="8484078" y="1171575"/>
                    <a:pt x="8465227" y="1171575"/>
                  </a:cubicBezTo>
                  <a:cubicBezTo>
                    <a:pt x="8446376" y="1171575"/>
                    <a:pt x="8431095" y="1155939"/>
                    <a:pt x="8431095" y="1136650"/>
                  </a:cubicBezTo>
                  <a:cubicBezTo>
                    <a:pt x="8431095" y="1117361"/>
                    <a:pt x="8446376" y="1101725"/>
                    <a:pt x="8465227" y="1101725"/>
                  </a:cubicBezTo>
                  <a:close/>
                  <a:moveTo>
                    <a:pt x="8379502" y="1101725"/>
                  </a:moveTo>
                  <a:cubicBezTo>
                    <a:pt x="8398353" y="1101725"/>
                    <a:pt x="8413634" y="1117361"/>
                    <a:pt x="8413634" y="1136650"/>
                  </a:cubicBezTo>
                  <a:cubicBezTo>
                    <a:pt x="8413634" y="1155939"/>
                    <a:pt x="8398353" y="1171575"/>
                    <a:pt x="8379502" y="1171575"/>
                  </a:cubicBezTo>
                  <a:cubicBezTo>
                    <a:pt x="8360651" y="1171575"/>
                    <a:pt x="8345370" y="1155939"/>
                    <a:pt x="8345370" y="1136650"/>
                  </a:cubicBezTo>
                  <a:cubicBezTo>
                    <a:pt x="8345370" y="1117361"/>
                    <a:pt x="8360651" y="1101725"/>
                    <a:pt x="8379502" y="1101725"/>
                  </a:cubicBezTo>
                  <a:close/>
                  <a:moveTo>
                    <a:pt x="8293777" y="1101725"/>
                  </a:moveTo>
                  <a:cubicBezTo>
                    <a:pt x="8312628" y="1101725"/>
                    <a:pt x="8327909" y="1117361"/>
                    <a:pt x="8327909" y="1136650"/>
                  </a:cubicBezTo>
                  <a:cubicBezTo>
                    <a:pt x="8327909" y="1155939"/>
                    <a:pt x="8312628" y="1171575"/>
                    <a:pt x="8293777" y="1171575"/>
                  </a:cubicBezTo>
                  <a:cubicBezTo>
                    <a:pt x="8274926" y="1171575"/>
                    <a:pt x="8259645" y="1155939"/>
                    <a:pt x="8259645" y="1136650"/>
                  </a:cubicBezTo>
                  <a:cubicBezTo>
                    <a:pt x="8259645" y="1117361"/>
                    <a:pt x="8274926" y="1101725"/>
                    <a:pt x="8293777" y="1101725"/>
                  </a:cubicBezTo>
                  <a:close/>
                  <a:moveTo>
                    <a:pt x="8208052" y="1101725"/>
                  </a:moveTo>
                  <a:cubicBezTo>
                    <a:pt x="8226903" y="1101725"/>
                    <a:pt x="8242184" y="1117361"/>
                    <a:pt x="8242184" y="1136650"/>
                  </a:cubicBezTo>
                  <a:cubicBezTo>
                    <a:pt x="8242184" y="1155939"/>
                    <a:pt x="8226903" y="1171575"/>
                    <a:pt x="8208052" y="1171575"/>
                  </a:cubicBezTo>
                  <a:cubicBezTo>
                    <a:pt x="8189201" y="1171575"/>
                    <a:pt x="8173920" y="1155939"/>
                    <a:pt x="8173920" y="1136650"/>
                  </a:cubicBezTo>
                  <a:cubicBezTo>
                    <a:pt x="8173920" y="1117361"/>
                    <a:pt x="8189201" y="1101725"/>
                    <a:pt x="8208052" y="1101725"/>
                  </a:cubicBezTo>
                  <a:close/>
                  <a:moveTo>
                    <a:pt x="8125502" y="1101725"/>
                  </a:moveTo>
                  <a:cubicBezTo>
                    <a:pt x="8146106" y="1101725"/>
                    <a:pt x="8162809" y="1117361"/>
                    <a:pt x="8162809" y="1136650"/>
                  </a:cubicBezTo>
                  <a:cubicBezTo>
                    <a:pt x="8162809" y="1155939"/>
                    <a:pt x="8146106" y="1171575"/>
                    <a:pt x="8125502" y="1171575"/>
                  </a:cubicBezTo>
                  <a:cubicBezTo>
                    <a:pt x="8104898" y="1171575"/>
                    <a:pt x="8088195" y="1155939"/>
                    <a:pt x="8088195" y="1136650"/>
                  </a:cubicBezTo>
                  <a:cubicBezTo>
                    <a:pt x="8088195" y="1117361"/>
                    <a:pt x="8104898" y="1101725"/>
                    <a:pt x="8125502" y="1101725"/>
                  </a:cubicBezTo>
                  <a:close/>
                  <a:moveTo>
                    <a:pt x="8042952" y="1101725"/>
                  </a:moveTo>
                  <a:cubicBezTo>
                    <a:pt x="8061803" y="1101725"/>
                    <a:pt x="8077084" y="1117361"/>
                    <a:pt x="8077084" y="1136650"/>
                  </a:cubicBezTo>
                  <a:cubicBezTo>
                    <a:pt x="8077084" y="1155939"/>
                    <a:pt x="8061803" y="1171575"/>
                    <a:pt x="8042952" y="1171575"/>
                  </a:cubicBezTo>
                  <a:cubicBezTo>
                    <a:pt x="8024101" y="1171575"/>
                    <a:pt x="8008820" y="1155939"/>
                    <a:pt x="8008820" y="1136650"/>
                  </a:cubicBezTo>
                  <a:cubicBezTo>
                    <a:pt x="8008820" y="1117361"/>
                    <a:pt x="8024101" y="1101725"/>
                    <a:pt x="8042952" y="1101725"/>
                  </a:cubicBezTo>
                  <a:close/>
                  <a:moveTo>
                    <a:pt x="7957227" y="1101725"/>
                  </a:moveTo>
                  <a:cubicBezTo>
                    <a:pt x="7976078" y="1101725"/>
                    <a:pt x="7991359" y="1117361"/>
                    <a:pt x="7991359" y="1136650"/>
                  </a:cubicBezTo>
                  <a:cubicBezTo>
                    <a:pt x="7991359" y="1155939"/>
                    <a:pt x="7976078" y="1171575"/>
                    <a:pt x="7957227" y="1171575"/>
                  </a:cubicBezTo>
                  <a:cubicBezTo>
                    <a:pt x="7938376" y="1171575"/>
                    <a:pt x="7923095" y="1155939"/>
                    <a:pt x="7923095" y="1136650"/>
                  </a:cubicBezTo>
                  <a:cubicBezTo>
                    <a:pt x="7923095" y="1117361"/>
                    <a:pt x="7938376" y="1101725"/>
                    <a:pt x="7957227" y="1101725"/>
                  </a:cubicBezTo>
                  <a:close/>
                  <a:moveTo>
                    <a:pt x="7871502" y="1101725"/>
                  </a:moveTo>
                  <a:cubicBezTo>
                    <a:pt x="7890353" y="1101725"/>
                    <a:pt x="7905634" y="1117361"/>
                    <a:pt x="7905634" y="1136650"/>
                  </a:cubicBezTo>
                  <a:cubicBezTo>
                    <a:pt x="7905634" y="1155939"/>
                    <a:pt x="7890353" y="1171575"/>
                    <a:pt x="7871502" y="1171575"/>
                  </a:cubicBezTo>
                  <a:cubicBezTo>
                    <a:pt x="7852651" y="1171575"/>
                    <a:pt x="7837370" y="1155939"/>
                    <a:pt x="7837370" y="1136650"/>
                  </a:cubicBezTo>
                  <a:cubicBezTo>
                    <a:pt x="7837370" y="1117361"/>
                    <a:pt x="7852651" y="1101725"/>
                    <a:pt x="7871502" y="1101725"/>
                  </a:cubicBezTo>
                  <a:close/>
                  <a:moveTo>
                    <a:pt x="7785777" y="1101725"/>
                  </a:moveTo>
                  <a:cubicBezTo>
                    <a:pt x="7804628" y="1101725"/>
                    <a:pt x="7819909" y="1117361"/>
                    <a:pt x="7819909" y="1136650"/>
                  </a:cubicBezTo>
                  <a:cubicBezTo>
                    <a:pt x="7819909" y="1155939"/>
                    <a:pt x="7804628" y="1171575"/>
                    <a:pt x="7785777" y="1171575"/>
                  </a:cubicBezTo>
                  <a:cubicBezTo>
                    <a:pt x="7766926" y="1171575"/>
                    <a:pt x="7751645" y="1155939"/>
                    <a:pt x="7751645" y="1136650"/>
                  </a:cubicBezTo>
                  <a:cubicBezTo>
                    <a:pt x="7751645" y="1117361"/>
                    <a:pt x="7766926" y="1101725"/>
                    <a:pt x="7785777" y="1101725"/>
                  </a:cubicBezTo>
                  <a:close/>
                  <a:moveTo>
                    <a:pt x="7706402" y="1101725"/>
                  </a:moveTo>
                  <a:cubicBezTo>
                    <a:pt x="7725253" y="1101725"/>
                    <a:pt x="7740534" y="1117361"/>
                    <a:pt x="7740534" y="1136650"/>
                  </a:cubicBezTo>
                  <a:cubicBezTo>
                    <a:pt x="7740534" y="1155939"/>
                    <a:pt x="7725253" y="1171575"/>
                    <a:pt x="7706402" y="1171575"/>
                  </a:cubicBezTo>
                  <a:cubicBezTo>
                    <a:pt x="7687551" y="1171575"/>
                    <a:pt x="7672270" y="1155939"/>
                    <a:pt x="7672270" y="1136650"/>
                  </a:cubicBezTo>
                  <a:cubicBezTo>
                    <a:pt x="7672270" y="1117361"/>
                    <a:pt x="7687551" y="1101725"/>
                    <a:pt x="7706402" y="1101725"/>
                  </a:cubicBezTo>
                  <a:close/>
                  <a:moveTo>
                    <a:pt x="7620677" y="1101725"/>
                  </a:moveTo>
                  <a:cubicBezTo>
                    <a:pt x="7639528" y="1101725"/>
                    <a:pt x="7654809" y="1117361"/>
                    <a:pt x="7654809" y="1136650"/>
                  </a:cubicBezTo>
                  <a:cubicBezTo>
                    <a:pt x="7654809" y="1155939"/>
                    <a:pt x="7639528" y="1171575"/>
                    <a:pt x="7620677" y="1171575"/>
                  </a:cubicBezTo>
                  <a:cubicBezTo>
                    <a:pt x="7601826" y="1171575"/>
                    <a:pt x="7586545" y="1155939"/>
                    <a:pt x="7586545" y="1136650"/>
                  </a:cubicBezTo>
                  <a:cubicBezTo>
                    <a:pt x="7586545" y="1117361"/>
                    <a:pt x="7601826" y="1101725"/>
                    <a:pt x="7620677" y="1101725"/>
                  </a:cubicBezTo>
                  <a:close/>
                  <a:moveTo>
                    <a:pt x="7534952" y="1101725"/>
                  </a:moveTo>
                  <a:cubicBezTo>
                    <a:pt x="7553803" y="1101725"/>
                    <a:pt x="7569084" y="1117361"/>
                    <a:pt x="7569084" y="1136650"/>
                  </a:cubicBezTo>
                  <a:cubicBezTo>
                    <a:pt x="7569084" y="1155939"/>
                    <a:pt x="7553803" y="1171575"/>
                    <a:pt x="7534952" y="1171575"/>
                  </a:cubicBezTo>
                  <a:cubicBezTo>
                    <a:pt x="7516101" y="1171575"/>
                    <a:pt x="7500820" y="1155939"/>
                    <a:pt x="7500820" y="1136650"/>
                  </a:cubicBezTo>
                  <a:cubicBezTo>
                    <a:pt x="7500820" y="1117361"/>
                    <a:pt x="7516101" y="1101725"/>
                    <a:pt x="7534952" y="1101725"/>
                  </a:cubicBezTo>
                  <a:close/>
                  <a:moveTo>
                    <a:pt x="7449227" y="1101725"/>
                  </a:moveTo>
                  <a:cubicBezTo>
                    <a:pt x="7468078" y="1101725"/>
                    <a:pt x="7483359" y="1117361"/>
                    <a:pt x="7483359" y="1136650"/>
                  </a:cubicBezTo>
                  <a:cubicBezTo>
                    <a:pt x="7483359" y="1155939"/>
                    <a:pt x="7468078" y="1171575"/>
                    <a:pt x="7449227" y="1171575"/>
                  </a:cubicBezTo>
                  <a:cubicBezTo>
                    <a:pt x="7430376" y="1171575"/>
                    <a:pt x="7415095" y="1155939"/>
                    <a:pt x="7415095" y="1136650"/>
                  </a:cubicBezTo>
                  <a:cubicBezTo>
                    <a:pt x="7415095" y="1117361"/>
                    <a:pt x="7430376" y="1101725"/>
                    <a:pt x="7449227" y="1101725"/>
                  </a:cubicBezTo>
                  <a:close/>
                  <a:moveTo>
                    <a:pt x="7366677" y="1101725"/>
                  </a:moveTo>
                  <a:cubicBezTo>
                    <a:pt x="7387281" y="1101725"/>
                    <a:pt x="7403984" y="1117361"/>
                    <a:pt x="7403984" y="1136650"/>
                  </a:cubicBezTo>
                  <a:cubicBezTo>
                    <a:pt x="7403984" y="1155939"/>
                    <a:pt x="7387281" y="1171575"/>
                    <a:pt x="7366677" y="1171575"/>
                  </a:cubicBezTo>
                  <a:cubicBezTo>
                    <a:pt x="7346073" y="1171575"/>
                    <a:pt x="7329370" y="1155939"/>
                    <a:pt x="7329370" y="1136650"/>
                  </a:cubicBezTo>
                  <a:cubicBezTo>
                    <a:pt x="7329370" y="1117361"/>
                    <a:pt x="7346073" y="1101725"/>
                    <a:pt x="7366677" y="1101725"/>
                  </a:cubicBezTo>
                  <a:close/>
                  <a:moveTo>
                    <a:pt x="7284127" y="1101725"/>
                  </a:moveTo>
                  <a:cubicBezTo>
                    <a:pt x="7302978" y="1101725"/>
                    <a:pt x="7318259" y="1117361"/>
                    <a:pt x="7318259" y="1136650"/>
                  </a:cubicBezTo>
                  <a:cubicBezTo>
                    <a:pt x="7318259" y="1155939"/>
                    <a:pt x="7302978" y="1171575"/>
                    <a:pt x="7284127" y="1171575"/>
                  </a:cubicBezTo>
                  <a:cubicBezTo>
                    <a:pt x="7265276" y="1171575"/>
                    <a:pt x="7249995" y="1155939"/>
                    <a:pt x="7249995" y="1136650"/>
                  </a:cubicBezTo>
                  <a:cubicBezTo>
                    <a:pt x="7249995" y="1117361"/>
                    <a:pt x="7265276" y="1101725"/>
                    <a:pt x="7284127" y="1101725"/>
                  </a:cubicBezTo>
                  <a:close/>
                  <a:moveTo>
                    <a:pt x="7198402" y="1101725"/>
                  </a:moveTo>
                  <a:cubicBezTo>
                    <a:pt x="7217253" y="1101725"/>
                    <a:pt x="7232534" y="1117361"/>
                    <a:pt x="7232534" y="1136650"/>
                  </a:cubicBezTo>
                  <a:cubicBezTo>
                    <a:pt x="7232534" y="1155939"/>
                    <a:pt x="7217253" y="1171575"/>
                    <a:pt x="7198402" y="1171575"/>
                  </a:cubicBezTo>
                  <a:cubicBezTo>
                    <a:pt x="7179551" y="1171575"/>
                    <a:pt x="7164270" y="1155939"/>
                    <a:pt x="7164270" y="1136650"/>
                  </a:cubicBezTo>
                  <a:cubicBezTo>
                    <a:pt x="7164270" y="1117361"/>
                    <a:pt x="7179551" y="1101725"/>
                    <a:pt x="7198402" y="1101725"/>
                  </a:cubicBezTo>
                  <a:close/>
                  <a:moveTo>
                    <a:pt x="7112677" y="1101725"/>
                  </a:moveTo>
                  <a:cubicBezTo>
                    <a:pt x="7131528" y="1101725"/>
                    <a:pt x="7146809" y="1117361"/>
                    <a:pt x="7146809" y="1136650"/>
                  </a:cubicBezTo>
                  <a:cubicBezTo>
                    <a:pt x="7146809" y="1155939"/>
                    <a:pt x="7131528" y="1171575"/>
                    <a:pt x="7112677" y="1171575"/>
                  </a:cubicBezTo>
                  <a:cubicBezTo>
                    <a:pt x="7093826" y="1171575"/>
                    <a:pt x="7078545" y="1155939"/>
                    <a:pt x="7078545" y="1136650"/>
                  </a:cubicBezTo>
                  <a:cubicBezTo>
                    <a:pt x="7078545" y="1117361"/>
                    <a:pt x="7093826" y="1101725"/>
                    <a:pt x="7112677" y="1101725"/>
                  </a:cubicBezTo>
                  <a:close/>
                  <a:moveTo>
                    <a:pt x="7027745" y="1101725"/>
                  </a:moveTo>
                  <a:cubicBezTo>
                    <a:pt x="7047034" y="1101725"/>
                    <a:pt x="7062670" y="1117361"/>
                    <a:pt x="7062670" y="1136650"/>
                  </a:cubicBezTo>
                  <a:cubicBezTo>
                    <a:pt x="7062670" y="1155939"/>
                    <a:pt x="7047034" y="1171575"/>
                    <a:pt x="7027745" y="1171575"/>
                  </a:cubicBezTo>
                  <a:cubicBezTo>
                    <a:pt x="7008456" y="1171575"/>
                    <a:pt x="6992820" y="1155939"/>
                    <a:pt x="6992820" y="1136650"/>
                  </a:cubicBezTo>
                  <a:cubicBezTo>
                    <a:pt x="6992820" y="1117361"/>
                    <a:pt x="7008456" y="1101725"/>
                    <a:pt x="7027745" y="1101725"/>
                  </a:cubicBezTo>
                  <a:close/>
                  <a:moveTo>
                    <a:pt x="6947577" y="1101725"/>
                  </a:moveTo>
                  <a:cubicBezTo>
                    <a:pt x="6966428" y="1101725"/>
                    <a:pt x="6981709" y="1117361"/>
                    <a:pt x="6981709" y="1136650"/>
                  </a:cubicBezTo>
                  <a:cubicBezTo>
                    <a:pt x="6981709" y="1155939"/>
                    <a:pt x="6966428" y="1171575"/>
                    <a:pt x="6947577" y="1171575"/>
                  </a:cubicBezTo>
                  <a:cubicBezTo>
                    <a:pt x="6928726" y="1171575"/>
                    <a:pt x="6913445" y="1155939"/>
                    <a:pt x="6913445" y="1136650"/>
                  </a:cubicBezTo>
                  <a:cubicBezTo>
                    <a:pt x="6913445" y="1117361"/>
                    <a:pt x="6928726" y="1101725"/>
                    <a:pt x="6947577" y="1101725"/>
                  </a:cubicBezTo>
                  <a:close/>
                  <a:moveTo>
                    <a:pt x="6861852" y="1101725"/>
                  </a:moveTo>
                  <a:cubicBezTo>
                    <a:pt x="6880703" y="1101725"/>
                    <a:pt x="6895984" y="1117361"/>
                    <a:pt x="6895984" y="1136650"/>
                  </a:cubicBezTo>
                  <a:cubicBezTo>
                    <a:pt x="6895984" y="1155939"/>
                    <a:pt x="6880703" y="1171575"/>
                    <a:pt x="6861852" y="1171575"/>
                  </a:cubicBezTo>
                  <a:cubicBezTo>
                    <a:pt x="6843001" y="1171575"/>
                    <a:pt x="6827720" y="1155939"/>
                    <a:pt x="6827720" y="1136650"/>
                  </a:cubicBezTo>
                  <a:cubicBezTo>
                    <a:pt x="6827720" y="1117361"/>
                    <a:pt x="6843001" y="1101725"/>
                    <a:pt x="6861852" y="1101725"/>
                  </a:cubicBezTo>
                  <a:close/>
                  <a:moveTo>
                    <a:pt x="6776127" y="1101725"/>
                  </a:moveTo>
                  <a:cubicBezTo>
                    <a:pt x="6794978" y="1101725"/>
                    <a:pt x="6810259" y="1117361"/>
                    <a:pt x="6810259" y="1136650"/>
                  </a:cubicBezTo>
                  <a:cubicBezTo>
                    <a:pt x="6810259" y="1155939"/>
                    <a:pt x="6794978" y="1171575"/>
                    <a:pt x="6776127" y="1171575"/>
                  </a:cubicBezTo>
                  <a:cubicBezTo>
                    <a:pt x="6757276" y="1171575"/>
                    <a:pt x="6741995" y="1155939"/>
                    <a:pt x="6741995" y="1136650"/>
                  </a:cubicBezTo>
                  <a:cubicBezTo>
                    <a:pt x="6741995" y="1117361"/>
                    <a:pt x="6757276" y="1101725"/>
                    <a:pt x="6776127" y="1101725"/>
                  </a:cubicBezTo>
                  <a:close/>
                  <a:moveTo>
                    <a:pt x="6691195" y="1101725"/>
                  </a:moveTo>
                  <a:cubicBezTo>
                    <a:pt x="6710484" y="1101725"/>
                    <a:pt x="6726120" y="1117361"/>
                    <a:pt x="6726120" y="1136650"/>
                  </a:cubicBezTo>
                  <a:cubicBezTo>
                    <a:pt x="6726120" y="1155939"/>
                    <a:pt x="6710484" y="1171575"/>
                    <a:pt x="6691195" y="1171575"/>
                  </a:cubicBezTo>
                  <a:cubicBezTo>
                    <a:pt x="6671906" y="1171575"/>
                    <a:pt x="6656270" y="1155939"/>
                    <a:pt x="6656270" y="1136650"/>
                  </a:cubicBezTo>
                  <a:cubicBezTo>
                    <a:pt x="6656270" y="1117361"/>
                    <a:pt x="6671906" y="1101725"/>
                    <a:pt x="6691195" y="1101725"/>
                  </a:cubicBezTo>
                  <a:close/>
                  <a:moveTo>
                    <a:pt x="6607852" y="1101725"/>
                  </a:moveTo>
                  <a:cubicBezTo>
                    <a:pt x="6628456" y="1101725"/>
                    <a:pt x="6645159" y="1117361"/>
                    <a:pt x="6645159" y="1136650"/>
                  </a:cubicBezTo>
                  <a:cubicBezTo>
                    <a:pt x="6645159" y="1155939"/>
                    <a:pt x="6628456" y="1171575"/>
                    <a:pt x="6607852" y="1171575"/>
                  </a:cubicBezTo>
                  <a:cubicBezTo>
                    <a:pt x="6587248" y="1171575"/>
                    <a:pt x="6570545" y="1155939"/>
                    <a:pt x="6570545" y="1136650"/>
                  </a:cubicBezTo>
                  <a:cubicBezTo>
                    <a:pt x="6570545" y="1117361"/>
                    <a:pt x="6587248" y="1101725"/>
                    <a:pt x="6607852" y="1101725"/>
                  </a:cubicBezTo>
                  <a:close/>
                  <a:moveTo>
                    <a:pt x="6525302" y="1101725"/>
                  </a:moveTo>
                  <a:cubicBezTo>
                    <a:pt x="6544153" y="1101725"/>
                    <a:pt x="6559434" y="1117361"/>
                    <a:pt x="6559434" y="1136650"/>
                  </a:cubicBezTo>
                  <a:cubicBezTo>
                    <a:pt x="6559434" y="1155939"/>
                    <a:pt x="6544153" y="1171575"/>
                    <a:pt x="6525302" y="1171575"/>
                  </a:cubicBezTo>
                  <a:cubicBezTo>
                    <a:pt x="6506451" y="1171575"/>
                    <a:pt x="6491170" y="1155939"/>
                    <a:pt x="6491170" y="1136650"/>
                  </a:cubicBezTo>
                  <a:cubicBezTo>
                    <a:pt x="6491170" y="1117361"/>
                    <a:pt x="6506451" y="1101725"/>
                    <a:pt x="6525302" y="1101725"/>
                  </a:cubicBezTo>
                  <a:close/>
                  <a:moveTo>
                    <a:pt x="6439577" y="1101725"/>
                  </a:moveTo>
                  <a:cubicBezTo>
                    <a:pt x="6458428" y="1101725"/>
                    <a:pt x="6473709" y="1117361"/>
                    <a:pt x="6473709" y="1136650"/>
                  </a:cubicBezTo>
                  <a:cubicBezTo>
                    <a:pt x="6473709" y="1155939"/>
                    <a:pt x="6458428" y="1171575"/>
                    <a:pt x="6439577" y="1171575"/>
                  </a:cubicBezTo>
                  <a:cubicBezTo>
                    <a:pt x="6420726" y="1171575"/>
                    <a:pt x="6405445" y="1155939"/>
                    <a:pt x="6405445" y="1136650"/>
                  </a:cubicBezTo>
                  <a:cubicBezTo>
                    <a:pt x="6405445" y="1117361"/>
                    <a:pt x="6420726" y="1101725"/>
                    <a:pt x="6439577" y="1101725"/>
                  </a:cubicBezTo>
                  <a:close/>
                  <a:moveTo>
                    <a:pt x="6353852" y="1101725"/>
                  </a:moveTo>
                  <a:cubicBezTo>
                    <a:pt x="6372703" y="1101725"/>
                    <a:pt x="6387984" y="1117361"/>
                    <a:pt x="6387984" y="1136650"/>
                  </a:cubicBezTo>
                  <a:cubicBezTo>
                    <a:pt x="6387984" y="1155939"/>
                    <a:pt x="6372703" y="1171575"/>
                    <a:pt x="6353852" y="1171575"/>
                  </a:cubicBezTo>
                  <a:cubicBezTo>
                    <a:pt x="6335001" y="1171575"/>
                    <a:pt x="6319720" y="1155939"/>
                    <a:pt x="6319720" y="1136650"/>
                  </a:cubicBezTo>
                  <a:cubicBezTo>
                    <a:pt x="6319720" y="1117361"/>
                    <a:pt x="6335001" y="1101725"/>
                    <a:pt x="6353852" y="1101725"/>
                  </a:cubicBezTo>
                  <a:close/>
                  <a:moveTo>
                    <a:pt x="6268920" y="1101725"/>
                  </a:moveTo>
                  <a:cubicBezTo>
                    <a:pt x="6288209" y="1101725"/>
                    <a:pt x="6303845" y="1117361"/>
                    <a:pt x="6303845" y="1136650"/>
                  </a:cubicBezTo>
                  <a:cubicBezTo>
                    <a:pt x="6303845" y="1155939"/>
                    <a:pt x="6288209" y="1171575"/>
                    <a:pt x="6268920" y="1171575"/>
                  </a:cubicBezTo>
                  <a:cubicBezTo>
                    <a:pt x="6249631" y="1171575"/>
                    <a:pt x="6233995" y="1155939"/>
                    <a:pt x="6233995" y="1136650"/>
                  </a:cubicBezTo>
                  <a:cubicBezTo>
                    <a:pt x="6233995" y="1117361"/>
                    <a:pt x="6249631" y="1101725"/>
                    <a:pt x="6268920" y="1101725"/>
                  </a:cubicBezTo>
                  <a:close/>
                  <a:moveTo>
                    <a:pt x="6188752" y="1101725"/>
                  </a:moveTo>
                  <a:cubicBezTo>
                    <a:pt x="6207603" y="1101725"/>
                    <a:pt x="6222884" y="1117361"/>
                    <a:pt x="6222884" y="1136650"/>
                  </a:cubicBezTo>
                  <a:cubicBezTo>
                    <a:pt x="6222884" y="1155939"/>
                    <a:pt x="6207603" y="1171575"/>
                    <a:pt x="6188752" y="1171575"/>
                  </a:cubicBezTo>
                  <a:cubicBezTo>
                    <a:pt x="6169901" y="1171575"/>
                    <a:pt x="6154620" y="1155939"/>
                    <a:pt x="6154620" y="1136650"/>
                  </a:cubicBezTo>
                  <a:cubicBezTo>
                    <a:pt x="6154620" y="1117361"/>
                    <a:pt x="6169901" y="1101725"/>
                    <a:pt x="6188752" y="1101725"/>
                  </a:cubicBezTo>
                  <a:close/>
                  <a:moveTo>
                    <a:pt x="6103027" y="1101725"/>
                  </a:moveTo>
                  <a:cubicBezTo>
                    <a:pt x="6121878" y="1101725"/>
                    <a:pt x="6137159" y="1117361"/>
                    <a:pt x="6137159" y="1136650"/>
                  </a:cubicBezTo>
                  <a:cubicBezTo>
                    <a:pt x="6137159" y="1155939"/>
                    <a:pt x="6121878" y="1171575"/>
                    <a:pt x="6103027" y="1171575"/>
                  </a:cubicBezTo>
                  <a:cubicBezTo>
                    <a:pt x="6084176" y="1171575"/>
                    <a:pt x="6068895" y="1155939"/>
                    <a:pt x="6068895" y="1136650"/>
                  </a:cubicBezTo>
                  <a:cubicBezTo>
                    <a:pt x="6068895" y="1117361"/>
                    <a:pt x="6084176" y="1101725"/>
                    <a:pt x="6103027" y="1101725"/>
                  </a:cubicBezTo>
                  <a:close/>
                  <a:moveTo>
                    <a:pt x="6017302" y="1101725"/>
                  </a:moveTo>
                  <a:cubicBezTo>
                    <a:pt x="6036153" y="1101725"/>
                    <a:pt x="6051434" y="1117361"/>
                    <a:pt x="6051434" y="1136650"/>
                  </a:cubicBezTo>
                  <a:cubicBezTo>
                    <a:pt x="6051434" y="1155939"/>
                    <a:pt x="6036153" y="1171575"/>
                    <a:pt x="6017302" y="1171575"/>
                  </a:cubicBezTo>
                  <a:cubicBezTo>
                    <a:pt x="5998451" y="1171575"/>
                    <a:pt x="5983170" y="1155939"/>
                    <a:pt x="5983170" y="1136650"/>
                  </a:cubicBezTo>
                  <a:cubicBezTo>
                    <a:pt x="5983170" y="1117361"/>
                    <a:pt x="5998451" y="1101725"/>
                    <a:pt x="6017302" y="1101725"/>
                  </a:cubicBezTo>
                  <a:close/>
                  <a:moveTo>
                    <a:pt x="5849821" y="1101725"/>
                  </a:moveTo>
                  <a:cubicBezTo>
                    <a:pt x="5869987" y="1101725"/>
                    <a:pt x="5886334" y="1117361"/>
                    <a:pt x="5886334" y="1136650"/>
                  </a:cubicBezTo>
                  <a:cubicBezTo>
                    <a:pt x="5886334" y="1155939"/>
                    <a:pt x="5869987" y="1171575"/>
                    <a:pt x="5849821" y="1171575"/>
                  </a:cubicBezTo>
                  <a:cubicBezTo>
                    <a:pt x="5829655" y="1171575"/>
                    <a:pt x="5813308" y="1155939"/>
                    <a:pt x="5813308" y="1136650"/>
                  </a:cubicBezTo>
                  <a:cubicBezTo>
                    <a:pt x="5813308" y="1117361"/>
                    <a:pt x="5829655" y="1101725"/>
                    <a:pt x="5849821" y="1101725"/>
                  </a:cubicBezTo>
                  <a:close/>
                  <a:moveTo>
                    <a:pt x="5766477" y="1101725"/>
                  </a:moveTo>
                  <a:cubicBezTo>
                    <a:pt x="5785328" y="1101725"/>
                    <a:pt x="5800609" y="1117361"/>
                    <a:pt x="5800609" y="1136650"/>
                  </a:cubicBezTo>
                  <a:cubicBezTo>
                    <a:pt x="5800609" y="1155939"/>
                    <a:pt x="5785328" y="1171575"/>
                    <a:pt x="5766477" y="1171575"/>
                  </a:cubicBezTo>
                  <a:cubicBezTo>
                    <a:pt x="5747626" y="1171575"/>
                    <a:pt x="5732345" y="1155939"/>
                    <a:pt x="5732345" y="1136650"/>
                  </a:cubicBezTo>
                  <a:cubicBezTo>
                    <a:pt x="5732345" y="1117361"/>
                    <a:pt x="5747626" y="1101725"/>
                    <a:pt x="5766477" y="1101725"/>
                  </a:cubicBezTo>
                  <a:close/>
                  <a:moveTo>
                    <a:pt x="5680752" y="1101725"/>
                  </a:moveTo>
                  <a:cubicBezTo>
                    <a:pt x="5699603" y="1101725"/>
                    <a:pt x="5714884" y="1117361"/>
                    <a:pt x="5714884" y="1136650"/>
                  </a:cubicBezTo>
                  <a:cubicBezTo>
                    <a:pt x="5714884" y="1155939"/>
                    <a:pt x="5699603" y="1171575"/>
                    <a:pt x="5680752" y="1171575"/>
                  </a:cubicBezTo>
                  <a:cubicBezTo>
                    <a:pt x="5661901" y="1171575"/>
                    <a:pt x="5646620" y="1155939"/>
                    <a:pt x="5646620" y="1136650"/>
                  </a:cubicBezTo>
                  <a:cubicBezTo>
                    <a:pt x="5646620" y="1117361"/>
                    <a:pt x="5661901" y="1101725"/>
                    <a:pt x="5680752" y="1101725"/>
                  </a:cubicBezTo>
                  <a:close/>
                  <a:moveTo>
                    <a:pt x="5429927" y="1101725"/>
                  </a:moveTo>
                  <a:cubicBezTo>
                    <a:pt x="5448778" y="1101725"/>
                    <a:pt x="5464059" y="1117361"/>
                    <a:pt x="5464059" y="1136650"/>
                  </a:cubicBezTo>
                  <a:cubicBezTo>
                    <a:pt x="5464059" y="1155939"/>
                    <a:pt x="5448778" y="1171575"/>
                    <a:pt x="5429927" y="1171575"/>
                  </a:cubicBezTo>
                  <a:cubicBezTo>
                    <a:pt x="5411076" y="1171575"/>
                    <a:pt x="5395795" y="1155939"/>
                    <a:pt x="5395795" y="1136650"/>
                  </a:cubicBezTo>
                  <a:cubicBezTo>
                    <a:pt x="5395795" y="1117361"/>
                    <a:pt x="5411076" y="1101725"/>
                    <a:pt x="5429927" y="1101725"/>
                  </a:cubicBezTo>
                  <a:close/>
                  <a:moveTo>
                    <a:pt x="5344202" y="1101725"/>
                  </a:moveTo>
                  <a:cubicBezTo>
                    <a:pt x="5363053" y="1101725"/>
                    <a:pt x="5378334" y="1117361"/>
                    <a:pt x="5378334" y="1136650"/>
                  </a:cubicBezTo>
                  <a:cubicBezTo>
                    <a:pt x="5378334" y="1155939"/>
                    <a:pt x="5363053" y="1171575"/>
                    <a:pt x="5344202" y="1171575"/>
                  </a:cubicBezTo>
                  <a:cubicBezTo>
                    <a:pt x="5325351" y="1171575"/>
                    <a:pt x="5310070" y="1155939"/>
                    <a:pt x="5310070" y="1136650"/>
                  </a:cubicBezTo>
                  <a:cubicBezTo>
                    <a:pt x="5310070" y="1117361"/>
                    <a:pt x="5325351" y="1101725"/>
                    <a:pt x="5344202" y="1101725"/>
                  </a:cubicBezTo>
                  <a:close/>
                  <a:moveTo>
                    <a:pt x="4500445" y="1101725"/>
                  </a:moveTo>
                  <a:cubicBezTo>
                    <a:pt x="4519734" y="1101725"/>
                    <a:pt x="4535370" y="1117361"/>
                    <a:pt x="4535370" y="1136650"/>
                  </a:cubicBezTo>
                  <a:cubicBezTo>
                    <a:pt x="4535370" y="1155939"/>
                    <a:pt x="4519734" y="1171575"/>
                    <a:pt x="4500445" y="1171575"/>
                  </a:cubicBezTo>
                  <a:cubicBezTo>
                    <a:pt x="4481156" y="1171575"/>
                    <a:pt x="4465520" y="1155939"/>
                    <a:pt x="4465520" y="1136650"/>
                  </a:cubicBezTo>
                  <a:cubicBezTo>
                    <a:pt x="4465520" y="1117361"/>
                    <a:pt x="4481156" y="1101725"/>
                    <a:pt x="4500445" y="1101725"/>
                  </a:cubicBezTo>
                  <a:close/>
                  <a:moveTo>
                    <a:pt x="3826552" y="1101725"/>
                  </a:moveTo>
                  <a:cubicBezTo>
                    <a:pt x="3845403" y="1101725"/>
                    <a:pt x="3860684" y="1117361"/>
                    <a:pt x="3860684" y="1136650"/>
                  </a:cubicBezTo>
                  <a:cubicBezTo>
                    <a:pt x="3860684" y="1155939"/>
                    <a:pt x="3845403" y="1171575"/>
                    <a:pt x="3826552" y="1171575"/>
                  </a:cubicBezTo>
                  <a:cubicBezTo>
                    <a:pt x="3807701" y="1171575"/>
                    <a:pt x="3792420" y="1155939"/>
                    <a:pt x="3792420" y="1136650"/>
                  </a:cubicBezTo>
                  <a:cubicBezTo>
                    <a:pt x="3792420" y="1117361"/>
                    <a:pt x="3807701" y="1101725"/>
                    <a:pt x="3826552" y="1101725"/>
                  </a:cubicBezTo>
                  <a:close/>
                  <a:moveTo>
                    <a:pt x="3741620" y="1101725"/>
                  </a:moveTo>
                  <a:cubicBezTo>
                    <a:pt x="3760909" y="1101725"/>
                    <a:pt x="3776545" y="1117361"/>
                    <a:pt x="3776545" y="1136650"/>
                  </a:cubicBezTo>
                  <a:cubicBezTo>
                    <a:pt x="3776545" y="1155939"/>
                    <a:pt x="3760909" y="1171575"/>
                    <a:pt x="3741620" y="1171575"/>
                  </a:cubicBezTo>
                  <a:cubicBezTo>
                    <a:pt x="3722331" y="1171575"/>
                    <a:pt x="3706695" y="1155939"/>
                    <a:pt x="3706695" y="1136650"/>
                  </a:cubicBezTo>
                  <a:cubicBezTo>
                    <a:pt x="3706695" y="1117361"/>
                    <a:pt x="3722331" y="1101725"/>
                    <a:pt x="3741620" y="1101725"/>
                  </a:cubicBezTo>
                  <a:close/>
                  <a:moveTo>
                    <a:pt x="3234415" y="1101725"/>
                  </a:moveTo>
                  <a:cubicBezTo>
                    <a:pt x="3253266" y="1101725"/>
                    <a:pt x="3268547" y="1117361"/>
                    <a:pt x="3268547" y="1136650"/>
                  </a:cubicBezTo>
                  <a:cubicBezTo>
                    <a:pt x="3268547" y="1155939"/>
                    <a:pt x="3253266" y="1171575"/>
                    <a:pt x="3234415" y="1171575"/>
                  </a:cubicBezTo>
                  <a:cubicBezTo>
                    <a:pt x="3215564" y="1171575"/>
                    <a:pt x="3200283" y="1155939"/>
                    <a:pt x="3200283" y="1136650"/>
                  </a:cubicBezTo>
                  <a:cubicBezTo>
                    <a:pt x="3200283" y="1117361"/>
                    <a:pt x="3215564" y="1101725"/>
                    <a:pt x="3234415" y="1101725"/>
                  </a:cubicBezTo>
                  <a:close/>
                  <a:moveTo>
                    <a:pt x="2983589" y="1101725"/>
                  </a:moveTo>
                  <a:cubicBezTo>
                    <a:pt x="3002440" y="1101725"/>
                    <a:pt x="3017721" y="1117361"/>
                    <a:pt x="3017721" y="1136650"/>
                  </a:cubicBezTo>
                  <a:cubicBezTo>
                    <a:pt x="3017721" y="1155939"/>
                    <a:pt x="3002440" y="1171575"/>
                    <a:pt x="2983589" y="1171575"/>
                  </a:cubicBezTo>
                  <a:cubicBezTo>
                    <a:pt x="2964738" y="1171575"/>
                    <a:pt x="2949457" y="1155939"/>
                    <a:pt x="2949457" y="1136650"/>
                  </a:cubicBezTo>
                  <a:cubicBezTo>
                    <a:pt x="2949457" y="1117361"/>
                    <a:pt x="2964738" y="1101725"/>
                    <a:pt x="2983589" y="1101725"/>
                  </a:cubicBezTo>
                  <a:close/>
                  <a:moveTo>
                    <a:pt x="2394790" y="1101725"/>
                  </a:moveTo>
                  <a:cubicBezTo>
                    <a:pt x="2413638" y="1101725"/>
                    <a:pt x="2428919" y="1117361"/>
                    <a:pt x="2428919" y="1136650"/>
                  </a:cubicBezTo>
                  <a:cubicBezTo>
                    <a:pt x="2428919" y="1155939"/>
                    <a:pt x="2413638" y="1171575"/>
                    <a:pt x="2394790" y="1171575"/>
                  </a:cubicBezTo>
                  <a:cubicBezTo>
                    <a:pt x="2375933" y="1171575"/>
                    <a:pt x="2360656" y="1155939"/>
                    <a:pt x="2360656" y="1136650"/>
                  </a:cubicBezTo>
                  <a:cubicBezTo>
                    <a:pt x="2360656" y="1117361"/>
                    <a:pt x="2375933" y="1101725"/>
                    <a:pt x="2394790" y="1101725"/>
                  </a:cubicBezTo>
                  <a:close/>
                  <a:moveTo>
                    <a:pt x="2224780" y="1101725"/>
                  </a:moveTo>
                  <a:cubicBezTo>
                    <a:pt x="2243632" y="1101725"/>
                    <a:pt x="2258913" y="1117361"/>
                    <a:pt x="2258913" y="1136650"/>
                  </a:cubicBezTo>
                  <a:cubicBezTo>
                    <a:pt x="2258913" y="1155939"/>
                    <a:pt x="2243632" y="1171575"/>
                    <a:pt x="2224780" y="1171575"/>
                  </a:cubicBezTo>
                  <a:cubicBezTo>
                    <a:pt x="2205929" y="1171575"/>
                    <a:pt x="2190649" y="1155939"/>
                    <a:pt x="2190649" y="1136650"/>
                  </a:cubicBezTo>
                  <a:cubicBezTo>
                    <a:pt x="2190649" y="1117361"/>
                    <a:pt x="2205929" y="1101725"/>
                    <a:pt x="2224780" y="1101725"/>
                  </a:cubicBezTo>
                  <a:close/>
                  <a:moveTo>
                    <a:pt x="2139054" y="1101725"/>
                  </a:moveTo>
                  <a:cubicBezTo>
                    <a:pt x="2157905" y="1101725"/>
                    <a:pt x="2173187" y="1117361"/>
                    <a:pt x="2173187" y="1136650"/>
                  </a:cubicBezTo>
                  <a:cubicBezTo>
                    <a:pt x="2173187" y="1155939"/>
                    <a:pt x="2157905" y="1171575"/>
                    <a:pt x="2139054" y="1171575"/>
                  </a:cubicBezTo>
                  <a:cubicBezTo>
                    <a:pt x="2120204" y="1171575"/>
                    <a:pt x="2104922" y="1155939"/>
                    <a:pt x="2104922" y="1136650"/>
                  </a:cubicBezTo>
                  <a:cubicBezTo>
                    <a:pt x="2104922" y="1117361"/>
                    <a:pt x="2120204" y="1101725"/>
                    <a:pt x="2139054" y="1101725"/>
                  </a:cubicBezTo>
                  <a:close/>
                  <a:moveTo>
                    <a:pt x="2055711" y="1101725"/>
                  </a:moveTo>
                  <a:cubicBezTo>
                    <a:pt x="2075877" y="1101725"/>
                    <a:pt x="2092225" y="1117361"/>
                    <a:pt x="2092225" y="1136650"/>
                  </a:cubicBezTo>
                  <a:cubicBezTo>
                    <a:pt x="2092225" y="1155939"/>
                    <a:pt x="2075877" y="1171575"/>
                    <a:pt x="2055711" y="1171575"/>
                  </a:cubicBezTo>
                  <a:cubicBezTo>
                    <a:pt x="2035545" y="1171575"/>
                    <a:pt x="2019199" y="1155939"/>
                    <a:pt x="2019199" y="1136650"/>
                  </a:cubicBezTo>
                  <a:cubicBezTo>
                    <a:pt x="2019199" y="1117361"/>
                    <a:pt x="2035545" y="1101725"/>
                    <a:pt x="2055711" y="1101725"/>
                  </a:cubicBezTo>
                  <a:close/>
                  <a:moveTo>
                    <a:pt x="1973163" y="1101725"/>
                  </a:moveTo>
                  <a:cubicBezTo>
                    <a:pt x="1992452" y="1101725"/>
                    <a:pt x="2008088" y="1117361"/>
                    <a:pt x="2008088" y="1136650"/>
                  </a:cubicBezTo>
                  <a:cubicBezTo>
                    <a:pt x="2008088" y="1155939"/>
                    <a:pt x="1992452" y="1171575"/>
                    <a:pt x="1973163" y="1171575"/>
                  </a:cubicBezTo>
                  <a:cubicBezTo>
                    <a:pt x="1953874" y="1171575"/>
                    <a:pt x="1938238" y="1155939"/>
                    <a:pt x="1938238" y="1136650"/>
                  </a:cubicBezTo>
                  <a:cubicBezTo>
                    <a:pt x="1938238" y="1117361"/>
                    <a:pt x="1953874" y="1101725"/>
                    <a:pt x="1973163" y="1101725"/>
                  </a:cubicBezTo>
                  <a:close/>
                  <a:moveTo>
                    <a:pt x="1888235" y="1101725"/>
                  </a:moveTo>
                  <a:cubicBezTo>
                    <a:pt x="1907085" y="1101725"/>
                    <a:pt x="1922366" y="1117361"/>
                    <a:pt x="1922366" y="1136650"/>
                  </a:cubicBezTo>
                  <a:cubicBezTo>
                    <a:pt x="1922366" y="1155939"/>
                    <a:pt x="1907085" y="1171575"/>
                    <a:pt x="1888235" y="1171575"/>
                  </a:cubicBezTo>
                  <a:cubicBezTo>
                    <a:pt x="1869384" y="1171575"/>
                    <a:pt x="1854103" y="1155939"/>
                    <a:pt x="1854103" y="1136650"/>
                  </a:cubicBezTo>
                  <a:cubicBezTo>
                    <a:pt x="1854103" y="1117361"/>
                    <a:pt x="1869384" y="1101725"/>
                    <a:pt x="1888235" y="1101725"/>
                  </a:cubicBezTo>
                  <a:close/>
                  <a:moveTo>
                    <a:pt x="1802510" y="1101725"/>
                  </a:moveTo>
                  <a:cubicBezTo>
                    <a:pt x="1821361" y="1101725"/>
                    <a:pt x="1836642" y="1117361"/>
                    <a:pt x="1836642" y="1136650"/>
                  </a:cubicBezTo>
                  <a:cubicBezTo>
                    <a:pt x="1836642" y="1155939"/>
                    <a:pt x="1821361" y="1171575"/>
                    <a:pt x="1802510" y="1171575"/>
                  </a:cubicBezTo>
                  <a:cubicBezTo>
                    <a:pt x="1783659" y="1171575"/>
                    <a:pt x="1768379" y="1155939"/>
                    <a:pt x="1768379" y="1136650"/>
                  </a:cubicBezTo>
                  <a:cubicBezTo>
                    <a:pt x="1768379" y="1117361"/>
                    <a:pt x="1783659" y="1101725"/>
                    <a:pt x="1802510" y="1101725"/>
                  </a:cubicBezTo>
                  <a:close/>
                  <a:moveTo>
                    <a:pt x="1719169" y="1101725"/>
                  </a:moveTo>
                  <a:cubicBezTo>
                    <a:pt x="1739335" y="1101725"/>
                    <a:pt x="1755682" y="1117361"/>
                    <a:pt x="1755682" y="1136650"/>
                  </a:cubicBezTo>
                  <a:cubicBezTo>
                    <a:pt x="1755682" y="1155939"/>
                    <a:pt x="1739335" y="1171575"/>
                    <a:pt x="1719169" y="1171575"/>
                  </a:cubicBezTo>
                  <a:cubicBezTo>
                    <a:pt x="1699003" y="1171575"/>
                    <a:pt x="1682656" y="1155939"/>
                    <a:pt x="1682656" y="1136650"/>
                  </a:cubicBezTo>
                  <a:cubicBezTo>
                    <a:pt x="1682656" y="1117361"/>
                    <a:pt x="1699003" y="1101725"/>
                    <a:pt x="1719169" y="1101725"/>
                  </a:cubicBezTo>
                  <a:close/>
                  <a:moveTo>
                    <a:pt x="1636604" y="1101725"/>
                  </a:moveTo>
                  <a:cubicBezTo>
                    <a:pt x="1655892" y="1101725"/>
                    <a:pt x="1671529" y="1117361"/>
                    <a:pt x="1671529" y="1136650"/>
                  </a:cubicBezTo>
                  <a:cubicBezTo>
                    <a:pt x="1671529" y="1155939"/>
                    <a:pt x="1655892" y="1171575"/>
                    <a:pt x="1636604" y="1171575"/>
                  </a:cubicBezTo>
                  <a:cubicBezTo>
                    <a:pt x="1617315" y="1171575"/>
                    <a:pt x="1601679" y="1155939"/>
                    <a:pt x="1601679" y="1136650"/>
                  </a:cubicBezTo>
                  <a:cubicBezTo>
                    <a:pt x="1601679" y="1117361"/>
                    <a:pt x="1617315" y="1101725"/>
                    <a:pt x="1636604" y="1101725"/>
                  </a:cubicBezTo>
                  <a:close/>
                  <a:moveTo>
                    <a:pt x="1551671" y="1101725"/>
                  </a:moveTo>
                  <a:cubicBezTo>
                    <a:pt x="1570522" y="1101725"/>
                    <a:pt x="1585803" y="1117361"/>
                    <a:pt x="1585803" y="1136650"/>
                  </a:cubicBezTo>
                  <a:cubicBezTo>
                    <a:pt x="1585803" y="1155939"/>
                    <a:pt x="1570522" y="1171575"/>
                    <a:pt x="1551671" y="1171575"/>
                  </a:cubicBezTo>
                  <a:cubicBezTo>
                    <a:pt x="1532819" y="1171575"/>
                    <a:pt x="1517539" y="1155939"/>
                    <a:pt x="1517539" y="1136650"/>
                  </a:cubicBezTo>
                  <a:cubicBezTo>
                    <a:pt x="1517539" y="1117361"/>
                    <a:pt x="1532819" y="1101725"/>
                    <a:pt x="1551671" y="1101725"/>
                  </a:cubicBezTo>
                  <a:close/>
                  <a:moveTo>
                    <a:pt x="1465953" y="1101725"/>
                  </a:moveTo>
                  <a:cubicBezTo>
                    <a:pt x="1484805" y="1101725"/>
                    <a:pt x="1500086" y="1117361"/>
                    <a:pt x="1500086" y="1136650"/>
                  </a:cubicBezTo>
                  <a:cubicBezTo>
                    <a:pt x="1500086" y="1155939"/>
                    <a:pt x="1484805" y="1171575"/>
                    <a:pt x="1465953" y="1171575"/>
                  </a:cubicBezTo>
                  <a:cubicBezTo>
                    <a:pt x="1447102" y="1171575"/>
                    <a:pt x="1431822" y="1155939"/>
                    <a:pt x="1431822" y="1136650"/>
                  </a:cubicBezTo>
                  <a:cubicBezTo>
                    <a:pt x="1431822" y="1117361"/>
                    <a:pt x="1447102" y="1101725"/>
                    <a:pt x="1465953" y="1101725"/>
                  </a:cubicBezTo>
                  <a:close/>
                  <a:moveTo>
                    <a:pt x="1380228" y="1101725"/>
                  </a:moveTo>
                  <a:cubicBezTo>
                    <a:pt x="1399079" y="1101725"/>
                    <a:pt x="1414360" y="1117361"/>
                    <a:pt x="1414360" y="1136650"/>
                  </a:cubicBezTo>
                  <a:cubicBezTo>
                    <a:pt x="1414360" y="1155939"/>
                    <a:pt x="1399079" y="1171575"/>
                    <a:pt x="1380228" y="1171575"/>
                  </a:cubicBezTo>
                  <a:cubicBezTo>
                    <a:pt x="1361377" y="1171575"/>
                    <a:pt x="1346096" y="1155939"/>
                    <a:pt x="1346096" y="1136650"/>
                  </a:cubicBezTo>
                  <a:cubicBezTo>
                    <a:pt x="1346096" y="1117361"/>
                    <a:pt x="1361377" y="1101725"/>
                    <a:pt x="1380228" y="1101725"/>
                  </a:cubicBezTo>
                  <a:close/>
                  <a:moveTo>
                    <a:pt x="1300222" y="1101725"/>
                  </a:moveTo>
                  <a:cubicBezTo>
                    <a:pt x="1319509" y="1101725"/>
                    <a:pt x="1335148" y="1117361"/>
                    <a:pt x="1335148" y="1136650"/>
                  </a:cubicBezTo>
                  <a:cubicBezTo>
                    <a:pt x="1335148" y="1155939"/>
                    <a:pt x="1319509" y="1171575"/>
                    <a:pt x="1300222" y="1171575"/>
                  </a:cubicBezTo>
                  <a:cubicBezTo>
                    <a:pt x="1280933" y="1171575"/>
                    <a:pt x="1265297" y="1155939"/>
                    <a:pt x="1265297" y="1136650"/>
                  </a:cubicBezTo>
                  <a:cubicBezTo>
                    <a:pt x="1265297" y="1117361"/>
                    <a:pt x="1280933" y="1101725"/>
                    <a:pt x="1300222" y="1101725"/>
                  </a:cubicBezTo>
                  <a:close/>
                  <a:moveTo>
                    <a:pt x="456290" y="1101725"/>
                  </a:moveTo>
                  <a:cubicBezTo>
                    <a:pt x="475141" y="1101725"/>
                    <a:pt x="490422" y="1117361"/>
                    <a:pt x="490422" y="1136650"/>
                  </a:cubicBezTo>
                  <a:cubicBezTo>
                    <a:pt x="490422" y="1155939"/>
                    <a:pt x="475141" y="1171575"/>
                    <a:pt x="456290" y="1171575"/>
                  </a:cubicBezTo>
                  <a:cubicBezTo>
                    <a:pt x="437439" y="1171575"/>
                    <a:pt x="422158" y="1155939"/>
                    <a:pt x="422158" y="1136650"/>
                  </a:cubicBezTo>
                  <a:cubicBezTo>
                    <a:pt x="422158" y="1117361"/>
                    <a:pt x="437439" y="1101725"/>
                    <a:pt x="456290" y="1101725"/>
                  </a:cubicBezTo>
                  <a:close/>
                  <a:moveTo>
                    <a:pt x="370565" y="1101725"/>
                  </a:moveTo>
                  <a:cubicBezTo>
                    <a:pt x="389416" y="1101725"/>
                    <a:pt x="404697" y="1117361"/>
                    <a:pt x="404697" y="1136650"/>
                  </a:cubicBezTo>
                  <a:cubicBezTo>
                    <a:pt x="404697" y="1155939"/>
                    <a:pt x="389416" y="1171575"/>
                    <a:pt x="370565" y="1171575"/>
                  </a:cubicBezTo>
                  <a:cubicBezTo>
                    <a:pt x="351714" y="1171575"/>
                    <a:pt x="336433" y="1155939"/>
                    <a:pt x="336433" y="1136650"/>
                  </a:cubicBezTo>
                  <a:cubicBezTo>
                    <a:pt x="336433" y="1117361"/>
                    <a:pt x="351714" y="1101725"/>
                    <a:pt x="370565" y="1101725"/>
                  </a:cubicBezTo>
                  <a:close/>
                  <a:moveTo>
                    <a:pt x="9474877" y="1016000"/>
                  </a:moveTo>
                  <a:cubicBezTo>
                    <a:pt x="9493728" y="1016000"/>
                    <a:pt x="9509009" y="1031636"/>
                    <a:pt x="9509009" y="1050925"/>
                  </a:cubicBezTo>
                  <a:cubicBezTo>
                    <a:pt x="9509009" y="1070214"/>
                    <a:pt x="9493728" y="1085850"/>
                    <a:pt x="9474877" y="1085850"/>
                  </a:cubicBezTo>
                  <a:cubicBezTo>
                    <a:pt x="9456026" y="1085850"/>
                    <a:pt x="9440745" y="1070214"/>
                    <a:pt x="9440745" y="1050925"/>
                  </a:cubicBezTo>
                  <a:cubicBezTo>
                    <a:pt x="9440745" y="1031636"/>
                    <a:pt x="9456026" y="1016000"/>
                    <a:pt x="9474877" y="1016000"/>
                  </a:cubicBezTo>
                  <a:close/>
                  <a:moveTo>
                    <a:pt x="9389152" y="1016000"/>
                  </a:moveTo>
                  <a:cubicBezTo>
                    <a:pt x="9408003" y="1016000"/>
                    <a:pt x="9423284" y="1031636"/>
                    <a:pt x="9423284" y="1050925"/>
                  </a:cubicBezTo>
                  <a:cubicBezTo>
                    <a:pt x="9423284" y="1070214"/>
                    <a:pt x="9408003" y="1085850"/>
                    <a:pt x="9389152" y="1085850"/>
                  </a:cubicBezTo>
                  <a:cubicBezTo>
                    <a:pt x="9370301" y="1085850"/>
                    <a:pt x="9355020" y="1070214"/>
                    <a:pt x="9355020" y="1050925"/>
                  </a:cubicBezTo>
                  <a:cubicBezTo>
                    <a:pt x="9355020" y="1031636"/>
                    <a:pt x="9370301" y="1016000"/>
                    <a:pt x="9389152" y="1016000"/>
                  </a:cubicBezTo>
                  <a:close/>
                  <a:moveTo>
                    <a:pt x="8801777" y="1016000"/>
                  </a:moveTo>
                  <a:cubicBezTo>
                    <a:pt x="8820628" y="1016000"/>
                    <a:pt x="8835909" y="1031636"/>
                    <a:pt x="8835909" y="1050925"/>
                  </a:cubicBezTo>
                  <a:cubicBezTo>
                    <a:pt x="8835909" y="1070214"/>
                    <a:pt x="8820628" y="1085850"/>
                    <a:pt x="8801777" y="1085850"/>
                  </a:cubicBezTo>
                  <a:cubicBezTo>
                    <a:pt x="8782926" y="1085850"/>
                    <a:pt x="8767645" y="1070214"/>
                    <a:pt x="8767645" y="1050925"/>
                  </a:cubicBezTo>
                  <a:cubicBezTo>
                    <a:pt x="8767645" y="1031636"/>
                    <a:pt x="8782926" y="1016000"/>
                    <a:pt x="8801777" y="1016000"/>
                  </a:cubicBezTo>
                  <a:close/>
                  <a:moveTo>
                    <a:pt x="8716052" y="1016000"/>
                  </a:moveTo>
                  <a:cubicBezTo>
                    <a:pt x="8734903" y="1016000"/>
                    <a:pt x="8750184" y="1031636"/>
                    <a:pt x="8750184" y="1050925"/>
                  </a:cubicBezTo>
                  <a:cubicBezTo>
                    <a:pt x="8750184" y="1070214"/>
                    <a:pt x="8734903" y="1085850"/>
                    <a:pt x="8716052" y="1085850"/>
                  </a:cubicBezTo>
                  <a:cubicBezTo>
                    <a:pt x="8697201" y="1085850"/>
                    <a:pt x="8681920" y="1070214"/>
                    <a:pt x="8681920" y="1050925"/>
                  </a:cubicBezTo>
                  <a:cubicBezTo>
                    <a:pt x="8681920" y="1031636"/>
                    <a:pt x="8697201" y="1016000"/>
                    <a:pt x="8716052" y="1016000"/>
                  </a:cubicBezTo>
                  <a:close/>
                  <a:moveTo>
                    <a:pt x="8630327" y="1016000"/>
                  </a:moveTo>
                  <a:cubicBezTo>
                    <a:pt x="8649178" y="1016000"/>
                    <a:pt x="8664459" y="1031636"/>
                    <a:pt x="8664459" y="1050925"/>
                  </a:cubicBezTo>
                  <a:cubicBezTo>
                    <a:pt x="8664459" y="1070214"/>
                    <a:pt x="8649178" y="1085850"/>
                    <a:pt x="8630327" y="1085850"/>
                  </a:cubicBezTo>
                  <a:cubicBezTo>
                    <a:pt x="8611476" y="1085850"/>
                    <a:pt x="8596195" y="1070214"/>
                    <a:pt x="8596195" y="1050925"/>
                  </a:cubicBezTo>
                  <a:cubicBezTo>
                    <a:pt x="8596195" y="1031636"/>
                    <a:pt x="8611476" y="1016000"/>
                    <a:pt x="8630327" y="1016000"/>
                  </a:cubicBezTo>
                  <a:close/>
                  <a:moveTo>
                    <a:pt x="8544602" y="1016000"/>
                  </a:moveTo>
                  <a:cubicBezTo>
                    <a:pt x="8563453" y="1016000"/>
                    <a:pt x="8578734" y="1031636"/>
                    <a:pt x="8578734" y="1050925"/>
                  </a:cubicBezTo>
                  <a:cubicBezTo>
                    <a:pt x="8578734" y="1070214"/>
                    <a:pt x="8563453" y="1085850"/>
                    <a:pt x="8544602" y="1085850"/>
                  </a:cubicBezTo>
                  <a:cubicBezTo>
                    <a:pt x="8525751" y="1085850"/>
                    <a:pt x="8510470" y="1070214"/>
                    <a:pt x="8510470" y="1050925"/>
                  </a:cubicBezTo>
                  <a:cubicBezTo>
                    <a:pt x="8510470" y="1031636"/>
                    <a:pt x="8525751" y="1016000"/>
                    <a:pt x="8544602" y="1016000"/>
                  </a:cubicBezTo>
                  <a:close/>
                  <a:moveTo>
                    <a:pt x="8465227" y="1016000"/>
                  </a:moveTo>
                  <a:cubicBezTo>
                    <a:pt x="8484078" y="1016000"/>
                    <a:pt x="8499359" y="1031636"/>
                    <a:pt x="8499359" y="1050925"/>
                  </a:cubicBezTo>
                  <a:cubicBezTo>
                    <a:pt x="8499359" y="1070214"/>
                    <a:pt x="8484078" y="1085850"/>
                    <a:pt x="8465227" y="1085850"/>
                  </a:cubicBezTo>
                  <a:cubicBezTo>
                    <a:pt x="8446376" y="1085850"/>
                    <a:pt x="8431095" y="1070214"/>
                    <a:pt x="8431095" y="1050925"/>
                  </a:cubicBezTo>
                  <a:cubicBezTo>
                    <a:pt x="8431095" y="1031636"/>
                    <a:pt x="8446376" y="1016000"/>
                    <a:pt x="8465227" y="1016000"/>
                  </a:cubicBezTo>
                  <a:close/>
                  <a:moveTo>
                    <a:pt x="8379502" y="1016000"/>
                  </a:moveTo>
                  <a:cubicBezTo>
                    <a:pt x="8398353" y="1016000"/>
                    <a:pt x="8413634" y="1031636"/>
                    <a:pt x="8413634" y="1050925"/>
                  </a:cubicBezTo>
                  <a:cubicBezTo>
                    <a:pt x="8413634" y="1070214"/>
                    <a:pt x="8398353" y="1085850"/>
                    <a:pt x="8379502" y="1085850"/>
                  </a:cubicBezTo>
                  <a:cubicBezTo>
                    <a:pt x="8360651" y="1085850"/>
                    <a:pt x="8345370" y="1070214"/>
                    <a:pt x="8345370" y="1050925"/>
                  </a:cubicBezTo>
                  <a:cubicBezTo>
                    <a:pt x="8345370" y="1031636"/>
                    <a:pt x="8360651" y="1016000"/>
                    <a:pt x="8379502" y="1016000"/>
                  </a:cubicBezTo>
                  <a:close/>
                  <a:moveTo>
                    <a:pt x="8293777" y="1016000"/>
                  </a:moveTo>
                  <a:cubicBezTo>
                    <a:pt x="8312628" y="1016000"/>
                    <a:pt x="8327909" y="1031636"/>
                    <a:pt x="8327909" y="1050925"/>
                  </a:cubicBezTo>
                  <a:cubicBezTo>
                    <a:pt x="8327909" y="1070214"/>
                    <a:pt x="8312628" y="1085850"/>
                    <a:pt x="8293777" y="1085850"/>
                  </a:cubicBezTo>
                  <a:cubicBezTo>
                    <a:pt x="8274926" y="1085850"/>
                    <a:pt x="8259645" y="1070214"/>
                    <a:pt x="8259645" y="1050925"/>
                  </a:cubicBezTo>
                  <a:cubicBezTo>
                    <a:pt x="8259645" y="1031636"/>
                    <a:pt x="8274926" y="1016000"/>
                    <a:pt x="8293777" y="1016000"/>
                  </a:cubicBezTo>
                  <a:close/>
                  <a:moveTo>
                    <a:pt x="8208052" y="1016000"/>
                  </a:moveTo>
                  <a:cubicBezTo>
                    <a:pt x="8226903" y="1016000"/>
                    <a:pt x="8242184" y="1031636"/>
                    <a:pt x="8242184" y="1050925"/>
                  </a:cubicBezTo>
                  <a:cubicBezTo>
                    <a:pt x="8242184" y="1070214"/>
                    <a:pt x="8226903" y="1085850"/>
                    <a:pt x="8208052" y="1085850"/>
                  </a:cubicBezTo>
                  <a:cubicBezTo>
                    <a:pt x="8189201" y="1085850"/>
                    <a:pt x="8173920" y="1070214"/>
                    <a:pt x="8173920" y="1050925"/>
                  </a:cubicBezTo>
                  <a:cubicBezTo>
                    <a:pt x="8173920" y="1031636"/>
                    <a:pt x="8189201" y="1016000"/>
                    <a:pt x="8208052" y="1016000"/>
                  </a:cubicBezTo>
                  <a:close/>
                  <a:moveTo>
                    <a:pt x="8125502" y="1016000"/>
                  </a:moveTo>
                  <a:cubicBezTo>
                    <a:pt x="8146106" y="1016000"/>
                    <a:pt x="8162809" y="1031636"/>
                    <a:pt x="8162809" y="1050925"/>
                  </a:cubicBezTo>
                  <a:cubicBezTo>
                    <a:pt x="8162809" y="1070214"/>
                    <a:pt x="8146106" y="1085850"/>
                    <a:pt x="8125502" y="1085850"/>
                  </a:cubicBezTo>
                  <a:cubicBezTo>
                    <a:pt x="8104898" y="1085850"/>
                    <a:pt x="8088195" y="1070214"/>
                    <a:pt x="8088195" y="1050925"/>
                  </a:cubicBezTo>
                  <a:cubicBezTo>
                    <a:pt x="8088195" y="1031636"/>
                    <a:pt x="8104898" y="1016000"/>
                    <a:pt x="8125502" y="1016000"/>
                  </a:cubicBezTo>
                  <a:close/>
                  <a:moveTo>
                    <a:pt x="8042952" y="1016000"/>
                  </a:moveTo>
                  <a:cubicBezTo>
                    <a:pt x="8061803" y="1016000"/>
                    <a:pt x="8077084" y="1031636"/>
                    <a:pt x="8077084" y="1050925"/>
                  </a:cubicBezTo>
                  <a:cubicBezTo>
                    <a:pt x="8077084" y="1070214"/>
                    <a:pt x="8061803" y="1085850"/>
                    <a:pt x="8042952" y="1085850"/>
                  </a:cubicBezTo>
                  <a:cubicBezTo>
                    <a:pt x="8024101" y="1085850"/>
                    <a:pt x="8008820" y="1070214"/>
                    <a:pt x="8008820" y="1050925"/>
                  </a:cubicBezTo>
                  <a:cubicBezTo>
                    <a:pt x="8008820" y="1031636"/>
                    <a:pt x="8024101" y="1016000"/>
                    <a:pt x="8042952" y="1016000"/>
                  </a:cubicBezTo>
                  <a:close/>
                  <a:moveTo>
                    <a:pt x="7957227" y="1016000"/>
                  </a:moveTo>
                  <a:cubicBezTo>
                    <a:pt x="7976078" y="1016000"/>
                    <a:pt x="7991359" y="1031636"/>
                    <a:pt x="7991359" y="1050925"/>
                  </a:cubicBezTo>
                  <a:cubicBezTo>
                    <a:pt x="7991359" y="1070214"/>
                    <a:pt x="7976078" y="1085850"/>
                    <a:pt x="7957227" y="1085850"/>
                  </a:cubicBezTo>
                  <a:cubicBezTo>
                    <a:pt x="7938376" y="1085850"/>
                    <a:pt x="7923095" y="1070214"/>
                    <a:pt x="7923095" y="1050925"/>
                  </a:cubicBezTo>
                  <a:cubicBezTo>
                    <a:pt x="7923095" y="1031636"/>
                    <a:pt x="7938376" y="1016000"/>
                    <a:pt x="7957227" y="1016000"/>
                  </a:cubicBezTo>
                  <a:close/>
                  <a:moveTo>
                    <a:pt x="7871502" y="1016000"/>
                  </a:moveTo>
                  <a:cubicBezTo>
                    <a:pt x="7890353" y="1016000"/>
                    <a:pt x="7905634" y="1031636"/>
                    <a:pt x="7905634" y="1050925"/>
                  </a:cubicBezTo>
                  <a:cubicBezTo>
                    <a:pt x="7905634" y="1070214"/>
                    <a:pt x="7890353" y="1085850"/>
                    <a:pt x="7871502" y="1085850"/>
                  </a:cubicBezTo>
                  <a:cubicBezTo>
                    <a:pt x="7852651" y="1085850"/>
                    <a:pt x="7837370" y="1070214"/>
                    <a:pt x="7837370" y="1050925"/>
                  </a:cubicBezTo>
                  <a:cubicBezTo>
                    <a:pt x="7837370" y="1031636"/>
                    <a:pt x="7852651" y="1016000"/>
                    <a:pt x="7871502" y="1016000"/>
                  </a:cubicBezTo>
                  <a:close/>
                  <a:moveTo>
                    <a:pt x="7785777" y="1016000"/>
                  </a:moveTo>
                  <a:cubicBezTo>
                    <a:pt x="7804628" y="1016000"/>
                    <a:pt x="7819909" y="1031636"/>
                    <a:pt x="7819909" y="1050925"/>
                  </a:cubicBezTo>
                  <a:cubicBezTo>
                    <a:pt x="7819909" y="1070214"/>
                    <a:pt x="7804628" y="1085850"/>
                    <a:pt x="7785777" y="1085850"/>
                  </a:cubicBezTo>
                  <a:cubicBezTo>
                    <a:pt x="7766926" y="1085850"/>
                    <a:pt x="7751645" y="1070214"/>
                    <a:pt x="7751645" y="1050925"/>
                  </a:cubicBezTo>
                  <a:cubicBezTo>
                    <a:pt x="7751645" y="1031636"/>
                    <a:pt x="7766926" y="1016000"/>
                    <a:pt x="7785777" y="1016000"/>
                  </a:cubicBezTo>
                  <a:close/>
                  <a:moveTo>
                    <a:pt x="7706402" y="1016000"/>
                  </a:moveTo>
                  <a:cubicBezTo>
                    <a:pt x="7725253" y="1016000"/>
                    <a:pt x="7740534" y="1031636"/>
                    <a:pt x="7740534" y="1050925"/>
                  </a:cubicBezTo>
                  <a:cubicBezTo>
                    <a:pt x="7740534" y="1070214"/>
                    <a:pt x="7725253" y="1085850"/>
                    <a:pt x="7706402" y="1085850"/>
                  </a:cubicBezTo>
                  <a:cubicBezTo>
                    <a:pt x="7687551" y="1085850"/>
                    <a:pt x="7672270" y="1070214"/>
                    <a:pt x="7672270" y="1050925"/>
                  </a:cubicBezTo>
                  <a:cubicBezTo>
                    <a:pt x="7672270" y="1031636"/>
                    <a:pt x="7687551" y="1016000"/>
                    <a:pt x="7706402" y="1016000"/>
                  </a:cubicBezTo>
                  <a:close/>
                  <a:moveTo>
                    <a:pt x="7620677" y="1016000"/>
                  </a:moveTo>
                  <a:cubicBezTo>
                    <a:pt x="7639528" y="1016000"/>
                    <a:pt x="7654809" y="1031636"/>
                    <a:pt x="7654809" y="1050925"/>
                  </a:cubicBezTo>
                  <a:cubicBezTo>
                    <a:pt x="7654809" y="1070214"/>
                    <a:pt x="7639528" y="1085850"/>
                    <a:pt x="7620677" y="1085850"/>
                  </a:cubicBezTo>
                  <a:cubicBezTo>
                    <a:pt x="7601826" y="1085850"/>
                    <a:pt x="7586545" y="1070214"/>
                    <a:pt x="7586545" y="1050925"/>
                  </a:cubicBezTo>
                  <a:cubicBezTo>
                    <a:pt x="7586545" y="1031636"/>
                    <a:pt x="7601826" y="1016000"/>
                    <a:pt x="7620677" y="1016000"/>
                  </a:cubicBezTo>
                  <a:close/>
                  <a:moveTo>
                    <a:pt x="7534952" y="1016000"/>
                  </a:moveTo>
                  <a:cubicBezTo>
                    <a:pt x="7553803" y="1016000"/>
                    <a:pt x="7569084" y="1031636"/>
                    <a:pt x="7569084" y="1050925"/>
                  </a:cubicBezTo>
                  <a:cubicBezTo>
                    <a:pt x="7569084" y="1070214"/>
                    <a:pt x="7553803" y="1085850"/>
                    <a:pt x="7534952" y="1085850"/>
                  </a:cubicBezTo>
                  <a:cubicBezTo>
                    <a:pt x="7516101" y="1085850"/>
                    <a:pt x="7500820" y="1070214"/>
                    <a:pt x="7500820" y="1050925"/>
                  </a:cubicBezTo>
                  <a:cubicBezTo>
                    <a:pt x="7500820" y="1031636"/>
                    <a:pt x="7516101" y="1016000"/>
                    <a:pt x="7534952" y="1016000"/>
                  </a:cubicBezTo>
                  <a:close/>
                  <a:moveTo>
                    <a:pt x="7449227" y="1016000"/>
                  </a:moveTo>
                  <a:cubicBezTo>
                    <a:pt x="7468078" y="1016000"/>
                    <a:pt x="7483359" y="1031636"/>
                    <a:pt x="7483359" y="1050925"/>
                  </a:cubicBezTo>
                  <a:cubicBezTo>
                    <a:pt x="7483359" y="1070214"/>
                    <a:pt x="7468078" y="1085850"/>
                    <a:pt x="7449227" y="1085850"/>
                  </a:cubicBezTo>
                  <a:cubicBezTo>
                    <a:pt x="7430376" y="1085850"/>
                    <a:pt x="7415095" y="1070214"/>
                    <a:pt x="7415095" y="1050925"/>
                  </a:cubicBezTo>
                  <a:cubicBezTo>
                    <a:pt x="7415095" y="1031636"/>
                    <a:pt x="7430376" y="1016000"/>
                    <a:pt x="7449227" y="1016000"/>
                  </a:cubicBezTo>
                  <a:close/>
                  <a:moveTo>
                    <a:pt x="7366677" y="1016000"/>
                  </a:moveTo>
                  <a:cubicBezTo>
                    <a:pt x="7387281" y="1016000"/>
                    <a:pt x="7403984" y="1031636"/>
                    <a:pt x="7403984" y="1050925"/>
                  </a:cubicBezTo>
                  <a:cubicBezTo>
                    <a:pt x="7403984" y="1070214"/>
                    <a:pt x="7387281" y="1085850"/>
                    <a:pt x="7366677" y="1085850"/>
                  </a:cubicBezTo>
                  <a:cubicBezTo>
                    <a:pt x="7346073" y="1085850"/>
                    <a:pt x="7329370" y="1070214"/>
                    <a:pt x="7329370" y="1050925"/>
                  </a:cubicBezTo>
                  <a:cubicBezTo>
                    <a:pt x="7329370" y="1031636"/>
                    <a:pt x="7346073" y="1016000"/>
                    <a:pt x="7366677" y="1016000"/>
                  </a:cubicBezTo>
                  <a:close/>
                  <a:moveTo>
                    <a:pt x="7284127" y="1016000"/>
                  </a:moveTo>
                  <a:cubicBezTo>
                    <a:pt x="7302978" y="1016000"/>
                    <a:pt x="7318259" y="1031636"/>
                    <a:pt x="7318259" y="1050925"/>
                  </a:cubicBezTo>
                  <a:cubicBezTo>
                    <a:pt x="7318259" y="1070214"/>
                    <a:pt x="7302978" y="1085850"/>
                    <a:pt x="7284127" y="1085850"/>
                  </a:cubicBezTo>
                  <a:cubicBezTo>
                    <a:pt x="7265276" y="1085850"/>
                    <a:pt x="7249995" y="1070214"/>
                    <a:pt x="7249995" y="1050925"/>
                  </a:cubicBezTo>
                  <a:cubicBezTo>
                    <a:pt x="7249995" y="1031636"/>
                    <a:pt x="7265276" y="1016000"/>
                    <a:pt x="7284127" y="1016000"/>
                  </a:cubicBezTo>
                  <a:close/>
                  <a:moveTo>
                    <a:pt x="7198402" y="1016000"/>
                  </a:moveTo>
                  <a:cubicBezTo>
                    <a:pt x="7217253" y="1016000"/>
                    <a:pt x="7232534" y="1031636"/>
                    <a:pt x="7232534" y="1050925"/>
                  </a:cubicBezTo>
                  <a:cubicBezTo>
                    <a:pt x="7232534" y="1070214"/>
                    <a:pt x="7217253" y="1085850"/>
                    <a:pt x="7198402" y="1085850"/>
                  </a:cubicBezTo>
                  <a:cubicBezTo>
                    <a:pt x="7179551" y="1085850"/>
                    <a:pt x="7164270" y="1070214"/>
                    <a:pt x="7164270" y="1050925"/>
                  </a:cubicBezTo>
                  <a:cubicBezTo>
                    <a:pt x="7164270" y="1031636"/>
                    <a:pt x="7179551" y="1016000"/>
                    <a:pt x="7198402" y="1016000"/>
                  </a:cubicBezTo>
                  <a:close/>
                  <a:moveTo>
                    <a:pt x="7112677" y="1016000"/>
                  </a:moveTo>
                  <a:cubicBezTo>
                    <a:pt x="7131528" y="1016000"/>
                    <a:pt x="7146809" y="1031636"/>
                    <a:pt x="7146809" y="1050925"/>
                  </a:cubicBezTo>
                  <a:cubicBezTo>
                    <a:pt x="7146809" y="1070214"/>
                    <a:pt x="7131528" y="1085850"/>
                    <a:pt x="7112677" y="1085850"/>
                  </a:cubicBezTo>
                  <a:cubicBezTo>
                    <a:pt x="7093826" y="1085850"/>
                    <a:pt x="7078545" y="1070214"/>
                    <a:pt x="7078545" y="1050925"/>
                  </a:cubicBezTo>
                  <a:cubicBezTo>
                    <a:pt x="7078545" y="1031636"/>
                    <a:pt x="7093826" y="1016000"/>
                    <a:pt x="7112677" y="1016000"/>
                  </a:cubicBezTo>
                  <a:close/>
                  <a:moveTo>
                    <a:pt x="7027745" y="1016000"/>
                  </a:moveTo>
                  <a:cubicBezTo>
                    <a:pt x="7047034" y="1016000"/>
                    <a:pt x="7062670" y="1031636"/>
                    <a:pt x="7062670" y="1050925"/>
                  </a:cubicBezTo>
                  <a:cubicBezTo>
                    <a:pt x="7062670" y="1070214"/>
                    <a:pt x="7047034" y="1085850"/>
                    <a:pt x="7027745" y="1085850"/>
                  </a:cubicBezTo>
                  <a:cubicBezTo>
                    <a:pt x="7008456" y="1085850"/>
                    <a:pt x="6992820" y="1070214"/>
                    <a:pt x="6992820" y="1050925"/>
                  </a:cubicBezTo>
                  <a:cubicBezTo>
                    <a:pt x="6992820" y="1031636"/>
                    <a:pt x="7008456" y="1016000"/>
                    <a:pt x="7027745" y="1016000"/>
                  </a:cubicBezTo>
                  <a:close/>
                  <a:moveTo>
                    <a:pt x="6947577" y="1016000"/>
                  </a:moveTo>
                  <a:cubicBezTo>
                    <a:pt x="6966428" y="1016000"/>
                    <a:pt x="6981709" y="1031636"/>
                    <a:pt x="6981709" y="1050925"/>
                  </a:cubicBezTo>
                  <a:cubicBezTo>
                    <a:pt x="6981709" y="1070214"/>
                    <a:pt x="6966428" y="1085850"/>
                    <a:pt x="6947577" y="1085850"/>
                  </a:cubicBezTo>
                  <a:cubicBezTo>
                    <a:pt x="6928726" y="1085850"/>
                    <a:pt x="6913445" y="1070214"/>
                    <a:pt x="6913445" y="1050925"/>
                  </a:cubicBezTo>
                  <a:cubicBezTo>
                    <a:pt x="6913445" y="1031636"/>
                    <a:pt x="6928726" y="1016000"/>
                    <a:pt x="6947577" y="1016000"/>
                  </a:cubicBezTo>
                  <a:close/>
                  <a:moveTo>
                    <a:pt x="6861852" y="1016000"/>
                  </a:moveTo>
                  <a:cubicBezTo>
                    <a:pt x="6880703" y="1016000"/>
                    <a:pt x="6895984" y="1031636"/>
                    <a:pt x="6895984" y="1050925"/>
                  </a:cubicBezTo>
                  <a:cubicBezTo>
                    <a:pt x="6895984" y="1070214"/>
                    <a:pt x="6880703" y="1085850"/>
                    <a:pt x="6861852" y="1085850"/>
                  </a:cubicBezTo>
                  <a:cubicBezTo>
                    <a:pt x="6843001" y="1085850"/>
                    <a:pt x="6827720" y="1070214"/>
                    <a:pt x="6827720" y="1050925"/>
                  </a:cubicBezTo>
                  <a:cubicBezTo>
                    <a:pt x="6827720" y="1031636"/>
                    <a:pt x="6843001" y="1016000"/>
                    <a:pt x="6861852" y="1016000"/>
                  </a:cubicBezTo>
                  <a:close/>
                  <a:moveTo>
                    <a:pt x="6776127" y="1016000"/>
                  </a:moveTo>
                  <a:cubicBezTo>
                    <a:pt x="6794978" y="1016000"/>
                    <a:pt x="6810259" y="1031636"/>
                    <a:pt x="6810259" y="1050925"/>
                  </a:cubicBezTo>
                  <a:cubicBezTo>
                    <a:pt x="6810259" y="1070214"/>
                    <a:pt x="6794978" y="1085850"/>
                    <a:pt x="6776127" y="1085850"/>
                  </a:cubicBezTo>
                  <a:cubicBezTo>
                    <a:pt x="6757276" y="1085850"/>
                    <a:pt x="6741995" y="1070214"/>
                    <a:pt x="6741995" y="1050925"/>
                  </a:cubicBezTo>
                  <a:cubicBezTo>
                    <a:pt x="6741995" y="1031636"/>
                    <a:pt x="6757276" y="1016000"/>
                    <a:pt x="6776127" y="1016000"/>
                  </a:cubicBezTo>
                  <a:close/>
                  <a:moveTo>
                    <a:pt x="6691195" y="1016000"/>
                  </a:moveTo>
                  <a:cubicBezTo>
                    <a:pt x="6710484" y="1016000"/>
                    <a:pt x="6726120" y="1031636"/>
                    <a:pt x="6726120" y="1050925"/>
                  </a:cubicBezTo>
                  <a:cubicBezTo>
                    <a:pt x="6726120" y="1070214"/>
                    <a:pt x="6710484" y="1085850"/>
                    <a:pt x="6691195" y="1085850"/>
                  </a:cubicBezTo>
                  <a:cubicBezTo>
                    <a:pt x="6671906" y="1085850"/>
                    <a:pt x="6656270" y="1070214"/>
                    <a:pt x="6656270" y="1050925"/>
                  </a:cubicBezTo>
                  <a:cubicBezTo>
                    <a:pt x="6656270" y="1031636"/>
                    <a:pt x="6671906" y="1016000"/>
                    <a:pt x="6691195" y="1016000"/>
                  </a:cubicBezTo>
                  <a:close/>
                  <a:moveTo>
                    <a:pt x="6607852" y="1016000"/>
                  </a:moveTo>
                  <a:cubicBezTo>
                    <a:pt x="6628456" y="1016000"/>
                    <a:pt x="6645159" y="1031636"/>
                    <a:pt x="6645159" y="1050925"/>
                  </a:cubicBezTo>
                  <a:cubicBezTo>
                    <a:pt x="6645159" y="1070214"/>
                    <a:pt x="6628456" y="1085850"/>
                    <a:pt x="6607852" y="1085850"/>
                  </a:cubicBezTo>
                  <a:cubicBezTo>
                    <a:pt x="6587248" y="1085850"/>
                    <a:pt x="6570545" y="1070214"/>
                    <a:pt x="6570545" y="1050925"/>
                  </a:cubicBezTo>
                  <a:cubicBezTo>
                    <a:pt x="6570545" y="1031636"/>
                    <a:pt x="6587248" y="1016000"/>
                    <a:pt x="6607852" y="1016000"/>
                  </a:cubicBezTo>
                  <a:close/>
                  <a:moveTo>
                    <a:pt x="6525302" y="1016000"/>
                  </a:moveTo>
                  <a:cubicBezTo>
                    <a:pt x="6544153" y="1016000"/>
                    <a:pt x="6559434" y="1031636"/>
                    <a:pt x="6559434" y="1050925"/>
                  </a:cubicBezTo>
                  <a:cubicBezTo>
                    <a:pt x="6559434" y="1070214"/>
                    <a:pt x="6544153" y="1085850"/>
                    <a:pt x="6525302" y="1085850"/>
                  </a:cubicBezTo>
                  <a:cubicBezTo>
                    <a:pt x="6506451" y="1085850"/>
                    <a:pt x="6491170" y="1070214"/>
                    <a:pt x="6491170" y="1050925"/>
                  </a:cubicBezTo>
                  <a:cubicBezTo>
                    <a:pt x="6491170" y="1031636"/>
                    <a:pt x="6506451" y="1016000"/>
                    <a:pt x="6525302" y="1016000"/>
                  </a:cubicBezTo>
                  <a:close/>
                  <a:moveTo>
                    <a:pt x="6439577" y="1016000"/>
                  </a:moveTo>
                  <a:cubicBezTo>
                    <a:pt x="6458428" y="1016000"/>
                    <a:pt x="6473709" y="1031636"/>
                    <a:pt x="6473709" y="1050925"/>
                  </a:cubicBezTo>
                  <a:cubicBezTo>
                    <a:pt x="6473709" y="1070214"/>
                    <a:pt x="6458428" y="1085850"/>
                    <a:pt x="6439577" y="1085850"/>
                  </a:cubicBezTo>
                  <a:cubicBezTo>
                    <a:pt x="6420726" y="1085850"/>
                    <a:pt x="6405445" y="1070214"/>
                    <a:pt x="6405445" y="1050925"/>
                  </a:cubicBezTo>
                  <a:cubicBezTo>
                    <a:pt x="6405445" y="1031636"/>
                    <a:pt x="6420726" y="1016000"/>
                    <a:pt x="6439577" y="1016000"/>
                  </a:cubicBezTo>
                  <a:close/>
                  <a:moveTo>
                    <a:pt x="6353852" y="1016000"/>
                  </a:moveTo>
                  <a:cubicBezTo>
                    <a:pt x="6372703" y="1016000"/>
                    <a:pt x="6387984" y="1031636"/>
                    <a:pt x="6387984" y="1050925"/>
                  </a:cubicBezTo>
                  <a:cubicBezTo>
                    <a:pt x="6387984" y="1070214"/>
                    <a:pt x="6372703" y="1085850"/>
                    <a:pt x="6353852" y="1085850"/>
                  </a:cubicBezTo>
                  <a:cubicBezTo>
                    <a:pt x="6335001" y="1085850"/>
                    <a:pt x="6319720" y="1070214"/>
                    <a:pt x="6319720" y="1050925"/>
                  </a:cubicBezTo>
                  <a:cubicBezTo>
                    <a:pt x="6319720" y="1031636"/>
                    <a:pt x="6335001" y="1016000"/>
                    <a:pt x="6353852" y="1016000"/>
                  </a:cubicBezTo>
                  <a:close/>
                  <a:moveTo>
                    <a:pt x="6268920" y="1016000"/>
                  </a:moveTo>
                  <a:cubicBezTo>
                    <a:pt x="6288209" y="1016000"/>
                    <a:pt x="6303845" y="1031636"/>
                    <a:pt x="6303845" y="1050925"/>
                  </a:cubicBezTo>
                  <a:cubicBezTo>
                    <a:pt x="6303845" y="1070214"/>
                    <a:pt x="6288209" y="1085850"/>
                    <a:pt x="6268920" y="1085850"/>
                  </a:cubicBezTo>
                  <a:cubicBezTo>
                    <a:pt x="6249631" y="1085850"/>
                    <a:pt x="6233995" y="1070214"/>
                    <a:pt x="6233995" y="1050925"/>
                  </a:cubicBezTo>
                  <a:cubicBezTo>
                    <a:pt x="6233995" y="1031636"/>
                    <a:pt x="6249631" y="1016000"/>
                    <a:pt x="6268920" y="1016000"/>
                  </a:cubicBezTo>
                  <a:close/>
                  <a:moveTo>
                    <a:pt x="6188752" y="1016000"/>
                  </a:moveTo>
                  <a:cubicBezTo>
                    <a:pt x="6207603" y="1016000"/>
                    <a:pt x="6222884" y="1031636"/>
                    <a:pt x="6222884" y="1050925"/>
                  </a:cubicBezTo>
                  <a:cubicBezTo>
                    <a:pt x="6222884" y="1070214"/>
                    <a:pt x="6207603" y="1085850"/>
                    <a:pt x="6188752" y="1085850"/>
                  </a:cubicBezTo>
                  <a:cubicBezTo>
                    <a:pt x="6169901" y="1085850"/>
                    <a:pt x="6154620" y="1070214"/>
                    <a:pt x="6154620" y="1050925"/>
                  </a:cubicBezTo>
                  <a:cubicBezTo>
                    <a:pt x="6154620" y="1031636"/>
                    <a:pt x="6169901" y="1016000"/>
                    <a:pt x="6188752" y="1016000"/>
                  </a:cubicBezTo>
                  <a:close/>
                  <a:moveTo>
                    <a:pt x="6103027" y="1016000"/>
                  </a:moveTo>
                  <a:cubicBezTo>
                    <a:pt x="6121878" y="1016000"/>
                    <a:pt x="6137159" y="1031636"/>
                    <a:pt x="6137159" y="1050925"/>
                  </a:cubicBezTo>
                  <a:cubicBezTo>
                    <a:pt x="6137159" y="1070214"/>
                    <a:pt x="6121878" y="1085850"/>
                    <a:pt x="6103027" y="1085850"/>
                  </a:cubicBezTo>
                  <a:cubicBezTo>
                    <a:pt x="6084176" y="1085850"/>
                    <a:pt x="6068895" y="1070214"/>
                    <a:pt x="6068895" y="1050925"/>
                  </a:cubicBezTo>
                  <a:cubicBezTo>
                    <a:pt x="6068895" y="1031636"/>
                    <a:pt x="6084176" y="1016000"/>
                    <a:pt x="6103027" y="1016000"/>
                  </a:cubicBezTo>
                  <a:close/>
                  <a:moveTo>
                    <a:pt x="5766477" y="1016000"/>
                  </a:moveTo>
                  <a:cubicBezTo>
                    <a:pt x="5785328" y="1016000"/>
                    <a:pt x="5800609" y="1031636"/>
                    <a:pt x="5800609" y="1050925"/>
                  </a:cubicBezTo>
                  <a:cubicBezTo>
                    <a:pt x="5800609" y="1070214"/>
                    <a:pt x="5785328" y="1085850"/>
                    <a:pt x="5766477" y="1085850"/>
                  </a:cubicBezTo>
                  <a:cubicBezTo>
                    <a:pt x="5747626" y="1085850"/>
                    <a:pt x="5732345" y="1070214"/>
                    <a:pt x="5732345" y="1050925"/>
                  </a:cubicBezTo>
                  <a:cubicBezTo>
                    <a:pt x="5732345" y="1031636"/>
                    <a:pt x="5747626" y="1016000"/>
                    <a:pt x="5766477" y="1016000"/>
                  </a:cubicBezTo>
                  <a:close/>
                  <a:moveTo>
                    <a:pt x="5680752" y="1016000"/>
                  </a:moveTo>
                  <a:cubicBezTo>
                    <a:pt x="5699603" y="1016000"/>
                    <a:pt x="5714884" y="1031636"/>
                    <a:pt x="5714884" y="1050925"/>
                  </a:cubicBezTo>
                  <a:cubicBezTo>
                    <a:pt x="5714884" y="1070214"/>
                    <a:pt x="5699603" y="1085850"/>
                    <a:pt x="5680752" y="1085850"/>
                  </a:cubicBezTo>
                  <a:cubicBezTo>
                    <a:pt x="5661901" y="1085850"/>
                    <a:pt x="5646620" y="1070214"/>
                    <a:pt x="5646620" y="1050925"/>
                  </a:cubicBezTo>
                  <a:cubicBezTo>
                    <a:pt x="5646620" y="1031636"/>
                    <a:pt x="5661901" y="1016000"/>
                    <a:pt x="5680752" y="1016000"/>
                  </a:cubicBezTo>
                  <a:close/>
                  <a:moveTo>
                    <a:pt x="5510095" y="1016000"/>
                  </a:moveTo>
                  <a:cubicBezTo>
                    <a:pt x="5529384" y="1016000"/>
                    <a:pt x="5545020" y="1031636"/>
                    <a:pt x="5545020" y="1050925"/>
                  </a:cubicBezTo>
                  <a:cubicBezTo>
                    <a:pt x="5545020" y="1070214"/>
                    <a:pt x="5529384" y="1085850"/>
                    <a:pt x="5510095" y="1085850"/>
                  </a:cubicBezTo>
                  <a:cubicBezTo>
                    <a:pt x="5490806" y="1085850"/>
                    <a:pt x="5475170" y="1070214"/>
                    <a:pt x="5475170" y="1050925"/>
                  </a:cubicBezTo>
                  <a:cubicBezTo>
                    <a:pt x="5475170" y="1031636"/>
                    <a:pt x="5490806" y="1016000"/>
                    <a:pt x="5510095" y="1016000"/>
                  </a:cubicBezTo>
                  <a:close/>
                  <a:moveTo>
                    <a:pt x="5429927" y="1016000"/>
                  </a:moveTo>
                  <a:cubicBezTo>
                    <a:pt x="5448778" y="1016000"/>
                    <a:pt x="5464059" y="1031636"/>
                    <a:pt x="5464059" y="1050925"/>
                  </a:cubicBezTo>
                  <a:cubicBezTo>
                    <a:pt x="5464059" y="1070214"/>
                    <a:pt x="5448778" y="1085850"/>
                    <a:pt x="5429927" y="1085850"/>
                  </a:cubicBezTo>
                  <a:cubicBezTo>
                    <a:pt x="5411076" y="1085850"/>
                    <a:pt x="5395795" y="1070214"/>
                    <a:pt x="5395795" y="1050925"/>
                  </a:cubicBezTo>
                  <a:cubicBezTo>
                    <a:pt x="5395795" y="1031636"/>
                    <a:pt x="5411076" y="1016000"/>
                    <a:pt x="5429927" y="1016000"/>
                  </a:cubicBezTo>
                  <a:close/>
                  <a:moveTo>
                    <a:pt x="5344202" y="1016000"/>
                  </a:moveTo>
                  <a:cubicBezTo>
                    <a:pt x="5363053" y="1016000"/>
                    <a:pt x="5378334" y="1031636"/>
                    <a:pt x="5378334" y="1050925"/>
                  </a:cubicBezTo>
                  <a:cubicBezTo>
                    <a:pt x="5378334" y="1070214"/>
                    <a:pt x="5363053" y="1085850"/>
                    <a:pt x="5344202" y="1085850"/>
                  </a:cubicBezTo>
                  <a:cubicBezTo>
                    <a:pt x="5325351" y="1085850"/>
                    <a:pt x="5310070" y="1070214"/>
                    <a:pt x="5310070" y="1050925"/>
                  </a:cubicBezTo>
                  <a:cubicBezTo>
                    <a:pt x="5310070" y="1031636"/>
                    <a:pt x="5325351" y="1016000"/>
                    <a:pt x="5344202" y="1016000"/>
                  </a:cubicBezTo>
                  <a:close/>
                  <a:moveTo>
                    <a:pt x="4585377" y="1016000"/>
                  </a:moveTo>
                  <a:cubicBezTo>
                    <a:pt x="4604228" y="1016000"/>
                    <a:pt x="4619509" y="1031636"/>
                    <a:pt x="4619509" y="1050925"/>
                  </a:cubicBezTo>
                  <a:cubicBezTo>
                    <a:pt x="4619509" y="1070214"/>
                    <a:pt x="4604228" y="1085850"/>
                    <a:pt x="4585377" y="1085850"/>
                  </a:cubicBezTo>
                  <a:cubicBezTo>
                    <a:pt x="4566526" y="1085850"/>
                    <a:pt x="4551245" y="1070214"/>
                    <a:pt x="4551245" y="1050925"/>
                  </a:cubicBezTo>
                  <a:cubicBezTo>
                    <a:pt x="4551245" y="1031636"/>
                    <a:pt x="4566526" y="1016000"/>
                    <a:pt x="4585377" y="1016000"/>
                  </a:cubicBezTo>
                  <a:close/>
                  <a:moveTo>
                    <a:pt x="4415515" y="1016000"/>
                  </a:moveTo>
                  <a:cubicBezTo>
                    <a:pt x="4434366" y="1016000"/>
                    <a:pt x="4449647" y="1031636"/>
                    <a:pt x="4449647" y="1050925"/>
                  </a:cubicBezTo>
                  <a:cubicBezTo>
                    <a:pt x="4449647" y="1070214"/>
                    <a:pt x="4434366" y="1085850"/>
                    <a:pt x="4415515" y="1085850"/>
                  </a:cubicBezTo>
                  <a:cubicBezTo>
                    <a:pt x="4396664" y="1085850"/>
                    <a:pt x="4381383" y="1070214"/>
                    <a:pt x="4381383" y="1050925"/>
                  </a:cubicBezTo>
                  <a:cubicBezTo>
                    <a:pt x="4381383" y="1031636"/>
                    <a:pt x="4396664" y="1016000"/>
                    <a:pt x="4415515" y="1016000"/>
                  </a:cubicBezTo>
                  <a:close/>
                  <a:moveTo>
                    <a:pt x="3912277" y="1016000"/>
                  </a:moveTo>
                  <a:cubicBezTo>
                    <a:pt x="3931128" y="1016000"/>
                    <a:pt x="3946409" y="1031636"/>
                    <a:pt x="3946409" y="1050925"/>
                  </a:cubicBezTo>
                  <a:cubicBezTo>
                    <a:pt x="3946409" y="1070214"/>
                    <a:pt x="3931128" y="1085850"/>
                    <a:pt x="3912277" y="1085850"/>
                  </a:cubicBezTo>
                  <a:cubicBezTo>
                    <a:pt x="3893426" y="1085850"/>
                    <a:pt x="3878145" y="1070214"/>
                    <a:pt x="3878145" y="1050925"/>
                  </a:cubicBezTo>
                  <a:cubicBezTo>
                    <a:pt x="3878145" y="1031636"/>
                    <a:pt x="3893426" y="1016000"/>
                    <a:pt x="3912277" y="1016000"/>
                  </a:cubicBezTo>
                  <a:close/>
                  <a:moveTo>
                    <a:pt x="3826552" y="1016000"/>
                  </a:moveTo>
                  <a:cubicBezTo>
                    <a:pt x="3845403" y="1016000"/>
                    <a:pt x="3860684" y="1031636"/>
                    <a:pt x="3860684" y="1050925"/>
                  </a:cubicBezTo>
                  <a:cubicBezTo>
                    <a:pt x="3860684" y="1070214"/>
                    <a:pt x="3845403" y="1085850"/>
                    <a:pt x="3826552" y="1085850"/>
                  </a:cubicBezTo>
                  <a:cubicBezTo>
                    <a:pt x="3807701" y="1085850"/>
                    <a:pt x="3792420" y="1070214"/>
                    <a:pt x="3792420" y="1050925"/>
                  </a:cubicBezTo>
                  <a:cubicBezTo>
                    <a:pt x="3792420" y="1031636"/>
                    <a:pt x="3807701" y="1016000"/>
                    <a:pt x="3826552" y="1016000"/>
                  </a:cubicBezTo>
                  <a:close/>
                  <a:moveTo>
                    <a:pt x="3741620" y="1016000"/>
                  </a:moveTo>
                  <a:cubicBezTo>
                    <a:pt x="3760909" y="1016000"/>
                    <a:pt x="3776545" y="1031636"/>
                    <a:pt x="3776545" y="1050925"/>
                  </a:cubicBezTo>
                  <a:cubicBezTo>
                    <a:pt x="3776545" y="1070214"/>
                    <a:pt x="3760909" y="1085850"/>
                    <a:pt x="3741620" y="1085850"/>
                  </a:cubicBezTo>
                  <a:cubicBezTo>
                    <a:pt x="3722331" y="1085850"/>
                    <a:pt x="3706695" y="1070214"/>
                    <a:pt x="3706695" y="1050925"/>
                  </a:cubicBezTo>
                  <a:cubicBezTo>
                    <a:pt x="3706695" y="1031636"/>
                    <a:pt x="3722331" y="1016000"/>
                    <a:pt x="3741620" y="1016000"/>
                  </a:cubicBezTo>
                  <a:close/>
                  <a:moveTo>
                    <a:pt x="3234415" y="1016000"/>
                  </a:moveTo>
                  <a:cubicBezTo>
                    <a:pt x="3253266" y="1016000"/>
                    <a:pt x="3268547" y="1031636"/>
                    <a:pt x="3268547" y="1050925"/>
                  </a:cubicBezTo>
                  <a:cubicBezTo>
                    <a:pt x="3268547" y="1070214"/>
                    <a:pt x="3253266" y="1085850"/>
                    <a:pt x="3234415" y="1085850"/>
                  </a:cubicBezTo>
                  <a:cubicBezTo>
                    <a:pt x="3215564" y="1085850"/>
                    <a:pt x="3200283" y="1070214"/>
                    <a:pt x="3200283" y="1050925"/>
                  </a:cubicBezTo>
                  <a:cubicBezTo>
                    <a:pt x="3200283" y="1031636"/>
                    <a:pt x="3215564" y="1016000"/>
                    <a:pt x="3234415" y="1016000"/>
                  </a:cubicBezTo>
                  <a:close/>
                  <a:moveTo>
                    <a:pt x="3153452" y="1016000"/>
                  </a:moveTo>
                  <a:cubicBezTo>
                    <a:pt x="3172303" y="1016000"/>
                    <a:pt x="3187584" y="1031636"/>
                    <a:pt x="3187584" y="1050925"/>
                  </a:cubicBezTo>
                  <a:cubicBezTo>
                    <a:pt x="3187584" y="1070214"/>
                    <a:pt x="3172303" y="1085850"/>
                    <a:pt x="3153452" y="1085850"/>
                  </a:cubicBezTo>
                  <a:cubicBezTo>
                    <a:pt x="3134601" y="1085850"/>
                    <a:pt x="3119320" y="1070214"/>
                    <a:pt x="3119320" y="1050925"/>
                  </a:cubicBezTo>
                  <a:cubicBezTo>
                    <a:pt x="3119320" y="1031636"/>
                    <a:pt x="3134601" y="1016000"/>
                    <a:pt x="3153452" y="1016000"/>
                  </a:cubicBezTo>
                  <a:close/>
                  <a:moveTo>
                    <a:pt x="2814520" y="1016000"/>
                  </a:moveTo>
                  <a:cubicBezTo>
                    <a:pt x="2834686" y="1016000"/>
                    <a:pt x="2851033" y="1031636"/>
                    <a:pt x="2851033" y="1050925"/>
                  </a:cubicBezTo>
                  <a:cubicBezTo>
                    <a:pt x="2851033" y="1070214"/>
                    <a:pt x="2834686" y="1085850"/>
                    <a:pt x="2814520" y="1085850"/>
                  </a:cubicBezTo>
                  <a:cubicBezTo>
                    <a:pt x="2794354" y="1085850"/>
                    <a:pt x="2778007" y="1070214"/>
                    <a:pt x="2778007" y="1050925"/>
                  </a:cubicBezTo>
                  <a:cubicBezTo>
                    <a:pt x="2778007" y="1031636"/>
                    <a:pt x="2794354" y="1016000"/>
                    <a:pt x="2814520" y="1016000"/>
                  </a:cubicBezTo>
                  <a:close/>
                  <a:moveTo>
                    <a:pt x="2475627" y="1016000"/>
                  </a:moveTo>
                  <a:cubicBezTo>
                    <a:pt x="2494477" y="1016000"/>
                    <a:pt x="2509759" y="1031636"/>
                    <a:pt x="2509759" y="1050925"/>
                  </a:cubicBezTo>
                  <a:cubicBezTo>
                    <a:pt x="2509759" y="1070214"/>
                    <a:pt x="2494477" y="1085850"/>
                    <a:pt x="2475627" y="1085850"/>
                  </a:cubicBezTo>
                  <a:cubicBezTo>
                    <a:pt x="2456775" y="1085850"/>
                    <a:pt x="2441494" y="1070214"/>
                    <a:pt x="2441494" y="1050925"/>
                  </a:cubicBezTo>
                  <a:cubicBezTo>
                    <a:pt x="2441494" y="1031636"/>
                    <a:pt x="2456775" y="1016000"/>
                    <a:pt x="2475627" y="1016000"/>
                  </a:cubicBezTo>
                  <a:close/>
                  <a:moveTo>
                    <a:pt x="2394790" y="1016000"/>
                  </a:moveTo>
                  <a:cubicBezTo>
                    <a:pt x="2413638" y="1016000"/>
                    <a:pt x="2428919" y="1031636"/>
                    <a:pt x="2428919" y="1050925"/>
                  </a:cubicBezTo>
                  <a:cubicBezTo>
                    <a:pt x="2428919" y="1070214"/>
                    <a:pt x="2413638" y="1085850"/>
                    <a:pt x="2394790" y="1085850"/>
                  </a:cubicBezTo>
                  <a:cubicBezTo>
                    <a:pt x="2375933" y="1085850"/>
                    <a:pt x="2360656" y="1070214"/>
                    <a:pt x="2360656" y="1050925"/>
                  </a:cubicBezTo>
                  <a:cubicBezTo>
                    <a:pt x="2360656" y="1031636"/>
                    <a:pt x="2375933" y="1016000"/>
                    <a:pt x="2394790" y="1016000"/>
                  </a:cubicBezTo>
                  <a:close/>
                  <a:moveTo>
                    <a:pt x="2309856" y="1016000"/>
                  </a:moveTo>
                  <a:cubicBezTo>
                    <a:pt x="2329141" y="1016000"/>
                    <a:pt x="2344781" y="1031636"/>
                    <a:pt x="2344781" y="1050925"/>
                  </a:cubicBezTo>
                  <a:cubicBezTo>
                    <a:pt x="2344781" y="1070214"/>
                    <a:pt x="2329141" y="1085850"/>
                    <a:pt x="2309856" y="1085850"/>
                  </a:cubicBezTo>
                  <a:cubicBezTo>
                    <a:pt x="2290564" y="1085850"/>
                    <a:pt x="2274920" y="1070214"/>
                    <a:pt x="2274920" y="1050925"/>
                  </a:cubicBezTo>
                  <a:cubicBezTo>
                    <a:pt x="2274920" y="1031636"/>
                    <a:pt x="2290564" y="1016000"/>
                    <a:pt x="2309856" y="1016000"/>
                  </a:cubicBezTo>
                  <a:close/>
                  <a:moveTo>
                    <a:pt x="2224804" y="1016000"/>
                  </a:moveTo>
                  <a:cubicBezTo>
                    <a:pt x="2243654" y="1016000"/>
                    <a:pt x="2258936" y="1031636"/>
                    <a:pt x="2258936" y="1050925"/>
                  </a:cubicBezTo>
                  <a:cubicBezTo>
                    <a:pt x="2258936" y="1070214"/>
                    <a:pt x="2243654" y="1085850"/>
                    <a:pt x="2224804" y="1085850"/>
                  </a:cubicBezTo>
                  <a:cubicBezTo>
                    <a:pt x="2205952" y="1085850"/>
                    <a:pt x="2190671" y="1070214"/>
                    <a:pt x="2190671" y="1050925"/>
                  </a:cubicBezTo>
                  <a:cubicBezTo>
                    <a:pt x="2190671" y="1031636"/>
                    <a:pt x="2205952" y="1016000"/>
                    <a:pt x="2224804" y="1016000"/>
                  </a:cubicBezTo>
                  <a:close/>
                  <a:moveTo>
                    <a:pt x="2139055" y="1016000"/>
                  </a:moveTo>
                  <a:cubicBezTo>
                    <a:pt x="2157906" y="1016000"/>
                    <a:pt x="2173187" y="1031636"/>
                    <a:pt x="2173187" y="1050925"/>
                  </a:cubicBezTo>
                  <a:cubicBezTo>
                    <a:pt x="2173187" y="1070214"/>
                    <a:pt x="2157906" y="1085850"/>
                    <a:pt x="2139055" y="1085850"/>
                  </a:cubicBezTo>
                  <a:cubicBezTo>
                    <a:pt x="2120204" y="1085850"/>
                    <a:pt x="2104924" y="1070214"/>
                    <a:pt x="2104924" y="1050925"/>
                  </a:cubicBezTo>
                  <a:cubicBezTo>
                    <a:pt x="2104924" y="1031636"/>
                    <a:pt x="2120204" y="1016000"/>
                    <a:pt x="2139055" y="1016000"/>
                  </a:cubicBezTo>
                  <a:close/>
                  <a:moveTo>
                    <a:pt x="2055712" y="1016000"/>
                  </a:moveTo>
                  <a:cubicBezTo>
                    <a:pt x="2075877" y="1016000"/>
                    <a:pt x="2092225" y="1031636"/>
                    <a:pt x="2092225" y="1050925"/>
                  </a:cubicBezTo>
                  <a:cubicBezTo>
                    <a:pt x="2092225" y="1070214"/>
                    <a:pt x="2075877" y="1085850"/>
                    <a:pt x="2055712" y="1085850"/>
                  </a:cubicBezTo>
                  <a:cubicBezTo>
                    <a:pt x="2035546" y="1085850"/>
                    <a:pt x="2019199" y="1070214"/>
                    <a:pt x="2019199" y="1050925"/>
                  </a:cubicBezTo>
                  <a:cubicBezTo>
                    <a:pt x="2019199" y="1031636"/>
                    <a:pt x="2035546" y="1016000"/>
                    <a:pt x="2055712" y="1016000"/>
                  </a:cubicBezTo>
                  <a:close/>
                  <a:moveTo>
                    <a:pt x="1973163" y="1016000"/>
                  </a:moveTo>
                  <a:cubicBezTo>
                    <a:pt x="1992452" y="1016000"/>
                    <a:pt x="2008087" y="1031636"/>
                    <a:pt x="2008087" y="1050925"/>
                  </a:cubicBezTo>
                  <a:cubicBezTo>
                    <a:pt x="2008087" y="1070214"/>
                    <a:pt x="1992452" y="1085850"/>
                    <a:pt x="1973163" y="1085850"/>
                  </a:cubicBezTo>
                  <a:cubicBezTo>
                    <a:pt x="1953874" y="1085850"/>
                    <a:pt x="1938238" y="1070214"/>
                    <a:pt x="1938238" y="1050925"/>
                  </a:cubicBezTo>
                  <a:cubicBezTo>
                    <a:pt x="1938238" y="1031636"/>
                    <a:pt x="1953874" y="1016000"/>
                    <a:pt x="1973163" y="1016000"/>
                  </a:cubicBezTo>
                  <a:close/>
                  <a:moveTo>
                    <a:pt x="1802507" y="1016000"/>
                  </a:moveTo>
                  <a:cubicBezTo>
                    <a:pt x="1821358" y="1016000"/>
                    <a:pt x="1836638" y="1031636"/>
                    <a:pt x="1836638" y="1050925"/>
                  </a:cubicBezTo>
                  <a:cubicBezTo>
                    <a:pt x="1836638" y="1070214"/>
                    <a:pt x="1821358" y="1085850"/>
                    <a:pt x="1802507" y="1085850"/>
                  </a:cubicBezTo>
                  <a:cubicBezTo>
                    <a:pt x="1783656" y="1085850"/>
                    <a:pt x="1768375" y="1070214"/>
                    <a:pt x="1768375" y="1050925"/>
                  </a:cubicBezTo>
                  <a:cubicBezTo>
                    <a:pt x="1768375" y="1031636"/>
                    <a:pt x="1783656" y="1016000"/>
                    <a:pt x="1802507" y="1016000"/>
                  </a:cubicBezTo>
                  <a:close/>
                  <a:moveTo>
                    <a:pt x="1719169" y="1016000"/>
                  </a:moveTo>
                  <a:cubicBezTo>
                    <a:pt x="1739335" y="1016000"/>
                    <a:pt x="1755682" y="1031636"/>
                    <a:pt x="1755682" y="1050925"/>
                  </a:cubicBezTo>
                  <a:cubicBezTo>
                    <a:pt x="1755682" y="1070214"/>
                    <a:pt x="1739335" y="1085850"/>
                    <a:pt x="1719169" y="1085850"/>
                  </a:cubicBezTo>
                  <a:cubicBezTo>
                    <a:pt x="1699003" y="1085850"/>
                    <a:pt x="1682656" y="1070214"/>
                    <a:pt x="1682656" y="1050925"/>
                  </a:cubicBezTo>
                  <a:cubicBezTo>
                    <a:pt x="1682656" y="1031636"/>
                    <a:pt x="1699003" y="1016000"/>
                    <a:pt x="1719169" y="1016000"/>
                  </a:cubicBezTo>
                  <a:close/>
                  <a:moveTo>
                    <a:pt x="1636604" y="1016000"/>
                  </a:moveTo>
                  <a:cubicBezTo>
                    <a:pt x="1655892" y="1016000"/>
                    <a:pt x="1671529" y="1031636"/>
                    <a:pt x="1671529" y="1050925"/>
                  </a:cubicBezTo>
                  <a:cubicBezTo>
                    <a:pt x="1671529" y="1070214"/>
                    <a:pt x="1655892" y="1085850"/>
                    <a:pt x="1636604" y="1085850"/>
                  </a:cubicBezTo>
                  <a:cubicBezTo>
                    <a:pt x="1617314" y="1085850"/>
                    <a:pt x="1601679" y="1070214"/>
                    <a:pt x="1601679" y="1050925"/>
                  </a:cubicBezTo>
                  <a:cubicBezTo>
                    <a:pt x="1601679" y="1031636"/>
                    <a:pt x="1617314" y="1016000"/>
                    <a:pt x="1636604" y="1016000"/>
                  </a:cubicBezTo>
                  <a:close/>
                  <a:moveTo>
                    <a:pt x="1551671" y="1016000"/>
                  </a:moveTo>
                  <a:cubicBezTo>
                    <a:pt x="1570522" y="1016000"/>
                    <a:pt x="1585803" y="1031636"/>
                    <a:pt x="1585803" y="1050925"/>
                  </a:cubicBezTo>
                  <a:cubicBezTo>
                    <a:pt x="1585803" y="1070214"/>
                    <a:pt x="1570522" y="1085850"/>
                    <a:pt x="1551671" y="1085850"/>
                  </a:cubicBezTo>
                  <a:cubicBezTo>
                    <a:pt x="1532820" y="1085850"/>
                    <a:pt x="1517539" y="1070214"/>
                    <a:pt x="1517539" y="1050925"/>
                  </a:cubicBezTo>
                  <a:cubicBezTo>
                    <a:pt x="1517539" y="1031636"/>
                    <a:pt x="1532820" y="1016000"/>
                    <a:pt x="1551671" y="1016000"/>
                  </a:cubicBezTo>
                  <a:close/>
                  <a:moveTo>
                    <a:pt x="1465946" y="1016000"/>
                  </a:moveTo>
                  <a:cubicBezTo>
                    <a:pt x="1484797" y="1016000"/>
                    <a:pt x="1500078" y="1031636"/>
                    <a:pt x="1500078" y="1050925"/>
                  </a:cubicBezTo>
                  <a:cubicBezTo>
                    <a:pt x="1500078" y="1070214"/>
                    <a:pt x="1484797" y="1085850"/>
                    <a:pt x="1465946" y="1085850"/>
                  </a:cubicBezTo>
                  <a:cubicBezTo>
                    <a:pt x="1447095" y="1085850"/>
                    <a:pt x="1431814" y="1070214"/>
                    <a:pt x="1431814" y="1050925"/>
                  </a:cubicBezTo>
                  <a:cubicBezTo>
                    <a:pt x="1431814" y="1031636"/>
                    <a:pt x="1447095" y="1016000"/>
                    <a:pt x="1465946" y="1016000"/>
                  </a:cubicBezTo>
                  <a:close/>
                  <a:moveTo>
                    <a:pt x="1380229" y="1016000"/>
                  </a:moveTo>
                  <a:cubicBezTo>
                    <a:pt x="1399080" y="1016000"/>
                    <a:pt x="1414360" y="1031636"/>
                    <a:pt x="1414360" y="1050925"/>
                  </a:cubicBezTo>
                  <a:cubicBezTo>
                    <a:pt x="1414360" y="1070214"/>
                    <a:pt x="1399080" y="1085850"/>
                    <a:pt x="1380229" y="1085850"/>
                  </a:cubicBezTo>
                  <a:cubicBezTo>
                    <a:pt x="1361377" y="1085850"/>
                    <a:pt x="1346096" y="1070214"/>
                    <a:pt x="1346096" y="1050925"/>
                  </a:cubicBezTo>
                  <a:cubicBezTo>
                    <a:pt x="1346096" y="1031636"/>
                    <a:pt x="1361377" y="1016000"/>
                    <a:pt x="1380229" y="1016000"/>
                  </a:cubicBezTo>
                  <a:close/>
                  <a:moveTo>
                    <a:pt x="1300222" y="1016000"/>
                  </a:moveTo>
                  <a:cubicBezTo>
                    <a:pt x="1319509" y="1016000"/>
                    <a:pt x="1335148" y="1031636"/>
                    <a:pt x="1335148" y="1050925"/>
                  </a:cubicBezTo>
                  <a:cubicBezTo>
                    <a:pt x="1335148" y="1070214"/>
                    <a:pt x="1319509" y="1085850"/>
                    <a:pt x="1300222" y="1085850"/>
                  </a:cubicBezTo>
                  <a:cubicBezTo>
                    <a:pt x="1280933" y="1085850"/>
                    <a:pt x="1265297" y="1070214"/>
                    <a:pt x="1265297" y="1050925"/>
                  </a:cubicBezTo>
                  <a:cubicBezTo>
                    <a:pt x="1265297" y="1031636"/>
                    <a:pt x="1280933" y="1016000"/>
                    <a:pt x="1300222" y="1016000"/>
                  </a:cubicBezTo>
                  <a:close/>
                  <a:moveTo>
                    <a:pt x="621390" y="1016000"/>
                  </a:moveTo>
                  <a:cubicBezTo>
                    <a:pt x="640241" y="1016000"/>
                    <a:pt x="655522" y="1031636"/>
                    <a:pt x="655522" y="1050925"/>
                  </a:cubicBezTo>
                  <a:cubicBezTo>
                    <a:pt x="655522" y="1070214"/>
                    <a:pt x="640241" y="1085850"/>
                    <a:pt x="621390" y="1085850"/>
                  </a:cubicBezTo>
                  <a:cubicBezTo>
                    <a:pt x="602539" y="1085850"/>
                    <a:pt x="587258" y="1070214"/>
                    <a:pt x="587258" y="1050925"/>
                  </a:cubicBezTo>
                  <a:cubicBezTo>
                    <a:pt x="587258" y="1031636"/>
                    <a:pt x="602539" y="1016000"/>
                    <a:pt x="621390" y="1016000"/>
                  </a:cubicBezTo>
                  <a:close/>
                  <a:moveTo>
                    <a:pt x="541221" y="1016000"/>
                  </a:moveTo>
                  <a:cubicBezTo>
                    <a:pt x="560510" y="1016000"/>
                    <a:pt x="576146" y="1031636"/>
                    <a:pt x="576146" y="1050925"/>
                  </a:cubicBezTo>
                  <a:cubicBezTo>
                    <a:pt x="576146" y="1070214"/>
                    <a:pt x="560510" y="1085850"/>
                    <a:pt x="541221" y="1085850"/>
                  </a:cubicBezTo>
                  <a:cubicBezTo>
                    <a:pt x="521932" y="1085850"/>
                    <a:pt x="506296" y="1070214"/>
                    <a:pt x="506296" y="1050925"/>
                  </a:cubicBezTo>
                  <a:cubicBezTo>
                    <a:pt x="506296" y="1031636"/>
                    <a:pt x="521932" y="1016000"/>
                    <a:pt x="541221" y="1016000"/>
                  </a:cubicBezTo>
                  <a:close/>
                  <a:moveTo>
                    <a:pt x="9474877" y="936625"/>
                  </a:moveTo>
                  <a:cubicBezTo>
                    <a:pt x="9493728" y="936625"/>
                    <a:pt x="9509009" y="951906"/>
                    <a:pt x="9509009" y="970757"/>
                  </a:cubicBezTo>
                  <a:cubicBezTo>
                    <a:pt x="9509009" y="989608"/>
                    <a:pt x="9493728" y="1004889"/>
                    <a:pt x="9474877" y="1004889"/>
                  </a:cubicBezTo>
                  <a:cubicBezTo>
                    <a:pt x="9456026" y="1004889"/>
                    <a:pt x="9440745" y="989608"/>
                    <a:pt x="9440745" y="970757"/>
                  </a:cubicBezTo>
                  <a:cubicBezTo>
                    <a:pt x="9440745" y="951906"/>
                    <a:pt x="9456026" y="936625"/>
                    <a:pt x="9474877" y="936625"/>
                  </a:cubicBezTo>
                  <a:close/>
                  <a:moveTo>
                    <a:pt x="9389152" y="936625"/>
                  </a:moveTo>
                  <a:cubicBezTo>
                    <a:pt x="9408003" y="936625"/>
                    <a:pt x="9423284" y="951906"/>
                    <a:pt x="9423284" y="970757"/>
                  </a:cubicBezTo>
                  <a:cubicBezTo>
                    <a:pt x="9423284" y="989608"/>
                    <a:pt x="9408003" y="1004889"/>
                    <a:pt x="9389152" y="1004889"/>
                  </a:cubicBezTo>
                  <a:cubicBezTo>
                    <a:pt x="9370301" y="1004889"/>
                    <a:pt x="9355020" y="989608"/>
                    <a:pt x="9355020" y="970757"/>
                  </a:cubicBezTo>
                  <a:cubicBezTo>
                    <a:pt x="9355020" y="951906"/>
                    <a:pt x="9370301" y="936625"/>
                    <a:pt x="9389152" y="936625"/>
                  </a:cubicBezTo>
                  <a:close/>
                  <a:moveTo>
                    <a:pt x="8884327" y="936625"/>
                  </a:moveTo>
                  <a:cubicBezTo>
                    <a:pt x="8904931" y="936625"/>
                    <a:pt x="8921634" y="951906"/>
                    <a:pt x="8921634" y="970757"/>
                  </a:cubicBezTo>
                  <a:cubicBezTo>
                    <a:pt x="8921634" y="989608"/>
                    <a:pt x="8904931" y="1004889"/>
                    <a:pt x="8884327" y="1004889"/>
                  </a:cubicBezTo>
                  <a:cubicBezTo>
                    <a:pt x="8863723" y="1004889"/>
                    <a:pt x="8847020" y="989608"/>
                    <a:pt x="8847020" y="970757"/>
                  </a:cubicBezTo>
                  <a:cubicBezTo>
                    <a:pt x="8847020" y="951906"/>
                    <a:pt x="8863723" y="936625"/>
                    <a:pt x="8884327" y="936625"/>
                  </a:cubicBezTo>
                  <a:close/>
                  <a:moveTo>
                    <a:pt x="8801777" y="936625"/>
                  </a:moveTo>
                  <a:cubicBezTo>
                    <a:pt x="8820628" y="936625"/>
                    <a:pt x="8835909" y="951906"/>
                    <a:pt x="8835909" y="970757"/>
                  </a:cubicBezTo>
                  <a:cubicBezTo>
                    <a:pt x="8835909" y="989608"/>
                    <a:pt x="8820628" y="1004889"/>
                    <a:pt x="8801777" y="1004889"/>
                  </a:cubicBezTo>
                  <a:cubicBezTo>
                    <a:pt x="8782926" y="1004889"/>
                    <a:pt x="8767645" y="989608"/>
                    <a:pt x="8767645" y="970757"/>
                  </a:cubicBezTo>
                  <a:cubicBezTo>
                    <a:pt x="8767645" y="951906"/>
                    <a:pt x="8782926" y="936625"/>
                    <a:pt x="8801777" y="936625"/>
                  </a:cubicBezTo>
                  <a:close/>
                  <a:moveTo>
                    <a:pt x="8716052" y="936625"/>
                  </a:moveTo>
                  <a:cubicBezTo>
                    <a:pt x="8734903" y="936625"/>
                    <a:pt x="8750184" y="951906"/>
                    <a:pt x="8750184" y="970757"/>
                  </a:cubicBezTo>
                  <a:cubicBezTo>
                    <a:pt x="8750184" y="989608"/>
                    <a:pt x="8734903" y="1004889"/>
                    <a:pt x="8716052" y="1004889"/>
                  </a:cubicBezTo>
                  <a:cubicBezTo>
                    <a:pt x="8697201" y="1004889"/>
                    <a:pt x="8681920" y="989608"/>
                    <a:pt x="8681920" y="970757"/>
                  </a:cubicBezTo>
                  <a:cubicBezTo>
                    <a:pt x="8681920" y="951906"/>
                    <a:pt x="8697201" y="936625"/>
                    <a:pt x="8716052" y="936625"/>
                  </a:cubicBezTo>
                  <a:close/>
                  <a:moveTo>
                    <a:pt x="8630327" y="936625"/>
                  </a:moveTo>
                  <a:cubicBezTo>
                    <a:pt x="8649178" y="936625"/>
                    <a:pt x="8664459" y="951906"/>
                    <a:pt x="8664459" y="970757"/>
                  </a:cubicBezTo>
                  <a:cubicBezTo>
                    <a:pt x="8664459" y="989608"/>
                    <a:pt x="8649178" y="1004889"/>
                    <a:pt x="8630327" y="1004889"/>
                  </a:cubicBezTo>
                  <a:cubicBezTo>
                    <a:pt x="8611476" y="1004889"/>
                    <a:pt x="8596195" y="989608"/>
                    <a:pt x="8596195" y="970757"/>
                  </a:cubicBezTo>
                  <a:cubicBezTo>
                    <a:pt x="8596195" y="951906"/>
                    <a:pt x="8611476" y="936625"/>
                    <a:pt x="8630327" y="936625"/>
                  </a:cubicBezTo>
                  <a:close/>
                  <a:moveTo>
                    <a:pt x="8544602" y="936625"/>
                  </a:moveTo>
                  <a:cubicBezTo>
                    <a:pt x="8563453" y="936625"/>
                    <a:pt x="8578734" y="951906"/>
                    <a:pt x="8578734" y="970757"/>
                  </a:cubicBezTo>
                  <a:cubicBezTo>
                    <a:pt x="8578734" y="989608"/>
                    <a:pt x="8563453" y="1004889"/>
                    <a:pt x="8544602" y="1004889"/>
                  </a:cubicBezTo>
                  <a:cubicBezTo>
                    <a:pt x="8525751" y="1004889"/>
                    <a:pt x="8510470" y="989608"/>
                    <a:pt x="8510470" y="970757"/>
                  </a:cubicBezTo>
                  <a:cubicBezTo>
                    <a:pt x="8510470" y="951906"/>
                    <a:pt x="8525751" y="936625"/>
                    <a:pt x="8544602" y="936625"/>
                  </a:cubicBezTo>
                  <a:close/>
                  <a:moveTo>
                    <a:pt x="8465227" y="936625"/>
                  </a:moveTo>
                  <a:cubicBezTo>
                    <a:pt x="8484078" y="936625"/>
                    <a:pt x="8499359" y="951906"/>
                    <a:pt x="8499359" y="970757"/>
                  </a:cubicBezTo>
                  <a:cubicBezTo>
                    <a:pt x="8499359" y="989608"/>
                    <a:pt x="8484078" y="1004889"/>
                    <a:pt x="8465227" y="1004889"/>
                  </a:cubicBezTo>
                  <a:cubicBezTo>
                    <a:pt x="8446376" y="1004889"/>
                    <a:pt x="8431095" y="989608"/>
                    <a:pt x="8431095" y="970757"/>
                  </a:cubicBezTo>
                  <a:cubicBezTo>
                    <a:pt x="8431095" y="951906"/>
                    <a:pt x="8446376" y="936625"/>
                    <a:pt x="8465227" y="936625"/>
                  </a:cubicBezTo>
                  <a:close/>
                  <a:moveTo>
                    <a:pt x="8379502" y="936625"/>
                  </a:moveTo>
                  <a:cubicBezTo>
                    <a:pt x="8398353" y="936625"/>
                    <a:pt x="8413634" y="951906"/>
                    <a:pt x="8413634" y="970757"/>
                  </a:cubicBezTo>
                  <a:cubicBezTo>
                    <a:pt x="8413634" y="989608"/>
                    <a:pt x="8398353" y="1004889"/>
                    <a:pt x="8379502" y="1004889"/>
                  </a:cubicBezTo>
                  <a:cubicBezTo>
                    <a:pt x="8360651" y="1004889"/>
                    <a:pt x="8345370" y="989608"/>
                    <a:pt x="8345370" y="970757"/>
                  </a:cubicBezTo>
                  <a:cubicBezTo>
                    <a:pt x="8345370" y="951906"/>
                    <a:pt x="8360651" y="936625"/>
                    <a:pt x="8379502" y="936625"/>
                  </a:cubicBezTo>
                  <a:close/>
                  <a:moveTo>
                    <a:pt x="8293777" y="936625"/>
                  </a:moveTo>
                  <a:cubicBezTo>
                    <a:pt x="8312628" y="936625"/>
                    <a:pt x="8327909" y="951906"/>
                    <a:pt x="8327909" y="970757"/>
                  </a:cubicBezTo>
                  <a:cubicBezTo>
                    <a:pt x="8327909" y="989608"/>
                    <a:pt x="8312628" y="1004889"/>
                    <a:pt x="8293777" y="1004889"/>
                  </a:cubicBezTo>
                  <a:cubicBezTo>
                    <a:pt x="8274926" y="1004889"/>
                    <a:pt x="8259645" y="989608"/>
                    <a:pt x="8259645" y="970757"/>
                  </a:cubicBezTo>
                  <a:cubicBezTo>
                    <a:pt x="8259645" y="951906"/>
                    <a:pt x="8274926" y="936625"/>
                    <a:pt x="8293777" y="936625"/>
                  </a:cubicBezTo>
                  <a:close/>
                  <a:moveTo>
                    <a:pt x="8208052" y="936625"/>
                  </a:moveTo>
                  <a:cubicBezTo>
                    <a:pt x="8226903" y="936625"/>
                    <a:pt x="8242184" y="951906"/>
                    <a:pt x="8242184" y="970757"/>
                  </a:cubicBezTo>
                  <a:cubicBezTo>
                    <a:pt x="8242184" y="989608"/>
                    <a:pt x="8226903" y="1004889"/>
                    <a:pt x="8208052" y="1004889"/>
                  </a:cubicBezTo>
                  <a:cubicBezTo>
                    <a:pt x="8189201" y="1004889"/>
                    <a:pt x="8173920" y="989608"/>
                    <a:pt x="8173920" y="970757"/>
                  </a:cubicBezTo>
                  <a:cubicBezTo>
                    <a:pt x="8173920" y="951906"/>
                    <a:pt x="8189201" y="936625"/>
                    <a:pt x="8208052" y="936625"/>
                  </a:cubicBezTo>
                  <a:close/>
                  <a:moveTo>
                    <a:pt x="8125502" y="936625"/>
                  </a:moveTo>
                  <a:cubicBezTo>
                    <a:pt x="8146106" y="936625"/>
                    <a:pt x="8162809" y="951906"/>
                    <a:pt x="8162809" y="970757"/>
                  </a:cubicBezTo>
                  <a:cubicBezTo>
                    <a:pt x="8162809" y="989608"/>
                    <a:pt x="8146106" y="1004889"/>
                    <a:pt x="8125502" y="1004889"/>
                  </a:cubicBezTo>
                  <a:cubicBezTo>
                    <a:pt x="8104898" y="1004889"/>
                    <a:pt x="8088195" y="989608"/>
                    <a:pt x="8088195" y="970757"/>
                  </a:cubicBezTo>
                  <a:cubicBezTo>
                    <a:pt x="8088195" y="951906"/>
                    <a:pt x="8104898" y="936625"/>
                    <a:pt x="8125502" y="936625"/>
                  </a:cubicBezTo>
                  <a:close/>
                  <a:moveTo>
                    <a:pt x="8042952" y="936625"/>
                  </a:moveTo>
                  <a:cubicBezTo>
                    <a:pt x="8061803" y="936625"/>
                    <a:pt x="8077084" y="951906"/>
                    <a:pt x="8077084" y="970757"/>
                  </a:cubicBezTo>
                  <a:cubicBezTo>
                    <a:pt x="8077084" y="989608"/>
                    <a:pt x="8061803" y="1004889"/>
                    <a:pt x="8042952" y="1004889"/>
                  </a:cubicBezTo>
                  <a:cubicBezTo>
                    <a:pt x="8024101" y="1004889"/>
                    <a:pt x="8008820" y="989608"/>
                    <a:pt x="8008820" y="970757"/>
                  </a:cubicBezTo>
                  <a:cubicBezTo>
                    <a:pt x="8008820" y="951906"/>
                    <a:pt x="8024101" y="936625"/>
                    <a:pt x="8042952" y="936625"/>
                  </a:cubicBezTo>
                  <a:close/>
                  <a:moveTo>
                    <a:pt x="7957227" y="936625"/>
                  </a:moveTo>
                  <a:cubicBezTo>
                    <a:pt x="7976078" y="936625"/>
                    <a:pt x="7991359" y="951906"/>
                    <a:pt x="7991359" y="970757"/>
                  </a:cubicBezTo>
                  <a:cubicBezTo>
                    <a:pt x="7991359" y="989608"/>
                    <a:pt x="7976078" y="1004889"/>
                    <a:pt x="7957227" y="1004889"/>
                  </a:cubicBezTo>
                  <a:cubicBezTo>
                    <a:pt x="7938376" y="1004889"/>
                    <a:pt x="7923095" y="989608"/>
                    <a:pt x="7923095" y="970757"/>
                  </a:cubicBezTo>
                  <a:cubicBezTo>
                    <a:pt x="7923095" y="951906"/>
                    <a:pt x="7938376" y="936625"/>
                    <a:pt x="7957227" y="936625"/>
                  </a:cubicBezTo>
                  <a:close/>
                  <a:moveTo>
                    <a:pt x="7871502" y="936625"/>
                  </a:moveTo>
                  <a:cubicBezTo>
                    <a:pt x="7890353" y="936625"/>
                    <a:pt x="7905634" y="951906"/>
                    <a:pt x="7905634" y="970757"/>
                  </a:cubicBezTo>
                  <a:cubicBezTo>
                    <a:pt x="7905634" y="989608"/>
                    <a:pt x="7890353" y="1004889"/>
                    <a:pt x="7871502" y="1004889"/>
                  </a:cubicBezTo>
                  <a:cubicBezTo>
                    <a:pt x="7852651" y="1004889"/>
                    <a:pt x="7837370" y="989608"/>
                    <a:pt x="7837370" y="970757"/>
                  </a:cubicBezTo>
                  <a:cubicBezTo>
                    <a:pt x="7837370" y="951906"/>
                    <a:pt x="7852651" y="936625"/>
                    <a:pt x="7871502" y="936625"/>
                  </a:cubicBezTo>
                  <a:close/>
                  <a:moveTo>
                    <a:pt x="7785777" y="936625"/>
                  </a:moveTo>
                  <a:cubicBezTo>
                    <a:pt x="7804628" y="936625"/>
                    <a:pt x="7819909" y="951906"/>
                    <a:pt x="7819909" y="970757"/>
                  </a:cubicBezTo>
                  <a:cubicBezTo>
                    <a:pt x="7819909" y="989608"/>
                    <a:pt x="7804628" y="1004889"/>
                    <a:pt x="7785777" y="1004889"/>
                  </a:cubicBezTo>
                  <a:cubicBezTo>
                    <a:pt x="7766926" y="1004889"/>
                    <a:pt x="7751645" y="989608"/>
                    <a:pt x="7751645" y="970757"/>
                  </a:cubicBezTo>
                  <a:cubicBezTo>
                    <a:pt x="7751645" y="951906"/>
                    <a:pt x="7766926" y="936625"/>
                    <a:pt x="7785777" y="936625"/>
                  </a:cubicBezTo>
                  <a:close/>
                  <a:moveTo>
                    <a:pt x="7706402" y="936625"/>
                  </a:moveTo>
                  <a:cubicBezTo>
                    <a:pt x="7725253" y="936625"/>
                    <a:pt x="7740534" y="951906"/>
                    <a:pt x="7740534" y="970757"/>
                  </a:cubicBezTo>
                  <a:cubicBezTo>
                    <a:pt x="7740534" y="989608"/>
                    <a:pt x="7725253" y="1004889"/>
                    <a:pt x="7706402" y="1004889"/>
                  </a:cubicBezTo>
                  <a:cubicBezTo>
                    <a:pt x="7687551" y="1004889"/>
                    <a:pt x="7672270" y="989608"/>
                    <a:pt x="7672270" y="970757"/>
                  </a:cubicBezTo>
                  <a:cubicBezTo>
                    <a:pt x="7672270" y="951906"/>
                    <a:pt x="7687551" y="936625"/>
                    <a:pt x="7706402" y="936625"/>
                  </a:cubicBezTo>
                  <a:close/>
                  <a:moveTo>
                    <a:pt x="7620677" y="936625"/>
                  </a:moveTo>
                  <a:cubicBezTo>
                    <a:pt x="7639528" y="936625"/>
                    <a:pt x="7654809" y="951906"/>
                    <a:pt x="7654809" y="970757"/>
                  </a:cubicBezTo>
                  <a:cubicBezTo>
                    <a:pt x="7654809" y="989608"/>
                    <a:pt x="7639528" y="1004889"/>
                    <a:pt x="7620677" y="1004889"/>
                  </a:cubicBezTo>
                  <a:cubicBezTo>
                    <a:pt x="7601826" y="1004889"/>
                    <a:pt x="7586545" y="989608"/>
                    <a:pt x="7586545" y="970757"/>
                  </a:cubicBezTo>
                  <a:cubicBezTo>
                    <a:pt x="7586545" y="951906"/>
                    <a:pt x="7601826" y="936625"/>
                    <a:pt x="7620677" y="936625"/>
                  </a:cubicBezTo>
                  <a:close/>
                  <a:moveTo>
                    <a:pt x="7534952" y="936625"/>
                  </a:moveTo>
                  <a:cubicBezTo>
                    <a:pt x="7553803" y="936625"/>
                    <a:pt x="7569084" y="951906"/>
                    <a:pt x="7569084" y="970757"/>
                  </a:cubicBezTo>
                  <a:cubicBezTo>
                    <a:pt x="7569084" y="989608"/>
                    <a:pt x="7553803" y="1004889"/>
                    <a:pt x="7534952" y="1004889"/>
                  </a:cubicBezTo>
                  <a:cubicBezTo>
                    <a:pt x="7516101" y="1004889"/>
                    <a:pt x="7500820" y="989608"/>
                    <a:pt x="7500820" y="970757"/>
                  </a:cubicBezTo>
                  <a:cubicBezTo>
                    <a:pt x="7500820" y="951906"/>
                    <a:pt x="7516101" y="936625"/>
                    <a:pt x="7534952" y="936625"/>
                  </a:cubicBezTo>
                  <a:close/>
                  <a:moveTo>
                    <a:pt x="7449227" y="936625"/>
                  </a:moveTo>
                  <a:cubicBezTo>
                    <a:pt x="7468078" y="936625"/>
                    <a:pt x="7483359" y="951906"/>
                    <a:pt x="7483359" y="970757"/>
                  </a:cubicBezTo>
                  <a:cubicBezTo>
                    <a:pt x="7483359" y="989608"/>
                    <a:pt x="7468078" y="1004889"/>
                    <a:pt x="7449227" y="1004889"/>
                  </a:cubicBezTo>
                  <a:cubicBezTo>
                    <a:pt x="7430376" y="1004889"/>
                    <a:pt x="7415095" y="989608"/>
                    <a:pt x="7415095" y="970757"/>
                  </a:cubicBezTo>
                  <a:cubicBezTo>
                    <a:pt x="7415095" y="951906"/>
                    <a:pt x="7430376" y="936625"/>
                    <a:pt x="7449227" y="936625"/>
                  </a:cubicBezTo>
                  <a:close/>
                  <a:moveTo>
                    <a:pt x="7366677" y="936625"/>
                  </a:moveTo>
                  <a:cubicBezTo>
                    <a:pt x="7387281" y="936625"/>
                    <a:pt x="7403984" y="951906"/>
                    <a:pt x="7403984" y="970757"/>
                  </a:cubicBezTo>
                  <a:cubicBezTo>
                    <a:pt x="7403984" y="989608"/>
                    <a:pt x="7387281" y="1004889"/>
                    <a:pt x="7366677" y="1004889"/>
                  </a:cubicBezTo>
                  <a:cubicBezTo>
                    <a:pt x="7346073" y="1004889"/>
                    <a:pt x="7329370" y="989608"/>
                    <a:pt x="7329370" y="970757"/>
                  </a:cubicBezTo>
                  <a:cubicBezTo>
                    <a:pt x="7329370" y="951906"/>
                    <a:pt x="7346073" y="936625"/>
                    <a:pt x="7366677" y="936625"/>
                  </a:cubicBezTo>
                  <a:close/>
                  <a:moveTo>
                    <a:pt x="7284127" y="936625"/>
                  </a:moveTo>
                  <a:cubicBezTo>
                    <a:pt x="7302978" y="936625"/>
                    <a:pt x="7318259" y="951906"/>
                    <a:pt x="7318259" y="970757"/>
                  </a:cubicBezTo>
                  <a:cubicBezTo>
                    <a:pt x="7318259" y="989608"/>
                    <a:pt x="7302978" y="1004889"/>
                    <a:pt x="7284127" y="1004889"/>
                  </a:cubicBezTo>
                  <a:cubicBezTo>
                    <a:pt x="7265276" y="1004889"/>
                    <a:pt x="7249995" y="989608"/>
                    <a:pt x="7249995" y="970757"/>
                  </a:cubicBezTo>
                  <a:cubicBezTo>
                    <a:pt x="7249995" y="951906"/>
                    <a:pt x="7265276" y="936625"/>
                    <a:pt x="7284127" y="936625"/>
                  </a:cubicBezTo>
                  <a:close/>
                  <a:moveTo>
                    <a:pt x="7198402" y="936625"/>
                  </a:moveTo>
                  <a:cubicBezTo>
                    <a:pt x="7217253" y="936625"/>
                    <a:pt x="7232534" y="951906"/>
                    <a:pt x="7232534" y="970757"/>
                  </a:cubicBezTo>
                  <a:cubicBezTo>
                    <a:pt x="7232534" y="989608"/>
                    <a:pt x="7217253" y="1004889"/>
                    <a:pt x="7198402" y="1004889"/>
                  </a:cubicBezTo>
                  <a:cubicBezTo>
                    <a:pt x="7179551" y="1004889"/>
                    <a:pt x="7164270" y="989608"/>
                    <a:pt x="7164270" y="970757"/>
                  </a:cubicBezTo>
                  <a:cubicBezTo>
                    <a:pt x="7164270" y="951906"/>
                    <a:pt x="7179551" y="936625"/>
                    <a:pt x="7198402" y="936625"/>
                  </a:cubicBezTo>
                  <a:close/>
                  <a:moveTo>
                    <a:pt x="7112677" y="936625"/>
                  </a:moveTo>
                  <a:cubicBezTo>
                    <a:pt x="7131528" y="936625"/>
                    <a:pt x="7146809" y="951906"/>
                    <a:pt x="7146809" y="970757"/>
                  </a:cubicBezTo>
                  <a:cubicBezTo>
                    <a:pt x="7146809" y="989608"/>
                    <a:pt x="7131528" y="1004889"/>
                    <a:pt x="7112677" y="1004889"/>
                  </a:cubicBezTo>
                  <a:cubicBezTo>
                    <a:pt x="7093826" y="1004889"/>
                    <a:pt x="7078545" y="989608"/>
                    <a:pt x="7078545" y="970757"/>
                  </a:cubicBezTo>
                  <a:cubicBezTo>
                    <a:pt x="7078545" y="951906"/>
                    <a:pt x="7093826" y="936625"/>
                    <a:pt x="7112677" y="936625"/>
                  </a:cubicBezTo>
                  <a:close/>
                  <a:moveTo>
                    <a:pt x="7027745" y="936625"/>
                  </a:moveTo>
                  <a:cubicBezTo>
                    <a:pt x="7047034" y="936625"/>
                    <a:pt x="7062670" y="951906"/>
                    <a:pt x="7062670" y="970757"/>
                  </a:cubicBezTo>
                  <a:cubicBezTo>
                    <a:pt x="7062670" y="989608"/>
                    <a:pt x="7047034" y="1004889"/>
                    <a:pt x="7027745" y="1004889"/>
                  </a:cubicBezTo>
                  <a:cubicBezTo>
                    <a:pt x="7008456" y="1004889"/>
                    <a:pt x="6992820" y="989608"/>
                    <a:pt x="6992820" y="970757"/>
                  </a:cubicBezTo>
                  <a:cubicBezTo>
                    <a:pt x="6992820" y="951906"/>
                    <a:pt x="7008456" y="936625"/>
                    <a:pt x="7027745" y="936625"/>
                  </a:cubicBezTo>
                  <a:close/>
                  <a:moveTo>
                    <a:pt x="6947577" y="936625"/>
                  </a:moveTo>
                  <a:cubicBezTo>
                    <a:pt x="6966428" y="936625"/>
                    <a:pt x="6981709" y="951906"/>
                    <a:pt x="6981709" y="970757"/>
                  </a:cubicBezTo>
                  <a:cubicBezTo>
                    <a:pt x="6981709" y="989608"/>
                    <a:pt x="6966428" y="1004889"/>
                    <a:pt x="6947577" y="1004889"/>
                  </a:cubicBezTo>
                  <a:cubicBezTo>
                    <a:pt x="6928726" y="1004889"/>
                    <a:pt x="6913445" y="989608"/>
                    <a:pt x="6913445" y="970757"/>
                  </a:cubicBezTo>
                  <a:cubicBezTo>
                    <a:pt x="6913445" y="951906"/>
                    <a:pt x="6928726" y="936625"/>
                    <a:pt x="6947577" y="936625"/>
                  </a:cubicBezTo>
                  <a:close/>
                  <a:moveTo>
                    <a:pt x="6861852" y="936625"/>
                  </a:moveTo>
                  <a:cubicBezTo>
                    <a:pt x="6880703" y="936625"/>
                    <a:pt x="6895984" y="951906"/>
                    <a:pt x="6895984" y="970757"/>
                  </a:cubicBezTo>
                  <a:cubicBezTo>
                    <a:pt x="6895984" y="989608"/>
                    <a:pt x="6880703" y="1004889"/>
                    <a:pt x="6861852" y="1004889"/>
                  </a:cubicBezTo>
                  <a:cubicBezTo>
                    <a:pt x="6843001" y="1004889"/>
                    <a:pt x="6827720" y="989608"/>
                    <a:pt x="6827720" y="970757"/>
                  </a:cubicBezTo>
                  <a:cubicBezTo>
                    <a:pt x="6827720" y="951906"/>
                    <a:pt x="6843001" y="936625"/>
                    <a:pt x="6861852" y="936625"/>
                  </a:cubicBezTo>
                  <a:close/>
                  <a:moveTo>
                    <a:pt x="6776127" y="936625"/>
                  </a:moveTo>
                  <a:cubicBezTo>
                    <a:pt x="6794978" y="936625"/>
                    <a:pt x="6810259" y="951906"/>
                    <a:pt x="6810259" y="970757"/>
                  </a:cubicBezTo>
                  <a:cubicBezTo>
                    <a:pt x="6810259" y="989608"/>
                    <a:pt x="6794978" y="1004889"/>
                    <a:pt x="6776127" y="1004889"/>
                  </a:cubicBezTo>
                  <a:cubicBezTo>
                    <a:pt x="6757276" y="1004889"/>
                    <a:pt x="6741995" y="989608"/>
                    <a:pt x="6741995" y="970757"/>
                  </a:cubicBezTo>
                  <a:cubicBezTo>
                    <a:pt x="6741995" y="951906"/>
                    <a:pt x="6757276" y="936625"/>
                    <a:pt x="6776127" y="936625"/>
                  </a:cubicBezTo>
                  <a:close/>
                  <a:moveTo>
                    <a:pt x="6691195" y="936625"/>
                  </a:moveTo>
                  <a:cubicBezTo>
                    <a:pt x="6710484" y="936625"/>
                    <a:pt x="6726120" y="951906"/>
                    <a:pt x="6726120" y="970757"/>
                  </a:cubicBezTo>
                  <a:cubicBezTo>
                    <a:pt x="6726120" y="989608"/>
                    <a:pt x="6710484" y="1004889"/>
                    <a:pt x="6691195" y="1004889"/>
                  </a:cubicBezTo>
                  <a:cubicBezTo>
                    <a:pt x="6671906" y="1004889"/>
                    <a:pt x="6656270" y="989608"/>
                    <a:pt x="6656270" y="970757"/>
                  </a:cubicBezTo>
                  <a:cubicBezTo>
                    <a:pt x="6656270" y="951906"/>
                    <a:pt x="6671906" y="936625"/>
                    <a:pt x="6691195" y="936625"/>
                  </a:cubicBezTo>
                  <a:close/>
                  <a:moveTo>
                    <a:pt x="6607852" y="936625"/>
                  </a:moveTo>
                  <a:cubicBezTo>
                    <a:pt x="6628456" y="936625"/>
                    <a:pt x="6645159" y="951906"/>
                    <a:pt x="6645159" y="970757"/>
                  </a:cubicBezTo>
                  <a:cubicBezTo>
                    <a:pt x="6645159" y="989608"/>
                    <a:pt x="6628456" y="1004889"/>
                    <a:pt x="6607852" y="1004889"/>
                  </a:cubicBezTo>
                  <a:cubicBezTo>
                    <a:pt x="6587248" y="1004889"/>
                    <a:pt x="6570545" y="989608"/>
                    <a:pt x="6570545" y="970757"/>
                  </a:cubicBezTo>
                  <a:cubicBezTo>
                    <a:pt x="6570545" y="951906"/>
                    <a:pt x="6587248" y="936625"/>
                    <a:pt x="6607852" y="936625"/>
                  </a:cubicBezTo>
                  <a:close/>
                  <a:moveTo>
                    <a:pt x="6525302" y="936625"/>
                  </a:moveTo>
                  <a:cubicBezTo>
                    <a:pt x="6544153" y="936625"/>
                    <a:pt x="6559434" y="951906"/>
                    <a:pt x="6559434" y="970757"/>
                  </a:cubicBezTo>
                  <a:cubicBezTo>
                    <a:pt x="6559434" y="989608"/>
                    <a:pt x="6544153" y="1004889"/>
                    <a:pt x="6525302" y="1004889"/>
                  </a:cubicBezTo>
                  <a:cubicBezTo>
                    <a:pt x="6506451" y="1004889"/>
                    <a:pt x="6491170" y="989608"/>
                    <a:pt x="6491170" y="970757"/>
                  </a:cubicBezTo>
                  <a:cubicBezTo>
                    <a:pt x="6491170" y="951906"/>
                    <a:pt x="6506451" y="936625"/>
                    <a:pt x="6525302" y="936625"/>
                  </a:cubicBezTo>
                  <a:close/>
                  <a:moveTo>
                    <a:pt x="6439577" y="936625"/>
                  </a:moveTo>
                  <a:cubicBezTo>
                    <a:pt x="6458428" y="936625"/>
                    <a:pt x="6473709" y="951906"/>
                    <a:pt x="6473709" y="970757"/>
                  </a:cubicBezTo>
                  <a:cubicBezTo>
                    <a:pt x="6473709" y="989608"/>
                    <a:pt x="6458428" y="1004889"/>
                    <a:pt x="6439577" y="1004889"/>
                  </a:cubicBezTo>
                  <a:cubicBezTo>
                    <a:pt x="6420726" y="1004889"/>
                    <a:pt x="6405445" y="989608"/>
                    <a:pt x="6405445" y="970757"/>
                  </a:cubicBezTo>
                  <a:cubicBezTo>
                    <a:pt x="6405445" y="951906"/>
                    <a:pt x="6420726" y="936625"/>
                    <a:pt x="6439577" y="936625"/>
                  </a:cubicBezTo>
                  <a:close/>
                  <a:moveTo>
                    <a:pt x="6353852" y="936625"/>
                  </a:moveTo>
                  <a:cubicBezTo>
                    <a:pt x="6372703" y="936625"/>
                    <a:pt x="6387984" y="951906"/>
                    <a:pt x="6387984" y="970757"/>
                  </a:cubicBezTo>
                  <a:cubicBezTo>
                    <a:pt x="6387984" y="989608"/>
                    <a:pt x="6372703" y="1004889"/>
                    <a:pt x="6353852" y="1004889"/>
                  </a:cubicBezTo>
                  <a:cubicBezTo>
                    <a:pt x="6335001" y="1004889"/>
                    <a:pt x="6319720" y="989608"/>
                    <a:pt x="6319720" y="970757"/>
                  </a:cubicBezTo>
                  <a:cubicBezTo>
                    <a:pt x="6319720" y="951906"/>
                    <a:pt x="6335001" y="936625"/>
                    <a:pt x="6353852" y="936625"/>
                  </a:cubicBezTo>
                  <a:close/>
                  <a:moveTo>
                    <a:pt x="6268920" y="936625"/>
                  </a:moveTo>
                  <a:cubicBezTo>
                    <a:pt x="6288209" y="936625"/>
                    <a:pt x="6303845" y="951906"/>
                    <a:pt x="6303845" y="970757"/>
                  </a:cubicBezTo>
                  <a:cubicBezTo>
                    <a:pt x="6303845" y="989608"/>
                    <a:pt x="6288209" y="1004889"/>
                    <a:pt x="6268920" y="1004889"/>
                  </a:cubicBezTo>
                  <a:cubicBezTo>
                    <a:pt x="6249631" y="1004889"/>
                    <a:pt x="6233995" y="989608"/>
                    <a:pt x="6233995" y="970757"/>
                  </a:cubicBezTo>
                  <a:cubicBezTo>
                    <a:pt x="6233995" y="951906"/>
                    <a:pt x="6249631" y="936625"/>
                    <a:pt x="6268920" y="936625"/>
                  </a:cubicBezTo>
                  <a:close/>
                  <a:moveTo>
                    <a:pt x="6188752" y="936625"/>
                  </a:moveTo>
                  <a:cubicBezTo>
                    <a:pt x="6207603" y="936625"/>
                    <a:pt x="6222884" y="951906"/>
                    <a:pt x="6222884" y="970757"/>
                  </a:cubicBezTo>
                  <a:cubicBezTo>
                    <a:pt x="6222884" y="989608"/>
                    <a:pt x="6207603" y="1004889"/>
                    <a:pt x="6188752" y="1004889"/>
                  </a:cubicBezTo>
                  <a:cubicBezTo>
                    <a:pt x="6169901" y="1004889"/>
                    <a:pt x="6154620" y="989608"/>
                    <a:pt x="6154620" y="970757"/>
                  </a:cubicBezTo>
                  <a:cubicBezTo>
                    <a:pt x="6154620" y="951906"/>
                    <a:pt x="6169901" y="936625"/>
                    <a:pt x="6188752" y="936625"/>
                  </a:cubicBezTo>
                  <a:close/>
                  <a:moveTo>
                    <a:pt x="5932370" y="936625"/>
                  </a:moveTo>
                  <a:cubicBezTo>
                    <a:pt x="5951659" y="936625"/>
                    <a:pt x="5967295" y="951906"/>
                    <a:pt x="5967295" y="970757"/>
                  </a:cubicBezTo>
                  <a:cubicBezTo>
                    <a:pt x="5967295" y="989608"/>
                    <a:pt x="5951659" y="1004889"/>
                    <a:pt x="5932370" y="1004889"/>
                  </a:cubicBezTo>
                  <a:cubicBezTo>
                    <a:pt x="5913081" y="1004889"/>
                    <a:pt x="5897445" y="989608"/>
                    <a:pt x="5897445" y="970757"/>
                  </a:cubicBezTo>
                  <a:cubicBezTo>
                    <a:pt x="5897445" y="951906"/>
                    <a:pt x="5913081" y="936625"/>
                    <a:pt x="5932370" y="936625"/>
                  </a:cubicBezTo>
                  <a:close/>
                  <a:moveTo>
                    <a:pt x="5849821" y="936625"/>
                  </a:moveTo>
                  <a:cubicBezTo>
                    <a:pt x="5869987" y="936625"/>
                    <a:pt x="5886334" y="951906"/>
                    <a:pt x="5886334" y="970757"/>
                  </a:cubicBezTo>
                  <a:cubicBezTo>
                    <a:pt x="5886334" y="989608"/>
                    <a:pt x="5869987" y="1004889"/>
                    <a:pt x="5849821" y="1004889"/>
                  </a:cubicBezTo>
                  <a:cubicBezTo>
                    <a:pt x="5829655" y="1004889"/>
                    <a:pt x="5813308" y="989608"/>
                    <a:pt x="5813308" y="970757"/>
                  </a:cubicBezTo>
                  <a:cubicBezTo>
                    <a:pt x="5813308" y="951906"/>
                    <a:pt x="5829655" y="936625"/>
                    <a:pt x="5849821" y="936625"/>
                  </a:cubicBezTo>
                  <a:close/>
                  <a:moveTo>
                    <a:pt x="5766477" y="936625"/>
                  </a:moveTo>
                  <a:cubicBezTo>
                    <a:pt x="5785328" y="936625"/>
                    <a:pt x="5800609" y="951906"/>
                    <a:pt x="5800609" y="970757"/>
                  </a:cubicBezTo>
                  <a:cubicBezTo>
                    <a:pt x="5800609" y="989608"/>
                    <a:pt x="5785328" y="1004889"/>
                    <a:pt x="5766477" y="1004889"/>
                  </a:cubicBezTo>
                  <a:cubicBezTo>
                    <a:pt x="5747626" y="1004889"/>
                    <a:pt x="5732345" y="989608"/>
                    <a:pt x="5732345" y="970757"/>
                  </a:cubicBezTo>
                  <a:cubicBezTo>
                    <a:pt x="5732345" y="951906"/>
                    <a:pt x="5747626" y="936625"/>
                    <a:pt x="5766477" y="936625"/>
                  </a:cubicBezTo>
                  <a:close/>
                  <a:moveTo>
                    <a:pt x="5680752" y="936625"/>
                  </a:moveTo>
                  <a:cubicBezTo>
                    <a:pt x="5699603" y="936625"/>
                    <a:pt x="5714884" y="951906"/>
                    <a:pt x="5714884" y="970757"/>
                  </a:cubicBezTo>
                  <a:cubicBezTo>
                    <a:pt x="5714884" y="989608"/>
                    <a:pt x="5699603" y="1004889"/>
                    <a:pt x="5680752" y="1004889"/>
                  </a:cubicBezTo>
                  <a:cubicBezTo>
                    <a:pt x="5661901" y="1004889"/>
                    <a:pt x="5646620" y="989608"/>
                    <a:pt x="5646620" y="970757"/>
                  </a:cubicBezTo>
                  <a:cubicBezTo>
                    <a:pt x="5646620" y="951906"/>
                    <a:pt x="5661901" y="936625"/>
                    <a:pt x="5680752" y="936625"/>
                  </a:cubicBezTo>
                  <a:close/>
                  <a:moveTo>
                    <a:pt x="5595820" y="936625"/>
                  </a:moveTo>
                  <a:cubicBezTo>
                    <a:pt x="5615109" y="936625"/>
                    <a:pt x="5630745" y="951906"/>
                    <a:pt x="5630745" y="970757"/>
                  </a:cubicBezTo>
                  <a:cubicBezTo>
                    <a:pt x="5630745" y="989608"/>
                    <a:pt x="5615109" y="1004889"/>
                    <a:pt x="5595820" y="1004889"/>
                  </a:cubicBezTo>
                  <a:cubicBezTo>
                    <a:pt x="5576531" y="1004889"/>
                    <a:pt x="5560895" y="989608"/>
                    <a:pt x="5560895" y="970757"/>
                  </a:cubicBezTo>
                  <a:cubicBezTo>
                    <a:pt x="5560895" y="951906"/>
                    <a:pt x="5576531" y="936625"/>
                    <a:pt x="5595820" y="936625"/>
                  </a:cubicBezTo>
                  <a:close/>
                  <a:moveTo>
                    <a:pt x="5510095" y="936625"/>
                  </a:moveTo>
                  <a:cubicBezTo>
                    <a:pt x="5529384" y="936625"/>
                    <a:pt x="5545020" y="951906"/>
                    <a:pt x="5545020" y="970757"/>
                  </a:cubicBezTo>
                  <a:cubicBezTo>
                    <a:pt x="5545020" y="989608"/>
                    <a:pt x="5529384" y="1004889"/>
                    <a:pt x="5510095" y="1004889"/>
                  </a:cubicBezTo>
                  <a:cubicBezTo>
                    <a:pt x="5490806" y="1004889"/>
                    <a:pt x="5475170" y="989608"/>
                    <a:pt x="5475170" y="970757"/>
                  </a:cubicBezTo>
                  <a:cubicBezTo>
                    <a:pt x="5475170" y="951906"/>
                    <a:pt x="5490806" y="936625"/>
                    <a:pt x="5510095" y="936625"/>
                  </a:cubicBezTo>
                  <a:close/>
                  <a:moveTo>
                    <a:pt x="5429927" y="936625"/>
                  </a:moveTo>
                  <a:cubicBezTo>
                    <a:pt x="5448778" y="936625"/>
                    <a:pt x="5464059" y="951906"/>
                    <a:pt x="5464059" y="970757"/>
                  </a:cubicBezTo>
                  <a:cubicBezTo>
                    <a:pt x="5464059" y="989608"/>
                    <a:pt x="5448778" y="1004889"/>
                    <a:pt x="5429927" y="1004889"/>
                  </a:cubicBezTo>
                  <a:cubicBezTo>
                    <a:pt x="5411076" y="1004889"/>
                    <a:pt x="5395795" y="989608"/>
                    <a:pt x="5395795" y="970757"/>
                  </a:cubicBezTo>
                  <a:cubicBezTo>
                    <a:pt x="5395795" y="951906"/>
                    <a:pt x="5411076" y="936625"/>
                    <a:pt x="5429927" y="936625"/>
                  </a:cubicBezTo>
                  <a:close/>
                  <a:moveTo>
                    <a:pt x="4078170" y="936625"/>
                  </a:moveTo>
                  <a:cubicBezTo>
                    <a:pt x="4097459" y="936625"/>
                    <a:pt x="4113095" y="951906"/>
                    <a:pt x="4113095" y="970757"/>
                  </a:cubicBezTo>
                  <a:cubicBezTo>
                    <a:pt x="4113095" y="989608"/>
                    <a:pt x="4097459" y="1004889"/>
                    <a:pt x="4078170" y="1004889"/>
                  </a:cubicBezTo>
                  <a:cubicBezTo>
                    <a:pt x="4058881" y="1004889"/>
                    <a:pt x="4043245" y="989608"/>
                    <a:pt x="4043245" y="970757"/>
                  </a:cubicBezTo>
                  <a:cubicBezTo>
                    <a:pt x="4043245" y="951906"/>
                    <a:pt x="4058881" y="936625"/>
                    <a:pt x="4078170" y="936625"/>
                  </a:cubicBezTo>
                  <a:close/>
                  <a:moveTo>
                    <a:pt x="3993240" y="936625"/>
                  </a:moveTo>
                  <a:cubicBezTo>
                    <a:pt x="4012091" y="936625"/>
                    <a:pt x="4027372" y="951906"/>
                    <a:pt x="4027372" y="970757"/>
                  </a:cubicBezTo>
                  <a:cubicBezTo>
                    <a:pt x="4027372" y="989608"/>
                    <a:pt x="4012091" y="1004889"/>
                    <a:pt x="3993240" y="1004889"/>
                  </a:cubicBezTo>
                  <a:cubicBezTo>
                    <a:pt x="3974389" y="1004889"/>
                    <a:pt x="3959108" y="989608"/>
                    <a:pt x="3959108" y="970757"/>
                  </a:cubicBezTo>
                  <a:cubicBezTo>
                    <a:pt x="3959108" y="951906"/>
                    <a:pt x="3974389" y="936625"/>
                    <a:pt x="3993240" y="936625"/>
                  </a:cubicBezTo>
                  <a:close/>
                  <a:moveTo>
                    <a:pt x="3912277" y="936625"/>
                  </a:moveTo>
                  <a:cubicBezTo>
                    <a:pt x="3931128" y="936625"/>
                    <a:pt x="3946409" y="951906"/>
                    <a:pt x="3946409" y="970757"/>
                  </a:cubicBezTo>
                  <a:cubicBezTo>
                    <a:pt x="3946409" y="989608"/>
                    <a:pt x="3931128" y="1004889"/>
                    <a:pt x="3912277" y="1004889"/>
                  </a:cubicBezTo>
                  <a:cubicBezTo>
                    <a:pt x="3893426" y="1004889"/>
                    <a:pt x="3878145" y="989608"/>
                    <a:pt x="3878145" y="970757"/>
                  </a:cubicBezTo>
                  <a:cubicBezTo>
                    <a:pt x="3878145" y="951906"/>
                    <a:pt x="3893426" y="936625"/>
                    <a:pt x="3912277" y="936625"/>
                  </a:cubicBezTo>
                  <a:close/>
                  <a:moveTo>
                    <a:pt x="3826552" y="936625"/>
                  </a:moveTo>
                  <a:cubicBezTo>
                    <a:pt x="3845403" y="936625"/>
                    <a:pt x="3860684" y="951906"/>
                    <a:pt x="3860684" y="970757"/>
                  </a:cubicBezTo>
                  <a:cubicBezTo>
                    <a:pt x="3860684" y="989608"/>
                    <a:pt x="3845403" y="1004889"/>
                    <a:pt x="3826552" y="1004889"/>
                  </a:cubicBezTo>
                  <a:cubicBezTo>
                    <a:pt x="3807701" y="1004889"/>
                    <a:pt x="3792420" y="989608"/>
                    <a:pt x="3792420" y="970757"/>
                  </a:cubicBezTo>
                  <a:cubicBezTo>
                    <a:pt x="3792420" y="951906"/>
                    <a:pt x="3807701" y="936625"/>
                    <a:pt x="3826552" y="936625"/>
                  </a:cubicBezTo>
                  <a:close/>
                  <a:moveTo>
                    <a:pt x="3741620" y="936625"/>
                  </a:moveTo>
                  <a:cubicBezTo>
                    <a:pt x="3760909" y="936625"/>
                    <a:pt x="3776545" y="951906"/>
                    <a:pt x="3776545" y="970757"/>
                  </a:cubicBezTo>
                  <a:cubicBezTo>
                    <a:pt x="3776545" y="989608"/>
                    <a:pt x="3760909" y="1004889"/>
                    <a:pt x="3741620" y="1004889"/>
                  </a:cubicBezTo>
                  <a:cubicBezTo>
                    <a:pt x="3722331" y="1004889"/>
                    <a:pt x="3706695" y="989608"/>
                    <a:pt x="3706695" y="970757"/>
                  </a:cubicBezTo>
                  <a:cubicBezTo>
                    <a:pt x="3706695" y="951906"/>
                    <a:pt x="3722331" y="936625"/>
                    <a:pt x="3741620" y="936625"/>
                  </a:cubicBezTo>
                  <a:close/>
                  <a:moveTo>
                    <a:pt x="3656690" y="936625"/>
                  </a:moveTo>
                  <a:cubicBezTo>
                    <a:pt x="3675541" y="936625"/>
                    <a:pt x="3690822" y="951906"/>
                    <a:pt x="3690822" y="970757"/>
                  </a:cubicBezTo>
                  <a:cubicBezTo>
                    <a:pt x="3690822" y="989608"/>
                    <a:pt x="3675541" y="1004889"/>
                    <a:pt x="3656690" y="1004889"/>
                  </a:cubicBezTo>
                  <a:cubicBezTo>
                    <a:pt x="3637839" y="1004889"/>
                    <a:pt x="3622558" y="989608"/>
                    <a:pt x="3622558" y="970757"/>
                  </a:cubicBezTo>
                  <a:cubicBezTo>
                    <a:pt x="3622558" y="951906"/>
                    <a:pt x="3637839" y="936625"/>
                    <a:pt x="3656690" y="936625"/>
                  </a:cubicBezTo>
                  <a:close/>
                  <a:moveTo>
                    <a:pt x="3405070" y="936625"/>
                  </a:moveTo>
                  <a:cubicBezTo>
                    <a:pt x="3424359" y="936625"/>
                    <a:pt x="3439995" y="951906"/>
                    <a:pt x="3439995" y="970757"/>
                  </a:cubicBezTo>
                  <a:cubicBezTo>
                    <a:pt x="3439995" y="989608"/>
                    <a:pt x="3424359" y="1004889"/>
                    <a:pt x="3405070" y="1004889"/>
                  </a:cubicBezTo>
                  <a:cubicBezTo>
                    <a:pt x="3385781" y="1004889"/>
                    <a:pt x="3370145" y="989608"/>
                    <a:pt x="3370145" y="970757"/>
                  </a:cubicBezTo>
                  <a:cubicBezTo>
                    <a:pt x="3370145" y="951906"/>
                    <a:pt x="3385781" y="936625"/>
                    <a:pt x="3405070" y="936625"/>
                  </a:cubicBezTo>
                  <a:close/>
                  <a:moveTo>
                    <a:pt x="3234415" y="936625"/>
                  </a:moveTo>
                  <a:cubicBezTo>
                    <a:pt x="3253266" y="936625"/>
                    <a:pt x="3268547" y="951906"/>
                    <a:pt x="3268547" y="970757"/>
                  </a:cubicBezTo>
                  <a:cubicBezTo>
                    <a:pt x="3268547" y="989608"/>
                    <a:pt x="3253266" y="1004889"/>
                    <a:pt x="3234415" y="1004889"/>
                  </a:cubicBezTo>
                  <a:cubicBezTo>
                    <a:pt x="3215564" y="1004889"/>
                    <a:pt x="3200283" y="989608"/>
                    <a:pt x="3200283" y="970757"/>
                  </a:cubicBezTo>
                  <a:cubicBezTo>
                    <a:pt x="3200283" y="951906"/>
                    <a:pt x="3215564" y="936625"/>
                    <a:pt x="3234415" y="936625"/>
                  </a:cubicBezTo>
                  <a:close/>
                  <a:moveTo>
                    <a:pt x="3153452" y="936625"/>
                  </a:moveTo>
                  <a:cubicBezTo>
                    <a:pt x="3172303" y="936625"/>
                    <a:pt x="3187584" y="951906"/>
                    <a:pt x="3187584" y="970757"/>
                  </a:cubicBezTo>
                  <a:cubicBezTo>
                    <a:pt x="3187584" y="989608"/>
                    <a:pt x="3172303" y="1004889"/>
                    <a:pt x="3153452" y="1004889"/>
                  </a:cubicBezTo>
                  <a:cubicBezTo>
                    <a:pt x="3134601" y="1004889"/>
                    <a:pt x="3119320" y="989608"/>
                    <a:pt x="3119320" y="970757"/>
                  </a:cubicBezTo>
                  <a:cubicBezTo>
                    <a:pt x="3119320" y="951906"/>
                    <a:pt x="3134601" y="936625"/>
                    <a:pt x="3153452" y="936625"/>
                  </a:cubicBezTo>
                  <a:close/>
                  <a:moveTo>
                    <a:pt x="3068520" y="936625"/>
                  </a:moveTo>
                  <a:cubicBezTo>
                    <a:pt x="3087809" y="936625"/>
                    <a:pt x="3103445" y="951906"/>
                    <a:pt x="3103445" y="970757"/>
                  </a:cubicBezTo>
                  <a:cubicBezTo>
                    <a:pt x="3103445" y="989608"/>
                    <a:pt x="3087809" y="1004889"/>
                    <a:pt x="3068520" y="1004889"/>
                  </a:cubicBezTo>
                  <a:cubicBezTo>
                    <a:pt x="3049231" y="1004889"/>
                    <a:pt x="3033595" y="989608"/>
                    <a:pt x="3033595" y="970757"/>
                  </a:cubicBezTo>
                  <a:cubicBezTo>
                    <a:pt x="3033595" y="951906"/>
                    <a:pt x="3049231" y="936625"/>
                    <a:pt x="3068520" y="936625"/>
                  </a:cubicBezTo>
                  <a:close/>
                  <a:moveTo>
                    <a:pt x="2983590" y="936625"/>
                  </a:moveTo>
                  <a:cubicBezTo>
                    <a:pt x="3002441" y="936625"/>
                    <a:pt x="3017722" y="951906"/>
                    <a:pt x="3017722" y="970757"/>
                  </a:cubicBezTo>
                  <a:cubicBezTo>
                    <a:pt x="3017722" y="989608"/>
                    <a:pt x="3002441" y="1004889"/>
                    <a:pt x="2983590" y="1004889"/>
                  </a:cubicBezTo>
                  <a:cubicBezTo>
                    <a:pt x="2964739" y="1004889"/>
                    <a:pt x="2949458" y="989608"/>
                    <a:pt x="2949458" y="970757"/>
                  </a:cubicBezTo>
                  <a:cubicBezTo>
                    <a:pt x="2949458" y="951906"/>
                    <a:pt x="2964739" y="936625"/>
                    <a:pt x="2983590" y="936625"/>
                  </a:cubicBezTo>
                  <a:close/>
                  <a:moveTo>
                    <a:pt x="2814521" y="936625"/>
                  </a:moveTo>
                  <a:cubicBezTo>
                    <a:pt x="2834687" y="936625"/>
                    <a:pt x="2851034" y="951906"/>
                    <a:pt x="2851034" y="970757"/>
                  </a:cubicBezTo>
                  <a:cubicBezTo>
                    <a:pt x="2851034" y="989608"/>
                    <a:pt x="2834687" y="1004889"/>
                    <a:pt x="2814521" y="1004889"/>
                  </a:cubicBezTo>
                  <a:cubicBezTo>
                    <a:pt x="2794355" y="1004889"/>
                    <a:pt x="2778008" y="989608"/>
                    <a:pt x="2778008" y="970757"/>
                  </a:cubicBezTo>
                  <a:cubicBezTo>
                    <a:pt x="2778008" y="951906"/>
                    <a:pt x="2794355" y="936625"/>
                    <a:pt x="2814521" y="936625"/>
                  </a:cubicBezTo>
                  <a:close/>
                  <a:moveTo>
                    <a:pt x="2731998" y="936625"/>
                  </a:moveTo>
                  <a:cubicBezTo>
                    <a:pt x="2751287" y="936625"/>
                    <a:pt x="2766922" y="951906"/>
                    <a:pt x="2766922" y="970757"/>
                  </a:cubicBezTo>
                  <a:cubicBezTo>
                    <a:pt x="2766922" y="989608"/>
                    <a:pt x="2751287" y="1004889"/>
                    <a:pt x="2731998" y="1004889"/>
                  </a:cubicBezTo>
                  <a:cubicBezTo>
                    <a:pt x="2712709" y="1004889"/>
                    <a:pt x="2697073" y="989608"/>
                    <a:pt x="2697073" y="970757"/>
                  </a:cubicBezTo>
                  <a:cubicBezTo>
                    <a:pt x="2697073" y="951906"/>
                    <a:pt x="2712709" y="936625"/>
                    <a:pt x="2731998" y="936625"/>
                  </a:cubicBezTo>
                  <a:close/>
                  <a:moveTo>
                    <a:pt x="2561352" y="936625"/>
                  </a:moveTo>
                  <a:cubicBezTo>
                    <a:pt x="2580203" y="936625"/>
                    <a:pt x="2595485" y="951906"/>
                    <a:pt x="2595485" y="970757"/>
                  </a:cubicBezTo>
                  <a:cubicBezTo>
                    <a:pt x="2595485" y="989608"/>
                    <a:pt x="2580203" y="1004889"/>
                    <a:pt x="2561352" y="1004889"/>
                  </a:cubicBezTo>
                  <a:cubicBezTo>
                    <a:pt x="2542501" y="1004889"/>
                    <a:pt x="2527220" y="989608"/>
                    <a:pt x="2527220" y="970757"/>
                  </a:cubicBezTo>
                  <a:cubicBezTo>
                    <a:pt x="2527220" y="951906"/>
                    <a:pt x="2542501" y="936625"/>
                    <a:pt x="2561352" y="936625"/>
                  </a:cubicBezTo>
                  <a:close/>
                  <a:moveTo>
                    <a:pt x="2475627" y="936625"/>
                  </a:moveTo>
                  <a:cubicBezTo>
                    <a:pt x="2494477" y="936625"/>
                    <a:pt x="2509759" y="951906"/>
                    <a:pt x="2509759" y="970757"/>
                  </a:cubicBezTo>
                  <a:cubicBezTo>
                    <a:pt x="2509759" y="989608"/>
                    <a:pt x="2494477" y="1004889"/>
                    <a:pt x="2475627" y="1004889"/>
                  </a:cubicBezTo>
                  <a:cubicBezTo>
                    <a:pt x="2456775" y="1004889"/>
                    <a:pt x="2441494" y="989608"/>
                    <a:pt x="2441494" y="970757"/>
                  </a:cubicBezTo>
                  <a:cubicBezTo>
                    <a:pt x="2441494" y="951906"/>
                    <a:pt x="2456775" y="936625"/>
                    <a:pt x="2475627" y="936625"/>
                  </a:cubicBezTo>
                  <a:close/>
                  <a:moveTo>
                    <a:pt x="2309735" y="936625"/>
                  </a:moveTo>
                  <a:cubicBezTo>
                    <a:pt x="2329020" y="936625"/>
                    <a:pt x="2344660" y="951906"/>
                    <a:pt x="2344660" y="970757"/>
                  </a:cubicBezTo>
                  <a:cubicBezTo>
                    <a:pt x="2344660" y="989608"/>
                    <a:pt x="2329020" y="1004889"/>
                    <a:pt x="2309735" y="1004889"/>
                  </a:cubicBezTo>
                  <a:cubicBezTo>
                    <a:pt x="2290444" y="1004889"/>
                    <a:pt x="2274810" y="989608"/>
                    <a:pt x="2274810" y="970757"/>
                  </a:cubicBezTo>
                  <a:cubicBezTo>
                    <a:pt x="2274810" y="951906"/>
                    <a:pt x="2290444" y="936625"/>
                    <a:pt x="2309735" y="936625"/>
                  </a:cubicBezTo>
                  <a:close/>
                  <a:moveTo>
                    <a:pt x="2224804" y="936625"/>
                  </a:moveTo>
                  <a:cubicBezTo>
                    <a:pt x="2243654" y="936625"/>
                    <a:pt x="2258936" y="951906"/>
                    <a:pt x="2258936" y="970757"/>
                  </a:cubicBezTo>
                  <a:cubicBezTo>
                    <a:pt x="2258936" y="989608"/>
                    <a:pt x="2243654" y="1004889"/>
                    <a:pt x="2224804" y="1004889"/>
                  </a:cubicBezTo>
                  <a:cubicBezTo>
                    <a:pt x="2205952" y="1004889"/>
                    <a:pt x="2190671" y="989608"/>
                    <a:pt x="2190671" y="970757"/>
                  </a:cubicBezTo>
                  <a:cubicBezTo>
                    <a:pt x="2190671" y="951906"/>
                    <a:pt x="2205952" y="936625"/>
                    <a:pt x="2224804" y="936625"/>
                  </a:cubicBezTo>
                  <a:close/>
                  <a:moveTo>
                    <a:pt x="2139055" y="936625"/>
                  </a:moveTo>
                  <a:cubicBezTo>
                    <a:pt x="2157906" y="936625"/>
                    <a:pt x="2173187" y="951906"/>
                    <a:pt x="2173187" y="970757"/>
                  </a:cubicBezTo>
                  <a:cubicBezTo>
                    <a:pt x="2173187" y="989608"/>
                    <a:pt x="2157906" y="1004889"/>
                    <a:pt x="2139055" y="1004889"/>
                  </a:cubicBezTo>
                  <a:cubicBezTo>
                    <a:pt x="2120204" y="1004889"/>
                    <a:pt x="2104924" y="989608"/>
                    <a:pt x="2104924" y="970757"/>
                  </a:cubicBezTo>
                  <a:cubicBezTo>
                    <a:pt x="2104924" y="951906"/>
                    <a:pt x="2120204" y="936625"/>
                    <a:pt x="2139055" y="936625"/>
                  </a:cubicBezTo>
                  <a:close/>
                  <a:moveTo>
                    <a:pt x="1888238" y="936625"/>
                  </a:moveTo>
                  <a:cubicBezTo>
                    <a:pt x="1907089" y="936625"/>
                    <a:pt x="1922370" y="951906"/>
                    <a:pt x="1922370" y="970757"/>
                  </a:cubicBezTo>
                  <a:cubicBezTo>
                    <a:pt x="1922370" y="989608"/>
                    <a:pt x="1907089" y="1004889"/>
                    <a:pt x="1888238" y="1004889"/>
                  </a:cubicBezTo>
                  <a:cubicBezTo>
                    <a:pt x="1869387" y="1004889"/>
                    <a:pt x="1854106" y="989608"/>
                    <a:pt x="1854106" y="970757"/>
                  </a:cubicBezTo>
                  <a:cubicBezTo>
                    <a:pt x="1854106" y="951906"/>
                    <a:pt x="1869387" y="936625"/>
                    <a:pt x="1888238" y="936625"/>
                  </a:cubicBezTo>
                  <a:close/>
                  <a:moveTo>
                    <a:pt x="1802514" y="936625"/>
                  </a:moveTo>
                  <a:cubicBezTo>
                    <a:pt x="1821365" y="936625"/>
                    <a:pt x="1836646" y="951906"/>
                    <a:pt x="1836646" y="970757"/>
                  </a:cubicBezTo>
                  <a:cubicBezTo>
                    <a:pt x="1836646" y="989608"/>
                    <a:pt x="1821365" y="1004889"/>
                    <a:pt x="1802514" y="1004889"/>
                  </a:cubicBezTo>
                  <a:cubicBezTo>
                    <a:pt x="1783663" y="1004889"/>
                    <a:pt x="1768382" y="989608"/>
                    <a:pt x="1768382" y="970757"/>
                  </a:cubicBezTo>
                  <a:cubicBezTo>
                    <a:pt x="1768382" y="951906"/>
                    <a:pt x="1783663" y="936625"/>
                    <a:pt x="1802514" y="936625"/>
                  </a:cubicBezTo>
                  <a:close/>
                  <a:moveTo>
                    <a:pt x="1719169" y="936625"/>
                  </a:moveTo>
                  <a:cubicBezTo>
                    <a:pt x="1739335" y="936625"/>
                    <a:pt x="1755682" y="951906"/>
                    <a:pt x="1755682" y="970757"/>
                  </a:cubicBezTo>
                  <a:cubicBezTo>
                    <a:pt x="1755682" y="989608"/>
                    <a:pt x="1739335" y="1004889"/>
                    <a:pt x="1719169" y="1004889"/>
                  </a:cubicBezTo>
                  <a:cubicBezTo>
                    <a:pt x="1699004" y="1004889"/>
                    <a:pt x="1682656" y="989608"/>
                    <a:pt x="1682656" y="970757"/>
                  </a:cubicBezTo>
                  <a:cubicBezTo>
                    <a:pt x="1682656" y="951906"/>
                    <a:pt x="1699004" y="936625"/>
                    <a:pt x="1719169" y="936625"/>
                  </a:cubicBezTo>
                  <a:close/>
                  <a:moveTo>
                    <a:pt x="1636603" y="936625"/>
                  </a:moveTo>
                  <a:cubicBezTo>
                    <a:pt x="1655892" y="936625"/>
                    <a:pt x="1671528" y="951906"/>
                    <a:pt x="1671528" y="970757"/>
                  </a:cubicBezTo>
                  <a:cubicBezTo>
                    <a:pt x="1671528" y="989608"/>
                    <a:pt x="1655892" y="1004889"/>
                    <a:pt x="1636603" y="1004889"/>
                  </a:cubicBezTo>
                  <a:cubicBezTo>
                    <a:pt x="1617314" y="1004889"/>
                    <a:pt x="1601678" y="989608"/>
                    <a:pt x="1601678" y="970757"/>
                  </a:cubicBezTo>
                  <a:cubicBezTo>
                    <a:pt x="1601678" y="951906"/>
                    <a:pt x="1617314" y="936625"/>
                    <a:pt x="1636603" y="936625"/>
                  </a:cubicBezTo>
                  <a:close/>
                  <a:moveTo>
                    <a:pt x="1551672" y="936625"/>
                  </a:moveTo>
                  <a:cubicBezTo>
                    <a:pt x="1570523" y="936625"/>
                    <a:pt x="1585804" y="951906"/>
                    <a:pt x="1585804" y="970757"/>
                  </a:cubicBezTo>
                  <a:cubicBezTo>
                    <a:pt x="1585804" y="989608"/>
                    <a:pt x="1570523" y="1004889"/>
                    <a:pt x="1551672" y="1004889"/>
                  </a:cubicBezTo>
                  <a:cubicBezTo>
                    <a:pt x="1532821" y="1004889"/>
                    <a:pt x="1517540" y="989608"/>
                    <a:pt x="1517540" y="970757"/>
                  </a:cubicBezTo>
                  <a:cubicBezTo>
                    <a:pt x="1517540" y="951906"/>
                    <a:pt x="1532821" y="936625"/>
                    <a:pt x="1551672" y="936625"/>
                  </a:cubicBezTo>
                  <a:close/>
                  <a:moveTo>
                    <a:pt x="1465946" y="936625"/>
                  </a:moveTo>
                  <a:cubicBezTo>
                    <a:pt x="1484798" y="936625"/>
                    <a:pt x="1500078" y="951906"/>
                    <a:pt x="1500078" y="970757"/>
                  </a:cubicBezTo>
                  <a:cubicBezTo>
                    <a:pt x="1500078" y="989608"/>
                    <a:pt x="1484798" y="1004889"/>
                    <a:pt x="1465946" y="1004889"/>
                  </a:cubicBezTo>
                  <a:cubicBezTo>
                    <a:pt x="1447095" y="1004889"/>
                    <a:pt x="1431814" y="989608"/>
                    <a:pt x="1431814" y="970757"/>
                  </a:cubicBezTo>
                  <a:cubicBezTo>
                    <a:pt x="1431814" y="951906"/>
                    <a:pt x="1447095" y="936625"/>
                    <a:pt x="1465946" y="936625"/>
                  </a:cubicBezTo>
                  <a:close/>
                  <a:moveTo>
                    <a:pt x="1380229" y="936625"/>
                  </a:moveTo>
                  <a:cubicBezTo>
                    <a:pt x="1399080" y="936625"/>
                    <a:pt x="1414361" y="951906"/>
                    <a:pt x="1414361" y="970757"/>
                  </a:cubicBezTo>
                  <a:cubicBezTo>
                    <a:pt x="1414361" y="989608"/>
                    <a:pt x="1399080" y="1004889"/>
                    <a:pt x="1380229" y="1004889"/>
                  </a:cubicBezTo>
                  <a:cubicBezTo>
                    <a:pt x="1361378" y="1004889"/>
                    <a:pt x="1346096" y="989608"/>
                    <a:pt x="1346096" y="970757"/>
                  </a:cubicBezTo>
                  <a:cubicBezTo>
                    <a:pt x="1346096" y="951906"/>
                    <a:pt x="1361378" y="936625"/>
                    <a:pt x="1380229" y="936625"/>
                  </a:cubicBezTo>
                  <a:close/>
                  <a:moveTo>
                    <a:pt x="1300222" y="936625"/>
                  </a:moveTo>
                  <a:cubicBezTo>
                    <a:pt x="1319509" y="936625"/>
                    <a:pt x="1335148" y="951906"/>
                    <a:pt x="1335148" y="970757"/>
                  </a:cubicBezTo>
                  <a:cubicBezTo>
                    <a:pt x="1335148" y="989608"/>
                    <a:pt x="1319509" y="1004889"/>
                    <a:pt x="1300222" y="1004889"/>
                  </a:cubicBezTo>
                  <a:cubicBezTo>
                    <a:pt x="1280933" y="1004889"/>
                    <a:pt x="1265297" y="989608"/>
                    <a:pt x="1265297" y="970757"/>
                  </a:cubicBezTo>
                  <a:cubicBezTo>
                    <a:pt x="1265297" y="951906"/>
                    <a:pt x="1280933" y="936625"/>
                    <a:pt x="1300222" y="936625"/>
                  </a:cubicBezTo>
                  <a:close/>
                  <a:moveTo>
                    <a:pt x="1214500" y="936625"/>
                  </a:moveTo>
                  <a:cubicBezTo>
                    <a:pt x="1233787" y="936625"/>
                    <a:pt x="1249422" y="951906"/>
                    <a:pt x="1249422" y="970757"/>
                  </a:cubicBezTo>
                  <a:cubicBezTo>
                    <a:pt x="1249422" y="989608"/>
                    <a:pt x="1233787" y="1004889"/>
                    <a:pt x="1214500" y="1004889"/>
                  </a:cubicBezTo>
                  <a:cubicBezTo>
                    <a:pt x="1195210" y="1004889"/>
                    <a:pt x="1179573" y="989608"/>
                    <a:pt x="1179573" y="970757"/>
                  </a:cubicBezTo>
                  <a:cubicBezTo>
                    <a:pt x="1179573" y="951906"/>
                    <a:pt x="1195210" y="936625"/>
                    <a:pt x="1214500" y="936625"/>
                  </a:cubicBezTo>
                  <a:close/>
                  <a:moveTo>
                    <a:pt x="707116" y="936625"/>
                  </a:moveTo>
                  <a:cubicBezTo>
                    <a:pt x="725967" y="936625"/>
                    <a:pt x="741248" y="951906"/>
                    <a:pt x="741248" y="970757"/>
                  </a:cubicBezTo>
                  <a:cubicBezTo>
                    <a:pt x="741248" y="989608"/>
                    <a:pt x="725967" y="1004889"/>
                    <a:pt x="707116" y="1004889"/>
                  </a:cubicBezTo>
                  <a:cubicBezTo>
                    <a:pt x="688264" y="1004889"/>
                    <a:pt x="672984" y="989608"/>
                    <a:pt x="672984" y="970757"/>
                  </a:cubicBezTo>
                  <a:cubicBezTo>
                    <a:pt x="672984" y="951906"/>
                    <a:pt x="688264" y="936625"/>
                    <a:pt x="707116" y="936625"/>
                  </a:cubicBezTo>
                  <a:close/>
                  <a:moveTo>
                    <a:pt x="9389152" y="849313"/>
                  </a:moveTo>
                  <a:cubicBezTo>
                    <a:pt x="9408003" y="849313"/>
                    <a:pt x="9423284" y="864949"/>
                    <a:pt x="9423284" y="884238"/>
                  </a:cubicBezTo>
                  <a:cubicBezTo>
                    <a:pt x="9423284" y="903527"/>
                    <a:pt x="9408003" y="919163"/>
                    <a:pt x="9389152" y="919163"/>
                  </a:cubicBezTo>
                  <a:cubicBezTo>
                    <a:pt x="9370301" y="919163"/>
                    <a:pt x="9355020" y="903527"/>
                    <a:pt x="9355020" y="884238"/>
                  </a:cubicBezTo>
                  <a:cubicBezTo>
                    <a:pt x="9355020" y="864949"/>
                    <a:pt x="9370301" y="849313"/>
                    <a:pt x="9389152" y="849313"/>
                  </a:cubicBezTo>
                  <a:close/>
                  <a:moveTo>
                    <a:pt x="9138327" y="849313"/>
                  </a:moveTo>
                  <a:cubicBezTo>
                    <a:pt x="9157178" y="849313"/>
                    <a:pt x="9172459" y="864949"/>
                    <a:pt x="9172459" y="884238"/>
                  </a:cubicBezTo>
                  <a:cubicBezTo>
                    <a:pt x="9172459" y="903527"/>
                    <a:pt x="9157178" y="919163"/>
                    <a:pt x="9138327" y="919163"/>
                  </a:cubicBezTo>
                  <a:cubicBezTo>
                    <a:pt x="9119476" y="919163"/>
                    <a:pt x="9104195" y="903527"/>
                    <a:pt x="9104195" y="884238"/>
                  </a:cubicBezTo>
                  <a:cubicBezTo>
                    <a:pt x="9104195" y="864949"/>
                    <a:pt x="9119476" y="849313"/>
                    <a:pt x="9138327" y="849313"/>
                  </a:cubicBezTo>
                  <a:close/>
                  <a:moveTo>
                    <a:pt x="9052602" y="849313"/>
                  </a:moveTo>
                  <a:cubicBezTo>
                    <a:pt x="9071453" y="849313"/>
                    <a:pt x="9086734" y="864949"/>
                    <a:pt x="9086734" y="884238"/>
                  </a:cubicBezTo>
                  <a:cubicBezTo>
                    <a:pt x="9086734" y="903527"/>
                    <a:pt x="9071453" y="919163"/>
                    <a:pt x="9052602" y="919163"/>
                  </a:cubicBezTo>
                  <a:cubicBezTo>
                    <a:pt x="9033751" y="919163"/>
                    <a:pt x="9018470" y="903527"/>
                    <a:pt x="9018470" y="884238"/>
                  </a:cubicBezTo>
                  <a:cubicBezTo>
                    <a:pt x="9018470" y="864949"/>
                    <a:pt x="9033751" y="849313"/>
                    <a:pt x="9052602" y="849313"/>
                  </a:cubicBezTo>
                  <a:close/>
                  <a:moveTo>
                    <a:pt x="8966877" y="849313"/>
                  </a:moveTo>
                  <a:cubicBezTo>
                    <a:pt x="8985728" y="849313"/>
                    <a:pt x="9001009" y="864949"/>
                    <a:pt x="9001009" y="884238"/>
                  </a:cubicBezTo>
                  <a:cubicBezTo>
                    <a:pt x="9001009" y="903527"/>
                    <a:pt x="8985728" y="919163"/>
                    <a:pt x="8966877" y="919163"/>
                  </a:cubicBezTo>
                  <a:cubicBezTo>
                    <a:pt x="8948026" y="919163"/>
                    <a:pt x="8932745" y="903527"/>
                    <a:pt x="8932745" y="884238"/>
                  </a:cubicBezTo>
                  <a:cubicBezTo>
                    <a:pt x="8932745" y="864949"/>
                    <a:pt x="8948026" y="849313"/>
                    <a:pt x="8966877" y="849313"/>
                  </a:cubicBezTo>
                  <a:close/>
                  <a:moveTo>
                    <a:pt x="8884327" y="849313"/>
                  </a:moveTo>
                  <a:cubicBezTo>
                    <a:pt x="8904931" y="849313"/>
                    <a:pt x="8921634" y="864949"/>
                    <a:pt x="8921634" y="884238"/>
                  </a:cubicBezTo>
                  <a:cubicBezTo>
                    <a:pt x="8921634" y="903527"/>
                    <a:pt x="8904931" y="919163"/>
                    <a:pt x="8884327" y="919163"/>
                  </a:cubicBezTo>
                  <a:cubicBezTo>
                    <a:pt x="8863723" y="919163"/>
                    <a:pt x="8847020" y="903527"/>
                    <a:pt x="8847020" y="884238"/>
                  </a:cubicBezTo>
                  <a:cubicBezTo>
                    <a:pt x="8847020" y="864949"/>
                    <a:pt x="8863723" y="849313"/>
                    <a:pt x="8884327" y="849313"/>
                  </a:cubicBezTo>
                  <a:close/>
                  <a:moveTo>
                    <a:pt x="8801777" y="849313"/>
                  </a:moveTo>
                  <a:cubicBezTo>
                    <a:pt x="8820628" y="849313"/>
                    <a:pt x="8835909" y="864949"/>
                    <a:pt x="8835909" y="884238"/>
                  </a:cubicBezTo>
                  <a:cubicBezTo>
                    <a:pt x="8835909" y="903527"/>
                    <a:pt x="8820628" y="919163"/>
                    <a:pt x="8801777" y="919163"/>
                  </a:cubicBezTo>
                  <a:cubicBezTo>
                    <a:pt x="8782926" y="919163"/>
                    <a:pt x="8767645" y="903527"/>
                    <a:pt x="8767645" y="884238"/>
                  </a:cubicBezTo>
                  <a:cubicBezTo>
                    <a:pt x="8767645" y="864949"/>
                    <a:pt x="8782926" y="849313"/>
                    <a:pt x="8801777" y="849313"/>
                  </a:cubicBezTo>
                  <a:close/>
                  <a:moveTo>
                    <a:pt x="8716052" y="849313"/>
                  </a:moveTo>
                  <a:cubicBezTo>
                    <a:pt x="8734903" y="849313"/>
                    <a:pt x="8750184" y="864949"/>
                    <a:pt x="8750184" y="884238"/>
                  </a:cubicBezTo>
                  <a:cubicBezTo>
                    <a:pt x="8750184" y="903527"/>
                    <a:pt x="8734903" y="919163"/>
                    <a:pt x="8716052" y="919163"/>
                  </a:cubicBezTo>
                  <a:cubicBezTo>
                    <a:pt x="8697201" y="919163"/>
                    <a:pt x="8681920" y="903527"/>
                    <a:pt x="8681920" y="884238"/>
                  </a:cubicBezTo>
                  <a:cubicBezTo>
                    <a:pt x="8681920" y="864949"/>
                    <a:pt x="8697201" y="849313"/>
                    <a:pt x="8716052" y="849313"/>
                  </a:cubicBezTo>
                  <a:close/>
                  <a:moveTo>
                    <a:pt x="8630327" y="849313"/>
                  </a:moveTo>
                  <a:cubicBezTo>
                    <a:pt x="8649178" y="849313"/>
                    <a:pt x="8664459" y="864949"/>
                    <a:pt x="8664459" y="884238"/>
                  </a:cubicBezTo>
                  <a:cubicBezTo>
                    <a:pt x="8664459" y="903527"/>
                    <a:pt x="8649178" y="919163"/>
                    <a:pt x="8630327" y="919163"/>
                  </a:cubicBezTo>
                  <a:cubicBezTo>
                    <a:pt x="8611476" y="919163"/>
                    <a:pt x="8596195" y="903527"/>
                    <a:pt x="8596195" y="884238"/>
                  </a:cubicBezTo>
                  <a:cubicBezTo>
                    <a:pt x="8596195" y="864949"/>
                    <a:pt x="8611476" y="849313"/>
                    <a:pt x="8630327" y="849313"/>
                  </a:cubicBezTo>
                  <a:close/>
                  <a:moveTo>
                    <a:pt x="8544602" y="849313"/>
                  </a:moveTo>
                  <a:cubicBezTo>
                    <a:pt x="8563453" y="849313"/>
                    <a:pt x="8578734" y="864949"/>
                    <a:pt x="8578734" y="884238"/>
                  </a:cubicBezTo>
                  <a:cubicBezTo>
                    <a:pt x="8578734" y="903527"/>
                    <a:pt x="8563453" y="919163"/>
                    <a:pt x="8544602" y="919163"/>
                  </a:cubicBezTo>
                  <a:cubicBezTo>
                    <a:pt x="8525751" y="919163"/>
                    <a:pt x="8510470" y="903527"/>
                    <a:pt x="8510470" y="884238"/>
                  </a:cubicBezTo>
                  <a:cubicBezTo>
                    <a:pt x="8510470" y="864949"/>
                    <a:pt x="8525751" y="849313"/>
                    <a:pt x="8544602" y="849313"/>
                  </a:cubicBezTo>
                  <a:close/>
                  <a:moveTo>
                    <a:pt x="8465227" y="849313"/>
                  </a:moveTo>
                  <a:cubicBezTo>
                    <a:pt x="8484078" y="849313"/>
                    <a:pt x="8499359" y="864949"/>
                    <a:pt x="8499359" y="884238"/>
                  </a:cubicBezTo>
                  <a:cubicBezTo>
                    <a:pt x="8499359" y="903527"/>
                    <a:pt x="8484078" y="919163"/>
                    <a:pt x="8465227" y="919163"/>
                  </a:cubicBezTo>
                  <a:cubicBezTo>
                    <a:pt x="8446376" y="919163"/>
                    <a:pt x="8431095" y="903527"/>
                    <a:pt x="8431095" y="884238"/>
                  </a:cubicBezTo>
                  <a:cubicBezTo>
                    <a:pt x="8431095" y="864949"/>
                    <a:pt x="8446376" y="849313"/>
                    <a:pt x="8465227" y="849313"/>
                  </a:cubicBezTo>
                  <a:close/>
                  <a:moveTo>
                    <a:pt x="8379502" y="849313"/>
                  </a:moveTo>
                  <a:cubicBezTo>
                    <a:pt x="8398353" y="849313"/>
                    <a:pt x="8413634" y="864949"/>
                    <a:pt x="8413634" y="884238"/>
                  </a:cubicBezTo>
                  <a:cubicBezTo>
                    <a:pt x="8413634" y="903527"/>
                    <a:pt x="8398353" y="919163"/>
                    <a:pt x="8379502" y="919163"/>
                  </a:cubicBezTo>
                  <a:cubicBezTo>
                    <a:pt x="8360651" y="919163"/>
                    <a:pt x="8345370" y="903527"/>
                    <a:pt x="8345370" y="884238"/>
                  </a:cubicBezTo>
                  <a:cubicBezTo>
                    <a:pt x="8345370" y="864949"/>
                    <a:pt x="8360651" y="849313"/>
                    <a:pt x="8379502" y="849313"/>
                  </a:cubicBezTo>
                  <a:close/>
                  <a:moveTo>
                    <a:pt x="8293777" y="849313"/>
                  </a:moveTo>
                  <a:cubicBezTo>
                    <a:pt x="8312628" y="849313"/>
                    <a:pt x="8327909" y="864949"/>
                    <a:pt x="8327909" y="884238"/>
                  </a:cubicBezTo>
                  <a:cubicBezTo>
                    <a:pt x="8327909" y="903527"/>
                    <a:pt x="8312628" y="919163"/>
                    <a:pt x="8293777" y="919163"/>
                  </a:cubicBezTo>
                  <a:cubicBezTo>
                    <a:pt x="8274926" y="919163"/>
                    <a:pt x="8259645" y="903527"/>
                    <a:pt x="8259645" y="884238"/>
                  </a:cubicBezTo>
                  <a:cubicBezTo>
                    <a:pt x="8259645" y="864949"/>
                    <a:pt x="8274926" y="849313"/>
                    <a:pt x="8293777" y="849313"/>
                  </a:cubicBezTo>
                  <a:close/>
                  <a:moveTo>
                    <a:pt x="8208052" y="849313"/>
                  </a:moveTo>
                  <a:cubicBezTo>
                    <a:pt x="8226903" y="849313"/>
                    <a:pt x="8242184" y="864949"/>
                    <a:pt x="8242184" y="884238"/>
                  </a:cubicBezTo>
                  <a:cubicBezTo>
                    <a:pt x="8242184" y="903527"/>
                    <a:pt x="8226903" y="919163"/>
                    <a:pt x="8208052" y="919163"/>
                  </a:cubicBezTo>
                  <a:cubicBezTo>
                    <a:pt x="8189201" y="919163"/>
                    <a:pt x="8173920" y="903527"/>
                    <a:pt x="8173920" y="884238"/>
                  </a:cubicBezTo>
                  <a:cubicBezTo>
                    <a:pt x="8173920" y="864949"/>
                    <a:pt x="8189201" y="849313"/>
                    <a:pt x="8208052" y="849313"/>
                  </a:cubicBezTo>
                  <a:close/>
                  <a:moveTo>
                    <a:pt x="8125502" y="849313"/>
                  </a:moveTo>
                  <a:cubicBezTo>
                    <a:pt x="8146106" y="849313"/>
                    <a:pt x="8162809" y="864949"/>
                    <a:pt x="8162809" y="884238"/>
                  </a:cubicBezTo>
                  <a:cubicBezTo>
                    <a:pt x="8162809" y="903527"/>
                    <a:pt x="8146106" y="919163"/>
                    <a:pt x="8125502" y="919163"/>
                  </a:cubicBezTo>
                  <a:cubicBezTo>
                    <a:pt x="8104898" y="919163"/>
                    <a:pt x="8088195" y="903527"/>
                    <a:pt x="8088195" y="884238"/>
                  </a:cubicBezTo>
                  <a:cubicBezTo>
                    <a:pt x="8088195" y="864949"/>
                    <a:pt x="8104898" y="849313"/>
                    <a:pt x="8125502" y="849313"/>
                  </a:cubicBezTo>
                  <a:close/>
                  <a:moveTo>
                    <a:pt x="8042952" y="849313"/>
                  </a:moveTo>
                  <a:cubicBezTo>
                    <a:pt x="8061803" y="849313"/>
                    <a:pt x="8077084" y="864949"/>
                    <a:pt x="8077084" y="884238"/>
                  </a:cubicBezTo>
                  <a:cubicBezTo>
                    <a:pt x="8077084" y="903527"/>
                    <a:pt x="8061803" y="919163"/>
                    <a:pt x="8042952" y="919163"/>
                  </a:cubicBezTo>
                  <a:cubicBezTo>
                    <a:pt x="8024101" y="919163"/>
                    <a:pt x="8008820" y="903527"/>
                    <a:pt x="8008820" y="884238"/>
                  </a:cubicBezTo>
                  <a:cubicBezTo>
                    <a:pt x="8008820" y="864949"/>
                    <a:pt x="8024101" y="849313"/>
                    <a:pt x="8042952" y="849313"/>
                  </a:cubicBezTo>
                  <a:close/>
                  <a:moveTo>
                    <a:pt x="7957227" y="849313"/>
                  </a:moveTo>
                  <a:cubicBezTo>
                    <a:pt x="7976078" y="849313"/>
                    <a:pt x="7991359" y="864949"/>
                    <a:pt x="7991359" y="884238"/>
                  </a:cubicBezTo>
                  <a:cubicBezTo>
                    <a:pt x="7991359" y="903527"/>
                    <a:pt x="7976078" y="919163"/>
                    <a:pt x="7957227" y="919163"/>
                  </a:cubicBezTo>
                  <a:cubicBezTo>
                    <a:pt x="7938376" y="919163"/>
                    <a:pt x="7923095" y="903527"/>
                    <a:pt x="7923095" y="884238"/>
                  </a:cubicBezTo>
                  <a:cubicBezTo>
                    <a:pt x="7923095" y="864949"/>
                    <a:pt x="7938376" y="849313"/>
                    <a:pt x="7957227" y="849313"/>
                  </a:cubicBezTo>
                  <a:close/>
                  <a:moveTo>
                    <a:pt x="7871502" y="849313"/>
                  </a:moveTo>
                  <a:cubicBezTo>
                    <a:pt x="7890353" y="849313"/>
                    <a:pt x="7905634" y="864949"/>
                    <a:pt x="7905634" y="884238"/>
                  </a:cubicBezTo>
                  <a:cubicBezTo>
                    <a:pt x="7905634" y="903527"/>
                    <a:pt x="7890353" y="919163"/>
                    <a:pt x="7871502" y="919163"/>
                  </a:cubicBezTo>
                  <a:cubicBezTo>
                    <a:pt x="7852651" y="919163"/>
                    <a:pt x="7837370" y="903527"/>
                    <a:pt x="7837370" y="884238"/>
                  </a:cubicBezTo>
                  <a:cubicBezTo>
                    <a:pt x="7837370" y="864949"/>
                    <a:pt x="7852651" y="849313"/>
                    <a:pt x="7871502" y="849313"/>
                  </a:cubicBezTo>
                  <a:close/>
                  <a:moveTo>
                    <a:pt x="7785777" y="849313"/>
                  </a:moveTo>
                  <a:cubicBezTo>
                    <a:pt x="7804628" y="849313"/>
                    <a:pt x="7819909" y="864949"/>
                    <a:pt x="7819909" y="884238"/>
                  </a:cubicBezTo>
                  <a:cubicBezTo>
                    <a:pt x="7819909" y="903527"/>
                    <a:pt x="7804628" y="919163"/>
                    <a:pt x="7785777" y="919163"/>
                  </a:cubicBezTo>
                  <a:cubicBezTo>
                    <a:pt x="7766926" y="919163"/>
                    <a:pt x="7751645" y="903527"/>
                    <a:pt x="7751645" y="884238"/>
                  </a:cubicBezTo>
                  <a:cubicBezTo>
                    <a:pt x="7751645" y="864949"/>
                    <a:pt x="7766926" y="849313"/>
                    <a:pt x="7785777" y="849313"/>
                  </a:cubicBezTo>
                  <a:close/>
                  <a:moveTo>
                    <a:pt x="7706402" y="849313"/>
                  </a:moveTo>
                  <a:cubicBezTo>
                    <a:pt x="7725253" y="849313"/>
                    <a:pt x="7740534" y="864949"/>
                    <a:pt x="7740534" y="884238"/>
                  </a:cubicBezTo>
                  <a:cubicBezTo>
                    <a:pt x="7740534" y="903527"/>
                    <a:pt x="7725253" y="919163"/>
                    <a:pt x="7706402" y="919163"/>
                  </a:cubicBezTo>
                  <a:cubicBezTo>
                    <a:pt x="7687551" y="919163"/>
                    <a:pt x="7672270" y="903527"/>
                    <a:pt x="7672270" y="884238"/>
                  </a:cubicBezTo>
                  <a:cubicBezTo>
                    <a:pt x="7672270" y="864949"/>
                    <a:pt x="7687551" y="849313"/>
                    <a:pt x="7706402" y="849313"/>
                  </a:cubicBezTo>
                  <a:close/>
                  <a:moveTo>
                    <a:pt x="7620677" y="849313"/>
                  </a:moveTo>
                  <a:cubicBezTo>
                    <a:pt x="7639528" y="849313"/>
                    <a:pt x="7654809" y="864949"/>
                    <a:pt x="7654809" y="884238"/>
                  </a:cubicBezTo>
                  <a:cubicBezTo>
                    <a:pt x="7654809" y="903527"/>
                    <a:pt x="7639528" y="919163"/>
                    <a:pt x="7620677" y="919163"/>
                  </a:cubicBezTo>
                  <a:cubicBezTo>
                    <a:pt x="7601826" y="919163"/>
                    <a:pt x="7586545" y="903527"/>
                    <a:pt x="7586545" y="884238"/>
                  </a:cubicBezTo>
                  <a:cubicBezTo>
                    <a:pt x="7586545" y="864949"/>
                    <a:pt x="7601826" y="849313"/>
                    <a:pt x="7620677" y="849313"/>
                  </a:cubicBezTo>
                  <a:close/>
                  <a:moveTo>
                    <a:pt x="7534952" y="849313"/>
                  </a:moveTo>
                  <a:cubicBezTo>
                    <a:pt x="7553803" y="849313"/>
                    <a:pt x="7569084" y="864949"/>
                    <a:pt x="7569084" y="884238"/>
                  </a:cubicBezTo>
                  <a:cubicBezTo>
                    <a:pt x="7569084" y="903527"/>
                    <a:pt x="7553803" y="919163"/>
                    <a:pt x="7534952" y="919163"/>
                  </a:cubicBezTo>
                  <a:cubicBezTo>
                    <a:pt x="7516101" y="919163"/>
                    <a:pt x="7500820" y="903527"/>
                    <a:pt x="7500820" y="884238"/>
                  </a:cubicBezTo>
                  <a:cubicBezTo>
                    <a:pt x="7500820" y="864949"/>
                    <a:pt x="7516101" y="849313"/>
                    <a:pt x="7534952" y="849313"/>
                  </a:cubicBezTo>
                  <a:close/>
                  <a:moveTo>
                    <a:pt x="7449227" y="849313"/>
                  </a:moveTo>
                  <a:cubicBezTo>
                    <a:pt x="7468078" y="849313"/>
                    <a:pt x="7483359" y="864949"/>
                    <a:pt x="7483359" y="884238"/>
                  </a:cubicBezTo>
                  <a:cubicBezTo>
                    <a:pt x="7483359" y="903527"/>
                    <a:pt x="7468078" y="919163"/>
                    <a:pt x="7449227" y="919163"/>
                  </a:cubicBezTo>
                  <a:cubicBezTo>
                    <a:pt x="7430376" y="919163"/>
                    <a:pt x="7415095" y="903527"/>
                    <a:pt x="7415095" y="884238"/>
                  </a:cubicBezTo>
                  <a:cubicBezTo>
                    <a:pt x="7415095" y="864949"/>
                    <a:pt x="7430376" y="849313"/>
                    <a:pt x="7449227" y="849313"/>
                  </a:cubicBezTo>
                  <a:close/>
                  <a:moveTo>
                    <a:pt x="7366677" y="849313"/>
                  </a:moveTo>
                  <a:cubicBezTo>
                    <a:pt x="7387281" y="849313"/>
                    <a:pt x="7403984" y="864949"/>
                    <a:pt x="7403984" y="884238"/>
                  </a:cubicBezTo>
                  <a:cubicBezTo>
                    <a:pt x="7403984" y="903527"/>
                    <a:pt x="7387281" y="919163"/>
                    <a:pt x="7366677" y="919163"/>
                  </a:cubicBezTo>
                  <a:cubicBezTo>
                    <a:pt x="7346073" y="919163"/>
                    <a:pt x="7329370" y="903527"/>
                    <a:pt x="7329370" y="884238"/>
                  </a:cubicBezTo>
                  <a:cubicBezTo>
                    <a:pt x="7329370" y="864949"/>
                    <a:pt x="7346073" y="849313"/>
                    <a:pt x="7366677" y="849313"/>
                  </a:cubicBezTo>
                  <a:close/>
                  <a:moveTo>
                    <a:pt x="7284127" y="849313"/>
                  </a:moveTo>
                  <a:cubicBezTo>
                    <a:pt x="7302978" y="849313"/>
                    <a:pt x="7318259" y="864949"/>
                    <a:pt x="7318259" y="884238"/>
                  </a:cubicBezTo>
                  <a:cubicBezTo>
                    <a:pt x="7318259" y="903527"/>
                    <a:pt x="7302978" y="919163"/>
                    <a:pt x="7284127" y="919163"/>
                  </a:cubicBezTo>
                  <a:cubicBezTo>
                    <a:pt x="7265276" y="919163"/>
                    <a:pt x="7249995" y="903527"/>
                    <a:pt x="7249995" y="884238"/>
                  </a:cubicBezTo>
                  <a:cubicBezTo>
                    <a:pt x="7249995" y="864949"/>
                    <a:pt x="7265276" y="849313"/>
                    <a:pt x="7284127" y="849313"/>
                  </a:cubicBezTo>
                  <a:close/>
                  <a:moveTo>
                    <a:pt x="7198402" y="849313"/>
                  </a:moveTo>
                  <a:cubicBezTo>
                    <a:pt x="7217253" y="849313"/>
                    <a:pt x="7232534" y="864949"/>
                    <a:pt x="7232534" y="884238"/>
                  </a:cubicBezTo>
                  <a:cubicBezTo>
                    <a:pt x="7232534" y="903527"/>
                    <a:pt x="7217253" y="919163"/>
                    <a:pt x="7198402" y="919163"/>
                  </a:cubicBezTo>
                  <a:cubicBezTo>
                    <a:pt x="7179551" y="919163"/>
                    <a:pt x="7164270" y="903527"/>
                    <a:pt x="7164270" y="884238"/>
                  </a:cubicBezTo>
                  <a:cubicBezTo>
                    <a:pt x="7164270" y="864949"/>
                    <a:pt x="7179551" y="849313"/>
                    <a:pt x="7198402" y="849313"/>
                  </a:cubicBezTo>
                  <a:close/>
                  <a:moveTo>
                    <a:pt x="7112677" y="849313"/>
                  </a:moveTo>
                  <a:cubicBezTo>
                    <a:pt x="7131528" y="849313"/>
                    <a:pt x="7146809" y="864949"/>
                    <a:pt x="7146809" y="884238"/>
                  </a:cubicBezTo>
                  <a:cubicBezTo>
                    <a:pt x="7146809" y="903527"/>
                    <a:pt x="7131528" y="919163"/>
                    <a:pt x="7112677" y="919163"/>
                  </a:cubicBezTo>
                  <a:cubicBezTo>
                    <a:pt x="7093826" y="919163"/>
                    <a:pt x="7078545" y="903527"/>
                    <a:pt x="7078545" y="884238"/>
                  </a:cubicBezTo>
                  <a:cubicBezTo>
                    <a:pt x="7078545" y="864949"/>
                    <a:pt x="7093826" y="849313"/>
                    <a:pt x="7112677" y="849313"/>
                  </a:cubicBezTo>
                  <a:close/>
                  <a:moveTo>
                    <a:pt x="7027745" y="849313"/>
                  </a:moveTo>
                  <a:cubicBezTo>
                    <a:pt x="7047034" y="849313"/>
                    <a:pt x="7062670" y="864949"/>
                    <a:pt x="7062670" y="884238"/>
                  </a:cubicBezTo>
                  <a:cubicBezTo>
                    <a:pt x="7062670" y="903527"/>
                    <a:pt x="7047034" y="919163"/>
                    <a:pt x="7027745" y="919163"/>
                  </a:cubicBezTo>
                  <a:cubicBezTo>
                    <a:pt x="7008456" y="919163"/>
                    <a:pt x="6992820" y="903527"/>
                    <a:pt x="6992820" y="884238"/>
                  </a:cubicBezTo>
                  <a:cubicBezTo>
                    <a:pt x="6992820" y="864949"/>
                    <a:pt x="7008456" y="849313"/>
                    <a:pt x="7027745" y="849313"/>
                  </a:cubicBezTo>
                  <a:close/>
                  <a:moveTo>
                    <a:pt x="6947577" y="849313"/>
                  </a:moveTo>
                  <a:cubicBezTo>
                    <a:pt x="6966428" y="849313"/>
                    <a:pt x="6981709" y="864949"/>
                    <a:pt x="6981709" y="884238"/>
                  </a:cubicBezTo>
                  <a:cubicBezTo>
                    <a:pt x="6981709" y="903527"/>
                    <a:pt x="6966428" y="919163"/>
                    <a:pt x="6947577" y="919163"/>
                  </a:cubicBezTo>
                  <a:cubicBezTo>
                    <a:pt x="6928726" y="919163"/>
                    <a:pt x="6913445" y="903527"/>
                    <a:pt x="6913445" y="884238"/>
                  </a:cubicBezTo>
                  <a:cubicBezTo>
                    <a:pt x="6913445" y="864949"/>
                    <a:pt x="6928726" y="849313"/>
                    <a:pt x="6947577" y="849313"/>
                  </a:cubicBezTo>
                  <a:close/>
                  <a:moveTo>
                    <a:pt x="6861852" y="849313"/>
                  </a:moveTo>
                  <a:cubicBezTo>
                    <a:pt x="6880703" y="849313"/>
                    <a:pt x="6895984" y="864949"/>
                    <a:pt x="6895984" y="884238"/>
                  </a:cubicBezTo>
                  <a:cubicBezTo>
                    <a:pt x="6895984" y="903527"/>
                    <a:pt x="6880703" y="919163"/>
                    <a:pt x="6861852" y="919163"/>
                  </a:cubicBezTo>
                  <a:cubicBezTo>
                    <a:pt x="6843001" y="919163"/>
                    <a:pt x="6827720" y="903527"/>
                    <a:pt x="6827720" y="884238"/>
                  </a:cubicBezTo>
                  <a:cubicBezTo>
                    <a:pt x="6827720" y="864949"/>
                    <a:pt x="6843001" y="849313"/>
                    <a:pt x="6861852" y="849313"/>
                  </a:cubicBezTo>
                  <a:close/>
                  <a:moveTo>
                    <a:pt x="6691195" y="849313"/>
                  </a:moveTo>
                  <a:cubicBezTo>
                    <a:pt x="6710484" y="849313"/>
                    <a:pt x="6726120" y="864949"/>
                    <a:pt x="6726120" y="884238"/>
                  </a:cubicBezTo>
                  <a:cubicBezTo>
                    <a:pt x="6726120" y="903527"/>
                    <a:pt x="6710484" y="919163"/>
                    <a:pt x="6691195" y="919163"/>
                  </a:cubicBezTo>
                  <a:cubicBezTo>
                    <a:pt x="6671906" y="919163"/>
                    <a:pt x="6656270" y="903527"/>
                    <a:pt x="6656270" y="884238"/>
                  </a:cubicBezTo>
                  <a:cubicBezTo>
                    <a:pt x="6656270" y="864949"/>
                    <a:pt x="6671906" y="849313"/>
                    <a:pt x="6691195" y="849313"/>
                  </a:cubicBezTo>
                  <a:close/>
                  <a:moveTo>
                    <a:pt x="6607852" y="849313"/>
                  </a:moveTo>
                  <a:cubicBezTo>
                    <a:pt x="6628456" y="849313"/>
                    <a:pt x="6645159" y="864949"/>
                    <a:pt x="6645159" y="884238"/>
                  </a:cubicBezTo>
                  <a:cubicBezTo>
                    <a:pt x="6645159" y="903527"/>
                    <a:pt x="6628456" y="919163"/>
                    <a:pt x="6607852" y="919163"/>
                  </a:cubicBezTo>
                  <a:cubicBezTo>
                    <a:pt x="6587248" y="919163"/>
                    <a:pt x="6570545" y="903527"/>
                    <a:pt x="6570545" y="884238"/>
                  </a:cubicBezTo>
                  <a:cubicBezTo>
                    <a:pt x="6570545" y="864949"/>
                    <a:pt x="6587248" y="849313"/>
                    <a:pt x="6607852" y="849313"/>
                  </a:cubicBezTo>
                  <a:close/>
                  <a:moveTo>
                    <a:pt x="6525302" y="849313"/>
                  </a:moveTo>
                  <a:cubicBezTo>
                    <a:pt x="6544153" y="849313"/>
                    <a:pt x="6559434" y="864949"/>
                    <a:pt x="6559434" y="884238"/>
                  </a:cubicBezTo>
                  <a:cubicBezTo>
                    <a:pt x="6559434" y="903527"/>
                    <a:pt x="6544153" y="919163"/>
                    <a:pt x="6525302" y="919163"/>
                  </a:cubicBezTo>
                  <a:cubicBezTo>
                    <a:pt x="6506451" y="919163"/>
                    <a:pt x="6491170" y="903527"/>
                    <a:pt x="6491170" y="884238"/>
                  </a:cubicBezTo>
                  <a:cubicBezTo>
                    <a:pt x="6491170" y="864949"/>
                    <a:pt x="6506451" y="849313"/>
                    <a:pt x="6525302" y="849313"/>
                  </a:cubicBezTo>
                  <a:close/>
                  <a:moveTo>
                    <a:pt x="6439577" y="849313"/>
                  </a:moveTo>
                  <a:cubicBezTo>
                    <a:pt x="6458428" y="849313"/>
                    <a:pt x="6473709" y="864949"/>
                    <a:pt x="6473709" y="884238"/>
                  </a:cubicBezTo>
                  <a:cubicBezTo>
                    <a:pt x="6473709" y="903527"/>
                    <a:pt x="6458428" y="919163"/>
                    <a:pt x="6439577" y="919163"/>
                  </a:cubicBezTo>
                  <a:cubicBezTo>
                    <a:pt x="6420726" y="919163"/>
                    <a:pt x="6405445" y="903527"/>
                    <a:pt x="6405445" y="884238"/>
                  </a:cubicBezTo>
                  <a:cubicBezTo>
                    <a:pt x="6405445" y="864949"/>
                    <a:pt x="6420726" y="849313"/>
                    <a:pt x="6439577" y="849313"/>
                  </a:cubicBezTo>
                  <a:close/>
                  <a:moveTo>
                    <a:pt x="6353852" y="849313"/>
                  </a:moveTo>
                  <a:cubicBezTo>
                    <a:pt x="6372703" y="849313"/>
                    <a:pt x="6387984" y="864949"/>
                    <a:pt x="6387984" y="884238"/>
                  </a:cubicBezTo>
                  <a:cubicBezTo>
                    <a:pt x="6387984" y="903527"/>
                    <a:pt x="6372703" y="919163"/>
                    <a:pt x="6353852" y="919163"/>
                  </a:cubicBezTo>
                  <a:cubicBezTo>
                    <a:pt x="6335001" y="919163"/>
                    <a:pt x="6319720" y="903527"/>
                    <a:pt x="6319720" y="884238"/>
                  </a:cubicBezTo>
                  <a:cubicBezTo>
                    <a:pt x="6319720" y="864949"/>
                    <a:pt x="6335001" y="849313"/>
                    <a:pt x="6353852" y="849313"/>
                  </a:cubicBezTo>
                  <a:close/>
                  <a:moveTo>
                    <a:pt x="6268920" y="849313"/>
                  </a:moveTo>
                  <a:cubicBezTo>
                    <a:pt x="6288209" y="849313"/>
                    <a:pt x="6303845" y="864949"/>
                    <a:pt x="6303845" y="884238"/>
                  </a:cubicBezTo>
                  <a:cubicBezTo>
                    <a:pt x="6303845" y="903527"/>
                    <a:pt x="6288209" y="919163"/>
                    <a:pt x="6268920" y="919163"/>
                  </a:cubicBezTo>
                  <a:cubicBezTo>
                    <a:pt x="6249631" y="919163"/>
                    <a:pt x="6233995" y="903527"/>
                    <a:pt x="6233995" y="884238"/>
                  </a:cubicBezTo>
                  <a:cubicBezTo>
                    <a:pt x="6233995" y="864949"/>
                    <a:pt x="6249631" y="849313"/>
                    <a:pt x="6268920" y="849313"/>
                  </a:cubicBezTo>
                  <a:close/>
                  <a:moveTo>
                    <a:pt x="6103027" y="849313"/>
                  </a:moveTo>
                  <a:cubicBezTo>
                    <a:pt x="6121878" y="849313"/>
                    <a:pt x="6137159" y="864949"/>
                    <a:pt x="6137159" y="884238"/>
                  </a:cubicBezTo>
                  <a:cubicBezTo>
                    <a:pt x="6137159" y="903527"/>
                    <a:pt x="6121878" y="919163"/>
                    <a:pt x="6103027" y="919163"/>
                  </a:cubicBezTo>
                  <a:cubicBezTo>
                    <a:pt x="6084176" y="919163"/>
                    <a:pt x="6068895" y="903527"/>
                    <a:pt x="6068895" y="884238"/>
                  </a:cubicBezTo>
                  <a:cubicBezTo>
                    <a:pt x="6068895" y="864949"/>
                    <a:pt x="6084176" y="849313"/>
                    <a:pt x="6103027" y="849313"/>
                  </a:cubicBezTo>
                  <a:close/>
                  <a:moveTo>
                    <a:pt x="5849821" y="849313"/>
                  </a:moveTo>
                  <a:cubicBezTo>
                    <a:pt x="5869987" y="849313"/>
                    <a:pt x="5886334" y="864949"/>
                    <a:pt x="5886334" y="884238"/>
                  </a:cubicBezTo>
                  <a:cubicBezTo>
                    <a:pt x="5886334" y="903527"/>
                    <a:pt x="5869987" y="919163"/>
                    <a:pt x="5849821" y="919163"/>
                  </a:cubicBezTo>
                  <a:cubicBezTo>
                    <a:pt x="5829655" y="919163"/>
                    <a:pt x="5813308" y="903527"/>
                    <a:pt x="5813308" y="884238"/>
                  </a:cubicBezTo>
                  <a:cubicBezTo>
                    <a:pt x="5813308" y="864949"/>
                    <a:pt x="5829655" y="849313"/>
                    <a:pt x="5849821" y="849313"/>
                  </a:cubicBezTo>
                  <a:close/>
                  <a:moveTo>
                    <a:pt x="5766477" y="849313"/>
                  </a:moveTo>
                  <a:cubicBezTo>
                    <a:pt x="5785328" y="849313"/>
                    <a:pt x="5800609" y="864949"/>
                    <a:pt x="5800609" y="884238"/>
                  </a:cubicBezTo>
                  <a:cubicBezTo>
                    <a:pt x="5800609" y="903527"/>
                    <a:pt x="5785328" y="919163"/>
                    <a:pt x="5766477" y="919163"/>
                  </a:cubicBezTo>
                  <a:cubicBezTo>
                    <a:pt x="5747626" y="919163"/>
                    <a:pt x="5732345" y="903527"/>
                    <a:pt x="5732345" y="884238"/>
                  </a:cubicBezTo>
                  <a:cubicBezTo>
                    <a:pt x="5732345" y="864949"/>
                    <a:pt x="5747626" y="849313"/>
                    <a:pt x="5766477" y="849313"/>
                  </a:cubicBezTo>
                  <a:close/>
                  <a:moveTo>
                    <a:pt x="5680752" y="849313"/>
                  </a:moveTo>
                  <a:cubicBezTo>
                    <a:pt x="5699603" y="849313"/>
                    <a:pt x="5714884" y="864949"/>
                    <a:pt x="5714884" y="884238"/>
                  </a:cubicBezTo>
                  <a:cubicBezTo>
                    <a:pt x="5714884" y="903527"/>
                    <a:pt x="5699603" y="919163"/>
                    <a:pt x="5680752" y="919163"/>
                  </a:cubicBezTo>
                  <a:cubicBezTo>
                    <a:pt x="5661901" y="919163"/>
                    <a:pt x="5646620" y="903527"/>
                    <a:pt x="5646620" y="884238"/>
                  </a:cubicBezTo>
                  <a:cubicBezTo>
                    <a:pt x="5646620" y="864949"/>
                    <a:pt x="5661901" y="849313"/>
                    <a:pt x="5680752" y="849313"/>
                  </a:cubicBezTo>
                  <a:close/>
                  <a:moveTo>
                    <a:pt x="5595820" y="849313"/>
                  </a:moveTo>
                  <a:cubicBezTo>
                    <a:pt x="5615109" y="849313"/>
                    <a:pt x="5630745" y="864949"/>
                    <a:pt x="5630745" y="884238"/>
                  </a:cubicBezTo>
                  <a:cubicBezTo>
                    <a:pt x="5630745" y="903527"/>
                    <a:pt x="5615109" y="919163"/>
                    <a:pt x="5595820" y="919163"/>
                  </a:cubicBezTo>
                  <a:cubicBezTo>
                    <a:pt x="5576531" y="919163"/>
                    <a:pt x="5560895" y="903527"/>
                    <a:pt x="5560895" y="884238"/>
                  </a:cubicBezTo>
                  <a:cubicBezTo>
                    <a:pt x="5560895" y="864949"/>
                    <a:pt x="5576531" y="849313"/>
                    <a:pt x="5595820" y="849313"/>
                  </a:cubicBezTo>
                  <a:close/>
                  <a:moveTo>
                    <a:pt x="5510095" y="849313"/>
                  </a:moveTo>
                  <a:cubicBezTo>
                    <a:pt x="5529384" y="849313"/>
                    <a:pt x="5545020" y="864949"/>
                    <a:pt x="5545020" y="884238"/>
                  </a:cubicBezTo>
                  <a:cubicBezTo>
                    <a:pt x="5545020" y="903527"/>
                    <a:pt x="5529384" y="919163"/>
                    <a:pt x="5510095" y="919163"/>
                  </a:cubicBezTo>
                  <a:cubicBezTo>
                    <a:pt x="5490806" y="919163"/>
                    <a:pt x="5475170" y="903527"/>
                    <a:pt x="5475170" y="884238"/>
                  </a:cubicBezTo>
                  <a:cubicBezTo>
                    <a:pt x="5475170" y="864949"/>
                    <a:pt x="5490806" y="849313"/>
                    <a:pt x="5510095" y="849313"/>
                  </a:cubicBezTo>
                  <a:close/>
                  <a:moveTo>
                    <a:pt x="4163895" y="849313"/>
                  </a:moveTo>
                  <a:cubicBezTo>
                    <a:pt x="4183184" y="849313"/>
                    <a:pt x="4198820" y="864949"/>
                    <a:pt x="4198820" y="884238"/>
                  </a:cubicBezTo>
                  <a:cubicBezTo>
                    <a:pt x="4198820" y="903527"/>
                    <a:pt x="4183184" y="919163"/>
                    <a:pt x="4163895" y="919163"/>
                  </a:cubicBezTo>
                  <a:cubicBezTo>
                    <a:pt x="4144606" y="919163"/>
                    <a:pt x="4128970" y="903527"/>
                    <a:pt x="4128970" y="884238"/>
                  </a:cubicBezTo>
                  <a:cubicBezTo>
                    <a:pt x="4128970" y="864949"/>
                    <a:pt x="4144606" y="849313"/>
                    <a:pt x="4163895" y="849313"/>
                  </a:cubicBezTo>
                  <a:close/>
                  <a:moveTo>
                    <a:pt x="4078170" y="849313"/>
                  </a:moveTo>
                  <a:cubicBezTo>
                    <a:pt x="4097459" y="849313"/>
                    <a:pt x="4113095" y="864949"/>
                    <a:pt x="4113095" y="884238"/>
                  </a:cubicBezTo>
                  <a:cubicBezTo>
                    <a:pt x="4113095" y="903527"/>
                    <a:pt x="4097459" y="919163"/>
                    <a:pt x="4078170" y="919163"/>
                  </a:cubicBezTo>
                  <a:cubicBezTo>
                    <a:pt x="4058881" y="919163"/>
                    <a:pt x="4043245" y="903527"/>
                    <a:pt x="4043245" y="884238"/>
                  </a:cubicBezTo>
                  <a:cubicBezTo>
                    <a:pt x="4043245" y="864949"/>
                    <a:pt x="4058881" y="849313"/>
                    <a:pt x="4078170" y="849313"/>
                  </a:cubicBezTo>
                  <a:close/>
                  <a:moveTo>
                    <a:pt x="3993240" y="849313"/>
                  </a:moveTo>
                  <a:cubicBezTo>
                    <a:pt x="4012091" y="849313"/>
                    <a:pt x="4027372" y="864949"/>
                    <a:pt x="4027372" y="884238"/>
                  </a:cubicBezTo>
                  <a:cubicBezTo>
                    <a:pt x="4027372" y="903527"/>
                    <a:pt x="4012091" y="919163"/>
                    <a:pt x="3993240" y="919163"/>
                  </a:cubicBezTo>
                  <a:cubicBezTo>
                    <a:pt x="3974389" y="919163"/>
                    <a:pt x="3959108" y="903527"/>
                    <a:pt x="3959108" y="884238"/>
                  </a:cubicBezTo>
                  <a:cubicBezTo>
                    <a:pt x="3959108" y="864949"/>
                    <a:pt x="3974389" y="849313"/>
                    <a:pt x="3993240" y="849313"/>
                  </a:cubicBezTo>
                  <a:close/>
                  <a:moveTo>
                    <a:pt x="3912277" y="849313"/>
                  </a:moveTo>
                  <a:cubicBezTo>
                    <a:pt x="3931128" y="849313"/>
                    <a:pt x="3946409" y="864949"/>
                    <a:pt x="3946409" y="884238"/>
                  </a:cubicBezTo>
                  <a:cubicBezTo>
                    <a:pt x="3946409" y="903527"/>
                    <a:pt x="3931128" y="919163"/>
                    <a:pt x="3912277" y="919163"/>
                  </a:cubicBezTo>
                  <a:cubicBezTo>
                    <a:pt x="3893426" y="919163"/>
                    <a:pt x="3878145" y="903527"/>
                    <a:pt x="3878145" y="884238"/>
                  </a:cubicBezTo>
                  <a:cubicBezTo>
                    <a:pt x="3878145" y="864949"/>
                    <a:pt x="3893426" y="849313"/>
                    <a:pt x="3912277" y="849313"/>
                  </a:cubicBezTo>
                  <a:close/>
                  <a:moveTo>
                    <a:pt x="3826552" y="849313"/>
                  </a:moveTo>
                  <a:cubicBezTo>
                    <a:pt x="3845403" y="849313"/>
                    <a:pt x="3860684" y="864949"/>
                    <a:pt x="3860684" y="884238"/>
                  </a:cubicBezTo>
                  <a:cubicBezTo>
                    <a:pt x="3860684" y="903527"/>
                    <a:pt x="3845403" y="919163"/>
                    <a:pt x="3826552" y="919163"/>
                  </a:cubicBezTo>
                  <a:cubicBezTo>
                    <a:pt x="3807701" y="919163"/>
                    <a:pt x="3792420" y="903527"/>
                    <a:pt x="3792420" y="884238"/>
                  </a:cubicBezTo>
                  <a:cubicBezTo>
                    <a:pt x="3792420" y="864949"/>
                    <a:pt x="3807701" y="849313"/>
                    <a:pt x="3826552" y="849313"/>
                  </a:cubicBezTo>
                  <a:close/>
                  <a:moveTo>
                    <a:pt x="3741620" y="849313"/>
                  </a:moveTo>
                  <a:cubicBezTo>
                    <a:pt x="3760909" y="849313"/>
                    <a:pt x="3776545" y="864949"/>
                    <a:pt x="3776545" y="884238"/>
                  </a:cubicBezTo>
                  <a:cubicBezTo>
                    <a:pt x="3776545" y="903527"/>
                    <a:pt x="3760909" y="919163"/>
                    <a:pt x="3741620" y="919163"/>
                  </a:cubicBezTo>
                  <a:cubicBezTo>
                    <a:pt x="3722331" y="919163"/>
                    <a:pt x="3706695" y="903527"/>
                    <a:pt x="3706695" y="884238"/>
                  </a:cubicBezTo>
                  <a:cubicBezTo>
                    <a:pt x="3706695" y="864949"/>
                    <a:pt x="3722331" y="849313"/>
                    <a:pt x="3741620" y="849313"/>
                  </a:cubicBezTo>
                  <a:close/>
                  <a:moveTo>
                    <a:pt x="3320140" y="849313"/>
                  </a:moveTo>
                  <a:cubicBezTo>
                    <a:pt x="3338991" y="849313"/>
                    <a:pt x="3354272" y="864949"/>
                    <a:pt x="3354272" y="884238"/>
                  </a:cubicBezTo>
                  <a:cubicBezTo>
                    <a:pt x="3354272" y="903527"/>
                    <a:pt x="3338991" y="919163"/>
                    <a:pt x="3320140" y="919163"/>
                  </a:cubicBezTo>
                  <a:cubicBezTo>
                    <a:pt x="3301289" y="919163"/>
                    <a:pt x="3286008" y="903527"/>
                    <a:pt x="3286008" y="884238"/>
                  </a:cubicBezTo>
                  <a:cubicBezTo>
                    <a:pt x="3286008" y="864949"/>
                    <a:pt x="3301289" y="849313"/>
                    <a:pt x="3320140" y="849313"/>
                  </a:cubicBezTo>
                  <a:close/>
                  <a:moveTo>
                    <a:pt x="3234415" y="849313"/>
                  </a:moveTo>
                  <a:cubicBezTo>
                    <a:pt x="3253266" y="849313"/>
                    <a:pt x="3268547" y="864949"/>
                    <a:pt x="3268547" y="884238"/>
                  </a:cubicBezTo>
                  <a:cubicBezTo>
                    <a:pt x="3268547" y="903527"/>
                    <a:pt x="3253266" y="919163"/>
                    <a:pt x="3234415" y="919163"/>
                  </a:cubicBezTo>
                  <a:cubicBezTo>
                    <a:pt x="3215564" y="919163"/>
                    <a:pt x="3200283" y="903527"/>
                    <a:pt x="3200283" y="884238"/>
                  </a:cubicBezTo>
                  <a:cubicBezTo>
                    <a:pt x="3200283" y="864949"/>
                    <a:pt x="3215564" y="849313"/>
                    <a:pt x="3234415" y="849313"/>
                  </a:cubicBezTo>
                  <a:close/>
                  <a:moveTo>
                    <a:pt x="3153452" y="849313"/>
                  </a:moveTo>
                  <a:cubicBezTo>
                    <a:pt x="3172303" y="849313"/>
                    <a:pt x="3187584" y="864949"/>
                    <a:pt x="3187584" y="884238"/>
                  </a:cubicBezTo>
                  <a:cubicBezTo>
                    <a:pt x="3187584" y="903527"/>
                    <a:pt x="3172303" y="919163"/>
                    <a:pt x="3153452" y="919163"/>
                  </a:cubicBezTo>
                  <a:cubicBezTo>
                    <a:pt x="3134601" y="919163"/>
                    <a:pt x="3119320" y="903527"/>
                    <a:pt x="3119320" y="884238"/>
                  </a:cubicBezTo>
                  <a:cubicBezTo>
                    <a:pt x="3119320" y="864949"/>
                    <a:pt x="3134601" y="849313"/>
                    <a:pt x="3153452" y="849313"/>
                  </a:cubicBezTo>
                  <a:close/>
                  <a:moveTo>
                    <a:pt x="2646273" y="849313"/>
                  </a:moveTo>
                  <a:cubicBezTo>
                    <a:pt x="2665562" y="849313"/>
                    <a:pt x="2681197" y="864949"/>
                    <a:pt x="2681197" y="884238"/>
                  </a:cubicBezTo>
                  <a:cubicBezTo>
                    <a:pt x="2681197" y="903527"/>
                    <a:pt x="2665562" y="919163"/>
                    <a:pt x="2646273" y="919163"/>
                  </a:cubicBezTo>
                  <a:cubicBezTo>
                    <a:pt x="2626984" y="919163"/>
                    <a:pt x="2611348" y="903527"/>
                    <a:pt x="2611348" y="884238"/>
                  </a:cubicBezTo>
                  <a:cubicBezTo>
                    <a:pt x="2611348" y="864949"/>
                    <a:pt x="2626984" y="849313"/>
                    <a:pt x="2646273" y="849313"/>
                  </a:cubicBezTo>
                  <a:close/>
                  <a:moveTo>
                    <a:pt x="2561352" y="849313"/>
                  </a:moveTo>
                  <a:cubicBezTo>
                    <a:pt x="2580204" y="849313"/>
                    <a:pt x="2595485" y="864949"/>
                    <a:pt x="2595485" y="884238"/>
                  </a:cubicBezTo>
                  <a:cubicBezTo>
                    <a:pt x="2595485" y="903527"/>
                    <a:pt x="2580204" y="919163"/>
                    <a:pt x="2561352" y="919163"/>
                  </a:cubicBezTo>
                  <a:cubicBezTo>
                    <a:pt x="2542501" y="919163"/>
                    <a:pt x="2527220" y="903527"/>
                    <a:pt x="2527220" y="884238"/>
                  </a:cubicBezTo>
                  <a:cubicBezTo>
                    <a:pt x="2527220" y="864949"/>
                    <a:pt x="2542501" y="849313"/>
                    <a:pt x="2561352" y="849313"/>
                  </a:cubicBezTo>
                  <a:close/>
                  <a:moveTo>
                    <a:pt x="2394666" y="849313"/>
                  </a:moveTo>
                  <a:cubicBezTo>
                    <a:pt x="2413515" y="849313"/>
                    <a:pt x="2428797" y="864949"/>
                    <a:pt x="2428797" y="884238"/>
                  </a:cubicBezTo>
                  <a:cubicBezTo>
                    <a:pt x="2428797" y="903527"/>
                    <a:pt x="2413515" y="919163"/>
                    <a:pt x="2394666" y="919163"/>
                  </a:cubicBezTo>
                  <a:cubicBezTo>
                    <a:pt x="2375813" y="919163"/>
                    <a:pt x="2360533" y="903527"/>
                    <a:pt x="2360533" y="884238"/>
                  </a:cubicBezTo>
                  <a:cubicBezTo>
                    <a:pt x="2360533" y="864949"/>
                    <a:pt x="2375813" y="849313"/>
                    <a:pt x="2394666" y="849313"/>
                  </a:cubicBezTo>
                  <a:close/>
                  <a:moveTo>
                    <a:pt x="2309735" y="849313"/>
                  </a:moveTo>
                  <a:cubicBezTo>
                    <a:pt x="2329020" y="849313"/>
                    <a:pt x="2344660" y="864949"/>
                    <a:pt x="2344660" y="884238"/>
                  </a:cubicBezTo>
                  <a:cubicBezTo>
                    <a:pt x="2344660" y="903527"/>
                    <a:pt x="2329020" y="919163"/>
                    <a:pt x="2309735" y="919163"/>
                  </a:cubicBezTo>
                  <a:cubicBezTo>
                    <a:pt x="2290444" y="919163"/>
                    <a:pt x="2274810" y="903527"/>
                    <a:pt x="2274810" y="884238"/>
                  </a:cubicBezTo>
                  <a:cubicBezTo>
                    <a:pt x="2274810" y="864949"/>
                    <a:pt x="2290444" y="849313"/>
                    <a:pt x="2309735" y="849313"/>
                  </a:cubicBezTo>
                  <a:close/>
                  <a:moveTo>
                    <a:pt x="2224804" y="849313"/>
                  </a:moveTo>
                  <a:cubicBezTo>
                    <a:pt x="2243654" y="849313"/>
                    <a:pt x="2258936" y="864949"/>
                    <a:pt x="2258936" y="884238"/>
                  </a:cubicBezTo>
                  <a:cubicBezTo>
                    <a:pt x="2258936" y="903527"/>
                    <a:pt x="2243654" y="919163"/>
                    <a:pt x="2224804" y="919163"/>
                  </a:cubicBezTo>
                  <a:cubicBezTo>
                    <a:pt x="2205952" y="919163"/>
                    <a:pt x="2190671" y="903527"/>
                    <a:pt x="2190671" y="884238"/>
                  </a:cubicBezTo>
                  <a:cubicBezTo>
                    <a:pt x="2190671" y="864949"/>
                    <a:pt x="2205952" y="849313"/>
                    <a:pt x="2224804" y="849313"/>
                  </a:cubicBezTo>
                  <a:close/>
                  <a:moveTo>
                    <a:pt x="2055721" y="849313"/>
                  </a:moveTo>
                  <a:cubicBezTo>
                    <a:pt x="2075887" y="849313"/>
                    <a:pt x="2092234" y="864949"/>
                    <a:pt x="2092234" y="884238"/>
                  </a:cubicBezTo>
                  <a:cubicBezTo>
                    <a:pt x="2092234" y="903527"/>
                    <a:pt x="2075887" y="919163"/>
                    <a:pt x="2055721" y="919163"/>
                  </a:cubicBezTo>
                  <a:cubicBezTo>
                    <a:pt x="2035555" y="919163"/>
                    <a:pt x="2019209" y="903527"/>
                    <a:pt x="2019209" y="884238"/>
                  </a:cubicBezTo>
                  <a:cubicBezTo>
                    <a:pt x="2019209" y="864949"/>
                    <a:pt x="2035555" y="849313"/>
                    <a:pt x="2055721" y="849313"/>
                  </a:cubicBezTo>
                  <a:close/>
                  <a:moveTo>
                    <a:pt x="1973171" y="849313"/>
                  </a:moveTo>
                  <a:cubicBezTo>
                    <a:pt x="1992459" y="849313"/>
                    <a:pt x="2008096" y="864949"/>
                    <a:pt x="2008096" y="884238"/>
                  </a:cubicBezTo>
                  <a:cubicBezTo>
                    <a:pt x="2008096" y="903527"/>
                    <a:pt x="1992459" y="919163"/>
                    <a:pt x="1973171" y="919163"/>
                  </a:cubicBezTo>
                  <a:cubicBezTo>
                    <a:pt x="1953883" y="919163"/>
                    <a:pt x="1938246" y="903527"/>
                    <a:pt x="1938246" y="884238"/>
                  </a:cubicBezTo>
                  <a:cubicBezTo>
                    <a:pt x="1938246" y="864949"/>
                    <a:pt x="1953883" y="849313"/>
                    <a:pt x="1973171" y="849313"/>
                  </a:cubicBezTo>
                  <a:close/>
                  <a:moveTo>
                    <a:pt x="1802514" y="849313"/>
                  </a:moveTo>
                  <a:cubicBezTo>
                    <a:pt x="1821365" y="849313"/>
                    <a:pt x="1836646" y="864949"/>
                    <a:pt x="1836646" y="884238"/>
                  </a:cubicBezTo>
                  <a:cubicBezTo>
                    <a:pt x="1836646" y="903527"/>
                    <a:pt x="1821365" y="919163"/>
                    <a:pt x="1802514" y="919163"/>
                  </a:cubicBezTo>
                  <a:cubicBezTo>
                    <a:pt x="1783663" y="919163"/>
                    <a:pt x="1768382" y="903527"/>
                    <a:pt x="1768382" y="884238"/>
                  </a:cubicBezTo>
                  <a:cubicBezTo>
                    <a:pt x="1768382" y="864949"/>
                    <a:pt x="1783663" y="849313"/>
                    <a:pt x="1802514" y="849313"/>
                  </a:cubicBezTo>
                  <a:close/>
                  <a:moveTo>
                    <a:pt x="1719170" y="849313"/>
                  </a:moveTo>
                  <a:cubicBezTo>
                    <a:pt x="1739336" y="849313"/>
                    <a:pt x="1755684" y="864949"/>
                    <a:pt x="1755684" y="884238"/>
                  </a:cubicBezTo>
                  <a:cubicBezTo>
                    <a:pt x="1755684" y="903527"/>
                    <a:pt x="1739336" y="919163"/>
                    <a:pt x="1719170" y="919163"/>
                  </a:cubicBezTo>
                  <a:cubicBezTo>
                    <a:pt x="1699005" y="919163"/>
                    <a:pt x="1682658" y="903527"/>
                    <a:pt x="1682658" y="884238"/>
                  </a:cubicBezTo>
                  <a:cubicBezTo>
                    <a:pt x="1682658" y="864949"/>
                    <a:pt x="1699005" y="849313"/>
                    <a:pt x="1719170" y="849313"/>
                  </a:cubicBezTo>
                  <a:close/>
                  <a:moveTo>
                    <a:pt x="1636620" y="849313"/>
                  </a:moveTo>
                  <a:cubicBezTo>
                    <a:pt x="1655908" y="849313"/>
                    <a:pt x="1671545" y="864949"/>
                    <a:pt x="1671545" y="884238"/>
                  </a:cubicBezTo>
                  <a:cubicBezTo>
                    <a:pt x="1671545" y="903527"/>
                    <a:pt x="1655908" y="919163"/>
                    <a:pt x="1636620" y="919163"/>
                  </a:cubicBezTo>
                  <a:cubicBezTo>
                    <a:pt x="1617331" y="919163"/>
                    <a:pt x="1601695" y="903527"/>
                    <a:pt x="1601695" y="884238"/>
                  </a:cubicBezTo>
                  <a:cubicBezTo>
                    <a:pt x="1601695" y="864949"/>
                    <a:pt x="1617331" y="849313"/>
                    <a:pt x="1636620" y="849313"/>
                  </a:cubicBezTo>
                  <a:close/>
                  <a:moveTo>
                    <a:pt x="1551690" y="849313"/>
                  </a:moveTo>
                  <a:cubicBezTo>
                    <a:pt x="1570541" y="849313"/>
                    <a:pt x="1585821" y="864949"/>
                    <a:pt x="1585821" y="884238"/>
                  </a:cubicBezTo>
                  <a:cubicBezTo>
                    <a:pt x="1585821" y="903527"/>
                    <a:pt x="1570541" y="919163"/>
                    <a:pt x="1551690" y="919163"/>
                  </a:cubicBezTo>
                  <a:cubicBezTo>
                    <a:pt x="1532838" y="919163"/>
                    <a:pt x="1517557" y="903527"/>
                    <a:pt x="1517557" y="884238"/>
                  </a:cubicBezTo>
                  <a:cubicBezTo>
                    <a:pt x="1517557" y="864949"/>
                    <a:pt x="1532838" y="849313"/>
                    <a:pt x="1551690" y="849313"/>
                  </a:cubicBezTo>
                  <a:close/>
                  <a:moveTo>
                    <a:pt x="1465955" y="849313"/>
                  </a:moveTo>
                  <a:cubicBezTo>
                    <a:pt x="1484806" y="849313"/>
                    <a:pt x="1500086" y="864949"/>
                    <a:pt x="1500086" y="884238"/>
                  </a:cubicBezTo>
                  <a:cubicBezTo>
                    <a:pt x="1500086" y="903527"/>
                    <a:pt x="1484806" y="919163"/>
                    <a:pt x="1465955" y="919163"/>
                  </a:cubicBezTo>
                  <a:cubicBezTo>
                    <a:pt x="1447103" y="919163"/>
                    <a:pt x="1431822" y="903527"/>
                    <a:pt x="1431822" y="884238"/>
                  </a:cubicBezTo>
                  <a:cubicBezTo>
                    <a:pt x="1431822" y="864949"/>
                    <a:pt x="1447103" y="849313"/>
                    <a:pt x="1465955" y="849313"/>
                  </a:cubicBezTo>
                  <a:close/>
                  <a:moveTo>
                    <a:pt x="1380229" y="849313"/>
                  </a:moveTo>
                  <a:cubicBezTo>
                    <a:pt x="1399080" y="849313"/>
                    <a:pt x="1414361" y="864949"/>
                    <a:pt x="1414361" y="884238"/>
                  </a:cubicBezTo>
                  <a:cubicBezTo>
                    <a:pt x="1414361" y="903527"/>
                    <a:pt x="1399080" y="919163"/>
                    <a:pt x="1380229" y="919163"/>
                  </a:cubicBezTo>
                  <a:cubicBezTo>
                    <a:pt x="1361378" y="919163"/>
                    <a:pt x="1346096" y="903527"/>
                    <a:pt x="1346096" y="884238"/>
                  </a:cubicBezTo>
                  <a:cubicBezTo>
                    <a:pt x="1346096" y="864949"/>
                    <a:pt x="1361378" y="849313"/>
                    <a:pt x="1380229" y="849313"/>
                  </a:cubicBezTo>
                  <a:close/>
                  <a:moveTo>
                    <a:pt x="1300050" y="849313"/>
                  </a:moveTo>
                  <a:cubicBezTo>
                    <a:pt x="1319339" y="849313"/>
                    <a:pt x="1334975" y="864949"/>
                    <a:pt x="1334975" y="884238"/>
                  </a:cubicBezTo>
                  <a:cubicBezTo>
                    <a:pt x="1334975" y="903527"/>
                    <a:pt x="1319339" y="919163"/>
                    <a:pt x="1300050" y="919163"/>
                  </a:cubicBezTo>
                  <a:cubicBezTo>
                    <a:pt x="1280760" y="919163"/>
                    <a:pt x="1265125" y="903527"/>
                    <a:pt x="1265125" y="884238"/>
                  </a:cubicBezTo>
                  <a:cubicBezTo>
                    <a:pt x="1265125" y="864949"/>
                    <a:pt x="1280760" y="849313"/>
                    <a:pt x="1300050" y="849313"/>
                  </a:cubicBezTo>
                  <a:close/>
                  <a:moveTo>
                    <a:pt x="1214500" y="849313"/>
                  </a:moveTo>
                  <a:cubicBezTo>
                    <a:pt x="1233787" y="849313"/>
                    <a:pt x="1249422" y="864949"/>
                    <a:pt x="1249422" y="884238"/>
                  </a:cubicBezTo>
                  <a:cubicBezTo>
                    <a:pt x="1249422" y="903527"/>
                    <a:pt x="1233787" y="919163"/>
                    <a:pt x="1214500" y="919163"/>
                  </a:cubicBezTo>
                  <a:cubicBezTo>
                    <a:pt x="1195210" y="919163"/>
                    <a:pt x="1179573" y="903527"/>
                    <a:pt x="1179573" y="884238"/>
                  </a:cubicBezTo>
                  <a:cubicBezTo>
                    <a:pt x="1179573" y="864949"/>
                    <a:pt x="1195210" y="849313"/>
                    <a:pt x="1214500" y="849313"/>
                  </a:cubicBezTo>
                  <a:close/>
                  <a:moveTo>
                    <a:pt x="1129569" y="849313"/>
                  </a:moveTo>
                  <a:cubicBezTo>
                    <a:pt x="1148422" y="849313"/>
                    <a:pt x="1163703" y="864949"/>
                    <a:pt x="1163703" y="884238"/>
                  </a:cubicBezTo>
                  <a:cubicBezTo>
                    <a:pt x="1163703" y="903527"/>
                    <a:pt x="1148422" y="919163"/>
                    <a:pt x="1129569" y="919163"/>
                  </a:cubicBezTo>
                  <a:cubicBezTo>
                    <a:pt x="1110723" y="919163"/>
                    <a:pt x="1095440" y="903527"/>
                    <a:pt x="1095440" y="884238"/>
                  </a:cubicBezTo>
                  <a:cubicBezTo>
                    <a:pt x="1095440" y="864949"/>
                    <a:pt x="1110723" y="849313"/>
                    <a:pt x="1129569" y="849313"/>
                  </a:cubicBezTo>
                  <a:close/>
                  <a:moveTo>
                    <a:pt x="960493" y="849313"/>
                  </a:moveTo>
                  <a:cubicBezTo>
                    <a:pt x="980661" y="849313"/>
                    <a:pt x="997009" y="864949"/>
                    <a:pt x="997009" y="884238"/>
                  </a:cubicBezTo>
                  <a:cubicBezTo>
                    <a:pt x="997009" y="903527"/>
                    <a:pt x="980661" y="919163"/>
                    <a:pt x="960493" y="919163"/>
                  </a:cubicBezTo>
                  <a:cubicBezTo>
                    <a:pt x="940325" y="919163"/>
                    <a:pt x="923978" y="903527"/>
                    <a:pt x="923978" y="884238"/>
                  </a:cubicBezTo>
                  <a:cubicBezTo>
                    <a:pt x="923978" y="864949"/>
                    <a:pt x="940325" y="849313"/>
                    <a:pt x="960493" y="849313"/>
                  </a:cubicBezTo>
                  <a:close/>
                  <a:moveTo>
                    <a:pt x="877939" y="849313"/>
                  </a:moveTo>
                  <a:cubicBezTo>
                    <a:pt x="897228" y="849313"/>
                    <a:pt x="912864" y="864949"/>
                    <a:pt x="912864" y="884238"/>
                  </a:cubicBezTo>
                  <a:cubicBezTo>
                    <a:pt x="912864" y="903527"/>
                    <a:pt x="897228" y="919163"/>
                    <a:pt x="877939" y="919163"/>
                  </a:cubicBezTo>
                  <a:cubicBezTo>
                    <a:pt x="858647" y="919163"/>
                    <a:pt x="843014" y="903527"/>
                    <a:pt x="843014" y="884238"/>
                  </a:cubicBezTo>
                  <a:cubicBezTo>
                    <a:pt x="843014" y="864949"/>
                    <a:pt x="858647" y="849313"/>
                    <a:pt x="877939" y="849313"/>
                  </a:cubicBezTo>
                  <a:close/>
                  <a:moveTo>
                    <a:pt x="793002" y="849313"/>
                  </a:moveTo>
                  <a:cubicBezTo>
                    <a:pt x="811858" y="849313"/>
                    <a:pt x="827137" y="864949"/>
                    <a:pt x="827137" y="884238"/>
                  </a:cubicBezTo>
                  <a:cubicBezTo>
                    <a:pt x="827137" y="903527"/>
                    <a:pt x="811858" y="919163"/>
                    <a:pt x="793002" y="919163"/>
                  </a:cubicBezTo>
                  <a:cubicBezTo>
                    <a:pt x="774151" y="919163"/>
                    <a:pt x="758871" y="903527"/>
                    <a:pt x="758871" y="884238"/>
                  </a:cubicBezTo>
                  <a:cubicBezTo>
                    <a:pt x="758871" y="864949"/>
                    <a:pt x="774151" y="849313"/>
                    <a:pt x="793002" y="849313"/>
                  </a:cubicBezTo>
                  <a:close/>
                  <a:moveTo>
                    <a:pt x="707275" y="849313"/>
                  </a:moveTo>
                  <a:cubicBezTo>
                    <a:pt x="726127" y="849313"/>
                    <a:pt x="741409" y="864949"/>
                    <a:pt x="741409" y="884238"/>
                  </a:cubicBezTo>
                  <a:cubicBezTo>
                    <a:pt x="741409" y="903527"/>
                    <a:pt x="726127" y="919163"/>
                    <a:pt x="707275" y="919163"/>
                  </a:cubicBezTo>
                  <a:cubicBezTo>
                    <a:pt x="688422" y="919163"/>
                    <a:pt x="673133" y="903527"/>
                    <a:pt x="673133" y="884238"/>
                  </a:cubicBezTo>
                  <a:cubicBezTo>
                    <a:pt x="673133" y="864949"/>
                    <a:pt x="688422" y="849313"/>
                    <a:pt x="707275" y="849313"/>
                  </a:cubicBezTo>
                  <a:close/>
                  <a:moveTo>
                    <a:pt x="621537" y="849313"/>
                  </a:moveTo>
                  <a:cubicBezTo>
                    <a:pt x="640389" y="849313"/>
                    <a:pt x="655670" y="864949"/>
                    <a:pt x="655670" y="884238"/>
                  </a:cubicBezTo>
                  <a:cubicBezTo>
                    <a:pt x="655670" y="903527"/>
                    <a:pt x="640389" y="919163"/>
                    <a:pt x="621537" y="919163"/>
                  </a:cubicBezTo>
                  <a:cubicBezTo>
                    <a:pt x="602687" y="919163"/>
                    <a:pt x="587405" y="903527"/>
                    <a:pt x="587405" y="884238"/>
                  </a:cubicBezTo>
                  <a:cubicBezTo>
                    <a:pt x="587405" y="864949"/>
                    <a:pt x="602687" y="849313"/>
                    <a:pt x="621537" y="849313"/>
                  </a:cubicBezTo>
                  <a:close/>
                  <a:moveTo>
                    <a:pt x="9138327" y="763588"/>
                  </a:moveTo>
                  <a:cubicBezTo>
                    <a:pt x="9157178" y="763588"/>
                    <a:pt x="9172459" y="778869"/>
                    <a:pt x="9172459" y="797720"/>
                  </a:cubicBezTo>
                  <a:cubicBezTo>
                    <a:pt x="9172459" y="816571"/>
                    <a:pt x="9157178" y="831852"/>
                    <a:pt x="9138327" y="831852"/>
                  </a:cubicBezTo>
                  <a:cubicBezTo>
                    <a:pt x="9119476" y="831852"/>
                    <a:pt x="9104195" y="816571"/>
                    <a:pt x="9104195" y="797720"/>
                  </a:cubicBezTo>
                  <a:cubicBezTo>
                    <a:pt x="9104195" y="778869"/>
                    <a:pt x="9119476" y="763588"/>
                    <a:pt x="9138327" y="763588"/>
                  </a:cubicBezTo>
                  <a:close/>
                  <a:moveTo>
                    <a:pt x="9052602" y="763588"/>
                  </a:moveTo>
                  <a:cubicBezTo>
                    <a:pt x="9071453" y="763588"/>
                    <a:pt x="9086734" y="778869"/>
                    <a:pt x="9086734" y="797720"/>
                  </a:cubicBezTo>
                  <a:cubicBezTo>
                    <a:pt x="9086734" y="816571"/>
                    <a:pt x="9071453" y="831852"/>
                    <a:pt x="9052602" y="831852"/>
                  </a:cubicBezTo>
                  <a:cubicBezTo>
                    <a:pt x="9033751" y="831852"/>
                    <a:pt x="9018470" y="816571"/>
                    <a:pt x="9018470" y="797720"/>
                  </a:cubicBezTo>
                  <a:cubicBezTo>
                    <a:pt x="9018470" y="778869"/>
                    <a:pt x="9033751" y="763588"/>
                    <a:pt x="9052602" y="763588"/>
                  </a:cubicBezTo>
                  <a:close/>
                  <a:moveTo>
                    <a:pt x="8966877" y="763588"/>
                  </a:moveTo>
                  <a:cubicBezTo>
                    <a:pt x="8985728" y="763588"/>
                    <a:pt x="9001009" y="778869"/>
                    <a:pt x="9001009" y="797720"/>
                  </a:cubicBezTo>
                  <a:cubicBezTo>
                    <a:pt x="9001009" y="816571"/>
                    <a:pt x="8985728" y="831852"/>
                    <a:pt x="8966877" y="831852"/>
                  </a:cubicBezTo>
                  <a:cubicBezTo>
                    <a:pt x="8948026" y="831852"/>
                    <a:pt x="8932745" y="816571"/>
                    <a:pt x="8932745" y="797720"/>
                  </a:cubicBezTo>
                  <a:cubicBezTo>
                    <a:pt x="8932745" y="778869"/>
                    <a:pt x="8948026" y="763588"/>
                    <a:pt x="8966877" y="763588"/>
                  </a:cubicBezTo>
                  <a:close/>
                  <a:moveTo>
                    <a:pt x="8884327" y="763588"/>
                  </a:moveTo>
                  <a:cubicBezTo>
                    <a:pt x="8904931" y="763588"/>
                    <a:pt x="8921634" y="778869"/>
                    <a:pt x="8921634" y="797720"/>
                  </a:cubicBezTo>
                  <a:cubicBezTo>
                    <a:pt x="8921634" y="816571"/>
                    <a:pt x="8904931" y="831852"/>
                    <a:pt x="8884327" y="831852"/>
                  </a:cubicBezTo>
                  <a:cubicBezTo>
                    <a:pt x="8863723" y="831852"/>
                    <a:pt x="8847020" y="816571"/>
                    <a:pt x="8847020" y="797720"/>
                  </a:cubicBezTo>
                  <a:cubicBezTo>
                    <a:pt x="8847020" y="778869"/>
                    <a:pt x="8863723" y="763588"/>
                    <a:pt x="8884327" y="763588"/>
                  </a:cubicBezTo>
                  <a:close/>
                  <a:moveTo>
                    <a:pt x="8801777" y="763588"/>
                  </a:moveTo>
                  <a:cubicBezTo>
                    <a:pt x="8820628" y="763588"/>
                    <a:pt x="8835909" y="778869"/>
                    <a:pt x="8835909" y="797720"/>
                  </a:cubicBezTo>
                  <a:cubicBezTo>
                    <a:pt x="8835909" y="816571"/>
                    <a:pt x="8820628" y="831852"/>
                    <a:pt x="8801777" y="831852"/>
                  </a:cubicBezTo>
                  <a:cubicBezTo>
                    <a:pt x="8782926" y="831852"/>
                    <a:pt x="8767645" y="816571"/>
                    <a:pt x="8767645" y="797720"/>
                  </a:cubicBezTo>
                  <a:cubicBezTo>
                    <a:pt x="8767645" y="778869"/>
                    <a:pt x="8782926" y="763588"/>
                    <a:pt x="8801777" y="763588"/>
                  </a:cubicBezTo>
                  <a:close/>
                  <a:moveTo>
                    <a:pt x="8716052" y="763588"/>
                  </a:moveTo>
                  <a:cubicBezTo>
                    <a:pt x="8734903" y="763588"/>
                    <a:pt x="8750184" y="778869"/>
                    <a:pt x="8750184" y="797720"/>
                  </a:cubicBezTo>
                  <a:cubicBezTo>
                    <a:pt x="8750184" y="816571"/>
                    <a:pt x="8734903" y="831852"/>
                    <a:pt x="8716052" y="831852"/>
                  </a:cubicBezTo>
                  <a:cubicBezTo>
                    <a:pt x="8697201" y="831852"/>
                    <a:pt x="8681920" y="816571"/>
                    <a:pt x="8681920" y="797720"/>
                  </a:cubicBezTo>
                  <a:cubicBezTo>
                    <a:pt x="8681920" y="778869"/>
                    <a:pt x="8697201" y="763588"/>
                    <a:pt x="8716052" y="763588"/>
                  </a:cubicBezTo>
                  <a:close/>
                  <a:moveTo>
                    <a:pt x="8630327" y="763588"/>
                  </a:moveTo>
                  <a:cubicBezTo>
                    <a:pt x="8649178" y="763588"/>
                    <a:pt x="8664459" y="778869"/>
                    <a:pt x="8664459" y="797720"/>
                  </a:cubicBezTo>
                  <a:cubicBezTo>
                    <a:pt x="8664459" y="816571"/>
                    <a:pt x="8649178" y="831852"/>
                    <a:pt x="8630327" y="831852"/>
                  </a:cubicBezTo>
                  <a:cubicBezTo>
                    <a:pt x="8611476" y="831852"/>
                    <a:pt x="8596195" y="816571"/>
                    <a:pt x="8596195" y="797720"/>
                  </a:cubicBezTo>
                  <a:cubicBezTo>
                    <a:pt x="8596195" y="778869"/>
                    <a:pt x="8611476" y="763588"/>
                    <a:pt x="8630327" y="763588"/>
                  </a:cubicBezTo>
                  <a:close/>
                  <a:moveTo>
                    <a:pt x="8544602" y="763588"/>
                  </a:moveTo>
                  <a:cubicBezTo>
                    <a:pt x="8563453" y="763588"/>
                    <a:pt x="8578734" y="778869"/>
                    <a:pt x="8578734" y="797720"/>
                  </a:cubicBezTo>
                  <a:cubicBezTo>
                    <a:pt x="8578734" y="816571"/>
                    <a:pt x="8563453" y="831852"/>
                    <a:pt x="8544602" y="831852"/>
                  </a:cubicBezTo>
                  <a:cubicBezTo>
                    <a:pt x="8525751" y="831852"/>
                    <a:pt x="8510470" y="816571"/>
                    <a:pt x="8510470" y="797720"/>
                  </a:cubicBezTo>
                  <a:cubicBezTo>
                    <a:pt x="8510470" y="778869"/>
                    <a:pt x="8525751" y="763588"/>
                    <a:pt x="8544602" y="763588"/>
                  </a:cubicBezTo>
                  <a:close/>
                  <a:moveTo>
                    <a:pt x="8465227" y="763588"/>
                  </a:moveTo>
                  <a:cubicBezTo>
                    <a:pt x="8484078" y="763588"/>
                    <a:pt x="8499359" y="778869"/>
                    <a:pt x="8499359" y="797720"/>
                  </a:cubicBezTo>
                  <a:cubicBezTo>
                    <a:pt x="8499359" y="816571"/>
                    <a:pt x="8484078" y="831852"/>
                    <a:pt x="8465227" y="831852"/>
                  </a:cubicBezTo>
                  <a:cubicBezTo>
                    <a:pt x="8446376" y="831852"/>
                    <a:pt x="8431095" y="816571"/>
                    <a:pt x="8431095" y="797720"/>
                  </a:cubicBezTo>
                  <a:cubicBezTo>
                    <a:pt x="8431095" y="778869"/>
                    <a:pt x="8446376" y="763588"/>
                    <a:pt x="8465227" y="763588"/>
                  </a:cubicBezTo>
                  <a:close/>
                  <a:moveTo>
                    <a:pt x="8379502" y="763588"/>
                  </a:moveTo>
                  <a:cubicBezTo>
                    <a:pt x="8398353" y="763588"/>
                    <a:pt x="8413634" y="778869"/>
                    <a:pt x="8413634" y="797720"/>
                  </a:cubicBezTo>
                  <a:cubicBezTo>
                    <a:pt x="8413634" y="816571"/>
                    <a:pt x="8398353" y="831852"/>
                    <a:pt x="8379502" y="831852"/>
                  </a:cubicBezTo>
                  <a:cubicBezTo>
                    <a:pt x="8360651" y="831852"/>
                    <a:pt x="8345370" y="816571"/>
                    <a:pt x="8345370" y="797720"/>
                  </a:cubicBezTo>
                  <a:cubicBezTo>
                    <a:pt x="8345370" y="778869"/>
                    <a:pt x="8360651" y="763588"/>
                    <a:pt x="8379502" y="763588"/>
                  </a:cubicBezTo>
                  <a:close/>
                  <a:moveTo>
                    <a:pt x="8293777" y="763588"/>
                  </a:moveTo>
                  <a:cubicBezTo>
                    <a:pt x="8312628" y="763588"/>
                    <a:pt x="8327909" y="778869"/>
                    <a:pt x="8327909" y="797720"/>
                  </a:cubicBezTo>
                  <a:cubicBezTo>
                    <a:pt x="8327909" y="816571"/>
                    <a:pt x="8312628" y="831852"/>
                    <a:pt x="8293777" y="831852"/>
                  </a:cubicBezTo>
                  <a:cubicBezTo>
                    <a:pt x="8274926" y="831852"/>
                    <a:pt x="8259645" y="816571"/>
                    <a:pt x="8259645" y="797720"/>
                  </a:cubicBezTo>
                  <a:cubicBezTo>
                    <a:pt x="8259645" y="778869"/>
                    <a:pt x="8274926" y="763588"/>
                    <a:pt x="8293777" y="763588"/>
                  </a:cubicBezTo>
                  <a:close/>
                  <a:moveTo>
                    <a:pt x="8208052" y="763588"/>
                  </a:moveTo>
                  <a:cubicBezTo>
                    <a:pt x="8226903" y="763588"/>
                    <a:pt x="8242184" y="778869"/>
                    <a:pt x="8242184" y="797720"/>
                  </a:cubicBezTo>
                  <a:cubicBezTo>
                    <a:pt x="8242184" y="816571"/>
                    <a:pt x="8226903" y="831852"/>
                    <a:pt x="8208052" y="831852"/>
                  </a:cubicBezTo>
                  <a:cubicBezTo>
                    <a:pt x="8189201" y="831852"/>
                    <a:pt x="8173920" y="816571"/>
                    <a:pt x="8173920" y="797720"/>
                  </a:cubicBezTo>
                  <a:cubicBezTo>
                    <a:pt x="8173920" y="778869"/>
                    <a:pt x="8189201" y="763588"/>
                    <a:pt x="8208052" y="763588"/>
                  </a:cubicBezTo>
                  <a:close/>
                  <a:moveTo>
                    <a:pt x="8125502" y="763588"/>
                  </a:moveTo>
                  <a:cubicBezTo>
                    <a:pt x="8146106" y="763588"/>
                    <a:pt x="8162809" y="778869"/>
                    <a:pt x="8162809" y="797720"/>
                  </a:cubicBezTo>
                  <a:cubicBezTo>
                    <a:pt x="8162809" y="816571"/>
                    <a:pt x="8146106" y="831852"/>
                    <a:pt x="8125502" y="831852"/>
                  </a:cubicBezTo>
                  <a:cubicBezTo>
                    <a:pt x="8104898" y="831852"/>
                    <a:pt x="8088195" y="816571"/>
                    <a:pt x="8088195" y="797720"/>
                  </a:cubicBezTo>
                  <a:cubicBezTo>
                    <a:pt x="8088195" y="778869"/>
                    <a:pt x="8104898" y="763588"/>
                    <a:pt x="8125502" y="763588"/>
                  </a:cubicBezTo>
                  <a:close/>
                  <a:moveTo>
                    <a:pt x="8042952" y="763588"/>
                  </a:moveTo>
                  <a:cubicBezTo>
                    <a:pt x="8061803" y="763588"/>
                    <a:pt x="8077084" y="778869"/>
                    <a:pt x="8077084" y="797720"/>
                  </a:cubicBezTo>
                  <a:cubicBezTo>
                    <a:pt x="8077084" y="816571"/>
                    <a:pt x="8061803" y="831852"/>
                    <a:pt x="8042952" y="831852"/>
                  </a:cubicBezTo>
                  <a:cubicBezTo>
                    <a:pt x="8024101" y="831852"/>
                    <a:pt x="8008820" y="816571"/>
                    <a:pt x="8008820" y="797720"/>
                  </a:cubicBezTo>
                  <a:cubicBezTo>
                    <a:pt x="8008820" y="778869"/>
                    <a:pt x="8024101" y="763588"/>
                    <a:pt x="8042952" y="763588"/>
                  </a:cubicBezTo>
                  <a:close/>
                  <a:moveTo>
                    <a:pt x="7957227" y="763588"/>
                  </a:moveTo>
                  <a:cubicBezTo>
                    <a:pt x="7976078" y="763588"/>
                    <a:pt x="7991359" y="778869"/>
                    <a:pt x="7991359" y="797720"/>
                  </a:cubicBezTo>
                  <a:cubicBezTo>
                    <a:pt x="7991359" y="816571"/>
                    <a:pt x="7976078" y="831852"/>
                    <a:pt x="7957227" y="831852"/>
                  </a:cubicBezTo>
                  <a:cubicBezTo>
                    <a:pt x="7938376" y="831852"/>
                    <a:pt x="7923095" y="816571"/>
                    <a:pt x="7923095" y="797720"/>
                  </a:cubicBezTo>
                  <a:cubicBezTo>
                    <a:pt x="7923095" y="778869"/>
                    <a:pt x="7938376" y="763588"/>
                    <a:pt x="7957227" y="763588"/>
                  </a:cubicBezTo>
                  <a:close/>
                  <a:moveTo>
                    <a:pt x="7871502" y="763588"/>
                  </a:moveTo>
                  <a:cubicBezTo>
                    <a:pt x="7890353" y="763588"/>
                    <a:pt x="7905634" y="778869"/>
                    <a:pt x="7905634" y="797720"/>
                  </a:cubicBezTo>
                  <a:cubicBezTo>
                    <a:pt x="7905634" y="816571"/>
                    <a:pt x="7890353" y="831852"/>
                    <a:pt x="7871502" y="831852"/>
                  </a:cubicBezTo>
                  <a:cubicBezTo>
                    <a:pt x="7852651" y="831852"/>
                    <a:pt x="7837370" y="816571"/>
                    <a:pt x="7837370" y="797720"/>
                  </a:cubicBezTo>
                  <a:cubicBezTo>
                    <a:pt x="7837370" y="778869"/>
                    <a:pt x="7852651" y="763588"/>
                    <a:pt x="7871502" y="763588"/>
                  </a:cubicBezTo>
                  <a:close/>
                  <a:moveTo>
                    <a:pt x="7785777" y="763588"/>
                  </a:moveTo>
                  <a:cubicBezTo>
                    <a:pt x="7804628" y="763588"/>
                    <a:pt x="7819909" y="778869"/>
                    <a:pt x="7819909" y="797720"/>
                  </a:cubicBezTo>
                  <a:cubicBezTo>
                    <a:pt x="7819909" y="816571"/>
                    <a:pt x="7804628" y="831852"/>
                    <a:pt x="7785777" y="831852"/>
                  </a:cubicBezTo>
                  <a:cubicBezTo>
                    <a:pt x="7766926" y="831852"/>
                    <a:pt x="7751645" y="816571"/>
                    <a:pt x="7751645" y="797720"/>
                  </a:cubicBezTo>
                  <a:cubicBezTo>
                    <a:pt x="7751645" y="778869"/>
                    <a:pt x="7766926" y="763588"/>
                    <a:pt x="7785777" y="763588"/>
                  </a:cubicBezTo>
                  <a:close/>
                  <a:moveTo>
                    <a:pt x="7706402" y="763588"/>
                  </a:moveTo>
                  <a:cubicBezTo>
                    <a:pt x="7725253" y="763588"/>
                    <a:pt x="7740534" y="778869"/>
                    <a:pt x="7740534" y="797720"/>
                  </a:cubicBezTo>
                  <a:cubicBezTo>
                    <a:pt x="7740534" y="816571"/>
                    <a:pt x="7725253" y="831852"/>
                    <a:pt x="7706402" y="831852"/>
                  </a:cubicBezTo>
                  <a:cubicBezTo>
                    <a:pt x="7687551" y="831852"/>
                    <a:pt x="7672270" y="816571"/>
                    <a:pt x="7672270" y="797720"/>
                  </a:cubicBezTo>
                  <a:cubicBezTo>
                    <a:pt x="7672270" y="778869"/>
                    <a:pt x="7687551" y="763588"/>
                    <a:pt x="7706402" y="763588"/>
                  </a:cubicBezTo>
                  <a:close/>
                  <a:moveTo>
                    <a:pt x="7620677" y="763588"/>
                  </a:moveTo>
                  <a:cubicBezTo>
                    <a:pt x="7639528" y="763588"/>
                    <a:pt x="7654809" y="778869"/>
                    <a:pt x="7654809" y="797720"/>
                  </a:cubicBezTo>
                  <a:cubicBezTo>
                    <a:pt x="7654809" y="816571"/>
                    <a:pt x="7639528" y="831852"/>
                    <a:pt x="7620677" y="831852"/>
                  </a:cubicBezTo>
                  <a:cubicBezTo>
                    <a:pt x="7601826" y="831852"/>
                    <a:pt x="7586545" y="816571"/>
                    <a:pt x="7586545" y="797720"/>
                  </a:cubicBezTo>
                  <a:cubicBezTo>
                    <a:pt x="7586545" y="778869"/>
                    <a:pt x="7601826" y="763588"/>
                    <a:pt x="7620677" y="763588"/>
                  </a:cubicBezTo>
                  <a:close/>
                  <a:moveTo>
                    <a:pt x="7534952" y="763588"/>
                  </a:moveTo>
                  <a:cubicBezTo>
                    <a:pt x="7553803" y="763588"/>
                    <a:pt x="7569084" y="778869"/>
                    <a:pt x="7569084" y="797720"/>
                  </a:cubicBezTo>
                  <a:cubicBezTo>
                    <a:pt x="7569084" y="816571"/>
                    <a:pt x="7553803" y="831852"/>
                    <a:pt x="7534952" y="831852"/>
                  </a:cubicBezTo>
                  <a:cubicBezTo>
                    <a:pt x="7516101" y="831852"/>
                    <a:pt x="7500820" y="816571"/>
                    <a:pt x="7500820" y="797720"/>
                  </a:cubicBezTo>
                  <a:cubicBezTo>
                    <a:pt x="7500820" y="778869"/>
                    <a:pt x="7516101" y="763588"/>
                    <a:pt x="7534952" y="763588"/>
                  </a:cubicBezTo>
                  <a:close/>
                  <a:moveTo>
                    <a:pt x="7449227" y="763588"/>
                  </a:moveTo>
                  <a:cubicBezTo>
                    <a:pt x="7468078" y="763588"/>
                    <a:pt x="7483359" y="778869"/>
                    <a:pt x="7483359" y="797720"/>
                  </a:cubicBezTo>
                  <a:cubicBezTo>
                    <a:pt x="7483359" y="816571"/>
                    <a:pt x="7468078" y="831852"/>
                    <a:pt x="7449227" y="831852"/>
                  </a:cubicBezTo>
                  <a:cubicBezTo>
                    <a:pt x="7430376" y="831852"/>
                    <a:pt x="7415095" y="816571"/>
                    <a:pt x="7415095" y="797720"/>
                  </a:cubicBezTo>
                  <a:cubicBezTo>
                    <a:pt x="7415095" y="778869"/>
                    <a:pt x="7430376" y="763588"/>
                    <a:pt x="7449227" y="763588"/>
                  </a:cubicBezTo>
                  <a:close/>
                  <a:moveTo>
                    <a:pt x="7366677" y="763588"/>
                  </a:moveTo>
                  <a:cubicBezTo>
                    <a:pt x="7387281" y="763588"/>
                    <a:pt x="7403984" y="778869"/>
                    <a:pt x="7403984" y="797720"/>
                  </a:cubicBezTo>
                  <a:cubicBezTo>
                    <a:pt x="7403984" y="816571"/>
                    <a:pt x="7387281" y="831852"/>
                    <a:pt x="7366677" y="831852"/>
                  </a:cubicBezTo>
                  <a:cubicBezTo>
                    <a:pt x="7346073" y="831852"/>
                    <a:pt x="7329370" y="816571"/>
                    <a:pt x="7329370" y="797720"/>
                  </a:cubicBezTo>
                  <a:cubicBezTo>
                    <a:pt x="7329370" y="778869"/>
                    <a:pt x="7346073" y="763588"/>
                    <a:pt x="7366677" y="763588"/>
                  </a:cubicBezTo>
                  <a:close/>
                  <a:moveTo>
                    <a:pt x="7284127" y="763588"/>
                  </a:moveTo>
                  <a:cubicBezTo>
                    <a:pt x="7302978" y="763588"/>
                    <a:pt x="7318259" y="778869"/>
                    <a:pt x="7318259" y="797720"/>
                  </a:cubicBezTo>
                  <a:cubicBezTo>
                    <a:pt x="7318259" y="816571"/>
                    <a:pt x="7302978" y="831852"/>
                    <a:pt x="7284127" y="831852"/>
                  </a:cubicBezTo>
                  <a:cubicBezTo>
                    <a:pt x="7265276" y="831852"/>
                    <a:pt x="7249995" y="816571"/>
                    <a:pt x="7249995" y="797720"/>
                  </a:cubicBezTo>
                  <a:cubicBezTo>
                    <a:pt x="7249995" y="778869"/>
                    <a:pt x="7265276" y="763588"/>
                    <a:pt x="7284127" y="763588"/>
                  </a:cubicBezTo>
                  <a:close/>
                  <a:moveTo>
                    <a:pt x="7198402" y="763588"/>
                  </a:moveTo>
                  <a:cubicBezTo>
                    <a:pt x="7217253" y="763588"/>
                    <a:pt x="7232534" y="778869"/>
                    <a:pt x="7232534" y="797720"/>
                  </a:cubicBezTo>
                  <a:cubicBezTo>
                    <a:pt x="7232534" y="816571"/>
                    <a:pt x="7217253" y="831852"/>
                    <a:pt x="7198402" y="831852"/>
                  </a:cubicBezTo>
                  <a:cubicBezTo>
                    <a:pt x="7179551" y="831852"/>
                    <a:pt x="7164270" y="816571"/>
                    <a:pt x="7164270" y="797720"/>
                  </a:cubicBezTo>
                  <a:cubicBezTo>
                    <a:pt x="7164270" y="778869"/>
                    <a:pt x="7179551" y="763588"/>
                    <a:pt x="7198402" y="763588"/>
                  </a:cubicBezTo>
                  <a:close/>
                  <a:moveTo>
                    <a:pt x="7112677" y="763588"/>
                  </a:moveTo>
                  <a:cubicBezTo>
                    <a:pt x="7131528" y="763588"/>
                    <a:pt x="7146809" y="778869"/>
                    <a:pt x="7146809" y="797720"/>
                  </a:cubicBezTo>
                  <a:cubicBezTo>
                    <a:pt x="7146809" y="816571"/>
                    <a:pt x="7131528" y="831852"/>
                    <a:pt x="7112677" y="831852"/>
                  </a:cubicBezTo>
                  <a:cubicBezTo>
                    <a:pt x="7093826" y="831852"/>
                    <a:pt x="7078545" y="816571"/>
                    <a:pt x="7078545" y="797720"/>
                  </a:cubicBezTo>
                  <a:cubicBezTo>
                    <a:pt x="7078545" y="778869"/>
                    <a:pt x="7093826" y="763588"/>
                    <a:pt x="7112677" y="763588"/>
                  </a:cubicBezTo>
                  <a:close/>
                  <a:moveTo>
                    <a:pt x="7027745" y="763588"/>
                  </a:moveTo>
                  <a:cubicBezTo>
                    <a:pt x="7047034" y="763588"/>
                    <a:pt x="7062670" y="778869"/>
                    <a:pt x="7062670" y="797720"/>
                  </a:cubicBezTo>
                  <a:cubicBezTo>
                    <a:pt x="7062670" y="816571"/>
                    <a:pt x="7047034" y="831852"/>
                    <a:pt x="7027745" y="831852"/>
                  </a:cubicBezTo>
                  <a:cubicBezTo>
                    <a:pt x="7008456" y="831852"/>
                    <a:pt x="6992820" y="816571"/>
                    <a:pt x="6992820" y="797720"/>
                  </a:cubicBezTo>
                  <a:cubicBezTo>
                    <a:pt x="6992820" y="778869"/>
                    <a:pt x="7008456" y="763588"/>
                    <a:pt x="7027745" y="763588"/>
                  </a:cubicBezTo>
                  <a:close/>
                  <a:moveTo>
                    <a:pt x="6861852" y="763588"/>
                  </a:moveTo>
                  <a:cubicBezTo>
                    <a:pt x="6880703" y="763588"/>
                    <a:pt x="6895984" y="778869"/>
                    <a:pt x="6895984" y="797720"/>
                  </a:cubicBezTo>
                  <a:cubicBezTo>
                    <a:pt x="6895984" y="816571"/>
                    <a:pt x="6880703" y="831852"/>
                    <a:pt x="6861852" y="831852"/>
                  </a:cubicBezTo>
                  <a:cubicBezTo>
                    <a:pt x="6843001" y="831852"/>
                    <a:pt x="6827720" y="816571"/>
                    <a:pt x="6827720" y="797720"/>
                  </a:cubicBezTo>
                  <a:cubicBezTo>
                    <a:pt x="6827720" y="778869"/>
                    <a:pt x="6843001" y="763588"/>
                    <a:pt x="6861852" y="763588"/>
                  </a:cubicBezTo>
                  <a:close/>
                  <a:moveTo>
                    <a:pt x="6776127" y="763588"/>
                  </a:moveTo>
                  <a:cubicBezTo>
                    <a:pt x="6794978" y="763588"/>
                    <a:pt x="6810259" y="778869"/>
                    <a:pt x="6810259" y="797720"/>
                  </a:cubicBezTo>
                  <a:cubicBezTo>
                    <a:pt x="6810259" y="816571"/>
                    <a:pt x="6794978" y="831852"/>
                    <a:pt x="6776127" y="831852"/>
                  </a:cubicBezTo>
                  <a:cubicBezTo>
                    <a:pt x="6757276" y="831852"/>
                    <a:pt x="6741995" y="816571"/>
                    <a:pt x="6741995" y="797720"/>
                  </a:cubicBezTo>
                  <a:cubicBezTo>
                    <a:pt x="6741995" y="778869"/>
                    <a:pt x="6757276" y="763588"/>
                    <a:pt x="6776127" y="763588"/>
                  </a:cubicBezTo>
                  <a:close/>
                  <a:moveTo>
                    <a:pt x="6607852" y="763588"/>
                  </a:moveTo>
                  <a:cubicBezTo>
                    <a:pt x="6628456" y="763588"/>
                    <a:pt x="6645159" y="778869"/>
                    <a:pt x="6645159" y="797720"/>
                  </a:cubicBezTo>
                  <a:cubicBezTo>
                    <a:pt x="6645159" y="816571"/>
                    <a:pt x="6628456" y="831852"/>
                    <a:pt x="6607852" y="831852"/>
                  </a:cubicBezTo>
                  <a:cubicBezTo>
                    <a:pt x="6587248" y="831852"/>
                    <a:pt x="6570545" y="816571"/>
                    <a:pt x="6570545" y="797720"/>
                  </a:cubicBezTo>
                  <a:cubicBezTo>
                    <a:pt x="6570545" y="778869"/>
                    <a:pt x="6587248" y="763588"/>
                    <a:pt x="6607852" y="763588"/>
                  </a:cubicBezTo>
                  <a:close/>
                  <a:moveTo>
                    <a:pt x="6525302" y="763588"/>
                  </a:moveTo>
                  <a:cubicBezTo>
                    <a:pt x="6544153" y="763588"/>
                    <a:pt x="6559434" y="778869"/>
                    <a:pt x="6559434" y="797720"/>
                  </a:cubicBezTo>
                  <a:cubicBezTo>
                    <a:pt x="6559434" y="816571"/>
                    <a:pt x="6544153" y="831852"/>
                    <a:pt x="6525302" y="831852"/>
                  </a:cubicBezTo>
                  <a:cubicBezTo>
                    <a:pt x="6506451" y="831852"/>
                    <a:pt x="6491170" y="816571"/>
                    <a:pt x="6491170" y="797720"/>
                  </a:cubicBezTo>
                  <a:cubicBezTo>
                    <a:pt x="6491170" y="778869"/>
                    <a:pt x="6506451" y="763588"/>
                    <a:pt x="6525302" y="763588"/>
                  </a:cubicBezTo>
                  <a:close/>
                  <a:moveTo>
                    <a:pt x="6188752" y="763588"/>
                  </a:moveTo>
                  <a:cubicBezTo>
                    <a:pt x="6207603" y="763588"/>
                    <a:pt x="6222884" y="778869"/>
                    <a:pt x="6222884" y="797720"/>
                  </a:cubicBezTo>
                  <a:cubicBezTo>
                    <a:pt x="6222884" y="816571"/>
                    <a:pt x="6207603" y="831852"/>
                    <a:pt x="6188752" y="831852"/>
                  </a:cubicBezTo>
                  <a:cubicBezTo>
                    <a:pt x="6169901" y="831852"/>
                    <a:pt x="6154620" y="816571"/>
                    <a:pt x="6154620" y="797720"/>
                  </a:cubicBezTo>
                  <a:cubicBezTo>
                    <a:pt x="6154620" y="778869"/>
                    <a:pt x="6169901" y="763588"/>
                    <a:pt x="6188752" y="763588"/>
                  </a:cubicBezTo>
                  <a:close/>
                  <a:moveTo>
                    <a:pt x="5680752" y="763588"/>
                  </a:moveTo>
                  <a:cubicBezTo>
                    <a:pt x="5699603" y="763588"/>
                    <a:pt x="5714884" y="778869"/>
                    <a:pt x="5714884" y="797720"/>
                  </a:cubicBezTo>
                  <a:cubicBezTo>
                    <a:pt x="5714884" y="816571"/>
                    <a:pt x="5699603" y="831852"/>
                    <a:pt x="5680752" y="831852"/>
                  </a:cubicBezTo>
                  <a:cubicBezTo>
                    <a:pt x="5661901" y="831852"/>
                    <a:pt x="5646620" y="816571"/>
                    <a:pt x="5646620" y="797720"/>
                  </a:cubicBezTo>
                  <a:cubicBezTo>
                    <a:pt x="5646620" y="778869"/>
                    <a:pt x="5661901" y="763588"/>
                    <a:pt x="5680752" y="763588"/>
                  </a:cubicBezTo>
                  <a:close/>
                  <a:moveTo>
                    <a:pt x="5595820" y="763588"/>
                  </a:moveTo>
                  <a:cubicBezTo>
                    <a:pt x="5615109" y="763588"/>
                    <a:pt x="5630745" y="778869"/>
                    <a:pt x="5630745" y="797720"/>
                  </a:cubicBezTo>
                  <a:cubicBezTo>
                    <a:pt x="5630745" y="816571"/>
                    <a:pt x="5615109" y="831852"/>
                    <a:pt x="5595820" y="831852"/>
                  </a:cubicBezTo>
                  <a:cubicBezTo>
                    <a:pt x="5576531" y="831852"/>
                    <a:pt x="5560895" y="816571"/>
                    <a:pt x="5560895" y="797720"/>
                  </a:cubicBezTo>
                  <a:cubicBezTo>
                    <a:pt x="5560895" y="778869"/>
                    <a:pt x="5576531" y="763588"/>
                    <a:pt x="5595820" y="763588"/>
                  </a:cubicBezTo>
                  <a:close/>
                  <a:moveTo>
                    <a:pt x="4332171" y="763588"/>
                  </a:moveTo>
                  <a:cubicBezTo>
                    <a:pt x="4352337" y="763588"/>
                    <a:pt x="4368684" y="778869"/>
                    <a:pt x="4368684" y="797720"/>
                  </a:cubicBezTo>
                  <a:cubicBezTo>
                    <a:pt x="4368684" y="816571"/>
                    <a:pt x="4352337" y="831852"/>
                    <a:pt x="4332171" y="831852"/>
                  </a:cubicBezTo>
                  <a:cubicBezTo>
                    <a:pt x="4312005" y="831852"/>
                    <a:pt x="4295658" y="816571"/>
                    <a:pt x="4295658" y="797720"/>
                  </a:cubicBezTo>
                  <a:cubicBezTo>
                    <a:pt x="4295658" y="778869"/>
                    <a:pt x="4312005" y="763588"/>
                    <a:pt x="4332171" y="763588"/>
                  </a:cubicBezTo>
                  <a:close/>
                  <a:moveTo>
                    <a:pt x="4248827" y="763588"/>
                  </a:moveTo>
                  <a:cubicBezTo>
                    <a:pt x="4267678" y="763588"/>
                    <a:pt x="4282959" y="778869"/>
                    <a:pt x="4282959" y="797720"/>
                  </a:cubicBezTo>
                  <a:cubicBezTo>
                    <a:pt x="4282959" y="816571"/>
                    <a:pt x="4267678" y="831852"/>
                    <a:pt x="4248827" y="831852"/>
                  </a:cubicBezTo>
                  <a:cubicBezTo>
                    <a:pt x="4229976" y="831852"/>
                    <a:pt x="4214695" y="816571"/>
                    <a:pt x="4214695" y="797720"/>
                  </a:cubicBezTo>
                  <a:cubicBezTo>
                    <a:pt x="4214695" y="778869"/>
                    <a:pt x="4229976" y="763588"/>
                    <a:pt x="4248827" y="763588"/>
                  </a:cubicBezTo>
                  <a:close/>
                  <a:moveTo>
                    <a:pt x="4163895" y="763588"/>
                  </a:moveTo>
                  <a:cubicBezTo>
                    <a:pt x="4183184" y="763588"/>
                    <a:pt x="4198820" y="778869"/>
                    <a:pt x="4198820" y="797720"/>
                  </a:cubicBezTo>
                  <a:cubicBezTo>
                    <a:pt x="4198820" y="816571"/>
                    <a:pt x="4183184" y="831852"/>
                    <a:pt x="4163895" y="831852"/>
                  </a:cubicBezTo>
                  <a:cubicBezTo>
                    <a:pt x="4144606" y="831852"/>
                    <a:pt x="4128970" y="816571"/>
                    <a:pt x="4128970" y="797720"/>
                  </a:cubicBezTo>
                  <a:cubicBezTo>
                    <a:pt x="4128970" y="778869"/>
                    <a:pt x="4144606" y="763588"/>
                    <a:pt x="4163895" y="763588"/>
                  </a:cubicBezTo>
                  <a:close/>
                  <a:moveTo>
                    <a:pt x="4078170" y="763588"/>
                  </a:moveTo>
                  <a:cubicBezTo>
                    <a:pt x="4097459" y="763588"/>
                    <a:pt x="4113095" y="778869"/>
                    <a:pt x="4113095" y="797720"/>
                  </a:cubicBezTo>
                  <a:cubicBezTo>
                    <a:pt x="4113095" y="816571"/>
                    <a:pt x="4097459" y="831852"/>
                    <a:pt x="4078170" y="831852"/>
                  </a:cubicBezTo>
                  <a:cubicBezTo>
                    <a:pt x="4058881" y="831852"/>
                    <a:pt x="4043245" y="816571"/>
                    <a:pt x="4043245" y="797720"/>
                  </a:cubicBezTo>
                  <a:cubicBezTo>
                    <a:pt x="4043245" y="778869"/>
                    <a:pt x="4058881" y="763588"/>
                    <a:pt x="4078170" y="763588"/>
                  </a:cubicBezTo>
                  <a:close/>
                  <a:moveTo>
                    <a:pt x="3993240" y="763588"/>
                  </a:moveTo>
                  <a:cubicBezTo>
                    <a:pt x="4012091" y="763588"/>
                    <a:pt x="4027372" y="778869"/>
                    <a:pt x="4027372" y="797720"/>
                  </a:cubicBezTo>
                  <a:cubicBezTo>
                    <a:pt x="4027372" y="816571"/>
                    <a:pt x="4012091" y="831852"/>
                    <a:pt x="3993240" y="831852"/>
                  </a:cubicBezTo>
                  <a:cubicBezTo>
                    <a:pt x="3974389" y="831852"/>
                    <a:pt x="3959108" y="816571"/>
                    <a:pt x="3959108" y="797720"/>
                  </a:cubicBezTo>
                  <a:cubicBezTo>
                    <a:pt x="3959108" y="778869"/>
                    <a:pt x="3974389" y="763588"/>
                    <a:pt x="3993240" y="763588"/>
                  </a:cubicBezTo>
                  <a:close/>
                  <a:moveTo>
                    <a:pt x="3912277" y="763588"/>
                  </a:moveTo>
                  <a:cubicBezTo>
                    <a:pt x="3931128" y="763588"/>
                    <a:pt x="3946409" y="778869"/>
                    <a:pt x="3946409" y="797720"/>
                  </a:cubicBezTo>
                  <a:cubicBezTo>
                    <a:pt x="3946409" y="816571"/>
                    <a:pt x="3931128" y="831852"/>
                    <a:pt x="3912277" y="831852"/>
                  </a:cubicBezTo>
                  <a:cubicBezTo>
                    <a:pt x="3893426" y="831852"/>
                    <a:pt x="3878145" y="816571"/>
                    <a:pt x="3878145" y="797720"/>
                  </a:cubicBezTo>
                  <a:cubicBezTo>
                    <a:pt x="3878145" y="778869"/>
                    <a:pt x="3893426" y="763588"/>
                    <a:pt x="3912277" y="763588"/>
                  </a:cubicBezTo>
                  <a:close/>
                  <a:moveTo>
                    <a:pt x="3826552" y="763588"/>
                  </a:moveTo>
                  <a:cubicBezTo>
                    <a:pt x="3845403" y="763588"/>
                    <a:pt x="3860684" y="778869"/>
                    <a:pt x="3860684" y="797720"/>
                  </a:cubicBezTo>
                  <a:cubicBezTo>
                    <a:pt x="3860684" y="816571"/>
                    <a:pt x="3845403" y="831852"/>
                    <a:pt x="3826552" y="831852"/>
                  </a:cubicBezTo>
                  <a:cubicBezTo>
                    <a:pt x="3807701" y="831852"/>
                    <a:pt x="3792420" y="816571"/>
                    <a:pt x="3792420" y="797720"/>
                  </a:cubicBezTo>
                  <a:cubicBezTo>
                    <a:pt x="3792420" y="778869"/>
                    <a:pt x="3807701" y="763588"/>
                    <a:pt x="3826552" y="763588"/>
                  </a:cubicBezTo>
                  <a:close/>
                  <a:moveTo>
                    <a:pt x="3234415" y="763588"/>
                  </a:moveTo>
                  <a:cubicBezTo>
                    <a:pt x="3253266" y="763588"/>
                    <a:pt x="3268547" y="778869"/>
                    <a:pt x="3268547" y="797720"/>
                  </a:cubicBezTo>
                  <a:cubicBezTo>
                    <a:pt x="3268547" y="816571"/>
                    <a:pt x="3253266" y="831852"/>
                    <a:pt x="3234415" y="831852"/>
                  </a:cubicBezTo>
                  <a:cubicBezTo>
                    <a:pt x="3215564" y="831852"/>
                    <a:pt x="3200283" y="816571"/>
                    <a:pt x="3200283" y="797720"/>
                  </a:cubicBezTo>
                  <a:cubicBezTo>
                    <a:pt x="3200283" y="778869"/>
                    <a:pt x="3215564" y="763588"/>
                    <a:pt x="3234415" y="763588"/>
                  </a:cubicBezTo>
                  <a:close/>
                  <a:moveTo>
                    <a:pt x="3068520" y="763588"/>
                  </a:moveTo>
                  <a:cubicBezTo>
                    <a:pt x="3087809" y="763588"/>
                    <a:pt x="3103445" y="778869"/>
                    <a:pt x="3103445" y="797720"/>
                  </a:cubicBezTo>
                  <a:cubicBezTo>
                    <a:pt x="3103445" y="816571"/>
                    <a:pt x="3087809" y="831852"/>
                    <a:pt x="3068520" y="831852"/>
                  </a:cubicBezTo>
                  <a:cubicBezTo>
                    <a:pt x="3049231" y="831852"/>
                    <a:pt x="3033595" y="816571"/>
                    <a:pt x="3033595" y="797720"/>
                  </a:cubicBezTo>
                  <a:cubicBezTo>
                    <a:pt x="3033595" y="778869"/>
                    <a:pt x="3049231" y="763588"/>
                    <a:pt x="3068520" y="763588"/>
                  </a:cubicBezTo>
                  <a:close/>
                  <a:moveTo>
                    <a:pt x="2897865" y="763588"/>
                  </a:moveTo>
                  <a:cubicBezTo>
                    <a:pt x="2916716" y="763588"/>
                    <a:pt x="2931997" y="778869"/>
                    <a:pt x="2931997" y="797720"/>
                  </a:cubicBezTo>
                  <a:cubicBezTo>
                    <a:pt x="2931997" y="816571"/>
                    <a:pt x="2916716" y="831852"/>
                    <a:pt x="2897865" y="831852"/>
                  </a:cubicBezTo>
                  <a:cubicBezTo>
                    <a:pt x="2879014" y="831852"/>
                    <a:pt x="2863733" y="816571"/>
                    <a:pt x="2863733" y="797720"/>
                  </a:cubicBezTo>
                  <a:cubicBezTo>
                    <a:pt x="2863733" y="778869"/>
                    <a:pt x="2879014" y="763588"/>
                    <a:pt x="2897865" y="763588"/>
                  </a:cubicBezTo>
                  <a:close/>
                  <a:moveTo>
                    <a:pt x="2814521" y="763588"/>
                  </a:moveTo>
                  <a:cubicBezTo>
                    <a:pt x="2834687" y="763588"/>
                    <a:pt x="2851034" y="778869"/>
                    <a:pt x="2851034" y="797720"/>
                  </a:cubicBezTo>
                  <a:cubicBezTo>
                    <a:pt x="2851034" y="816571"/>
                    <a:pt x="2834687" y="831852"/>
                    <a:pt x="2814521" y="831852"/>
                  </a:cubicBezTo>
                  <a:cubicBezTo>
                    <a:pt x="2794355" y="831852"/>
                    <a:pt x="2778008" y="816571"/>
                    <a:pt x="2778008" y="797720"/>
                  </a:cubicBezTo>
                  <a:cubicBezTo>
                    <a:pt x="2778008" y="778869"/>
                    <a:pt x="2794355" y="763588"/>
                    <a:pt x="2814521" y="763588"/>
                  </a:cubicBezTo>
                  <a:close/>
                  <a:moveTo>
                    <a:pt x="2732006" y="763588"/>
                  </a:moveTo>
                  <a:cubicBezTo>
                    <a:pt x="2751295" y="763588"/>
                    <a:pt x="2766930" y="778869"/>
                    <a:pt x="2766930" y="797720"/>
                  </a:cubicBezTo>
                  <a:cubicBezTo>
                    <a:pt x="2766930" y="816571"/>
                    <a:pt x="2751295" y="831852"/>
                    <a:pt x="2732006" y="831852"/>
                  </a:cubicBezTo>
                  <a:cubicBezTo>
                    <a:pt x="2712717" y="831852"/>
                    <a:pt x="2697081" y="816571"/>
                    <a:pt x="2697081" y="797720"/>
                  </a:cubicBezTo>
                  <a:cubicBezTo>
                    <a:pt x="2697081" y="778869"/>
                    <a:pt x="2712717" y="763588"/>
                    <a:pt x="2732006" y="763588"/>
                  </a:cubicBezTo>
                  <a:close/>
                  <a:moveTo>
                    <a:pt x="2646283" y="763588"/>
                  </a:moveTo>
                  <a:cubicBezTo>
                    <a:pt x="2665572" y="763588"/>
                    <a:pt x="2681207" y="778869"/>
                    <a:pt x="2681207" y="797720"/>
                  </a:cubicBezTo>
                  <a:cubicBezTo>
                    <a:pt x="2681207" y="816571"/>
                    <a:pt x="2665572" y="831852"/>
                    <a:pt x="2646283" y="831852"/>
                  </a:cubicBezTo>
                  <a:cubicBezTo>
                    <a:pt x="2626994" y="831852"/>
                    <a:pt x="2611358" y="816571"/>
                    <a:pt x="2611358" y="797720"/>
                  </a:cubicBezTo>
                  <a:cubicBezTo>
                    <a:pt x="2611358" y="778869"/>
                    <a:pt x="2626994" y="763588"/>
                    <a:pt x="2646283" y="763588"/>
                  </a:cubicBezTo>
                  <a:close/>
                  <a:moveTo>
                    <a:pt x="2561353" y="763588"/>
                  </a:moveTo>
                  <a:cubicBezTo>
                    <a:pt x="2580204" y="763588"/>
                    <a:pt x="2595485" y="778869"/>
                    <a:pt x="2595485" y="797720"/>
                  </a:cubicBezTo>
                  <a:cubicBezTo>
                    <a:pt x="2595485" y="816571"/>
                    <a:pt x="2580204" y="831852"/>
                    <a:pt x="2561353" y="831852"/>
                  </a:cubicBezTo>
                  <a:cubicBezTo>
                    <a:pt x="2542501" y="831852"/>
                    <a:pt x="2527220" y="816571"/>
                    <a:pt x="2527220" y="797720"/>
                  </a:cubicBezTo>
                  <a:cubicBezTo>
                    <a:pt x="2527220" y="778869"/>
                    <a:pt x="2542501" y="763588"/>
                    <a:pt x="2561353" y="763588"/>
                  </a:cubicBezTo>
                  <a:close/>
                  <a:moveTo>
                    <a:pt x="2475627" y="763588"/>
                  </a:moveTo>
                  <a:cubicBezTo>
                    <a:pt x="2494480" y="763588"/>
                    <a:pt x="2509761" y="778869"/>
                    <a:pt x="2509761" y="797720"/>
                  </a:cubicBezTo>
                  <a:cubicBezTo>
                    <a:pt x="2509761" y="816571"/>
                    <a:pt x="2494480" y="831852"/>
                    <a:pt x="2475627" y="831852"/>
                  </a:cubicBezTo>
                  <a:cubicBezTo>
                    <a:pt x="2456777" y="831852"/>
                    <a:pt x="2441496" y="816571"/>
                    <a:pt x="2441496" y="797720"/>
                  </a:cubicBezTo>
                  <a:cubicBezTo>
                    <a:pt x="2441496" y="778869"/>
                    <a:pt x="2456777" y="763588"/>
                    <a:pt x="2475627" y="763588"/>
                  </a:cubicBezTo>
                  <a:close/>
                  <a:moveTo>
                    <a:pt x="2394666" y="763588"/>
                  </a:moveTo>
                  <a:cubicBezTo>
                    <a:pt x="2413516" y="763588"/>
                    <a:pt x="2428797" y="778869"/>
                    <a:pt x="2428797" y="797720"/>
                  </a:cubicBezTo>
                  <a:cubicBezTo>
                    <a:pt x="2428797" y="816571"/>
                    <a:pt x="2413516" y="831852"/>
                    <a:pt x="2394666" y="831852"/>
                  </a:cubicBezTo>
                  <a:cubicBezTo>
                    <a:pt x="2375813" y="831852"/>
                    <a:pt x="2360533" y="816571"/>
                    <a:pt x="2360533" y="797720"/>
                  </a:cubicBezTo>
                  <a:cubicBezTo>
                    <a:pt x="2360533" y="778869"/>
                    <a:pt x="2375813" y="763588"/>
                    <a:pt x="2394666" y="763588"/>
                  </a:cubicBezTo>
                  <a:close/>
                  <a:moveTo>
                    <a:pt x="2309733" y="763588"/>
                  </a:moveTo>
                  <a:cubicBezTo>
                    <a:pt x="2329020" y="763588"/>
                    <a:pt x="2344659" y="778869"/>
                    <a:pt x="2344659" y="797720"/>
                  </a:cubicBezTo>
                  <a:cubicBezTo>
                    <a:pt x="2344659" y="816571"/>
                    <a:pt x="2329020" y="831852"/>
                    <a:pt x="2309733" y="831852"/>
                  </a:cubicBezTo>
                  <a:cubicBezTo>
                    <a:pt x="2290444" y="831852"/>
                    <a:pt x="2274806" y="816571"/>
                    <a:pt x="2274806" y="797720"/>
                  </a:cubicBezTo>
                  <a:cubicBezTo>
                    <a:pt x="2274806" y="778869"/>
                    <a:pt x="2290444" y="763588"/>
                    <a:pt x="2309733" y="763588"/>
                  </a:cubicBezTo>
                  <a:close/>
                  <a:moveTo>
                    <a:pt x="2224804" y="763588"/>
                  </a:moveTo>
                  <a:cubicBezTo>
                    <a:pt x="2243654" y="763588"/>
                    <a:pt x="2258936" y="778869"/>
                    <a:pt x="2258936" y="797720"/>
                  </a:cubicBezTo>
                  <a:cubicBezTo>
                    <a:pt x="2258936" y="816571"/>
                    <a:pt x="2243654" y="831852"/>
                    <a:pt x="2224804" y="831852"/>
                  </a:cubicBezTo>
                  <a:cubicBezTo>
                    <a:pt x="2205953" y="831852"/>
                    <a:pt x="2190671" y="816571"/>
                    <a:pt x="2190671" y="797720"/>
                  </a:cubicBezTo>
                  <a:cubicBezTo>
                    <a:pt x="2190671" y="778869"/>
                    <a:pt x="2205953" y="763588"/>
                    <a:pt x="2224804" y="763588"/>
                  </a:cubicBezTo>
                  <a:close/>
                  <a:moveTo>
                    <a:pt x="2139081" y="763588"/>
                  </a:moveTo>
                  <a:cubicBezTo>
                    <a:pt x="2157931" y="763588"/>
                    <a:pt x="2173211" y="778869"/>
                    <a:pt x="2173211" y="797720"/>
                  </a:cubicBezTo>
                  <a:cubicBezTo>
                    <a:pt x="2173211" y="816571"/>
                    <a:pt x="2157931" y="831852"/>
                    <a:pt x="2139081" y="831852"/>
                  </a:cubicBezTo>
                  <a:cubicBezTo>
                    <a:pt x="2120228" y="831852"/>
                    <a:pt x="2104948" y="816571"/>
                    <a:pt x="2104948" y="797720"/>
                  </a:cubicBezTo>
                  <a:cubicBezTo>
                    <a:pt x="2104948" y="778869"/>
                    <a:pt x="2120228" y="763588"/>
                    <a:pt x="2139081" y="763588"/>
                  </a:cubicBezTo>
                  <a:close/>
                  <a:moveTo>
                    <a:pt x="2055721" y="763588"/>
                  </a:moveTo>
                  <a:cubicBezTo>
                    <a:pt x="2075887" y="763588"/>
                    <a:pt x="2092234" y="778869"/>
                    <a:pt x="2092234" y="797720"/>
                  </a:cubicBezTo>
                  <a:cubicBezTo>
                    <a:pt x="2092234" y="816571"/>
                    <a:pt x="2075887" y="831852"/>
                    <a:pt x="2055721" y="831852"/>
                  </a:cubicBezTo>
                  <a:cubicBezTo>
                    <a:pt x="2035555" y="831852"/>
                    <a:pt x="2019209" y="816571"/>
                    <a:pt x="2019209" y="797720"/>
                  </a:cubicBezTo>
                  <a:cubicBezTo>
                    <a:pt x="2019209" y="778869"/>
                    <a:pt x="2035555" y="763588"/>
                    <a:pt x="2055721" y="763588"/>
                  </a:cubicBezTo>
                  <a:close/>
                  <a:moveTo>
                    <a:pt x="1973171" y="763588"/>
                  </a:moveTo>
                  <a:cubicBezTo>
                    <a:pt x="1992461" y="763588"/>
                    <a:pt x="2008096" y="778869"/>
                    <a:pt x="2008096" y="797720"/>
                  </a:cubicBezTo>
                  <a:cubicBezTo>
                    <a:pt x="2008096" y="816571"/>
                    <a:pt x="1992461" y="831852"/>
                    <a:pt x="1973171" y="831852"/>
                  </a:cubicBezTo>
                  <a:cubicBezTo>
                    <a:pt x="1953883" y="831852"/>
                    <a:pt x="1938247" y="816571"/>
                    <a:pt x="1938247" y="797720"/>
                  </a:cubicBezTo>
                  <a:cubicBezTo>
                    <a:pt x="1938247" y="778869"/>
                    <a:pt x="1953883" y="763588"/>
                    <a:pt x="1973171" y="763588"/>
                  </a:cubicBezTo>
                  <a:close/>
                  <a:moveTo>
                    <a:pt x="1888243" y="763588"/>
                  </a:moveTo>
                  <a:cubicBezTo>
                    <a:pt x="1907093" y="763588"/>
                    <a:pt x="1922374" y="778869"/>
                    <a:pt x="1922374" y="797720"/>
                  </a:cubicBezTo>
                  <a:cubicBezTo>
                    <a:pt x="1922374" y="816571"/>
                    <a:pt x="1907093" y="831852"/>
                    <a:pt x="1888243" y="831852"/>
                  </a:cubicBezTo>
                  <a:cubicBezTo>
                    <a:pt x="1869392" y="831852"/>
                    <a:pt x="1854111" y="816571"/>
                    <a:pt x="1854111" y="797720"/>
                  </a:cubicBezTo>
                  <a:cubicBezTo>
                    <a:pt x="1854111" y="778869"/>
                    <a:pt x="1869392" y="763588"/>
                    <a:pt x="1888243" y="763588"/>
                  </a:cubicBezTo>
                  <a:close/>
                  <a:moveTo>
                    <a:pt x="1802519" y="763588"/>
                  </a:moveTo>
                  <a:cubicBezTo>
                    <a:pt x="1821370" y="763588"/>
                    <a:pt x="1836651" y="778869"/>
                    <a:pt x="1836651" y="797720"/>
                  </a:cubicBezTo>
                  <a:cubicBezTo>
                    <a:pt x="1836651" y="816571"/>
                    <a:pt x="1821370" y="831852"/>
                    <a:pt x="1802519" y="831852"/>
                  </a:cubicBezTo>
                  <a:cubicBezTo>
                    <a:pt x="1783667" y="831852"/>
                    <a:pt x="1768387" y="816571"/>
                    <a:pt x="1768387" y="797720"/>
                  </a:cubicBezTo>
                  <a:cubicBezTo>
                    <a:pt x="1768387" y="778869"/>
                    <a:pt x="1783667" y="763588"/>
                    <a:pt x="1802519" y="763588"/>
                  </a:cubicBezTo>
                  <a:close/>
                  <a:moveTo>
                    <a:pt x="1719175" y="763588"/>
                  </a:moveTo>
                  <a:cubicBezTo>
                    <a:pt x="1739341" y="763588"/>
                    <a:pt x="1755688" y="778869"/>
                    <a:pt x="1755688" y="797720"/>
                  </a:cubicBezTo>
                  <a:cubicBezTo>
                    <a:pt x="1755688" y="816571"/>
                    <a:pt x="1739341" y="831852"/>
                    <a:pt x="1719175" y="831852"/>
                  </a:cubicBezTo>
                  <a:cubicBezTo>
                    <a:pt x="1699010" y="831852"/>
                    <a:pt x="1682662" y="816571"/>
                    <a:pt x="1682662" y="797720"/>
                  </a:cubicBezTo>
                  <a:cubicBezTo>
                    <a:pt x="1682662" y="778869"/>
                    <a:pt x="1699010" y="763588"/>
                    <a:pt x="1719175" y="763588"/>
                  </a:cubicBezTo>
                  <a:close/>
                  <a:moveTo>
                    <a:pt x="1636620" y="763588"/>
                  </a:moveTo>
                  <a:cubicBezTo>
                    <a:pt x="1655910" y="763588"/>
                    <a:pt x="1671546" y="778869"/>
                    <a:pt x="1671546" y="797720"/>
                  </a:cubicBezTo>
                  <a:cubicBezTo>
                    <a:pt x="1671546" y="816571"/>
                    <a:pt x="1655910" y="831852"/>
                    <a:pt x="1636620" y="831852"/>
                  </a:cubicBezTo>
                  <a:cubicBezTo>
                    <a:pt x="1617332" y="831852"/>
                    <a:pt x="1601695" y="816571"/>
                    <a:pt x="1601695" y="797720"/>
                  </a:cubicBezTo>
                  <a:cubicBezTo>
                    <a:pt x="1601695" y="778869"/>
                    <a:pt x="1617332" y="763588"/>
                    <a:pt x="1636620" y="763588"/>
                  </a:cubicBezTo>
                  <a:close/>
                  <a:moveTo>
                    <a:pt x="1551690" y="763588"/>
                  </a:moveTo>
                  <a:cubicBezTo>
                    <a:pt x="1570541" y="763588"/>
                    <a:pt x="1585822" y="778869"/>
                    <a:pt x="1585822" y="797720"/>
                  </a:cubicBezTo>
                  <a:cubicBezTo>
                    <a:pt x="1585822" y="816571"/>
                    <a:pt x="1570541" y="831852"/>
                    <a:pt x="1551690" y="831852"/>
                  </a:cubicBezTo>
                  <a:cubicBezTo>
                    <a:pt x="1532839" y="831852"/>
                    <a:pt x="1517557" y="816571"/>
                    <a:pt x="1517557" y="797720"/>
                  </a:cubicBezTo>
                  <a:cubicBezTo>
                    <a:pt x="1517557" y="778869"/>
                    <a:pt x="1532839" y="763588"/>
                    <a:pt x="1551690" y="763588"/>
                  </a:cubicBezTo>
                  <a:close/>
                  <a:moveTo>
                    <a:pt x="1465955" y="763588"/>
                  </a:moveTo>
                  <a:cubicBezTo>
                    <a:pt x="1484806" y="763588"/>
                    <a:pt x="1500087" y="778869"/>
                    <a:pt x="1500087" y="797720"/>
                  </a:cubicBezTo>
                  <a:cubicBezTo>
                    <a:pt x="1500087" y="816571"/>
                    <a:pt x="1484806" y="831852"/>
                    <a:pt x="1465955" y="831852"/>
                  </a:cubicBezTo>
                  <a:cubicBezTo>
                    <a:pt x="1447104" y="831852"/>
                    <a:pt x="1431822" y="816571"/>
                    <a:pt x="1431822" y="797720"/>
                  </a:cubicBezTo>
                  <a:cubicBezTo>
                    <a:pt x="1431822" y="778869"/>
                    <a:pt x="1447104" y="763588"/>
                    <a:pt x="1465955" y="763588"/>
                  </a:cubicBezTo>
                  <a:close/>
                  <a:moveTo>
                    <a:pt x="1380218" y="763588"/>
                  </a:moveTo>
                  <a:cubicBezTo>
                    <a:pt x="1399070" y="763588"/>
                    <a:pt x="1414351" y="778869"/>
                    <a:pt x="1414351" y="797720"/>
                  </a:cubicBezTo>
                  <a:cubicBezTo>
                    <a:pt x="1414351" y="816571"/>
                    <a:pt x="1399070" y="831852"/>
                    <a:pt x="1380218" y="831852"/>
                  </a:cubicBezTo>
                  <a:cubicBezTo>
                    <a:pt x="1361367" y="831852"/>
                    <a:pt x="1346087" y="816571"/>
                    <a:pt x="1346087" y="797720"/>
                  </a:cubicBezTo>
                  <a:cubicBezTo>
                    <a:pt x="1346087" y="778869"/>
                    <a:pt x="1361367" y="763588"/>
                    <a:pt x="1380218" y="763588"/>
                  </a:cubicBezTo>
                  <a:close/>
                  <a:moveTo>
                    <a:pt x="1300049" y="763588"/>
                  </a:moveTo>
                  <a:cubicBezTo>
                    <a:pt x="1319339" y="763588"/>
                    <a:pt x="1334974" y="778869"/>
                    <a:pt x="1334974" y="797720"/>
                  </a:cubicBezTo>
                  <a:cubicBezTo>
                    <a:pt x="1334974" y="816571"/>
                    <a:pt x="1319339" y="831852"/>
                    <a:pt x="1300049" y="831852"/>
                  </a:cubicBezTo>
                  <a:cubicBezTo>
                    <a:pt x="1280760" y="831852"/>
                    <a:pt x="1265124" y="816571"/>
                    <a:pt x="1265124" y="797720"/>
                  </a:cubicBezTo>
                  <a:cubicBezTo>
                    <a:pt x="1265124" y="778869"/>
                    <a:pt x="1280760" y="763588"/>
                    <a:pt x="1300049" y="763588"/>
                  </a:cubicBezTo>
                  <a:close/>
                  <a:moveTo>
                    <a:pt x="1214324" y="763588"/>
                  </a:moveTo>
                  <a:cubicBezTo>
                    <a:pt x="1233613" y="763588"/>
                    <a:pt x="1249249" y="778869"/>
                    <a:pt x="1249249" y="797720"/>
                  </a:cubicBezTo>
                  <a:cubicBezTo>
                    <a:pt x="1249249" y="816571"/>
                    <a:pt x="1233613" y="831852"/>
                    <a:pt x="1214324" y="831852"/>
                  </a:cubicBezTo>
                  <a:cubicBezTo>
                    <a:pt x="1195035" y="831852"/>
                    <a:pt x="1179399" y="816571"/>
                    <a:pt x="1179399" y="797720"/>
                  </a:cubicBezTo>
                  <a:cubicBezTo>
                    <a:pt x="1179399" y="778869"/>
                    <a:pt x="1195035" y="763588"/>
                    <a:pt x="1214324" y="763588"/>
                  </a:cubicBezTo>
                  <a:close/>
                  <a:moveTo>
                    <a:pt x="1129569" y="763588"/>
                  </a:moveTo>
                  <a:cubicBezTo>
                    <a:pt x="1148422" y="763588"/>
                    <a:pt x="1163703" y="778869"/>
                    <a:pt x="1163703" y="797720"/>
                  </a:cubicBezTo>
                  <a:cubicBezTo>
                    <a:pt x="1163703" y="816571"/>
                    <a:pt x="1148422" y="831852"/>
                    <a:pt x="1129569" y="831852"/>
                  </a:cubicBezTo>
                  <a:cubicBezTo>
                    <a:pt x="1110723" y="831852"/>
                    <a:pt x="1095440" y="816571"/>
                    <a:pt x="1095440" y="797720"/>
                  </a:cubicBezTo>
                  <a:cubicBezTo>
                    <a:pt x="1095440" y="778869"/>
                    <a:pt x="1110723" y="763588"/>
                    <a:pt x="1129569" y="763588"/>
                  </a:cubicBezTo>
                  <a:close/>
                  <a:moveTo>
                    <a:pt x="1043844" y="763588"/>
                  </a:moveTo>
                  <a:cubicBezTo>
                    <a:pt x="1062696" y="763588"/>
                    <a:pt x="1077977" y="778869"/>
                    <a:pt x="1077977" y="797720"/>
                  </a:cubicBezTo>
                  <a:cubicBezTo>
                    <a:pt x="1077977" y="816571"/>
                    <a:pt x="1062696" y="831852"/>
                    <a:pt x="1043844" y="831852"/>
                  </a:cubicBezTo>
                  <a:cubicBezTo>
                    <a:pt x="1024991" y="831852"/>
                    <a:pt x="1009710" y="816571"/>
                    <a:pt x="1009710" y="797720"/>
                  </a:cubicBezTo>
                  <a:cubicBezTo>
                    <a:pt x="1009710" y="778869"/>
                    <a:pt x="1024991" y="763588"/>
                    <a:pt x="1043844" y="763588"/>
                  </a:cubicBezTo>
                  <a:close/>
                  <a:moveTo>
                    <a:pt x="960493" y="763588"/>
                  </a:moveTo>
                  <a:cubicBezTo>
                    <a:pt x="980661" y="763588"/>
                    <a:pt x="997009" y="778869"/>
                    <a:pt x="997009" y="797720"/>
                  </a:cubicBezTo>
                  <a:cubicBezTo>
                    <a:pt x="997009" y="816571"/>
                    <a:pt x="980661" y="831852"/>
                    <a:pt x="960493" y="831852"/>
                  </a:cubicBezTo>
                  <a:cubicBezTo>
                    <a:pt x="940325" y="831852"/>
                    <a:pt x="923978" y="816571"/>
                    <a:pt x="923978" y="797720"/>
                  </a:cubicBezTo>
                  <a:cubicBezTo>
                    <a:pt x="923978" y="778869"/>
                    <a:pt x="940325" y="763588"/>
                    <a:pt x="960493" y="763588"/>
                  </a:cubicBezTo>
                  <a:close/>
                  <a:moveTo>
                    <a:pt x="877939" y="763588"/>
                  </a:moveTo>
                  <a:cubicBezTo>
                    <a:pt x="897228" y="763588"/>
                    <a:pt x="912864" y="778869"/>
                    <a:pt x="912864" y="797720"/>
                  </a:cubicBezTo>
                  <a:cubicBezTo>
                    <a:pt x="912864" y="816571"/>
                    <a:pt x="897228" y="831852"/>
                    <a:pt x="877939" y="831852"/>
                  </a:cubicBezTo>
                  <a:cubicBezTo>
                    <a:pt x="858647" y="831852"/>
                    <a:pt x="843014" y="816571"/>
                    <a:pt x="843014" y="797720"/>
                  </a:cubicBezTo>
                  <a:cubicBezTo>
                    <a:pt x="843014" y="778869"/>
                    <a:pt x="858647" y="763588"/>
                    <a:pt x="877939" y="763588"/>
                  </a:cubicBezTo>
                  <a:close/>
                  <a:moveTo>
                    <a:pt x="793002" y="763588"/>
                  </a:moveTo>
                  <a:cubicBezTo>
                    <a:pt x="811858" y="763588"/>
                    <a:pt x="827137" y="778869"/>
                    <a:pt x="827137" y="797720"/>
                  </a:cubicBezTo>
                  <a:cubicBezTo>
                    <a:pt x="827137" y="816571"/>
                    <a:pt x="811858" y="831852"/>
                    <a:pt x="793002" y="831852"/>
                  </a:cubicBezTo>
                  <a:cubicBezTo>
                    <a:pt x="774151" y="831852"/>
                    <a:pt x="758871" y="816571"/>
                    <a:pt x="758871" y="797720"/>
                  </a:cubicBezTo>
                  <a:cubicBezTo>
                    <a:pt x="758871" y="778869"/>
                    <a:pt x="774151" y="763588"/>
                    <a:pt x="793002" y="763588"/>
                  </a:cubicBezTo>
                  <a:close/>
                  <a:moveTo>
                    <a:pt x="707116" y="763588"/>
                  </a:moveTo>
                  <a:cubicBezTo>
                    <a:pt x="725967" y="763588"/>
                    <a:pt x="741248" y="778869"/>
                    <a:pt x="741248" y="797720"/>
                  </a:cubicBezTo>
                  <a:cubicBezTo>
                    <a:pt x="741248" y="816571"/>
                    <a:pt x="725967" y="831852"/>
                    <a:pt x="707116" y="831852"/>
                  </a:cubicBezTo>
                  <a:cubicBezTo>
                    <a:pt x="688265" y="831852"/>
                    <a:pt x="672984" y="816571"/>
                    <a:pt x="672984" y="797720"/>
                  </a:cubicBezTo>
                  <a:cubicBezTo>
                    <a:pt x="672984" y="778869"/>
                    <a:pt x="688265" y="763588"/>
                    <a:pt x="707116" y="763588"/>
                  </a:cubicBezTo>
                  <a:close/>
                  <a:moveTo>
                    <a:pt x="621537" y="763588"/>
                  </a:moveTo>
                  <a:cubicBezTo>
                    <a:pt x="640389" y="763588"/>
                    <a:pt x="655670" y="778869"/>
                    <a:pt x="655670" y="797720"/>
                  </a:cubicBezTo>
                  <a:cubicBezTo>
                    <a:pt x="655670" y="816571"/>
                    <a:pt x="640389" y="831852"/>
                    <a:pt x="621537" y="831852"/>
                  </a:cubicBezTo>
                  <a:cubicBezTo>
                    <a:pt x="602687" y="831852"/>
                    <a:pt x="587405" y="816571"/>
                    <a:pt x="587405" y="797720"/>
                  </a:cubicBezTo>
                  <a:cubicBezTo>
                    <a:pt x="587405" y="778869"/>
                    <a:pt x="602687" y="763588"/>
                    <a:pt x="621537" y="763588"/>
                  </a:cubicBezTo>
                  <a:close/>
                  <a:moveTo>
                    <a:pt x="541221" y="763588"/>
                  </a:moveTo>
                  <a:cubicBezTo>
                    <a:pt x="560510" y="763588"/>
                    <a:pt x="576146" y="778869"/>
                    <a:pt x="576146" y="797720"/>
                  </a:cubicBezTo>
                  <a:cubicBezTo>
                    <a:pt x="576146" y="816571"/>
                    <a:pt x="560510" y="831852"/>
                    <a:pt x="541221" y="831852"/>
                  </a:cubicBezTo>
                  <a:cubicBezTo>
                    <a:pt x="521932" y="831852"/>
                    <a:pt x="506297" y="816571"/>
                    <a:pt x="506297" y="797720"/>
                  </a:cubicBezTo>
                  <a:cubicBezTo>
                    <a:pt x="506297" y="778869"/>
                    <a:pt x="521932" y="763588"/>
                    <a:pt x="541221" y="763588"/>
                  </a:cubicBezTo>
                  <a:close/>
                  <a:moveTo>
                    <a:pt x="9138327" y="677863"/>
                  </a:moveTo>
                  <a:cubicBezTo>
                    <a:pt x="9157178" y="677863"/>
                    <a:pt x="9172459" y="693144"/>
                    <a:pt x="9172459" y="711995"/>
                  </a:cubicBezTo>
                  <a:cubicBezTo>
                    <a:pt x="9172459" y="730846"/>
                    <a:pt x="9157178" y="746127"/>
                    <a:pt x="9138327" y="746127"/>
                  </a:cubicBezTo>
                  <a:cubicBezTo>
                    <a:pt x="9119476" y="746127"/>
                    <a:pt x="9104195" y="730846"/>
                    <a:pt x="9104195" y="711995"/>
                  </a:cubicBezTo>
                  <a:cubicBezTo>
                    <a:pt x="9104195" y="693144"/>
                    <a:pt x="9119476" y="677863"/>
                    <a:pt x="9138327" y="677863"/>
                  </a:cubicBezTo>
                  <a:close/>
                  <a:moveTo>
                    <a:pt x="9052602" y="677863"/>
                  </a:moveTo>
                  <a:cubicBezTo>
                    <a:pt x="9071453" y="677863"/>
                    <a:pt x="9086734" y="693144"/>
                    <a:pt x="9086734" y="711995"/>
                  </a:cubicBezTo>
                  <a:cubicBezTo>
                    <a:pt x="9086734" y="730846"/>
                    <a:pt x="9071453" y="746127"/>
                    <a:pt x="9052602" y="746127"/>
                  </a:cubicBezTo>
                  <a:cubicBezTo>
                    <a:pt x="9033751" y="746127"/>
                    <a:pt x="9018470" y="730846"/>
                    <a:pt x="9018470" y="711995"/>
                  </a:cubicBezTo>
                  <a:cubicBezTo>
                    <a:pt x="9018470" y="693144"/>
                    <a:pt x="9033751" y="677863"/>
                    <a:pt x="9052602" y="677863"/>
                  </a:cubicBezTo>
                  <a:close/>
                  <a:moveTo>
                    <a:pt x="8966877" y="677863"/>
                  </a:moveTo>
                  <a:cubicBezTo>
                    <a:pt x="8985728" y="677863"/>
                    <a:pt x="9001009" y="693144"/>
                    <a:pt x="9001009" y="711995"/>
                  </a:cubicBezTo>
                  <a:cubicBezTo>
                    <a:pt x="9001009" y="730846"/>
                    <a:pt x="8985728" y="746127"/>
                    <a:pt x="8966877" y="746127"/>
                  </a:cubicBezTo>
                  <a:cubicBezTo>
                    <a:pt x="8948026" y="746127"/>
                    <a:pt x="8932745" y="730846"/>
                    <a:pt x="8932745" y="711995"/>
                  </a:cubicBezTo>
                  <a:cubicBezTo>
                    <a:pt x="8932745" y="693144"/>
                    <a:pt x="8948026" y="677863"/>
                    <a:pt x="8966877" y="677863"/>
                  </a:cubicBezTo>
                  <a:close/>
                  <a:moveTo>
                    <a:pt x="8884327" y="677863"/>
                  </a:moveTo>
                  <a:cubicBezTo>
                    <a:pt x="8904931" y="677863"/>
                    <a:pt x="8921634" y="693144"/>
                    <a:pt x="8921634" y="711995"/>
                  </a:cubicBezTo>
                  <a:cubicBezTo>
                    <a:pt x="8921634" y="730846"/>
                    <a:pt x="8904931" y="746127"/>
                    <a:pt x="8884327" y="746127"/>
                  </a:cubicBezTo>
                  <a:cubicBezTo>
                    <a:pt x="8863723" y="746127"/>
                    <a:pt x="8847020" y="730846"/>
                    <a:pt x="8847020" y="711995"/>
                  </a:cubicBezTo>
                  <a:cubicBezTo>
                    <a:pt x="8847020" y="693144"/>
                    <a:pt x="8863723" y="677863"/>
                    <a:pt x="8884327" y="677863"/>
                  </a:cubicBezTo>
                  <a:close/>
                  <a:moveTo>
                    <a:pt x="8801777" y="677863"/>
                  </a:moveTo>
                  <a:cubicBezTo>
                    <a:pt x="8820628" y="677863"/>
                    <a:pt x="8835909" y="693144"/>
                    <a:pt x="8835909" y="711995"/>
                  </a:cubicBezTo>
                  <a:cubicBezTo>
                    <a:pt x="8835909" y="730846"/>
                    <a:pt x="8820628" y="746127"/>
                    <a:pt x="8801777" y="746127"/>
                  </a:cubicBezTo>
                  <a:cubicBezTo>
                    <a:pt x="8782926" y="746127"/>
                    <a:pt x="8767645" y="730846"/>
                    <a:pt x="8767645" y="711995"/>
                  </a:cubicBezTo>
                  <a:cubicBezTo>
                    <a:pt x="8767645" y="693144"/>
                    <a:pt x="8782926" y="677863"/>
                    <a:pt x="8801777" y="677863"/>
                  </a:cubicBezTo>
                  <a:close/>
                  <a:moveTo>
                    <a:pt x="8716052" y="677863"/>
                  </a:moveTo>
                  <a:cubicBezTo>
                    <a:pt x="8734903" y="677863"/>
                    <a:pt x="8750184" y="693144"/>
                    <a:pt x="8750184" y="711995"/>
                  </a:cubicBezTo>
                  <a:cubicBezTo>
                    <a:pt x="8750184" y="730846"/>
                    <a:pt x="8734903" y="746127"/>
                    <a:pt x="8716052" y="746127"/>
                  </a:cubicBezTo>
                  <a:cubicBezTo>
                    <a:pt x="8697201" y="746127"/>
                    <a:pt x="8681920" y="730846"/>
                    <a:pt x="8681920" y="711995"/>
                  </a:cubicBezTo>
                  <a:cubicBezTo>
                    <a:pt x="8681920" y="693144"/>
                    <a:pt x="8697201" y="677863"/>
                    <a:pt x="8716052" y="677863"/>
                  </a:cubicBezTo>
                  <a:close/>
                  <a:moveTo>
                    <a:pt x="8630327" y="677863"/>
                  </a:moveTo>
                  <a:cubicBezTo>
                    <a:pt x="8649178" y="677863"/>
                    <a:pt x="8664459" y="693144"/>
                    <a:pt x="8664459" y="711995"/>
                  </a:cubicBezTo>
                  <a:cubicBezTo>
                    <a:pt x="8664459" y="730846"/>
                    <a:pt x="8649178" y="746127"/>
                    <a:pt x="8630327" y="746127"/>
                  </a:cubicBezTo>
                  <a:cubicBezTo>
                    <a:pt x="8611476" y="746127"/>
                    <a:pt x="8596195" y="730846"/>
                    <a:pt x="8596195" y="711995"/>
                  </a:cubicBezTo>
                  <a:cubicBezTo>
                    <a:pt x="8596195" y="693144"/>
                    <a:pt x="8611476" y="677863"/>
                    <a:pt x="8630327" y="677863"/>
                  </a:cubicBezTo>
                  <a:close/>
                  <a:moveTo>
                    <a:pt x="8544602" y="677863"/>
                  </a:moveTo>
                  <a:cubicBezTo>
                    <a:pt x="8563453" y="677863"/>
                    <a:pt x="8578734" y="693144"/>
                    <a:pt x="8578734" y="711995"/>
                  </a:cubicBezTo>
                  <a:cubicBezTo>
                    <a:pt x="8578734" y="730846"/>
                    <a:pt x="8563453" y="746127"/>
                    <a:pt x="8544602" y="746127"/>
                  </a:cubicBezTo>
                  <a:cubicBezTo>
                    <a:pt x="8525751" y="746127"/>
                    <a:pt x="8510470" y="730846"/>
                    <a:pt x="8510470" y="711995"/>
                  </a:cubicBezTo>
                  <a:cubicBezTo>
                    <a:pt x="8510470" y="693144"/>
                    <a:pt x="8525751" y="677863"/>
                    <a:pt x="8544602" y="677863"/>
                  </a:cubicBezTo>
                  <a:close/>
                  <a:moveTo>
                    <a:pt x="8465227" y="677863"/>
                  </a:moveTo>
                  <a:cubicBezTo>
                    <a:pt x="8484078" y="677863"/>
                    <a:pt x="8499359" y="693144"/>
                    <a:pt x="8499359" y="711995"/>
                  </a:cubicBezTo>
                  <a:cubicBezTo>
                    <a:pt x="8499359" y="730846"/>
                    <a:pt x="8484078" y="746127"/>
                    <a:pt x="8465227" y="746127"/>
                  </a:cubicBezTo>
                  <a:cubicBezTo>
                    <a:pt x="8446376" y="746127"/>
                    <a:pt x="8431095" y="730846"/>
                    <a:pt x="8431095" y="711995"/>
                  </a:cubicBezTo>
                  <a:cubicBezTo>
                    <a:pt x="8431095" y="693144"/>
                    <a:pt x="8446376" y="677863"/>
                    <a:pt x="8465227" y="677863"/>
                  </a:cubicBezTo>
                  <a:close/>
                  <a:moveTo>
                    <a:pt x="8379502" y="677863"/>
                  </a:moveTo>
                  <a:cubicBezTo>
                    <a:pt x="8398353" y="677863"/>
                    <a:pt x="8413634" y="693144"/>
                    <a:pt x="8413634" y="711995"/>
                  </a:cubicBezTo>
                  <a:cubicBezTo>
                    <a:pt x="8413634" y="730846"/>
                    <a:pt x="8398353" y="746127"/>
                    <a:pt x="8379502" y="746127"/>
                  </a:cubicBezTo>
                  <a:cubicBezTo>
                    <a:pt x="8360651" y="746127"/>
                    <a:pt x="8345370" y="730846"/>
                    <a:pt x="8345370" y="711995"/>
                  </a:cubicBezTo>
                  <a:cubicBezTo>
                    <a:pt x="8345370" y="693144"/>
                    <a:pt x="8360651" y="677863"/>
                    <a:pt x="8379502" y="677863"/>
                  </a:cubicBezTo>
                  <a:close/>
                  <a:moveTo>
                    <a:pt x="8293777" y="677863"/>
                  </a:moveTo>
                  <a:cubicBezTo>
                    <a:pt x="8312628" y="677863"/>
                    <a:pt x="8327909" y="693144"/>
                    <a:pt x="8327909" y="711995"/>
                  </a:cubicBezTo>
                  <a:cubicBezTo>
                    <a:pt x="8327909" y="730846"/>
                    <a:pt x="8312628" y="746127"/>
                    <a:pt x="8293777" y="746127"/>
                  </a:cubicBezTo>
                  <a:cubicBezTo>
                    <a:pt x="8274926" y="746127"/>
                    <a:pt x="8259645" y="730846"/>
                    <a:pt x="8259645" y="711995"/>
                  </a:cubicBezTo>
                  <a:cubicBezTo>
                    <a:pt x="8259645" y="693144"/>
                    <a:pt x="8274926" y="677863"/>
                    <a:pt x="8293777" y="677863"/>
                  </a:cubicBezTo>
                  <a:close/>
                  <a:moveTo>
                    <a:pt x="8208052" y="677863"/>
                  </a:moveTo>
                  <a:cubicBezTo>
                    <a:pt x="8226903" y="677863"/>
                    <a:pt x="8242184" y="693144"/>
                    <a:pt x="8242184" y="711995"/>
                  </a:cubicBezTo>
                  <a:cubicBezTo>
                    <a:pt x="8242184" y="730846"/>
                    <a:pt x="8226903" y="746127"/>
                    <a:pt x="8208052" y="746127"/>
                  </a:cubicBezTo>
                  <a:cubicBezTo>
                    <a:pt x="8189201" y="746127"/>
                    <a:pt x="8173920" y="730846"/>
                    <a:pt x="8173920" y="711995"/>
                  </a:cubicBezTo>
                  <a:cubicBezTo>
                    <a:pt x="8173920" y="693144"/>
                    <a:pt x="8189201" y="677863"/>
                    <a:pt x="8208052" y="677863"/>
                  </a:cubicBezTo>
                  <a:close/>
                  <a:moveTo>
                    <a:pt x="8125502" y="677863"/>
                  </a:moveTo>
                  <a:cubicBezTo>
                    <a:pt x="8146106" y="677863"/>
                    <a:pt x="8162809" y="693144"/>
                    <a:pt x="8162809" y="711995"/>
                  </a:cubicBezTo>
                  <a:cubicBezTo>
                    <a:pt x="8162809" y="730846"/>
                    <a:pt x="8146106" y="746127"/>
                    <a:pt x="8125502" y="746127"/>
                  </a:cubicBezTo>
                  <a:cubicBezTo>
                    <a:pt x="8104898" y="746127"/>
                    <a:pt x="8088195" y="730846"/>
                    <a:pt x="8088195" y="711995"/>
                  </a:cubicBezTo>
                  <a:cubicBezTo>
                    <a:pt x="8088195" y="693144"/>
                    <a:pt x="8104898" y="677863"/>
                    <a:pt x="8125502" y="677863"/>
                  </a:cubicBezTo>
                  <a:close/>
                  <a:moveTo>
                    <a:pt x="8042952" y="677863"/>
                  </a:moveTo>
                  <a:cubicBezTo>
                    <a:pt x="8061803" y="677863"/>
                    <a:pt x="8077084" y="693144"/>
                    <a:pt x="8077084" y="711995"/>
                  </a:cubicBezTo>
                  <a:cubicBezTo>
                    <a:pt x="8077084" y="730846"/>
                    <a:pt x="8061803" y="746127"/>
                    <a:pt x="8042952" y="746127"/>
                  </a:cubicBezTo>
                  <a:cubicBezTo>
                    <a:pt x="8024101" y="746127"/>
                    <a:pt x="8008820" y="730846"/>
                    <a:pt x="8008820" y="711995"/>
                  </a:cubicBezTo>
                  <a:cubicBezTo>
                    <a:pt x="8008820" y="693144"/>
                    <a:pt x="8024101" y="677863"/>
                    <a:pt x="8042952" y="677863"/>
                  </a:cubicBezTo>
                  <a:close/>
                  <a:moveTo>
                    <a:pt x="7957227" y="677863"/>
                  </a:moveTo>
                  <a:cubicBezTo>
                    <a:pt x="7976078" y="677863"/>
                    <a:pt x="7991359" y="693144"/>
                    <a:pt x="7991359" y="711995"/>
                  </a:cubicBezTo>
                  <a:cubicBezTo>
                    <a:pt x="7991359" y="730846"/>
                    <a:pt x="7976078" y="746127"/>
                    <a:pt x="7957227" y="746127"/>
                  </a:cubicBezTo>
                  <a:cubicBezTo>
                    <a:pt x="7938376" y="746127"/>
                    <a:pt x="7923095" y="730846"/>
                    <a:pt x="7923095" y="711995"/>
                  </a:cubicBezTo>
                  <a:cubicBezTo>
                    <a:pt x="7923095" y="693144"/>
                    <a:pt x="7938376" y="677863"/>
                    <a:pt x="7957227" y="677863"/>
                  </a:cubicBezTo>
                  <a:close/>
                  <a:moveTo>
                    <a:pt x="7871502" y="677863"/>
                  </a:moveTo>
                  <a:cubicBezTo>
                    <a:pt x="7890353" y="677863"/>
                    <a:pt x="7905634" y="693144"/>
                    <a:pt x="7905634" y="711995"/>
                  </a:cubicBezTo>
                  <a:cubicBezTo>
                    <a:pt x="7905634" y="730846"/>
                    <a:pt x="7890353" y="746127"/>
                    <a:pt x="7871502" y="746127"/>
                  </a:cubicBezTo>
                  <a:cubicBezTo>
                    <a:pt x="7852651" y="746127"/>
                    <a:pt x="7837370" y="730846"/>
                    <a:pt x="7837370" y="711995"/>
                  </a:cubicBezTo>
                  <a:cubicBezTo>
                    <a:pt x="7837370" y="693144"/>
                    <a:pt x="7852651" y="677863"/>
                    <a:pt x="7871502" y="677863"/>
                  </a:cubicBezTo>
                  <a:close/>
                  <a:moveTo>
                    <a:pt x="7785777" y="677863"/>
                  </a:moveTo>
                  <a:cubicBezTo>
                    <a:pt x="7804628" y="677863"/>
                    <a:pt x="7819909" y="693144"/>
                    <a:pt x="7819909" y="711995"/>
                  </a:cubicBezTo>
                  <a:cubicBezTo>
                    <a:pt x="7819909" y="730846"/>
                    <a:pt x="7804628" y="746127"/>
                    <a:pt x="7785777" y="746127"/>
                  </a:cubicBezTo>
                  <a:cubicBezTo>
                    <a:pt x="7766926" y="746127"/>
                    <a:pt x="7751645" y="730846"/>
                    <a:pt x="7751645" y="711995"/>
                  </a:cubicBezTo>
                  <a:cubicBezTo>
                    <a:pt x="7751645" y="693144"/>
                    <a:pt x="7766926" y="677863"/>
                    <a:pt x="7785777" y="677863"/>
                  </a:cubicBezTo>
                  <a:close/>
                  <a:moveTo>
                    <a:pt x="7706402" y="677863"/>
                  </a:moveTo>
                  <a:cubicBezTo>
                    <a:pt x="7725253" y="677863"/>
                    <a:pt x="7740534" y="693144"/>
                    <a:pt x="7740534" y="711995"/>
                  </a:cubicBezTo>
                  <a:cubicBezTo>
                    <a:pt x="7740534" y="730846"/>
                    <a:pt x="7725253" y="746127"/>
                    <a:pt x="7706402" y="746127"/>
                  </a:cubicBezTo>
                  <a:cubicBezTo>
                    <a:pt x="7687551" y="746127"/>
                    <a:pt x="7672270" y="730846"/>
                    <a:pt x="7672270" y="711995"/>
                  </a:cubicBezTo>
                  <a:cubicBezTo>
                    <a:pt x="7672270" y="693144"/>
                    <a:pt x="7687551" y="677863"/>
                    <a:pt x="7706402" y="677863"/>
                  </a:cubicBezTo>
                  <a:close/>
                  <a:moveTo>
                    <a:pt x="7620677" y="677863"/>
                  </a:moveTo>
                  <a:cubicBezTo>
                    <a:pt x="7639528" y="677863"/>
                    <a:pt x="7654809" y="693144"/>
                    <a:pt x="7654809" y="711995"/>
                  </a:cubicBezTo>
                  <a:cubicBezTo>
                    <a:pt x="7654809" y="730846"/>
                    <a:pt x="7639528" y="746127"/>
                    <a:pt x="7620677" y="746127"/>
                  </a:cubicBezTo>
                  <a:cubicBezTo>
                    <a:pt x="7601826" y="746127"/>
                    <a:pt x="7586545" y="730846"/>
                    <a:pt x="7586545" y="711995"/>
                  </a:cubicBezTo>
                  <a:cubicBezTo>
                    <a:pt x="7586545" y="693144"/>
                    <a:pt x="7601826" y="677863"/>
                    <a:pt x="7620677" y="677863"/>
                  </a:cubicBezTo>
                  <a:close/>
                  <a:moveTo>
                    <a:pt x="7534952" y="677863"/>
                  </a:moveTo>
                  <a:cubicBezTo>
                    <a:pt x="7553803" y="677863"/>
                    <a:pt x="7569084" y="693144"/>
                    <a:pt x="7569084" y="711995"/>
                  </a:cubicBezTo>
                  <a:cubicBezTo>
                    <a:pt x="7569084" y="730846"/>
                    <a:pt x="7553803" y="746127"/>
                    <a:pt x="7534952" y="746127"/>
                  </a:cubicBezTo>
                  <a:cubicBezTo>
                    <a:pt x="7516101" y="746127"/>
                    <a:pt x="7500820" y="730846"/>
                    <a:pt x="7500820" y="711995"/>
                  </a:cubicBezTo>
                  <a:cubicBezTo>
                    <a:pt x="7500820" y="693144"/>
                    <a:pt x="7516101" y="677863"/>
                    <a:pt x="7534952" y="677863"/>
                  </a:cubicBezTo>
                  <a:close/>
                  <a:moveTo>
                    <a:pt x="7449227" y="677863"/>
                  </a:moveTo>
                  <a:cubicBezTo>
                    <a:pt x="7468078" y="677863"/>
                    <a:pt x="7483359" y="693144"/>
                    <a:pt x="7483359" y="711995"/>
                  </a:cubicBezTo>
                  <a:cubicBezTo>
                    <a:pt x="7483359" y="730846"/>
                    <a:pt x="7468078" y="746127"/>
                    <a:pt x="7449227" y="746127"/>
                  </a:cubicBezTo>
                  <a:cubicBezTo>
                    <a:pt x="7430376" y="746127"/>
                    <a:pt x="7415095" y="730846"/>
                    <a:pt x="7415095" y="711995"/>
                  </a:cubicBezTo>
                  <a:cubicBezTo>
                    <a:pt x="7415095" y="693144"/>
                    <a:pt x="7430376" y="677863"/>
                    <a:pt x="7449227" y="677863"/>
                  </a:cubicBezTo>
                  <a:close/>
                  <a:moveTo>
                    <a:pt x="7366677" y="677863"/>
                  </a:moveTo>
                  <a:cubicBezTo>
                    <a:pt x="7387281" y="677863"/>
                    <a:pt x="7403984" y="693144"/>
                    <a:pt x="7403984" y="711995"/>
                  </a:cubicBezTo>
                  <a:cubicBezTo>
                    <a:pt x="7403984" y="730846"/>
                    <a:pt x="7387281" y="746127"/>
                    <a:pt x="7366677" y="746127"/>
                  </a:cubicBezTo>
                  <a:cubicBezTo>
                    <a:pt x="7346073" y="746127"/>
                    <a:pt x="7329370" y="730846"/>
                    <a:pt x="7329370" y="711995"/>
                  </a:cubicBezTo>
                  <a:cubicBezTo>
                    <a:pt x="7329370" y="693144"/>
                    <a:pt x="7346073" y="677863"/>
                    <a:pt x="7366677" y="677863"/>
                  </a:cubicBezTo>
                  <a:close/>
                  <a:moveTo>
                    <a:pt x="7284127" y="677863"/>
                  </a:moveTo>
                  <a:cubicBezTo>
                    <a:pt x="7302978" y="677863"/>
                    <a:pt x="7318259" y="693144"/>
                    <a:pt x="7318259" y="711995"/>
                  </a:cubicBezTo>
                  <a:cubicBezTo>
                    <a:pt x="7318259" y="730846"/>
                    <a:pt x="7302978" y="746127"/>
                    <a:pt x="7284127" y="746127"/>
                  </a:cubicBezTo>
                  <a:cubicBezTo>
                    <a:pt x="7265276" y="746127"/>
                    <a:pt x="7249995" y="730846"/>
                    <a:pt x="7249995" y="711995"/>
                  </a:cubicBezTo>
                  <a:cubicBezTo>
                    <a:pt x="7249995" y="693144"/>
                    <a:pt x="7265276" y="677863"/>
                    <a:pt x="7284127" y="677863"/>
                  </a:cubicBezTo>
                  <a:close/>
                  <a:moveTo>
                    <a:pt x="7198402" y="677863"/>
                  </a:moveTo>
                  <a:cubicBezTo>
                    <a:pt x="7217253" y="677863"/>
                    <a:pt x="7232534" y="693144"/>
                    <a:pt x="7232534" y="711995"/>
                  </a:cubicBezTo>
                  <a:cubicBezTo>
                    <a:pt x="7232534" y="730846"/>
                    <a:pt x="7217253" y="746127"/>
                    <a:pt x="7198402" y="746127"/>
                  </a:cubicBezTo>
                  <a:cubicBezTo>
                    <a:pt x="7179551" y="746127"/>
                    <a:pt x="7164270" y="730846"/>
                    <a:pt x="7164270" y="711995"/>
                  </a:cubicBezTo>
                  <a:cubicBezTo>
                    <a:pt x="7164270" y="693144"/>
                    <a:pt x="7179551" y="677863"/>
                    <a:pt x="7198402" y="677863"/>
                  </a:cubicBezTo>
                  <a:close/>
                  <a:moveTo>
                    <a:pt x="7112677" y="677863"/>
                  </a:moveTo>
                  <a:cubicBezTo>
                    <a:pt x="7131528" y="677863"/>
                    <a:pt x="7146809" y="693144"/>
                    <a:pt x="7146809" y="711995"/>
                  </a:cubicBezTo>
                  <a:cubicBezTo>
                    <a:pt x="7146809" y="730846"/>
                    <a:pt x="7131528" y="746127"/>
                    <a:pt x="7112677" y="746127"/>
                  </a:cubicBezTo>
                  <a:cubicBezTo>
                    <a:pt x="7093826" y="746127"/>
                    <a:pt x="7078545" y="730846"/>
                    <a:pt x="7078545" y="711995"/>
                  </a:cubicBezTo>
                  <a:cubicBezTo>
                    <a:pt x="7078545" y="693144"/>
                    <a:pt x="7093826" y="677863"/>
                    <a:pt x="7112677" y="677863"/>
                  </a:cubicBezTo>
                  <a:close/>
                  <a:moveTo>
                    <a:pt x="7027745" y="677863"/>
                  </a:moveTo>
                  <a:cubicBezTo>
                    <a:pt x="7047034" y="677863"/>
                    <a:pt x="7062670" y="693144"/>
                    <a:pt x="7062670" y="711995"/>
                  </a:cubicBezTo>
                  <a:cubicBezTo>
                    <a:pt x="7062670" y="730846"/>
                    <a:pt x="7047034" y="746127"/>
                    <a:pt x="7027745" y="746127"/>
                  </a:cubicBezTo>
                  <a:cubicBezTo>
                    <a:pt x="7008456" y="746127"/>
                    <a:pt x="6992820" y="730846"/>
                    <a:pt x="6992820" y="711995"/>
                  </a:cubicBezTo>
                  <a:cubicBezTo>
                    <a:pt x="6992820" y="693144"/>
                    <a:pt x="7008456" y="677863"/>
                    <a:pt x="7027745" y="677863"/>
                  </a:cubicBezTo>
                  <a:close/>
                  <a:moveTo>
                    <a:pt x="6947577" y="677863"/>
                  </a:moveTo>
                  <a:cubicBezTo>
                    <a:pt x="6966428" y="677863"/>
                    <a:pt x="6981709" y="693144"/>
                    <a:pt x="6981709" y="711995"/>
                  </a:cubicBezTo>
                  <a:cubicBezTo>
                    <a:pt x="6981709" y="730846"/>
                    <a:pt x="6966428" y="746127"/>
                    <a:pt x="6947577" y="746127"/>
                  </a:cubicBezTo>
                  <a:cubicBezTo>
                    <a:pt x="6928726" y="746127"/>
                    <a:pt x="6913445" y="730846"/>
                    <a:pt x="6913445" y="711995"/>
                  </a:cubicBezTo>
                  <a:cubicBezTo>
                    <a:pt x="6913445" y="693144"/>
                    <a:pt x="6928726" y="677863"/>
                    <a:pt x="6947577" y="677863"/>
                  </a:cubicBezTo>
                  <a:close/>
                  <a:moveTo>
                    <a:pt x="6691195" y="677863"/>
                  </a:moveTo>
                  <a:cubicBezTo>
                    <a:pt x="6710484" y="677863"/>
                    <a:pt x="6726120" y="693144"/>
                    <a:pt x="6726120" y="711995"/>
                  </a:cubicBezTo>
                  <a:cubicBezTo>
                    <a:pt x="6726120" y="730846"/>
                    <a:pt x="6710484" y="746127"/>
                    <a:pt x="6691195" y="746127"/>
                  </a:cubicBezTo>
                  <a:cubicBezTo>
                    <a:pt x="6671906" y="746127"/>
                    <a:pt x="6656270" y="730846"/>
                    <a:pt x="6656270" y="711995"/>
                  </a:cubicBezTo>
                  <a:cubicBezTo>
                    <a:pt x="6656270" y="693144"/>
                    <a:pt x="6671906" y="677863"/>
                    <a:pt x="6691195" y="677863"/>
                  </a:cubicBezTo>
                  <a:close/>
                  <a:moveTo>
                    <a:pt x="6353852" y="677863"/>
                  </a:moveTo>
                  <a:cubicBezTo>
                    <a:pt x="6372703" y="677863"/>
                    <a:pt x="6387984" y="693144"/>
                    <a:pt x="6387984" y="711995"/>
                  </a:cubicBezTo>
                  <a:cubicBezTo>
                    <a:pt x="6387984" y="730846"/>
                    <a:pt x="6372703" y="746127"/>
                    <a:pt x="6353852" y="746127"/>
                  </a:cubicBezTo>
                  <a:cubicBezTo>
                    <a:pt x="6335001" y="746127"/>
                    <a:pt x="6319720" y="730846"/>
                    <a:pt x="6319720" y="711995"/>
                  </a:cubicBezTo>
                  <a:cubicBezTo>
                    <a:pt x="6319720" y="693144"/>
                    <a:pt x="6335001" y="677863"/>
                    <a:pt x="6353852" y="677863"/>
                  </a:cubicBezTo>
                  <a:close/>
                  <a:moveTo>
                    <a:pt x="4415515" y="677863"/>
                  </a:moveTo>
                  <a:cubicBezTo>
                    <a:pt x="4434366" y="677863"/>
                    <a:pt x="4449647" y="693144"/>
                    <a:pt x="4449647" y="711995"/>
                  </a:cubicBezTo>
                  <a:cubicBezTo>
                    <a:pt x="4449647" y="730846"/>
                    <a:pt x="4434366" y="746127"/>
                    <a:pt x="4415515" y="746127"/>
                  </a:cubicBezTo>
                  <a:cubicBezTo>
                    <a:pt x="4396664" y="746127"/>
                    <a:pt x="4381383" y="730846"/>
                    <a:pt x="4381383" y="711995"/>
                  </a:cubicBezTo>
                  <a:cubicBezTo>
                    <a:pt x="4381383" y="693144"/>
                    <a:pt x="4396664" y="677863"/>
                    <a:pt x="4415515" y="677863"/>
                  </a:cubicBezTo>
                  <a:close/>
                  <a:moveTo>
                    <a:pt x="4248827" y="677863"/>
                  </a:moveTo>
                  <a:cubicBezTo>
                    <a:pt x="4267678" y="677863"/>
                    <a:pt x="4282959" y="693144"/>
                    <a:pt x="4282959" y="711995"/>
                  </a:cubicBezTo>
                  <a:cubicBezTo>
                    <a:pt x="4282959" y="730846"/>
                    <a:pt x="4267678" y="746127"/>
                    <a:pt x="4248827" y="746127"/>
                  </a:cubicBezTo>
                  <a:cubicBezTo>
                    <a:pt x="4229976" y="746127"/>
                    <a:pt x="4214695" y="730846"/>
                    <a:pt x="4214695" y="711995"/>
                  </a:cubicBezTo>
                  <a:cubicBezTo>
                    <a:pt x="4214695" y="693144"/>
                    <a:pt x="4229976" y="677863"/>
                    <a:pt x="4248827" y="677863"/>
                  </a:cubicBezTo>
                  <a:close/>
                  <a:moveTo>
                    <a:pt x="4163895" y="677863"/>
                  </a:moveTo>
                  <a:cubicBezTo>
                    <a:pt x="4183184" y="677863"/>
                    <a:pt x="4198820" y="693144"/>
                    <a:pt x="4198820" y="711995"/>
                  </a:cubicBezTo>
                  <a:cubicBezTo>
                    <a:pt x="4198820" y="730846"/>
                    <a:pt x="4183184" y="746127"/>
                    <a:pt x="4163895" y="746127"/>
                  </a:cubicBezTo>
                  <a:cubicBezTo>
                    <a:pt x="4144606" y="746127"/>
                    <a:pt x="4128970" y="730846"/>
                    <a:pt x="4128970" y="711995"/>
                  </a:cubicBezTo>
                  <a:cubicBezTo>
                    <a:pt x="4128970" y="693144"/>
                    <a:pt x="4144606" y="677863"/>
                    <a:pt x="4163895" y="677863"/>
                  </a:cubicBezTo>
                  <a:close/>
                  <a:moveTo>
                    <a:pt x="4078170" y="677863"/>
                  </a:moveTo>
                  <a:cubicBezTo>
                    <a:pt x="4097459" y="677863"/>
                    <a:pt x="4113095" y="693144"/>
                    <a:pt x="4113095" y="711995"/>
                  </a:cubicBezTo>
                  <a:cubicBezTo>
                    <a:pt x="4113095" y="730846"/>
                    <a:pt x="4097459" y="746127"/>
                    <a:pt x="4078170" y="746127"/>
                  </a:cubicBezTo>
                  <a:cubicBezTo>
                    <a:pt x="4058881" y="746127"/>
                    <a:pt x="4043245" y="730846"/>
                    <a:pt x="4043245" y="711995"/>
                  </a:cubicBezTo>
                  <a:cubicBezTo>
                    <a:pt x="4043245" y="693144"/>
                    <a:pt x="4058881" y="677863"/>
                    <a:pt x="4078170" y="677863"/>
                  </a:cubicBezTo>
                  <a:close/>
                  <a:moveTo>
                    <a:pt x="3993240" y="677863"/>
                  </a:moveTo>
                  <a:cubicBezTo>
                    <a:pt x="4012091" y="677863"/>
                    <a:pt x="4027372" y="693144"/>
                    <a:pt x="4027372" y="711995"/>
                  </a:cubicBezTo>
                  <a:cubicBezTo>
                    <a:pt x="4027372" y="730846"/>
                    <a:pt x="4012091" y="746127"/>
                    <a:pt x="3993240" y="746127"/>
                  </a:cubicBezTo>
                  <a:cubicBezTo>
                    <a:pt x="3974389" y="746127"/>
                    <a:pt x="3959108" y="730846"/>
                    <a:pt x="3959108" y="711995"/>
                  </a:cubicBezTo>
                  <a:cubicBezTo>
                    <a:pt x="3959108" y="693144"/>
                    <a:pt x="3974389" y="677863"/>
                    <a:pt x="3993240" y="677863"/>
                  </a:cubicBezTo>
                  <a:close/>
                  <a:moveTo>
                    <a:pt x="3912277" y="677863"/>
                  </a:moveTo>
                  <a:cubicBezTo>
                    <a:pt x="3931128" y="677863"/>
                    <a:pt x="3946409" y="693144"/>
                    <a:pt x="3946409" y="711995"/>
                  </a:cubicBezTo>
                  <a:cubicBezTo>
                    <a:pt x="3946409" y="730846"/>
                    <a:pt x="3931128" y="746127"/>
                    <a:pt x="3912277" y="746127"/>
                  </a:cubicBezTo>
                  <a:cubicBezTo>
                    <a:pt x="3893426" y="746127"/>
                    <a:pt x="3878145" y="730846"/>
                    <a:pt x="3878145" y="711995"/>
                  </a:cubicBezTo>
                  <a:cubicBezTo>
                    <a:pt x="3878145" y="693144"/>
                    <a:pt x="3893426" y="677863"/>
                    <a:pt x="3912277" y="677863"/>
                  </a:cubicBezTo>
                  <a:close/>
                  <a:moveTo>
                    <a:pt x="3826552" y="677863"/>
                  </a:moveTo>
                  <a:cubicBezTo>
                    <a:pt x="3845403" y="677863"/>
                    <a:pt x="3860684" y="693144"/>
                    <a:pt x="3860684" y="711995"/>
                  </a:cubicBezTo>
                  <a:cubicBezTo>
                    <a:pt x="3860684" y="730846"/>
                    <a:pt x="3845403" y="746127"/>
                    <a:pt x="3826552" y="746127"/>
                  </a:cubicBezTo>
                  <a:cubicBezTo>
                    <a:pt x="3807701" y="746127"/>
                    <a:pt x="3792420" y="730846"/>
                    <a:pt x="3792420" y="711995"/>
                  </a:cubicBezTo>
                  <a:cubicBezTo>
                    <a:pt x="3792420" y="693144"/>
                    <a:pt x="3807701" y="677863"/>
                    <a:pt x="3826552" y="677863"/>
                  </a:cubicBezTo>
                  <a:close/>
                  <a:moveTo>
                    <a:pt x="3741620" y="677863"/>
                  </a:moveTo>
                  <a:cubicBezTo>
                    <a:pt x="3760909" y="677863"/>
                    <a:pt x="3776545" y="693144"/>
                    <a:pt x="3776545" y="711995"/>
                  </a:cubicBezTo>
                  <a:cubicBezTo>
                    <a:pt x="3776545" y="730846"/>
                    <a:pt x="3760909" y="746127"/>
                    <a:pt x="3741620" y="746127"/>
                  </a:cubicBezTo>
                  <a:cubicBezTo>
                    <a:pt x="3722331" y="746127"/>
                    <a:pt x="3706695" y="730846"/>
                    <a:pt x="3706695" y="711995"/>
                  </a:cubicBezTo>
                  <a:cubicBezTo>
                    <a:pt x="3706695" y="693144"/>
                    <a:pt x="3722331" y="677863"/>
                    <a:pt x="3741620" y="677863"/>
                  </a:cubicBezTo>
                  <a:close/>
                  <a:moveTo>
                    <a:pt x="3656690" y="677863"/>
                  </a:moveTo>
                  <a:cubicBezTo>
                    <a:pt x="3675541" y="677863"/>
                    <a:pt x="3690822" y="693144"/>
                    <a:pt x="3690822" y="711995"/>
                  </a:cubicBezTo>
                  <a:cubicBezTo>
                    <a:pt x="3690822" y="730846"/>
                    <a:pt x="3675541" y="746127"/>
                    <a:pt x="3656690" y="746127"/>
                  </a:cubicBezTo>
                  <a:cubicBezTo>
                    <a:pt x="3637839" y="746127"/>
                    <a:pt x="3622558" y="730846"/>
                    <a:pt x="3622558" y="711995"/>
                  </a:cubicBezTo>
                  <a:cubicBezTo>
                    <a:pt x="3622558" y="693144"/>
                    <a:pt x="3637839" y="677863"/>
                    <a:pt x="3656690" y="677863"/>
                  </a:cubicBezTo>
                  <a:close/>
                  <a:moveTo>
                    <a:pt x="3320140" y="677863"/>
                  </a:moveTo>
                  <a:cubicBezTo>
                    <a:pt x="3338991" y="677863"/>
                    <a:pt x="3354272" y="693144"/>
                    <a:pt x="3354272" y="711995"/>
                  </a:cubicBezTo>
                  <a:cubicBezTo>
                    <a:pt x="3354272" y="730846"/>
                    <a:pt x="3338991" y="746127"/>
                    <a:pt x="3320140" y="746127"/>
                  </a:cubicBezTo>
                  <a:cubicBezTo>
                    <a:pt x="3301289" y="746127"/>
                    <a:pt x="3286008" y="730846"/>
                    <a:pt x="3286008" y="711995"/>
                  </a:cubicBezTo>
                  <a:cubicBezTo>
                    <a:pt x="3286008" y="693144"/>
                    <a:pt x="3301289" y="677863"/>
                    <a:pt x="3320140" y="677863"/>
                  </a:cubicBezTo>
                  <a:close/>
                  <a:moveTo>
                    <a:pt x="3234415" y="677863"/>
                  </a:moveTo>
                  <a:cubicBezTo>
                    <a:pt x="3253266" y="677863"/>
                    <a:pt x="3268547" y="693144"/>
                    <a:pt x="3268547" y="711995"/>
                  </a:cubicBezTo>
                  <a:cubicBezTo>
                    <a:pt x="3268547" y="730846"/>
                    <a:pt x="3253266" y="746127"/>
                    <a:pt x="3234415" y="746127"/>
                  </a:cubicBezTo>
                  <a:cubicBezTo>
                    <a:pt x="3215564" y="746127"/>
                    <a:pt x="3200283" y="730846"/>
                    <a:pt x="3200283" y="711995"/>
                  </a:cubicBezTo>
                  <a:cubicBezTo>
                    <a:pt x="3200283" y="693144"/>
                    <a:pt x="3215564" y="677863"/>
                    <a:pt x="3234415" y="677863"/>
                  </a:cubicBezTo>
                  <a:close/>
                  <a:moveTo>
                    <a:pt x="2897865" y="677863"/>
                  </a:moveTo>
                  <a:cubicBezTo>
                    <a:pt x="2916716" y="677863"/>
                    <a:pt x="2931997" y="693144"/>
                    <a:pt x="2931997" y="711995"/>
                  </a:cubicBezTo>
                  <a:cubicBezTo>
                    <a:pt x="2931997" y="730846"/>
                    <a:pt x="2916716" y="746127"/>
                    <a:pt x="2897865" y="746127"/>
                  </a:cubicBezTo>
                  <a:cubicBezTo>
                    <a:pt x="2879014" y="746127"/>
                    <a:pt x="2863733" y="730846"/>
                    <a:pt x="2863733" y="711995"/>
                  </a:cubicBezTo>
                  <a:cubicBezTo>
                    <a:pt x="2863733" y="693144"/>
                    <a:pt x="2879014" y="677863"/>
                    <a:pt x="2897865" y="677863"/>
                  </a:cubicBezTo>
                  <a:close/>
                  <a:moveTo>
                    <a:pt x="2732006" y="677863"/>
                  </a:moveTo>
                  <a:cubicBezTo>
                    <a:pt x="2751295" y="677863"/>
                    <a:pt x="2766931" y="693144"/>
                    <a:pt x="2766931" y="711995"/>
                  </a:cubicBezTo>
                  <a:cubicBezTo>
                    <a:pt x="2766931" y="730846"/>
                    <a:pt x="2751295" y="746127"/>
                    <a:pt x="2732006" y="746127"/>
                  </a:cubicBezTo>
                  <a:cubicBezTo>
                    <a:pt x="2712717" y="746127"/>
                    <a:pt x="2697081" y="730846"/>
                    <a:pt x="2697081" y="711995"/>
                  </a:cubicBezTo>
                  <a:cubicBezTo>
                    <a:pt x="2697081" y="693144"/>
                    <a:pt x="2712717" y="677863"/>
                    <a:pt x="2732006" y="677863"/>
                  </a:cubicBezTo>
                  <a:close/>
                  <a:moveTo>
                    <a:pt x="2646281" y="677863"/>
                  </a:moveTo>
                  <a:cubicBezTo>
                    <a:pt x="2665571" y="677863"/>
                    <a:pt x="2681205" y="693144"/>
                    <a:pt x="2681205" y="711995"/>
                  </a:cubicBezTo>
                  <a:cubicBezTo>
                    <a:pt x="2681205" y="730846"/>
                    <a:pt x="2665571" y="746127"/>
                    <a:pt x="2646281" y="746127"/>
                  </a:cubicBezTo>
                  <a:cubicBezTo>
                    <a:pt x="2626992" y="746127"/>
                    <a:pt x="2611356" y="730846"/>
                    <a:pt x="2611356" y="711995"/>
                  </a:cubicBezTo>
                  <a:cubicBezTo>
                    <a:pt x="2611356" y="693144"/>
                    <a:pt x="2626992" y="677863"/>
                    <a:pt x="2646281" y="677863"/>
                  </a:cubicBezTo>
                  <a:close/>
                  <a:moveTo>
                    <a:pt x="2561353" y="677863"/>
                  </a:moveTo>
                  <a:cubicBezTo>
                    <a:pt x="2580204" y="677863"/>
                    <a:pt x="2595485" y="693144"/>
                    <a:pt x="2595485" y="711995"/>
                  </a:cubicBezTo>
                  <a:cubicBezTo>
                    <a:pt x="2595485" y="730846"/>
                    <a:pt x="2580204" y="746127"/>
                    <a:pt x="2561353" y="746127"/>
                  </a:cubicBezTo>
                  <a:cubicBezTo>
                    <a:pt x="2542501" y="746127"/>
                    <a:pt x="2527221" y="730846"/>
                    <a:pt x="2527221" y="711995"/>
                  </a:cubicBezTo>
                  <a:cubicBezTo>
                    <a:pt x="2527221" y="693144"/>
                    <a:pt x="2542501" y="677863"/>
                    <a:pt x="2561353" y="677863"/>
                  </a:cubicBezTo>
                  <a:close/>
                  <a:moveTo>
                    <a:pt x="2475628" y="677863"/>
                  </a:moveTo>
                  <a:cubicBezTo>
                    <a:pt x="2494480" y="677863"/>
                    <a:pt x="2509761" y="693144"/>
                    <a:pt x="2509761" y="711995"/>
                  </a:cubicBezTo>
                  <a:cubicBezTo>
                    <a:pt x="2509761" y="730846"/>
                    <a:pt x="2494480" y="746127"/>
                    <a:pt x="2475628" y="746127"/>
                  </a:cubicBezTo>
                  <a:cubicBezTo>
                    <a:pt x="2456777" y="746127"/>
                    <a:pt x="2441497" y="730846"/>
                    <a:pt x="2441497" y="711995"/>
                  </a:cubicBezTo>
                  <a:cubicBezTo>
                    <a:pt x="2441497" y="693144"/>
                    <a:pt x="2456777" y="677863"/>
                    <a:pt x="2475628" y="677863"/>
                  </a:cubicBezTo>
                  <a:close/>
                  <a:moveTo>
                    <a:pt x="2394666" y="677863"/>
                  </a:moveTo>
                  <a:cubicBezTo>
                    <a:pt x="2413516" y="677863"/>
                    <a:pt x="2428798" y="693144"/>
                    <a:pt x="2428798" y="711995"/>
                  </a:cubicBezTo>
                  <a:cubicBezTo>
                    <a:pt x="2428798" y="730846"/>
                    <a:pt x="2413516" y="746127"/>
                    <a:pt x="2394666" y="746127"/>
                  </a:cubicBezTo>
                  <a:cubicBezTo>
                    <a:pt x="2375814" y="746127"/>
                    <a:pt x="2360533" y="730846"/>
                    <a:pt x="2360533" y="711995"/>
                  </a:cubicBezTo>
                  <a:cubicBezTo>
                    <a:pt x="2360533" y="693144"/>
                    <a:pt x="2375814" y="677863"/>
                    <a:pt x="2394666" y="677863"/>
                  </a:cubicBezTo>
                  <a:close/>
                  <a:moveTo>
                    <a:pt x="2309733" y="677863"/>
                  </a:moveTo>
                  <a:cubicBezTo>
                    <a:pt x="2329020" y="677863"/>
                    <a:pt x="2344659" y="693144"/>
                    <a:pt x="2344659" y="711995"/>
                  </a:cubicBezTo>
                  <a:cubicBezTo>
                    <a:pt x="2344659" y="730846"/>
                    <a:pt x="2329020" y="746127"/>
                    <a:pt x="2309733" y="746127"/>
                  </a:cubicBezTo>
                  <a:cubicBezTo>
                    <a:pt x="2290444" y="746127"/>
                    <a:pt x="2274806" y="730846"/>
                    <a:pt x="2274806" y="711995"/>
                  </a:cubicBezTo>
                  <a:cubicBezTo>
                    <a:pt x="2274806" y="693144"/>
                    <a:pt x="2290444" y="677863"/>
                    <a:pt x="2309733" y="677863"/>
                  </a:cubicBezTo>
                  <a:close/>
                  <a:moveTo>
                    <a:pt x="2224804" y="677863"/>
                  </a:moveTo>
                  <a:cubicBezTo>
                    <a:pt x="2243656" y="677863"/>
                    <a:pt x="2258936" y="693144"/>
                    <a:pt x="2258936" y="711995"/>
                  </a:cubicBezTo>
                  <a:cubicBezTo>
                    <a:pt x="2258936" y="730846"/>
                    <a:pt x="2243656" y="746127"/>
                    <a:pt x="2224804" y="746127"/>
                  </a:cubicBezTo>
                  <a:cubicBezTo>
                    <a:pt x="2205953" y="746127"/>
                    <a:pt x="2190671" y="730846"/>
                    <a:pt x="2190671" y="711995"/>
                  </a:cubicBezTo>
                  <a:cubicBezTo>
                    <a:pt x="2190671" y="693144"/>
                    <a:pt x="2205953" y="677863"/>
                    <a:pt x="2224804" y="677863"/>
                  </a:cubicBezTo>
                  <a:close/>
                  <a:moveTo>
                    <a:pt x="2139081" y="677863"/>
                  </a:moveTo>
                  <a:cubicBezTo>
                    <a:pt x="2157932" y="677863"/>
                    <a:pt x="2173212" y="693144"/>
                    <a:pt x="2173212" y="711995"/>
                  </a:cubicBezTo>
                  <a:cubicBezTo>
                    <a:pt x="2173212" y="730846"/>
                    <a:pt x="2157932" y="746127"/>
                    <a:pt x="2139081" y="746127"/>
                  </a:cubicBezTo>
                  <a:cubicBezTo>
                    <a:pt x="2120230" y="746127"/>
                    <a:pt x="2104949" y="730846"/>
                    <a:pt x="2104949" y="711995"/>
                  </a:cubicBezTo>
                  <a:cubicBezTo>
                    <a:pt x="2104949" y="693144"/>
                    <a:pt x="2120230" y="677863"/>
                    <a:pt x="2139081" y="677863"/>
                  </a:cubicBezTo>
                  <a:close/>
                  <a:moveTo>
                    <a:pt x="2055738" y="677863"/>
                  </a:moveTo>
                  <a:cubicBezTo>
                    <a:pt x="2075903" y="677863"/>
                    <a:pt x="2092250" y="693144"/>
                    <a:pt x="2092250" y="711995"/>
                  </a:cubicBezTo>
                  <a:cubicBezTo>
                    <a:pt x="2092250" y="730846"/>
                    <a:pt x="2075903" y="746127"/>
                    <a:pt x="2055738" y="746127"/>
                  </a:cubicBezTo>
                  <a:cubicBezTo>
                    <a:pt x="2035572" y="746127"/>
                    <a:pt x="2019226" y="730846"/>
                    <a:pt x="2019226" y="711995"/>
                  </a:cubicBezTo>
                  <a:cubicBezTo>
                    <a:pt x="2019226" y="693144"/>
                    <a:pt x="2035572" y="677863"/>
                    <a:pt x="2055738" y="677863"/>
                  </a:cubicBezTo>
                  <a:close/>
                  <a:moveTo>
                    <a:pt x="1802519" y="677863"/>
                  </a:moveTo>
                  <a:cubicBezTo>
                    <a:pt x="1821370" y="677863"/>
                    <a:pt x="1836651" y="693144"/>
                    <a:pt x="1836651" y="711995"/>
                  </a:cubicBezTo>
                  <a:cubicBezTo>
                    <a:pt x="1836651" y="730846"/>
                    <a:pt x="1821370" y="746127"/>
                    <a:pt x="1802519" y="746127"/>
                  </a:cubicBezTo>
                  <a:cubicBezTo>
                    <a:pt x="1783668" y="746127"/>
                    <a:pt x="1768387" y="730846"/>
                    <a:pt x="1768387" y="711995"/>
                  </a:cubicBezTo>
                  <a:cubicBezTo>
                    <a:pt x="1768387" y="693144"/>
                    <a:pt x="1783668" y="677863"/>
                    <a:pt x="1802519" y="677863"/>
                  </a:cubicBezTo>
                  <a:close/>
                  <a:moveTo>
                    <a:pt x="1719175" y="677863"/>
                  </a:moveTo>
                  <a:cubicBezTo>
                    <a:pt x="1739341" y="677863"/>
                    <a:pt x="1755688" y="693144"/>
                    <a:pt x="1755688" y="711995"/>
                  </a:cubicBezTo>
                  <a:cubicBezTo>
                    <a:pt x="1755688" y="730846"/>
                    <a:pt x="1739341" y="746127"/>
                    <a:pt x="1719175" y="746127"/>
                  </a:cubicBezTo>
                  <a:cubicBezTo>
                    <a:pt x="1699010" y="746127"/>
                    <a:pt x="1682663" y="730846"/>
                    <a:pt x="1682663" y="711995"/>
                  </a:cubicBezTo>
                  <a:cubicBezTo>
                    <a:pt x="1682663" y="693144"/>
                    <a:pt x="1699010" y="677863"/>
                    <a:pt x="1719175" y="677863"/>
                  </a:cubicBezTo>
                  <a:close/>
                  <a:moveTo>
                    <a:pt x="1636620" y="677863"/>
                  </a:moveTo>
                  <a:cubicBezTo>
                    <a:pt x="1655910" y="677863"/>
                    <a:pt x="1671546" y="693144"/>
                    <a:pt x="1671546" y="711995"/>
                  </a:cubicBezTo>
                  <a:cubicBezTo>
                    <a:pt x="1671546" y="730846"/>
                    <a:pt x="1655910" y="746127"/>
                    <a:pt x="1636620" y="746127"/>
                  </a:cubicBezTo>
                  <a:cubicBezTo>
                    <a:pt x="1617332" y="746127"/>
                    <a:pt x="1601695" y="730846"/>
                    <a:pt x="1601695" y="711995"/>
                  </a:cubicBezTo>
                  <a:cubicBezTo>
                    <a:pt x="1601695" y="693144"/>
                    <a:pt x="1617332" y="677863"/>
                    <a:pt x="1636620" y="677863"/>
                  </a:cubicBezTo>
                  <a:close/>
                  <a:moveTo>
                    <a:pt x="1551691" y="677863"/>
                  </a:moveTo>
                  <a:cubicBezTo>
                    <a:pt x="1570542" y="677863"/>
                    <a:pt x="1585823" y="693144"/>
                    <a:pt x="1585823" y="711995"/>
                  </a:cubicBezTo>
                  <a:cubicBezTo>
                    <a:pt x="1585823" y="730846"/>
                    <a:pt x="1570542" y="746127"/>
                    <a:pt x="1551691" y="746127"/>
                  </a:cubicBezTo>
                  <a:cubicBezTo>
                    <a:pt x="1532839" y="746127"/>
                    <a:pt x="1517558" y="730846"/>
                    <a:pt x="1517558" y="711995"/>
                  </a:cubicBezTo>
                  <a:cubicBezTo>
                    <a:pt x="1517558" y="693144"/>
                    <a:pt x="1532839" y="677863"/>
                    <a:pt x="1551691" y="677863"/>
                  </a:cubicBezTo>
                  <a:close/>
                  <a:moveTo>
                    <a:pt x="1465965" y="677863"/>
                  </a:moveTo>
                  <a:cubicBezTo>
                    <a:pt x="1484816" y="677863"/>
                    <a:pt x="1500097" y="693144"/>
                    <a:pt x="1500097" y="711995"/>
                  </a:cubicBezTo>
                  <a:cubicBezTo>
                    <a:pt x="1500097" y="730846"/>
                    <a:pt x="1484816" y="746127"/>
                    <a:pt x="1465965" y="746127"/>
                  </a:cubicBezTo>
                  <a:cubicBezTo>
                    <a:pt x="1447114" y="746127"/>
                    <a:pt x="1431832" y="730846"/>
                    <a:pt x="1431832" y="711995"/>
                  </a:cubicBezTo>
                  <a:cubicBezTo>
                    <a:pt x="1431832" y="693144"/>
                    <a:pt x="1447114" y="677863"/>
                    <a:pt x="1465965" y="677863"/>
                  </a:cubicBezTo>
                  <a:close/>
                  <a:moveTo>
                    <a:pt x="1380239" y="677863"/>
                  </a:moveTo>
                  <a:cubicBezTo>
                    <a:pt x="1399090" y="677863"/>
                    <a:pt x="1414372" y="693144"/>
                    <a:pt x="1414372" y="711995"/>
                  </a:cubicBezTo>
                  <a:cubicBezTo>
                    <a:pt x="1414372" y="730846"/>
                    <a:pt x="1399090" y="746127"/>
                    <a:pt x="1380239" y="746127"/>
                  </a:cubicBezTo>
                  <a:cubicBezTo>
                    <a:pt x="1361388" y="746127"/>
                    <a:pt x="1346107" y="730846"/>
                    <a:pt x="1346107" y="711995"/>
                  </a:cubicBezTo>
                  <a:cubicBezTo>
                    <a:pt x="1346107" y="693144"/>
                    <a:pt x="1361388" y="677863"/>
                    <a:pt x="1380239" y="677863"/>
                  </a:cubicBezTo>
                  <a:close/>
                  <a:moveTo>
                    <a:pt x="1300069" y="677863"/>
                  </a:moveTo>
                  <a:cubicBezTo>
                    <a:pt x="1319358" y="677863"/>
                    <a:pt x="1334994" y="693144"/>
                    <a:pt x="1334994" y="711995"/>
                  </a:cubicBezTo>
                  <a:cubicBezTo>
                    <a:pt x="1334994" y="730846"/>
                    <a:pt x="1319358" y="746127"/>
                    <a:pt x="1300069" y="746127"/>
                  </a:cubicBezTo>
                  <a:cubicBezTo>
                    <a:pt x="1280779" y="746127"/>
                    <a:pt x="1265143" y="730846"/>
                    <a:pt x="1265143" y="711995"/>
                  </a:cubicBezTo>
                  <a:cubicBezTo>
                    <a:pt x="1265143" y="693144"/>
                    <a:pt x="1280779" y="677863"/>
                    <a:pt x="1300069" y="677863"/>
                  </a:cubicBezTo>
                  <a:close/>
                  <a:moveTo>
                    <a:pt x="1214323" y="677863"/>
                  </a:moveTo>
                  <a:cubicBezTo>
                    <a:pt x="1233612" y="677863"/>
                    <a:pt x="1249248" y="693144"/>
                    <a:pt x="1249248" y="711995"/>
                  </a:cubicBezTo>
                  <a:cubicBezTo>
                    <a:pt x="1249248" y="730846"/>
                    <a:pt x="1233612" y="746127"/>
                    <a:pt x="1214323" y="746127"/>
                  </a:cubicBezTo>
                  <a:cubicBezTo>
                    <a:pt x="1195033" y="746127"/>
                    <a:pt x="1179398" y="730846"/>
                    <a:pt x="1179398" y="711995"/>
                  </a:cubicBezTo>
                  <a:cubicBezTo>
                    <a:pt x="1179398" y="693144"/>
                    <a:pt x="1195033" y="677863"/>
                    <a:pt x="1214323" y="677863"/>
                  </a:cubicBezTo>
                  <a:close/>
                  <a:moveTo>
                    <a:pt x="1129391" y="677863"/>
                  </a:moveTo>
                  <a:cubicBezTo>
                    <a:pt x="1148242" y="677863"/>
                    <a:pt x="1163524" y="693144"/>
                    <a:pt x="1163524" y="711995"/>
                  </a:cubicBezTo>
                  <a:cubicBezTo>
                    <a:pt x="1163524" y="730846"/>
                    <a:pt x="1148242" y="746127"/>
                    <a:pt x="1129391" y="746127"/>
                  </a:cubicBezTo>
                  <a:cubicBezTo>
                    <a:pt x="1110540" y="746127"/>
                    <a:pt x="1095259" y="730846"/>
                    <a:pt x="1095259" y="711995"/>
                  </a:cubicBezTo>
                  <a:cubicBezTo>
                    <a:pt x="1095259" y="693144"/>
                    <a:pt x="1110540" y="677863"/>
                    <a:pt x="1129391" y="677863"/>
                  </a:cubicBezTo>
                  <a:close/>
                  <a:moveTo>
                    <a:pt x="1043844" y="677863"/>
                  </a:moveTo>
                  <a:cubicBezTo>
                    <a:pt x="1062696" y="677863"/>
                    <a:pt x="1077977" y="693144"/>
                    <a:pt x="1077977" y="711995"/>
                  </a:cubicBezTo>
                  <a:cubicBezTo>
                    <a:pt x="1077977" y="730846"/>
                    <a:pt x="1062696" y="746127"/>
                    <a:pt x="1043844" y="746127"/>
                  </a:cubicBezTo>
                  <a:cubicBezTo>
                    <a:pt x="1024991" y="746127"/>
                    <a:pt x="1009710" y="730846"/>
                    <a:pt x="1009710" y="711995"/>
                  </a:cubicBezTo>
                  <a:cubicBezTo>
                    <a:pt x="1009710" y="693144"/>
                    <a:pt x="1024991" y="677863"/>
                    <a:pt x="1043844" y="677863"/>
                  </a:cubicBezTo>
                  <a:close/>
                  <a:moveTo>
                    <a:pt x="960493" y="677863"/>
                  </a:moveTo>
                  <a:cubicBezTo>
                    <a:pt x="980661" y="677863"/>
                    <a:pt x="997009" y="693144"/>
                    <a:pt x="997009" y="711995"/>
                  </a:cubicBezTo>
                  <a:cubicBezTo>
                    <a:pt x="997009" y="730846"/>
                    <a:pt x="980661" y="746127"/>
                    <a:pt x="960493" y="746127"/>
                  </a:cubicBezTo>
                  <a:cubicBezTo>
                    <a:pt x="940325" y="746127"/>
                    <a:pt x="923978" y="730846"/>
                    <a:pt x="923978" y="711995"/>
                  </a:cubicBezTo>
                  <a:cubicBezTo>
                    <a:pt x="923978" y="693144"/>
                    <a:pt x="940325" y="677863"/>
                    <a:pt x="960493" y="677863"/>
                  </a:cubicBezTo>
                  <a:close/>
                  <a:moveTo>
                    <a:pt x="877939" y="677863"/>
                  </a:moveTo>
                  <a:cubicBezTo>
                    <a:pt x="897228" y="677863"/>
                    <a:pt x="912864" y="693144"/>
                    <a:pt x="912864" y="711995"/>
                  </a:cubicBezTo>
                  <a:cubicBezTo>
                    <a:pt x="912864" y="730846"/>
                    <a:pt x="897228" y="746127"/>
                    <a:pt x="877939" y="746127"/>
                  </a:cubicBezTo>
                  <a:cubicBezTo>
                    <a:pt x="858647" y="746127"/>
                    <a:pt x="843014" y="730846"/>
                    <a:pt x="843014" y="711995"/>
                  </a:cubicBezTo>
                  <a:cubicBezTo>
                    <a:pt x="843014" y="693144"/>
                    <a:pt x="858647" y="677863"/>
                    <a:pt x="877939" y="677863"/>
                  </a:cubicBezTo>
                  <a:close/>
                  <a:moveTo>
                    <a:pt x="793002" y="677863"/>
                  </a:moveTo>
                  <a:cubicBezTo>
                    <a:pt x="811858" y="677863"/>
                    <a:pt x="827137" y="693144"/>
                    <a:pt x="827137" y="711995"/>
                  </a:cubicBezTo>
                  <a:cubicBezTo>
                    <a:pt x="827137" y="730846"/>
                    <a:pt x="811858" y="746127"/>
                    <a:pt x="793002" y="746127"/>
                  </a:cubicBezTo>
                  <a:cubicBezTo>
                    <a:pt x="774151" y="746127"/>
                    <a:pt x="758871" y="730846"/>
                    <a:pt x="758871" y="711995"/>
                  </a:cubicBezTo>
                  <a:cubicBezTo>
                    <a:pt x="758871" y="693144"/>
                    <a:pt x="774151" y="677863"/>
                    <a:pt x="793002" y="677863"/>
                  </a:cubicBezTo>
                  <a:close/>
                  <a:moveTo>
                    <a:pt x="707275" y="677863"/>
                  </a:moveTo>
                  <a:cubicBezTo>
                    <a:pt x="726127" y="677863"/>
                    <a:pt x="741409" y="693144"/>
                    <a:pt x="741409" y="711995"/>
                  </a:cubicBezTo>
                  <a:cubicBezTo>
                    <a:pt x="741409" y="730846"/>
                    <a:pt x="726127" y="746127"/>
                    <a:pt x="707275" y="746127"/>
                  </a:cubicBezTo>
                  <a:cubicBezTo>
                    <a:pt x="688422" y="746127"/>
                    <a:pt x="673133" y="730846"/>
                    <a:pt x="673133" y="711995"/>
                  </a:cubicBezTo>
                  <a:cubicBezTo>
                    <a:pt x="673133" y="693144"/>
                    <a:pt x="688422" y="677863"/>
                    <a:pt x="707275" y="677863"/>
                  </a:cubicBezTo>
                  <a:close/>
                  <a:moveTo>
                    <a:pt x="621537" y="677863"/>
                  </a:moveTo>
                  <a:cubicBezTo>
                    <a:pt x="640389" y="677863"/>
                    <a:pt x="655670" y="693144"/>
                    <a:pt x="655670" y="711995"/>
                  </a:cubicBezTo>
                  <a:cubicBezTo>
                    <a:pt x="655670" y="730846"/>
                    <a:pt x="640389" y="746127"/>
                    <a:pt x="621537" y="746127"/>
                  </a:cubicBezTo>
                  <a:cubicBezTo>
                    <a:pt x="602687" y="746127"/>
                    <a:pt x="587405" y="730846"/>
                    <a:pt x="587405" y="711995"/>
                  </a:cubicBezTo>
                  <a:cubicBezTo>
                    <a:pt x="587405" y="693144"/>
                    <a:pt x="602687" y="677863"/>
                    <a:pt x="621537" y="677863"/>
                  </a:cubicBezTo>
                  <a:close/>
                  <a:moveTo>
                    <a:pt x="8966877" y="596900"/>
                  </a:moveTo>
                  <a:cubicBezTo>
                    <a:pt x="8985728" y="596900"/>
                    <a:pt x="9001009" y="612536"/>
                    <a:pt x="9001009" y="631825"/>
                  </a:cubicBezTo>
                  <a:cubicBezTo>
                    <a:pt x="9001009" y="651114"/>
                    <a:pt x="8985728" y="666750"/>
                    <a:pt x="8966877" y="666750"/>
                  </a:cubicBezTo>
                  <a:cubicBezTo>
                    <a:pt x="8948026" y="666750"/>
                    <a:pt x="8932745" y="651114"/>
                    <a:pt x="8932745" y="631825"/>
                  </a:cubicBezTo>
                  <a:cubicBezTo>
                    <a:pt x="8932745" y="612536"/>
                    <a:pt x="8948026" y="596900"/>
                    <a:pt x="8966877" y="596900"/>
                  </a:cubicBezTo>
                  <a:close/>
                  <a:moveTo>
                    <a:pt x="8884327" y="596900"/>
                  </a:moveTo>
                  <a:cubicBezTo>
                    <a:pt x="8904931" y="596900"/>
                    <a:pt x="8921634" y="612536"/>
                    <a:pt x="8921634" y="631825"/>
                  </a:cubicBezTo>
                  <a:cubicBezTo>
                    <a:pt x="8921634" y="651114"/>
                    <a:pt x="8904931" y="666750"/>
                    <a:pt x="8884327" y="666750"/>
                  </a:cubicBezTo>
                  <a:cubicBezTo>
                    <a:pt x="8863723" y="666750"/>
                    <a:pt x="8847020" y="651114"/>
                    <a:pt x="8847020" y="631825"/>
                  </a:cubicBezTo>
                  <a:cubicBezTo>
                    <a:pt x="8847020" y="612536"/>
                    <a:pt x="8863723" y="596900"/>
                    <a:pt x="8884327" y="596900"/>
                  </a:cubicBezTo>
                  <a:close/>
                  <a:moveTo>
                    <a:pt x="8801777" y="596900"/>
                  </a:moveTo>
                  <a:cubicBezTo>
                    <a:pt x="8820628" y="596900"/>
                    <a:pt x="8835909" y="612536"/>
                    <a:pt x="8835909" y="631825"/>
                  </a:cubicBezTo>
                  <a:cubicBezTo>
                    <a:pt x="8835909" y="651114"/>
                    <a:pt x="8820628" y="666750"/>
                    <a:pt x="8801777" y="666750"/>
                  </a:cubicBezTo>
                  <a:cubicBezTo>
                    <a:pt x="8782926" y="666750"/>
                    <a:pt x="8767645" y="651114"/>
                    <a:pt x="8767645" y="631825"/>
                  </a:cubicBezTo>
                  <a:cubicBezTo>
                    <a:pt x="8767645" y="612536"/>
                    <a:pt x="8782926" y="596900"/>
                    <a:pt x="8801777" y="596900"/>
                  </a:cubicBezTo>
                  <a:close/>
                  <a:moveTo>
                    <a:pt x="8716052" y="596900"/>
                  </a:moveTo>
                  <a:cubicBezTo>
                    <a:pt x="8734903" y="596900"/>
                    <a:pt x="8750184" y="612536"/>
                    <a:pt x="8750184" y="631825"/>
                  </a:cubicBezTo>
                  <a:cubicBezTo>
                    <a:pt x="8750184" y="651114"/>
                    <a:pt x="8734903" y="666750"/>
                    <a:pt x="8716052" y="666750"/>
                  </a:cubicBezTo>
                  <a:cubicBezTo>
                    <a:pt x="8697201" y="666750"/>
                    <a:pt x="8681920" y="651114"/>
                    <a:pt x="8681920" y="631825"/>
                  </a:cubicBezTo>
                  <a:cubicBezTo>
                    <a:pt x="8681920" y="612536"/>
                    <a:pt x="8697201" y="596900"/>
                    <a:pt x="8716052" y="596900"/>
                  </a:cubicBezTo>
                  <a:close/>
                  <a:moveTo>
                    <a:pt x="8630327" y="596900"/>
                  </a:moveTo>
                  <a:cubicBezTo>
                    <a:pt x="8649178" y="596900"/>
                    <a:pt x="8664459" y="612536"/>
                    <a:pt x="8664459" y="631825"/>
                  </a:cubicBezTo>
                  <a:cubicBezTo>
                    <a:pt x="8664459" y="651114"/>
                    <a:pt x="8649178" y="666750"/>
                    <a:pt x="8630327" y="666750"/>
                  </a:cubicBezTo>
                  <a:cubicBezTo>
                    <a:pt x="8611476" y="666750"/>
                    <a:pt x="8596195" y="651114"/>
                    <a:pt x="8596195" y="631825"/>
                  </a:cubicBezTo>
                  <a:cubicBezTo>
                    <a:pt x="8596195" y="612536"/>
                    <a:pt x="8611476" y="596900"/>
                    <a:pt x="8630327" y="596900"/>
                  </a:cubicBezTo>
                  <a:close/>
                  <a:moveTo>
                    <a:pt x="8544602" y="596900"/>
                  </a:moveTo>
                  <a:cubicBezTo>
                    <a:pt x="8563453" y="596900"/>
                    <a:pt x="8578734" y="612536"/>
                    <a:pt x="8578734" y="631825"/>
                  </a:cubicBezTo>
                  <a:cubicBezTo>
                    <a:pt x="8578734" y="651114"/>
                    <a:pt x="8563453" y="666750"/>
                    <a:pt x="8544602" y="666750"/>
                  </a:cubicBezTo>
                  <a:cubicBezTo>
                    <a:pt x="8525751" y="666750"/>
                    <a:pt x="8510470" y="651114"/>
                    <a:pt x="8510470" y="631825"/>
                  </a:cubicBezTo>
                  <a:cubicBezTo>
                    <a:pt x="8510470" y="612536"/>
                    <a:pt x="8525751" y="596900"/>
                    <a:pt x="8544602" y="596900"/>
                  </a:cubicBezTo>
                  <a:close/>
                  <a:moveTo>
                    <a:pt x="8465227" y="596900"/>
                  </a:moveTo>
                  <a:cubicBezTo>
                    <a:pt x="8484078" y="596900"/>
                    <a:pt x="8499359" y="612536"/>
                    <a:pt x="8499359" y="631825"/>
                  </a:cubicBezTo>
                  <a:cubicBezTo>
                    <a:pt x="8499359" y="651114"/>
                    <a:pt x="8484078" y="666750"/>
                    <a:pt x="8465227" y="666750"/>
                  </a:cubicBezTo>
                  <a:cubicBezTo>
                    <a:pt x="8446376" y="666750"/>
                    <a:pt x="8431095" y="651114"/>
                    <a:pt x="8431095" y="631825"/>
                  </a:cubicBezTo>
                  <a:cubicBezTo>
                    <a:pt x="8431095" y="612536"/>
                    <a:pt x="8446376" y="596900"/>
                    <a:pt x="8465227" y="596900"/>
                  </a:cubicBezTo>
                  <a:close/>
                  <a:moveTo>
                    <a:pt x="8379502" y="596900"/>
                  </a:moveTo>
                  <a:cubicBezTo>
                    <a:pt x="8398353" y="596900"/>
                    <a:pt x="8413634" y="612536"/>
                    <a:pt x="8413634" y="631825"/>
                  </a:cubicBezTo>
                  <a:cubicBezTo>
                    <a:pt x="8413634" y="651114"/>
                    <a:pt x="8398353" y="666750"/>
                    <a:pt x="8379502" y="666750"/>
                  </a:cubicBezTo>
                  <a:cubicBezTo>
                    <a:pt x="8360651" y="666750"/>
                    <a:pt x="8345370" y="651114"/>
                    <a:pt x="8345370" y="631825"/>
                  </a:cubicBezTo>
                  <a:cubicBezTo>
                    <a:pt x="8345370" y="612536"/>
                    <a:pt x="8360651" y="596900"/>
                    <a:pt x="8379502" y="596900"/>
                  </a:cubicBezTo>
                  <a:close/>
                  <a:moveTo>
                    <a:pt x="8293777" y="596900"/>
                  </a:moveTo>
                  <a:cubicBezTo>
                    <a:pt x="8312628" y="596900"/>
                    <a:pt x="8327909" y="612536"/>
                    <a:pt x="8327909" y="631825"/>
                  </a:cubicBezTo>
                  <a:cubicBezTo>
                    <a:pt x="8327909" y="651114"/>
                    <a:pt x="8312628" y="666750"/>
                    <a:pt x="8293777" y="666750"/>
                  </a:cubicBezTo>
                  <a:cubicBezTo>
                    <a:pt x="8274926" y="666750"/>
                    <a:pt x="8259645" y="651114"/>
                    <a:pt x="8259645" y="631825"/>
                  </a:cubicBezTo>
                  <a:cubicBezTo>
                    <a:pt x="8259645" y="612536"/>
                    <a:pt x="8274926" y="596900"/>
                    <a:pt x="8293777" y="596900"/>
                  </a:cubicBezTo>
                  <a:close/>
                  <a:moveTo>
                    <a:pt x="8208052" y="596900"/>
                  </a:moveTo>
                  <a:cubicBezTo>
                    <a:pt x="8226903" y="596900"/>
                    <a:pt x="8242184" y="612536"/>
                    <a:pt x="8242184" y="631825"/>
                  </a:cubicBezTo>
                  <a:cubicBezTo>
                    <a:pt x="8242184" y="651114"/>
                    <a:pt x="8226903" y="666750"/>
                    <a:pt x="8208052" y="666750"/>
                  </a:cubicBezTo>
                  <a:cubicBezTo>
                    <a:pt x="8189201" y="666750"/>
                    <a:pt x="8173920" y="651114"/>
                    <a:pt x="8173920" y="631825"/>
                  </a:cubicBezTo>
                  <a:cubicBezTo>
                    <a:pt x="8173920" y="612536"/>
                    <a:pt x="8189201" y="596900"/>
                    <a:pt x="8208052" y="596900"/>
                  </a:cubicBezTo>
                  <a:close/>
                  <a:moveTo>
                    <a:pt x="8125502" y="596900"/>
                  </a:moveTo>
                  <a:cubicBezTo>
                    <a:pt x="8146106" y="596900"/>
                    <a:pt x="8162809" y="612536"/>
                    <a:pt x="8162809" y="631825"/>
                  </a:cubicBezTo>
                  <a:cubicBezTo>
                    <a:pt x="8162809" y="651114"/>
                    <a:pt x="8146106" y="666750"/>
                    <a:pt x="8125502" y="666750"/>
                  </a:cubicBezTo>
                  <a:cubicBezTo>
                    <a:pt x="8104898" y="666750"/>
                    <a:pt x="8088195" y="651114"/>
                    <a:pt x="8088195" y="631825"/>
                  </a:cubicBezTo>
                  <a:cubicBezTo>
                    <a:pt x="8088195" y="612536"/>
                    <a:pt x="8104898" y="596900"/>
                    <a:pt x="8125502" y="596900"/>
                  </a:cubicBezTo>
                  <a:close/>
                  <a:moveTo>
                    <a:pt x="8042952" y="596900"/>
                  </a:moveTo>
                  <a:cubicBezTo>
                    <a:pt x="8061803" y="596900"/>
                    <a:pt x="8077084" y="612536"/>
                    <a:pt x="8077084" y="631825"/>
                  </a:cubicBezTo>
                  <a:cubicBezTo>
                    <a:pt x="8077084" y="651114"/>
                    <a:pt x="8061803" y="666750"/>
                    <a:pt x="8042952" y="666750"/>
                  </a:cubicBezTo>
                  <a:cubicBezTo>
                    <a:pt x="8024101" y="666750"/>
                    <a:pt x="8008820" y="651114"/>
                    <a:pt x="8008820" y="631825"/>
                  </a:cubicBezTo>
                  <a:cubicBezTo>
                    <a:pt x="8008820" y="612536"/>
                    <a:pt x="8024101" y="596900"/>
                    <a:pt x="8042952" y="596900"/>
                  </a:cubicBezTo>
                  <a:close/>
                  <a:moveTo>
                    <a:pt x="7957227" y="596900"/>
                  </a:moveTo>
                  <a:cubicBezTo>
                    <a:pt x="7976078" y="596900"/>
                    <a:pt x="7991359" y="612536"/>
                    <a:pt x="7991359" y="631825"/>
                  </a:cubicBezTo>
                  <a:cubicBezTo>
                    <a:pt x="7991359" y="651114"/>
                    <a:pt x="7976078" y="666750"/>
                    <a:pt x="7957227" y="666750"/>
                  </a:cubicBezTo>
                  <a:cubicBezTo>
                    <a:pt x="7938376" y="666750"/>
                    <a:pt x="7923095" y="651114"/>
                    <a:pt x="7923095" y="631825"/>
                  </a:cubicBezTo>
                  <a:cubicBezTo>
                    <a:pt x="7923095" y="612536"/>
                    <a:pt x="7938376" y="596900"/>
                    <a:pt x="7957227" y="596900"/>
                  </a:cubicBezTo>
                  <a:close/>
                  <a:moveTo>
                    <a:pt x="7871502" y="596900"/>
                  </a:moveTo>
                  <a:cubicBezTo>
                    <a:pt x="7890353" y="596900"/>
                    <a:pt x="7905634" y="612536"/>
                    <a:pt x="7905634" y="631825"/>
                  </a:cubicBezTo>
                  <a:cubicBezTo>
                    <a:pt x="7905634" y="651114"/>
                    <a:pt x="7890353" y="666750"/>
                    <a:pt x="7871502" y="666750"/>
                  </a:cubicBezTo>
                  <a:cubicBezTo>
                    <a:pt x="7852651" y="666750"/>
                    <a:pt x="7837370" y="651114"/>
                    <a:pt x="7837370" y="631825"/>
                  </a:cubicBezTo>
                  <a:cubicBezTo>
                    <a:pt x="7837370" y="612536"/>
                    <a:pt x="7852651" y="596900"/>
                    <a:pt x="7871502" y="596900"/>
                  </a:cubicBezTo>
                  <a:close/>
                  <a:moveTo>
                    <a:pt x="7785777" y="596900"/>
                  </a:moveTo>
                  <a:cubicBezTo>
                    <a:pt x="7804628" y="596900"/>
                    <a:pt x="7819909" y="612536"/>
                    <a:pt x="7819909" y="631825"/>
                  </a:cubicBezTo>
                  <a:cubicBezTo>
                    <a:pt x="7819909" y="651114"/>
                    <a:pt x="7804628" y="666750"/>
                    <a:pt x="7785777" y="666750"/>
                  </a:cubicBezTo>
                  <a:cubicBezTo>
                    <a:pt x="7766926" y="666750"/>
                    <a:pt x="7751645" y="651114"/>
                    <a:pt x="7751645" y="631825"/>
                  </a:cubicBezTo>
                  <a:cubicBezTo>
                    <a:pt x="7751645" y="612536"/>
                    <a:pt x="7766926" y="596900"/>
                    <a:pt x="7785777" y="596900"/>
                  </a:cubicBezTo>
                  <a:close/>
                  <a:moveTo>
                    <a:pt x="7706402" y="596900"/>
                  </a:moveTo>
                  <a:cubicBezTo>
                    <a:pt x="7725253" y="596900"/>
                    <a:pt x="7740534" y="612536"/>
                    <a:pt x="7740534" y="631825"/>
                  </a:cubicBezTo>
                  <a:cubicBezTo>
                    <a:pt x="7740534" y="651114"/>
                    <a:pt x="7725253" y="666750"/>
                    <a:pt x="7706402" y="666750"/>
                  </a:cubicBezTo>
                  <a:cubicBezTo>
                    <a:pt x="7687551" y="666750"/>
                    <a:pt x="7672270" y="651114"/>
                    <a:pt x="7672270" y="631825"/>
                  </a:cubicBezTo>
                  <a:cubicBezTo>
                    <a:pt x="7672270" y="612536"/>
                    <a:pt x="7687551" y="596900"/>
                    <a:pt x="7706402" y="596900"/>
                  </a:cubicBezTo>
                  <a:close/>
                  <a:moveTo>
                    <a:pt x="7620677" y="596900"/>
                  </a:moveTo>
                  <a:cubicBezTo>
                    <a:pt x="7639528" y="596900"/>
                    <a:pt x="7654809" y="612536"/>
                    <a:pt x="7654809" y="631825"/>
                  </a:cubicBezTo>
                  <a:cubicBezTo>
                    <a:pt x="7654809" y="651114"/>
                    <a:pt x="7639528" y="666750"/>
                    <a:pt x="7620677" y="666750"/>
                  </a:cubicBezTo>
                  <a:cubicBezTo>
                    <a:pt x="7601826" y="666750"/>
                    <a:pt x="7586545" y="651114"/>
                    <a:pt x="7586545" y="631825"/>
                  </a:cubicBezTo>
                  <a:cubicBezTo>
                    <a:pt x="7586545" y="612536"/>
                    <a:pt x="7601826" y="596900"/>
                    <a:pt x="7620677" y="596900"/>
                  </a:cubicBezTo>
                  <a:close/>
                  <a:moveTo>
                    <a:pt x="7534952" y="596900"/>
                  </a:moveTo>
                  <a:cubicBezTo>
                    <a:pt x="7553803" y="596900"/>
                    <a:pt x="7569084" y="612536"/>
                    <a:pt x="7569084" y="631825"/>
                  </a:cubicBezTo>
                  <a:cubicBezTo>
                    <a:pt x="7569084" y="651114"/>
                    <a:pt x="7553803" y="666750"/>
                    <a:pt x="7534952" y="666750"/>
                  </a:cubicBezTo>
                  <a:cubicBezTo>
                    <a:pt x="7516101" y="666750"/>
                    <a:pt x="7500820" y="651114"/>
                    <a:pt x="7500820" y="631825"/>
                  </a:cubicBezTo>
                  <a:cubicBezTo>
                    <a:pt x="7500820" y="612536"/>
                    <a:pt x="7516101" y="596900"/>
                    <a:pt x="7534952" y="596900"/>
                  </a:cubicBezTo>
                  <a:close/>
                  <a:moveTo>
                    <a:pt x="7449227" y="596900"/>
                  </a:moveTo>
                  <a:cubicBezTo>
                    <a:pt x="7468078" y="596900"/>
                    <a:pt x="7483359" y="612536"/>
                    <a:pt x="7483359" y="631825"/>
                  </a:cubicBezTo>
                  <a:cubicBezTo>
                    <a:pt x="7483359" y="651114"/>
                    <a:pt x="7468078" y="666750"/>
                    <a:pt x="7449227" y="666750"/>
                  </a:cubicBezTo>
                  <a:cubicBezTo>
                    <a:pt x="7430376" y="666750"/>
                    <a:pt x="7415095" y="651114"/>
                    <a:pt x="7415095" y="631825"/>
                  </a:cubicBezTo>
                  <a:cubicBezTo>
                    <a:pt x="7415095" y="612536"/>
                    <a:pt x="7430376" y="596900"/>
                    <a:pt x="7449227" y="596900"/>
                  </a:cubicBezTo>
                  <a:close/>
                  <a:moveTo>
                    <a:pt x="7366677" y="596900"/>
                  </a:moveTo>
                  <a:cubicBezTo>
                    <a:pt x="7387281" y="596900"/>
                    <a:pt x="7403984" y="612536"/>
                    <a:pt x="7403984" y="631825"/>
                  </a:cubicBezTo>
                  <a:cubicBezTo>
                    <a:pt x="7403984" y="651114"/>
                    <a:pt x="7387281" y="666750"/>
                    <a:pt x="7366677" y="666750"/>
                  </a:cubicBezTo>
                  <a:cubicBezTo>
                    <a:pt x="7346073" y="666750"/>
                    <a:pt x="7329370" y="651114"/>
                    <a:pt x="7329370" y="631825"/>
                  </a:cubicBezTo>
                  <a:cubicBezTo>
                    <a:pt x="7329370" y="612536"/>
                    <a:pt x="7346073" y="596900"/>
                    <a:pt x="7366677" y="596900"/>
                  </a:cubicBezTo>
                  <a:close/>
                  <a:moveTo>
                    <a:pt x="7284127" y="596900"/>
                  </a:moveTo>
                  <a:cubicBezTo>
                    <a:pt x="7302978" y="596900"/>
                    <a:pt x="7318259" y="612536"/>
                    <a:pt x="7318259" y="631825"/>
                  </a:cubicBezTo>
                  <a:cubicBezTo>
                    <a:pt x="7318259" y="651114"/>
                    <a:pt x="7302978" y="666750"/>
                    <a:pt x="7284127" y="666750"/>
                  </a:cubicBezTo>
                  <a:cubicBezTo>
                    <a:pt x="7265276" y="666750"/>
                    <a:pt x="7249995" y="651114"/>
                    <a:pt x="7249995" y="631825"/>
                  </a:cubicBezTo>
                  <a:cubicBezTo>
                    <a:pt x="7249995" y="612536"/>
                    <a:pt x="7265276" y="596900"/>
                    <a:pt x="7284127" y="596900"/>
                  </a:cubicBezTo>
                  <a:close/>
                  <a:moveTo>
                    <a:pt x="7198402" y="596900"/>
                  </a:moveTo>
                  <a:cubicBezTo>
                    <a:pt x="7217253" y="596900"/>
                    <a:pt x="7232534" y="612536"/>
                    <a:pt x="7232534" y="631825"/>
                  </a:cubicBezTo>
                  <a:cubicBezTo>
                    <a:pt x="7232534" y="651114"/>
                    <a:pt x="7217253" y="666750"/>
                    <a:pt x="7198402" y="666750"/>
                  </a:cubicBezTo>
                  <a:cubicBezTo>
                    <a:pt x="7179551" y="666750"/>
                    <a:pt x="7164270" y="651114"/>
                    <a:pt x="7164270" y="631825"/>
                  </a:cubicBezTo>
                  <a:cubicBezTo>
                    <a:pt x="7164270" y="612536"/>
                    <a:pt x="7179551" y="596900"/>
                    <a:pt x="7198402" y="596900"/>
                  </a:cubicBezTo>
                  <a:close/>
                  <a:moveTo>
                    <a:pt x="7112677" y="596900"/>
                  </a:moveTo>
                  <a:cubicBezTo>
                    <a:pt x="7131528" y="596900"/>
                    <a:pt x="7146809" y="612536"/>
                    <a:pt x="7146809" y="631825"/>
                  </a:cubicBezTo>
                  <a:cubicBezTo>
                    <a:pt x="7146809" y="651114"/>
                    <a:pt x="7131528" y="666750"/>
                    <a:pt x="7112677" y="666750"/>
                  </a:cubicBezTo>
                  <a:cubicBezTo>
                    <a:pt x="7093826" y="666750"/>
                    <a:pt x="7078545" y="651114"/>
                    <a:pt x="7078545" y="631825"/>
                  </a:cubicBezTo>
                  <a:cubicBezTo>
                    <a:pt x="7078545" y="612536"/>
                    <a:pt x="7093826" y="596900"/>
                    <a:pt x="7112677" y="596900"/>
                  </a:cubicBezTo>
                  <a:close/>
                  <a:moveTo>
                    <a:pt x="6947577" y="596900"/>
                  </a:moveTo>
                  <a:cubicBezTo>
                    <a:pt x="6966428" y="596900"/>
                    <a:pt x="6981709" y="612536"/>
                    <a:pt x="6981709" y="631825"/>
                  </a:cubicBezTo>
                  <a:cubicBezTo>
                    <a:pt x="6981709" y="651114"/>
                    <a:pt x="6966428" y="666750"/>
                    <a:pt x="6947577" y="666750"/>
                  </a:cubicBezTo>
                  <a:cubicBezTo>
                    <a:pt x="6928726" y="666750"/>
                    <a:pt x="6913445" y="651114"/>
                    <a:pt x="6913445" y="631825"/>
                  </a:cubicBezTo>
                  <a:cubicBezTo>
                    <a:pt x="6913445" y="612536"/>
                    <a:pt x="6928726" y="596900"/>
                    <a:pt x="6947577" y="596900"/>
                  </a:cubicBezTo>
                  <a:close/>
                  <a:moveTo>
                    <a:pt x="6861852" y="596900"/>
                  </a:moveTo>
                  <a:cubicBezTo>
                    <a:pt x="6880703" y="596900"/>
                    <a:pt x="6895984" y="612536"/>
                    <a:pt x="6895984" y="631825"/>
                  </a:cubicBezTo>
                  <a:cubicBezTo>
                    <a:pt x="6895984" y="651114"/>
                    <a:pt x="6880703" y="666750"/>
                    <a:pt x="6861852" y="666750"/>
                  </a:cubicBezTo>
                  <a:cubicBezTo>
                    <a:pt x="6843001" y="666750"/>
                    <a:pt x="6827720" y="651114"/>
                    <a:pt x="6827720" y="631825"/>
                  </a:cubicBezTo>
                  <a:cubicBezTo>
                    <a:pt x="6827720" y="612536"/>
                    <a:pt x="6843001" y="596900"/>
                    <a:pt x="6861852" y="596900"/>
                  </a:cubicBezTo>
                  <a:close/>
                  <a:moveTo>
                    <a:pt x="6691195" y="596900"/>
                  </a:moveTo>
                  <a:cubicBezTo>
                    <a:pt x="6710484" y="596900"/>
                    <a:pt x="6726120" y="612536"/>
                    <a:pt x="6726120" y="631825"/>
                  </a:cubicBezTo>
                  <a:cubicBezTo>
                    <a:pt x="6726120" y="651114"/>
                    <a:pt x="6710484" y="666750"/>
                    <a:pt x="6691195" y="666750"/>
                  </a:cubicBezTo>
                  <a:cubicBezTo>
                    <a:pt x="6671906" y="666750"/>
                    <a:pt x="6656270" y="651114"/>
                    <a:pt x="6656270" y="631825"/>
                  </a:cubicBezTo>
                  <a:cubicBezTo>
                    <a:pt x="6656270" y="612536"/>
                    <a:pt x="6671906" y="596900"/>
                    <a:pt x="6691195" y="596900"/>
                  </a:cubicBezTo>
                  <a:close/>
                  <a:moveTo>
                    <a:pt x="6607852" y="596900"/>
                  </a:moveTo>
                  <a:cubicBezTo>
                    <a:pt x="6628456" y="596900"/>
                    <a:pt x="6645159" y="612536"/>
                    <a:pt x="6645159" y="631825"/>
                  </a:cubicBezTo>
                  <a:cubicBezTo>
                    <a:pt x="6645159" y="651114"/>
                    <a:pt x="6628456" y="666750"/>
                    <a:pt x="6607852" y="666750"/>
                  </a:cubicBezTo>
                  <a:cubicBezTo>
                    <a:pt x="6587248" y="666750"/>
                    <a:pt x="6570545" y="651114"/>
                    <a:pt x="6570545" y="631825"/>
                  </a:cubicBezTo>
                  <a:cubicBezTo>
                    <a:pt x="6570545" y="612536"/>
                    <a:pt x="6587248" y="596900"/>
                    <a:pt x="6607852" y="596900"/>
                  </a:cubicBezTo>
                  <a:close/>
                  <a:moveTo>
                    <a:pt x="6268920" y="596900"/>
                  </a:moveTo>
                  <a:cubicBezTo>
                    <a:pt x="6288209" y="596900"/>
                    <a:pt x="6303845" y="612536"/>
                    <a:pt x="6303845" y="631825"/>
                  </a:cubicBezTo>
                  <a:cubicBezTo>
                    <a:pt x="6303845" y="651114"/>
                    <a:pt x="6288209" y="666750"/>
                    <a:pt x="6268920" y="666750"/>
                  </a:cubicBezTo>
                  <a:cubicBezTo>
                    <a:pt x="6249631" y="666750"/>
                    <a:pt x="6233995" y="651114"/>
                    <a:pt x="6233995" y="631825"/>
                  </a:cubicBezTo>
                  <a:cubicBezTo>
                    <a:pt x="6233995" y="612536"/>
                    <a:pt x="6249631" y="596900"/>
                    <a:pt x="6268920" y="596900"/>
                  </a:cubicBezTo>
                  <a:close/>
                  <a:moveTo>
                    <a:pt x="4332171" y="596900"/>
                  </a:moveTo>
                  <a:cubicBezTo>
                    <a:pt x="4352337" y="596900"/>
                    <a:pt x="4368684" y="612536"/>
                    <a:pt x="4368684" y="631825"/>
                  </a:cubicBezTo>
                  <a:cubicBezTo>
                    <a:pt x="4368684" y="651114"/>
                    <a:pt x="4352337" y="666750"/>
                    <a:pt x="4332171" y="666750"/>
                  </a:cubicBezTo>
                  <a:cubicBezTo>
                    <a:pt x="4312005" y="666750"/>
                    <a:pt x="4295658" y="651114"/>
                    <a:pt x="4295658" y="631825"/>
                  </a:cubicBezTo>
                  <a:cubicBezTo>
                    <a:pt x="4295658" y="612536"/>
                    <a:pt x="4312005" y="596900"/>
                    <a:pt x="4332171" y="596900"/>
                  </a:cubicBezTo>
                  <a:close/>
                  <a:moveTo>
                    <a:pt x="4248827" y="596900"/>
                  </a:moveTo>
                  <a:cubicBezTo>
                    <a:pt x="4267678" y="596900"/>
                    <a:pt x="4282959" y="612536"/>
                    <a:pt x="4282959" y="631825"/>
                  </a:cubicBezTo>
                  <a:cubicBezTo>
                    <a:pt x="4282959" y="651114"/>
                    <a:pt x="4267678" y="666750"/>
                    <a:pt x="4248827" y="666750"/>
                  </a:cubicBezTo>
                  <a:cubicBezTo>
                    <a:pt x="4229976" y="666750"/>
                    <a:pt x="4214695" y="651114"/>
                    <a:pt x="4214695" y="631825"/>
                  </a:cubicBezTo>
                  <a:cubicBezTo>
                    <a:pt x="4214695" y="612536"/>
                    <a:pt x="4229976" y="596900"/>
                    <a:pt x="4248827" y="596900"/>
                  </a:cubicBezTo>
                  <a:close/>
                  <a:moveTo>
                    <a:pt x="4163895" y="596900"/>
                  </a:moveTo>
                  <a:cubicBezTo>
                    <a:pt x="4183184" y="596900"/>
                    <a:pt x="4198820" y="612536"/>
                    <a:pt x="4198820" y="631825"/>
                  </a:cubicBezTo>
                  <a:cubicBezTo>
                    <a:pt x="4198820" y="651114"/>
                    <a:pt x="4183184" y="666750"/>
                    <a:pt x="4163895" y="666750"/>
                  </a:cubicBezTo>
                  <a:cubicBezTo>
                    <a:pt x="4144606" y="666750"/>
                    <a:pt x="4128970" y="651114"/>
                    <a:pt x="4128970" y="631825"/>
                  </a:cubicBezTo>
                  <a:cubicBezTo>
                    <a:pt x="4128970" y="612536"/>
                    <a:pt x="4144606" y="596900"/>
                    <a:pt x="4163895" y="596900"/>
                  </a:cubicBezTo>
                  <a:close/>
                  <a:moveTo>
                    <a:pt x="4078170" y="596900"/>
                  </a:moveTo>
                  <a:cubicBezTo>
                    <a:pt x="4097459" y="596900"/>
                    <a:pt x="4113095" y="612536"/>
                    <a:pt x="4113095" y="631825"/>
                  </a:cubicBezTo>
                  <a:cubicBezTo>
                    <a:pt x="4113095" y="651114"/>
                    <a:pt x="4097459" y="666750"/>
                    <a:pt x="4078170" y="666750"/>
                  </a:cubicBezTo>
                  <a:cubicBezTo>
                    <a:pt x="4058881" y="666750"/>
                    <a:pt x="4043245" y="651114"/>
                    <a:pt x="4043245" y="631825"/>
                  </a:cubicBezTo>
                  <a:cubicBezTo>
                    <a:pt x="4043245" y="612536"/>
                    <a:pt x="4058881" y="596900"/>
                    <a:pt x="4078170" y="596900"/>
                  </a:cubicBezTo>
                  <a:close/>
                  <a:moveTo>
                    <a:pt x="3993240" y="596900"/>
                  </a:moveTo>
                  <a:cubicBezTo>
                    <a:pt x="4012091" y="596900"/>
                    <a:pt x="4027372" y="612536"/>
                    <a:pt x="4027372" y="631825"/>
                  </a:cubicBezTo>
                  <a:cubicBezTo>
                    <a:pt x="4027372" y="651114"/>
                    <a:pt x="4012091" y="666750"/>
                    <a:pt x="3993240" y="666750"/>
                  </a:cubicBezTo>
                  <a:cubicBezTo>
                    <a:pt x="3974389" y="666750"/>
                    <a:pt x="3959108" y="651114"/>
                    <a:pt x="3959108" y="631825"/>
                  </a:cubicBezTo>
                  <a:cubicBezTo>
                    <a:pt x="3959108" y="612536"/>
                    <a:pt x="3974389" y="596900"/>
                    <a:pt x="3993240" y="596900"/>
                  </a:cubicBezTo>
                  <a:close/>
                  <a:moveTo>
                    <a:pt x="3912277" y="596900"/>
                  </a:moveTo>
                  <a:cubicBezTo>
                    <a:pt x="3931128" y="596900"/>
                    <a:pt x="3946409" y="612536"/>
                    <a:pt x="3946409" y="631825"/>
                  </a:cubicBezTo>
                  <a:cubicBezTo>
                    <a:pt x="3946409" y="651114"/>
                    <a:pt x="3931128" y="666750"/>
                    <a:pt x="3912277" y="666750"/>
                  </a:cubicBezTo>
                  <a:cubicBezTo>
                    <a:pt x="3893426" y="666750"/>
                    <a:pt x="3878145" y="651114"/>
                    <a:pt x="3878145" y="631825"/>
                  </a:cubicBezTo>
                  <a:cubicBezTo>
                    <a:pt x="3878145" y="612536"/>
                    <a:pt x="3893426" y="596900"/>
                    <a:pt x="3912277" y="596900"/>
                  </a:cubicBezTo>
                  <a:close/>
                  <a:moveTo>
                    <a:pt x="3826552" y="596900"/>
                  </a:moveTo>
                  <a:cubicBezTo>
                    <a:pt x="3845403" y="596900"/>
                    <a:pt x="3860684" y="612536"/>
                    <a:pt x="3860684" y="631825"/>
                  </a:cubicBezTo>
                  <a:cubicBezTo>
                    <a:pt x="3860684" y="651114"/>
                    <a:pt x="3845403" y="666750"/>
                    <a:pt x="3826552" y="666750"/>
                  </a:cubicBezTo>
                  <a:cubicBezTo>
                    <a:pt x="3807701" y="666750"/>
                    <a:pt x="3792420" y="651114"/>
                    <a:pt x="3792420" y="631825"/>
                  </a:cubicBezTo>
                  <a:cubicBezTo>
                    <a:pt x="3792420" y="612536"/>
                    <a:pt x="3807701" y="596900"/>
                    <a:pt x="3826552" y="596900"/>
                  </a:cubicBezTo>
                  <a:close/>
                  <a:moveTo>
                    <a:pt x="3741620" y="596900"/>
                  </a:moveTo>
                  <a:cubicBezTo>
                    <a:pt x="3760909" y="596900"/>
                    <a:pt x="3776545" y="612536"/>
                    <a:pt x="3776545" y="631825"/>
                  </a:cubicBezTo>
                  <a:cubicBezTo>
                    <a:pt x="3776545" y="651114"/>
                    <a:pt x="3760909" y="666750"/>
                    <a:pt x="3741620" y="666750"/>
                  </a:cubicBezTo>
                  <a:cubicBezTo>
                    <a:pt x="3722331" y="666750"/>
                    <a:pt x="3706695" y="651114"/>
                    <a:pt x="3706695" y="631825"/>
                  </a:cubicBezTo>
                  <a:cubicBezTo>
                    <a:pt x="3706695" y="612536"/>
                    <a:pt x="3722331" y="596900"/>
                    <a:pt x="3741620" y="596900"/>
                  </a:cubicBezTo>
                  <a:close/>
                  <a:moveTo>
                    <a:pt x="3234415" y="596900"/>
                  </a:moveTo>
                  <a:cubicBezTo>
                    <a:pt x="3253266" y="596900"/>
                    <a:pt x="3268547" y="612536"/>
                    <a:pt x="3268547" y="631825"/>
                  </a:cubicBezTo>
                  <a:cubicBezTo>
                    <a:pt x="3268547" y="651114"/>
                    <a:pt x="3253266" y="666750"/>
                    <a:pt x="3234415" y="666750"/>
                  </a:cubicBezTo>
                  <a:cubicBezTo>
                    <a:pt x="3215564" y="666750"/>
                    <a:pt x="3200283" y="651114"/>
                    <a:pt x="3200283" y="631825"/>
                  </a:cubicBezTo>
                  <a:cubicBezTo>
                    <a:pt x="3200283" y="612536"/>
                    <a:pt x="3215564" y="596900"/>
                    <a:pt x="3234415" y="596900"/>
                  </a:cubicBezTo>
                  <a:close/>
                  <a:moveTo>
                    <a:pt x="3153452" y="596900"/>
                  </a:moveTo>
                  <a:cubicBezTo>
                    <a:pt x="3172303" y="596900"/>
                    <a:pt x="3187584" y="612536"/>
                    <a:pt x="3187584" y="631825"/>
                  </a:cubicBezTo>
                  <a:cubicBezTo>
                    <a:pt x="3187584" y="651114"/>
                    <a:pt x="3172303" y="666750"/>
                    <a:pt x="3153452" y="666750"/>
                  </a:cubicBezTo>
                  <a:cubicBezTo>
                    <a:pt x="3134601" y="666750"/>
                    <a:pt x="3119320" y="651114"/>
                    <a:pt x="3119320" y="631825"/>
                  </a:cubicBezTo>
                  <a:cubicBezTo>
                    <a:pt x="3119320" y="612536"/>
                    <a:pt x="3134601" y="596900"/>
                    <a:pt x="3153452" y="596900"/>
                  </a:cubicBezTo>
                  <a:close/>
                  <a:moveTo>
                    <a:pt x="2983590" y="596900"/>
                  </a:moveTo>
                  <a:cubicBezTo>
                    <a:pt x="3002441" y="596900"/>
                    <a:pt x="3017722" y="612536"/>
                    <a:pt x="3017722" y="631825"/>
                  </a:cubicBezTo>
                  <a:cubicBezTo>
                    <a:pt x="3017722" y="651114"/>
                    <a:pt x="3002441" y="666750"/>
                    <a:pt x="2983590" y="666750"/>
                  </a:cubicBezTo>
                  <a:cubicBezTo>
                    <a:pt x="2964739" y="666750"/>
                    <a:pt x="2949458" y="651114"/>
                    <a:pt x="2949458" y="631825"/>
                  </a:cubicBezTo>
                  <a:cubicBezTo>
                    <a:pt x="2949458" y="612536"/>
                    <a:pt x="2964739" y="596900"/>
                    <a:pt x="2983590" y="596900"/>
                  </a:cubicBezTo>
                  <a:close/>
                  <a:moveTo>
                    <a:pt x="2561353" y="596900"/>
                  </a:moveTo>
                  <a:cubicBezTo>
                    <a:pt x="2580204" y="596900"/>
                    <a:pt x="2595485" y="612536"/>
                    <a:pt x="2595485" y="631825"/>
                  </a:cubicBezTo>
                  <a:cubicBezTo>
                    <a:pt x="2595485" y="651114"/>
                    <a:pt x="2580204" y="666750"/>
                    <a:pt x="2561353" y="666750"/>
                  </a:cubicBezTo>
                  <a:cubicBezTo>
                    <a:pt x="2542501" y="666750"/>
                    <a:pt x="2527221" y="651114"/>
                    <a:pt x="2527221" y="631825"/>
                  </a:cubicBezTo>
                  <a:cubicBezTo>
                    <a:pt x="2527221" y="612536"/>
                    <a:pt x="2542501" y="596900"/>
                    <a:pt x="2561353" y="596900"/>
                  </a:cubicBezTo>
                  <a:close/>
                  <a:moveTo>
                    <a:pt x="2309732" y="596900"/>
                  </a:moveTo>
                  <a:cubicBezTo>
                    <a:pt x="2329020" y="596900"/>
                    <a:pt x="2344659" y="612536"/>
                    <a:pt x="2344659" y="631825"/>
                  </a:cubicBezTo>
                  <a:cubicBezTo>
                    <a:pt x="2344659" y="651114"/>
                    <a:pt x="2329020" y="666750"/>
                    <a:pt x="2309732" y="666750"/>
                  </a:cubicBezTo>
                  <a:cubicBezTo>
                    <a:pt x="2290444" y="666750"/>
                    <a:pt x="2274806" y="651114"/>
                    <a:pt x="2274806" y="631825"/>
                  </a:cubicBezTo>
                  <a:cubicBezTo>
                    <a:pt x="2274806" y="612536"/>
                    <a:pt x="2290444" y="596900"/>
                    <a:pt x="2309732" y="596900"/>
                  </a:cubicBezTo>
                  <a:close/>
                  <a:moveTo>
                    <a:pt x="2224804" y="596900"/>
                  </a:moveTo>
                  <a:cubicBezTo>
                    <a:pt x="2243656" y="596900"/>
                    <a:pt x="2258936" y="612536"/>
                    <a:pt x="2258936" y="631825"/>
                  </a:cubicBezTo>
                  <a:cubicBezTo>
                    <a:pt x="2258936" y="651114"/>
                    <a:pt x="2243656" y="666750"/>
                    <a:pt x="2224804" y="666750"/>
                  </a:cubicBezTo>
                  <a:cubicBezTo>
                    <a:pt x="2205953" y="666750"/>
                    <a:pt x="2190671" y="651114"/>
                    <a:pt x="2190671" y="631825"/>
                  </a:cubicBezTo>
                  <a:cubicBezTo>
                    <a:pt x="2190671" y="612536"/>
                    <a:pt x="2205953" y="596900"/>
                    <a:pt x="2224804" y="596900"/>
                  </a:cubicBezTo>
                  <a:close/>
                  <a:moveTo>
                    <a:pt x="2055738" y="596900"/>
                  </a:moveTo>
                  <a:cubicBezTo>
                    <a:pt x="2075903" y="596900"/>
                    <a:pt x="2092252" y="612536"/>
                    <a:pt x="2092252" y="631825"/>
                  </a:cubicBezTo>
                  <a:cubicBezTo>
                    <a:pt x="2092252" y="651114"/>
                    <a:pt x="2075903" y="666750"/>
                    <a:pt x="2055738" y="666750"/>
                  </a:cubicBezTo>
                  <a:cubicBezTo>
                    <a:pt x="2035572" y="666750"/>
                    <a:pt x="2019226" y="651114"/>
                    <a:pt x="2019226" y="631825"/>
                  </a:cubicBezTo>
                  <a:cubicBezTo>
                    <a:pt x="2019226" y="612536"/>
                    <a:pt x="2035572" y="596900"/>
                    <a:pt x="2055738" y="596900"/>
                  </a:cubicBezTo>
                  <a:close/>
                  <a:moveTo>
                    <a:pt x="1973301" y="596900"/>
                  </a:moveTo>
                  <a:cubicBezTo>
                    <a:pt x="1992595" y="596900"/>
                    <a:pt x="2008227" y="612536"/>
                    <a:pt x="2008227" y="631825"/>
                  </a:cubicBezTo>
                  <a:cubicBezTo>
                    <a:pt x="2008227" y="651114"/>
                    <a:pt x="1992595" y="666750"/>
                    <a:pt x="1973301" y="666750"/>
                  </a:cubicBezTo>
                  <a:cubicBezTo>
                    <a:pt x="1954014" y="666750"/>
                    <a:pt x="1938380" y="651114"/>
                    <a:pt x="1938380" y="631825"/>
                  </a:cubicBezTo>
                  <a:cubicBezTo>
                    <a:pt x="1938380" y="612536"/>
                    <a:pt x="1954014" y="596900"/>
                    <a:pt x="1973301" y="596900"/>
                  </a:cubicBezTo>
                  <a:close/>
                  <a:moveTo>
                    <a:pt x="1888373" y="596900"/>
                  </a:moveTo>
                  <a:cubicBezTo>
                    <a:pt x="1907222" y="596900"/>
                    <a:pt x="1922503" y="612536"/>
                    <a:pt x="1922503" y="631825"/>
                  </a:cubicBezTo>
                  <a:cubicBezTo>
                    <a:pt x="1922503" y="651114"/>
                    <a:pt x="1907222" y="666750"/>
                    <a:pt x="1888373" y="666750"/>
                  </a:cubicBezTo>
                  <a:cubicBezTo>
                    <a:pt x="1869524" y="666750"/>
                    <a:pt x="1854243" y="651114"/>
                    <a:pt x="1854243" y="631825"/>
                  </a:cubicBezTo>
                  <a:cubicBezTo>
                    <a:pt x="1854243" y="612536"/>
                    <a:pt x="1869524" y="596900"/>
                    <a:pt x="1888373" y="596900"/>
                  </a:cubicBezTo>
                  <a:close/>
                  <a:moveTo>
                    <a:pt x="1719175" y="596900"/>
                  </a:moveTo>
                  <a:cubicBezTo>
                    <a:pt x="1739342" y="596900"/>
                    <a:pt x="1755688" y="612536"/>
                    <a:pt x="1755688" y="631825"/>
                  </a:cubicBezTo>
                  <a:cubicBezTo>
                    <a:pt x="1755688" y="651114"/>
                    <a:pt x="1739342" y="666750"/>
                    <a:pt x="1719175" y="666750"/>
                  </a:cubicBezTo>
                  <a:cubicBezTo>
                    <a:pt x="1699010" y="666750"/>
                    <a:pt x="1682663" y="651114"/>
                    <a:pt x="1682663" y="631825"/>
                  </a:cubicBezTo>
                  <a:cubicBezTo>
                    <a:pt x="1682663" y="612536"/>
                    <a:pt x="1699010" y="596900"/>
                    <a:pt x="1719175" y="596900"/>
                  </a:cubicBezTo>
                  <a:close/>
                  <a:moveTo>
                    <a:pt x="1636625" y="596900"/>
                  </a:moveTo>
                  <a:cubicBezTo>
                    <a:pt x="1655914" y="596900"/>
                    <a:pt x="1671551" y="612536"/>
                    <a:pt x="1671551" y="631825"/>
                  </a:cubicBezTo>
                  <a:cubicBezTo>
                    <a:pt x="1671551" y="651114"/>
                    <a:pt x="1655914" y="666750"/>
                    <a:pt x="1636625" y="666750"/>
                  </a:cubicBezTo>
                  <a:cubicBezTo>
                    <a:pt x="1617336" y="666750"/>
                    <a:pt x="1601700" y="651114"/>
                    <a:pt x="1601700" y="631825"/>
                  </a:cubicBezTo>
                  <a:cubicBezTo>
                    <a:pt x="1601700" y="612536"/>
                    <a:pt x="1617336" y="596900"/>
                    <a:pt x="1636625" y="596900"/>
                  </a:cubicBezTo>
                  <a:close/>
                  <a:moveTo>
                    <a:pt x="1551694" y="596900"/>
                  </a:moveTo>
                  <a:cubicBezTo>
                    <a:pt x="1570546" y="596900"/>
                    <a:pt x="1585827" y="612536"/>
                    <a:pt x="1585827" y="631825"/>
                  </a:cubicBezTo>
                  <a:cubicBezTo>
                    <a:pt x="1585827" y="651114"/>
                    <a:pt x="1570546" y="666750"/>
                    <a:pt x="1551694" y="666750"/>
                  </a:cubicBezTo>
                  <a:cubicBezTo>
                    <a:pt x="1532843" y="666750"/>
                    <a:pt x="1517562" y="651114"/>
                    <a:pt x="1517562" y="631825"/>
                  </a:cubicBezTo>
                  <a:cubicBezTo>
                    <a:pt x="1517562" y="612536"/>
                    <a:pt x="1532843" y="596900"/>
                    <a:pt x="1551694" y="596900"/>
                  </a:cubicBezTo>
                  <a:close/>
                  <a:moveTo>
                    <a:pt x="1465966" y="596900"/>
                  </a:moveTo>
                  <a:cubicBezTo>
                    <a:pt x="1484817" y="596900"/>
                    <a:pt x="1500098" y="612536"/>
                    <a:pt x="1500098" y="631825"/>
                  </a:cubicBezTo>
                  <a:cubicBezTo>
                    <a:pt x="1500098" y="651114"/>
                    <a:pt x="1484817" y="666750"/>
                    <a:pt x="1465966" y="666750"/>
                  </a:cubicBezTo>
                  <a:cubicBezTo>
                    <a:pt x="1447115" y="666750"/>
                    <a:pt x="1431834" y="651114"/>
                    <a:pt x="1431834" y="631825"/>
                  </a:cubicBezTo>
                  <a:cubicBezTo>
                    <a:pt x="1431834" y="612536"/>
                    <a:pt x="1447115" y="596900"/>
                    <a:pt x="1465966" y="596900"/>
                  </a:cubicBezTo>
                  <a:close/>
                  <a:moveTo>
                    <a:pt x="1380239" y="596900"/>
                  </a:moveTo>
                  <a:cubicBezTo>
                    <a:pt x="1399091" y="596900"/>
                    <a:pt x="1414372" y="612536"/>
                    <a:pt x="1414372" y="631825"/>
                  </a:cubicBezTo>
                  <a:cubicBezTo>
                    <a:pt x="1414372" y="651114"/>
                    <a:pt x="1399091" y="666750"/>
                    <a:pt x="1380239" y="666750"/>
                  </a:cubicBezTo>
                  <a:cubicBezTo>
                    <a:pt x="1361389" y="666750"/>
                    <a:pt x="1346108" y="651114"/>
                    <a:pt x="1346108" y="631825"/>
                  </a:cubicBezTo>
                  <a:cubicBezTo>
                    <a:pt x="1346108" y="612536"/>
                    <a:pt x="1361389" y="596900"/>
                    <a:pt x="1380239" y="596900"/>
                  </a:cubicBezTo>
                  <a:close/>
                  <a:moveTo>
                    <a:pt x="1300069" y="596900"/>
                  </a:moveTo>
                  <a:cubicBezTo>
                    <a:pt x="1319358" y="596900"/>
                    <a:pt x="1334994" y="612536"/>
                    <a:pt x="1334994" y="631825"/>
                  </a:cubicBezTo>
                  <a:cubicBezTo>
                    <a:pt x="1334994" y="651114"/>
                    <a:pt x="1319358" y="666750"/>
                    <a:pt x="1300069" y="666750"/>
                  </a:cubicBezTo>
                  <a:cubicBezTo>
                    <a:pt x="1280780" y="666750"/>
                    <a:pt x="1265143" y="651114"/>
                    <a:pt x="1265143" y="631825"/>
                  </a:cubicBezTo>
                  <a:cubicBezTo>
                    <a:pt x="1265143" y="612536"/>
                    <a:pt x="1280780" y="596900"/>
                    <a:pt x="1300069" y="596900"/>
                  </a:cubicBezTo>
                  <a:close/>
                  <a:moveTo>
                    <a:pt x="1214323" y="596900"/>
                  </a:moveTo>
                  <a:cubicBezTo>
                    <a:pt x="1233612" y="596900"/>
                    <a:pt x="1249248" y="612536"/>
                    <a:pt x="1249248" y="631825"/>
                  </a:cubicBezTo>
                  <a:cubicBezTo>
                    <a:pt x="1249248" y="651114"/>
                    <a:pt x="1233612" y="666750"/>
                    <a:pt x="1214323" y="666750"/>
                  </a:cubicBezTo>
                  <a:cubicBezTo>
                    <a:pt x="1195034" y="666750"/>
                    <a:pt x="1179398" y="651114"/>
                    <a:pt x="1179398" y="631825"/>
                  </a:cubicBezTo>
                  <a:cubicBezTo>
                    <a:pt x="1179398" y="612536"/>
                    <a:pt x="1195034" y="596900"/>
                    <a:pt x="1214323" y="596900"/>
                  </a:cubicBezTo>
                  <a:close/>
                  <a:moveTo>
                    <a:pt x="1129392" y="596900"/>
                  </a:moveTo>
                  <a:cubicBezTo>
                    <a:pt x="1148243" y="596900"/>
                    <a:pt x="1163524" y="612536"/>
                    <a:pt x="1163524" y="631825"/>
                  </a:cubicBezTo>
                  <a:cubicBezTo>
                    <a:pt x="1163524" y="651114"/>
                    <a:pt x="1148243" y="666750"/>
                    <a:pt x="1129392" y="666750"/>
                  </a:cubicBezTo>
                  <a:cubicBezTo>
                    <a:pt x="1110541" y="666750"/>
                    <a:pt x="1095260" y="651114"/>
                    <a:pt x="1095260" y="631825"/>
                  </a:cubicBezTo>
                  <a:cubicBezTo>
                    <a:pt x="1095260" y="612536"/>
                    <a:pt x="1110541" y="596900"/>
                    <a:pt x="1129392" y="596900"/>
                  </a:cubicBezTo>
                  <a:close/>
                  <a:moveTo>
                    <a:pt x="1043667" y="596900"/>
                  </a:moveTo>
                  <a:cubicBezTo>
                    <a:pt x="1062518" y="596900"/>
                    <a:pt x="1077799" y="612536"/>
                    <a:pt x="1077799" y="631825"/>
                  </a:cubicBezTo>
                  <a:cubicBezTo>
                    <a:pt x="1077799" y="651114"/>
                    <a:pt x="1062518" y="666750"/>
                    <a:pt x="1043667" y="666750"/>
                  </a:cubicBezTo>
                  <a:cubicBezTo>
                    <a:pt x="1024816" y="666750"/>
                    <a:pt x="1009535" y="651114"/>
                    <a:pt x="1009535" y="631825"/>
                  </a:cubicBezTo>
                  <a:cubicBezTo>
                    <a:pt x="1009535" y="612536"/>
                    <a:pt x="1024816" y="596900"/>
                    <a:pt x="1043667" y="596900"/>
                  </a:cubicBezTo>
                  <a:close/>
                  <a:moveTo>
                    <a:pt x="960324" y="596900"/>
                  </a:moveTo>
                  <a:cubicBezTo>
                    <a:pt x="980489" y="596900"/>
                    <a:pt x="996836" y="612536"/>
                    <a:pt x="996836" y="631825"/>
                  </a:cubicBezTo>
                  <a:cubicBezTo>
                    <a:pt x="996836" y="651114"/>
                    <a:pt x="980489" y="666750"/>
                    <a:pt x="960324" y="666750"/>
                  </a:cubicBezTo>
                  <a:cubicBezTo>
                    <a:pt x="940157" y="666750"/>
                    <a:pt x="923810" y="651114"/>
                    <a:pt x="923810" y="631825"/>
                  </a:cubicBezTo>
                  <a:cubicBezTo>
                    <a:pt x="923810" y="612536"/>
                    <a:pt x="940157" y="596900"/>
                    <a:pt x="960324" y="596900"/>
                  </a:cubicBezTo>
                  <a:close/>
                  <a:moveTo>
                    <a:pt x="877939" y="596900"/>
                  </a:moveTo>
                  <a:cubicBezTo>
                    <a:pt x="897228" y="596900"/>
                    <a:pt x="912864" y="612536"/>
                    <a:pt x="912864" y="631825"/>
                  </a:cubicBezTo>
                  <a:cubicBezTo>
                    <a:pt x="912864" y="651114"/>
                    <a:pt x="897228" y="666750"/>
                    <a:pt x="877939" y="666750"/>
                  </a:cubicBezTo>
                  <a:cubicBezTo>
                    <a:pt x="858647" y="666750"/>
                    <a:pt x="843014" y="651114"/>
                    <a:pt x="843014" y="631825"/>
                  </a:cubicBezTo>
                  <a:cubicBezTo>
                    <a:pt x="843014" y="612536"/>
                    <a:pt x="858647" y="596900"/>
                    <a:pt x="877939" y="596900"/>
                  </a:cubicBezTo>
                  <a:close/>
                  <a:moveTo>
                    <a:pt x="793002" y="596900"/>
                  </a:moveTo>
                  <a:cubicBezTo>
                    <a:pt x="811858" y="596900"/>
                    <a:pt x="827137" y="612536"/>
                    <a:pt x="827137" y="631825"/>
                  </a:cubicBezTo>
                  <a:cubicBezTo>
                    <a:pt x="827137" y="651114"/>
                    <a:pt x="811858" y="666750"/>
                    <a:pt x="793002" y="666750"/>
                  </a:cubicBezTo>
                  <a:cubicBezTo>
                    <a:pt x="774151" y="666750"/>
                    <a:pt x="758871" y="651114"/>
                    <a:pt x="758871" y="631825"/>
                  </a:cubicBezTo>
                  <a:cubicBezTo>
                    <a:pt x="758871" y="612536"/>
                    <a:pt x="774151" y="596900"/>
                    <a:pt x="793002" y="596900"/>
                  </a:cubicBezTo>
                  <a:close/>
                  <a:moveTo>
                    <a:pt x="707275" y="596900"/>
                  </a:moveTo>
                  <a:cubicBezTo>
                    <a:pt x="726127" y="596900"/>
                    <a:pt x="741409" y="612536"/>
                    <a:pt x="741409" y="631825"/>
                  </a:cubicBezTo>
                  <a:cubicBezTo>
                    <a:pt x="741409" y="651114"/>
                    <a:pt x="726127" y="666750"/>
                    <a:pt x="707275" y="666750"/>
                  </a:cubicBezTo>
                  <a:cubicBezTo>
                    <a:pt x="688422" y="666750"/>
                    <a:pt x="673133" y="651114"/>
                    <a:pt x="673133" y="631825"/>
                  </a:cubicBezTo>
                  <a:cubicBezTo>
                    <a:pt x="673133" y="612536"/>
                    <a:pt x="688422" y="596900"/>
                    <a:pt x="707275" y="596900"/>
                  </a:cubicBezTo>
                  <a:close/>
                  <a:moveTo>
                    <a:pt x="8716052" y="511175"/>
                  </a:moveTo>
                  <a:cubicBezTo>
                    <a:pt x="8734903" y="511175"/>
                    <a:pt x="8750184" y="526456"/>
                    <a:pt x="8750184" y="545307"/>
                  </a:cubicBezTo>
                  <a:cubicBezTo>
                    <a:pt x="8750184" y="564158"/>
                    <a:pt x="8734903" y="579439"/>
                    <a:pt x="8716052" y="579439"/>
                  </a:cubicBezTo>
                  <a:cubicBezTo>
                    <a:pt x="8697201" y="579439"/>
                    <a:pt x="8681920" y="564158"/>
                    <a:pt x="8681920" y="545307"/>
                  </a:cubicBezTo>
                  <a:cubicBezTo>
                    <a:pt x="8681920" y="526456"/>
                    <a:pt x="8697201" y="511175"/>
                    <a:pt x="8716052" y="511175"/>
                  </a:cubicBezTo>
                  <a:close/>
                  <a:moveTo>
                    <a:pt x="8630327" y="511175"/>
                  </a:moveTo>
                  <a:cubicBezTo>
                    <a:pt x="8649178" y="511175"/>
                    <a:pt x="8664459" y="526456"/>
                    <a:pt x="8664459" y="545307"/>
                  </a:cubicBezTo>
                  <a:cubicBezTo>
                    <a:pt x="8664459" y="564158"/>
                    <a:pt x="8649178" y="579439"/>
                    <a:pt x="8630327" y="579439"/>
                  </a:cubicBezTo>
                  <a:cubicBezTo>
                    <a:pt x="8611476" y="579439"/>
                    <a:pt x="8596195" y="564158"/>
                    <a:pt x="8596195" y="545307"/>
                  </a:cubicBezTo>
                  <a:cubicBezTo>
                    <a:pt x="8596195" y="526456"/>
                    <a:pt x="8611476" y="511175"/>
                    <a:pt x="8630327" y="511175"/>
                  </a:cubicBezTo>
                  <a:close/>
                  <a:moveTo>
                    <a:pt x="8544602" y="511175"/>
                  </a:moveTo>
                  <a:cubicBezTo>
                    <a:pt x="8563453" y="511175"/>
                    <a:pt x="8578734" y="526456"/>
                    <a:pt x="8578734" y="545307"/>
                  </a:cubicBezTo>
                  <a:cubicBezTo>
                    <a:pt x="8578734" y="564158"/>
                    <a:pt x="8563453" y="579439"/>
                    <a:pt x="8544602" y="579439"/>
                  </a:cubicBezTo>
                  <a:cubicBezTo>
                    <a:pt x="8525751" y="579439"/>
                    <a:pt x="8510470" y="564158"/>
                    <a:pt x="8510470" y="545307"/>
                  </a:cubicBezTo>
                  <a:cubicBezTo>
                    <a:pt x="8510470" y="526456"/>
                    <a:pt x="8525751" y="511175"/>
                    <a:pt x="8544602" y="511175"/>
                  </a:cubicBezTo>
                  <a:close/>
                  <a:moveTo>
                    <a:pt x="8465227" y="511175"/>
                  </a:moveTo>
                  <a:cubicBezTo>
                    <a:pt x="8484078" y="511175"/>
                    <a:pt x="8499359" y="526456"/>
                    <a:pt x="8499359" y="545307"/>
                  </a:cubicBezTo>
                  <a:cubicBezTo>
                    <a:pt x="8499359" y="564158"/>
                    <a:pt x="8484078" y="579439"/>
                    <a:pt x="8465227" y="579439"/>
                  </a:cubicBezTo>
                  <a:cubicBezTo>
                    <a:pt x="8446376" y="579439"/>
                    <a:pt x="8431095" y="564158"/>
                    <a:pt x="8431095" y="545307"/>
                  </a:cubicBezTo>
                  <a:cubicBezTo>
                    <a:pt x="8431095" y="526456"/>
                    <a:pt x="8446376" y="511175"/>
                    <a:pt x="8465227" y="511175"/>
                  </a:cubicBezTo>
                  <a:close/>
                  <a:moveTo>
                    <a:pt x="8379502" y="511175"/>
                  </a:moveTo>
                  <a:cubicBezTo>
                    <a:pt x="8398353" y="511175"/>
                    <a:pt x="8413634" y="526456"/>
                    <a:pt x="8413634" y="545307"/>
                  </a:cubicBezTo>
                  <a:cubicBezTo>
                    <a:pt x="8413634" y="564158"/>
                    <a:pt x="8398353" y="579439"/>
                    <a:pt x="8379502" y="579439"/>
                  </a:cubicBezTo>
                  <a:cubicBezTo>
                    <a:pt x="8360651" y="579439"/>
                    <a:pt x="8345370" y="564158"/>
                    <a:pt x="8345370" y="545307"/>
                  </a:cubicBezTo>
                  <a:cubicBezTo>
                    <a:pt x="8345370" y="526456"/>
                    <a:pt x="8360651" y="511175"/>
                    <a:pt x="8379502" y="511175"/>
                  </a:cubicBezTo>
                  <a:close/>
                  <a:moveTo>
                    <a:pt x="8293777" y="511175"/>
                  </a:moveTo>
                  <a:cubicBezTo>
                    <a:pt x="8312628" y="511175"/>
                    <a:pt x="8327909" y="526456"/>
                    <a:pt x="8327909" y="545307"/>
                  </a:cubicBezTo>
                  <a:cubicBezTo>
                    <a:pt x="8327909" y="564158"/>
                    <a:pt x="8312628" y="579439"/>
                    <a:pt x="8293777" y="579439"/>
                  </a:cubicBezTo>
                  <a:cubicBezTo>
                    <a:pt x="8274926" y="579439"/>
                    <a:pt x="8259645" y="564158"/>
                    <a:pt x="8259645" y="545307"/>
                  </a:cubicBezTo>
                  <a:cubicBezTo>
                    <a:pt x="8259645" y="526456"/>
                    <a:pt x="8274926" y="511175"/>
                    <a:pt x="8293777" y="511175"/>
                  </a:cubicBezTo>
                  <a:close/>
                  <a:moveTo>
                    <a:pt x="8208052" y="511175"/>
                  </a:moveTo>
                  <a:cubicBezTo>
                    <a:pt x="8226903" y="511175"/>
                    <a:pt x="8242184" y="526456"/>
                    <a:pt x="8242184" y="545307"/>
                  </a:cubicBezTo>
                  <a:cubicBezTo>
                    <a:pt x="8242184" y="564158"/>
                    <a:pt x="8226903" y="579439"/>
                    <a:pt x="8208052" y="579439"/>
                  </a:cubicBezTo>
                  <a:cubicBezTo>
                    <a:pt x="8189201" y="579439"/>
                    <a:pt x="8173920" y="564158"/>
                    <a:pt x="8173920" y="545307"/>
                  </a:cubicBezTo>
                  <a:cubicBezTo>
                    <a:pt x="8173920" y="526456"/>
                    <a:pt x="8189201" y="511175"/>
                    <a:pt x="8208052" y="511175"/>
                  </a:cubicBezTo>
                  <a:close/>
                  <a:moveTo>
                    <a:pt x="8125502" y="511175"/>
                  </a:moveTo>
                  <a:cubicBezTo>
                    <a:pt x="8146106" y="511175"/>
                    <a:pt x="8162809" y="526456"/>
                    <a:pt x="8162809" y="545307"/>
                  </a:cubicBezTo>
                  <a:cubicBezTo>
                    <a:pt x="8162809" y="564158"/>
                    <a:pt x="8146106" y="579439"/>
                    <a:pt x="8125502" y="579439"/>
                  </a:cubicBezTo>
                  <a:cubicBezTo>
                    <a:pt x="8104898" y="579439"/>
                    <a:pt x="8088195" y="564158"/>
                    <a:pt x="8088195" y="545307"/>
                  </a:cubicBezTo>
                  <a:cubicBezTo>
                    <a:pt x="8088195" y="526456"/>
                    <a:pt x="8104898" y="511175"/>
                    <a:pt x="8125502" y="511175"/>
                  </a:cubicBezTo>
                  <a:close/>
                  <a:moveTo>
                    <a:pt x="8042952" y="511175"/>
                  </a:moveTo>
                  <a:cubicBezTo>
                    <a:pt x="8061803" y="511175"/>
                    <a:pt x="8077084" y="526456"/>
                    <a:pt x="8077084" y="545307"/>
                  </a:cubicBezTo>
                  <a:cubicBezTo>
                    <a:pt x="8077084" y="564158"/>
                    <a:pt x="8061803" y="579439"/>
                    <a:pt x="8042952" y="579439"/>
                  </a:cubicBezTo>
                  <a:cubicBezTo>
                    <a:pt x="8024101" y="579439"/>
                    <a:pt x="8008820" y="564158"/>
                    <a:pt x="8008820" y="545307"/>
                  </a:cubicBezTo>
                  <a:cubicBezTo>
                    <a:pt x="8008820" y="526456"/>
                    <a:pt x="8024101" y="511175"/>
                    <a:pt x="8042952" y="511175"/>
                  </a:cubicBezTo>
                  <a:close/>
                  <a:moveTo>
                    <a:pt x="7957227" y="511175"/>
                  </a:moveTo>
                  <a:cubicBezTo>
                    <a:pt x="7976078" y="511175"/>
                    <a:pt x="7991359" y="526456"/>
                    <a:pt x="7991359" y="545307"/>
                  </a:cubicBezTo>
                  <a:cubicBezTo>
                    <a:pt x="7991359" y="564158"/>
                    <a:pt x="7976078" y="579439"/>
                    <a:pt x="7957227" y="579439"/>
                  </a:cubicBezTo>
                  <a:cubicBezTo>
                    <a:pt x="7938376" y="579439"/>
                    <a:pt x="7923095" y="564158"/>
                    <a:pt x="7923095" y="545307"/>
                  </a:cubicBezTo>
                  <a:cubicBezTo>
                    <a:pt x="7923095" y="526456"/>
                    <a:pt x="7938376" y="511175"/>
                    <a:pt x="7957227" y="511175"/>
                  </a:cubicBezTo>
                  <a:close/>
                  <a:moveTo>
                    <a:pt x="7871502" y="511175"/>
                  </a:moveTo>
                  <a:cubicBezTo>
                    <a:pt x="7890353" y="511175"/>
                    <a:pt x="7905634" y="526456"/>
                    <a:pt x="7905634" y="545307"/>
                  </a:cubicBezTo>
                  <a:cubicBezTo>
                    <a:pt x="7905634" y="564158"/>
                    <a:pt x="7890353" y="579439"/>
                    <a:pt x="7871502" y="579439"/>
                  </a:cubicBezTo>
                  <a:cubicBezTo>
                    <a:pt x="7852651" y="579439"/>
                    <a:pt x="7837370" y="564158"/>
                    <a:pt x="7837370" y="545307"/>
                  </a:cubicBezTo>
                  <a:cubicBezTo>
                    <a:pt x="7837370" y="526456"/>
                    <a:pt x="7852651" y="511175"/>
                    <a:pt x="7871502" y="511175"/>
                  </a:cubicBezTo>
                  <a:close/>
                  <a:moveTo>
                    <a:pt x="7785777" y="511175"/>
                  </a:moveTo>
                  <a:cubicBezTo>
                    <a:pt x="7804628" y="511175"/>
                    <a:pt x="7819909" y="526456"/>
                    <a:pt x="7819909" y="545307"/>
                  </a:cubicBezTo>
                  <a:cubicBezTo>
                    <a:pt x="7819909" y="564158"/>
                    <a:pt x="7804628" y="579439"/>
                    <a:pt x="7785777" y="579439"/>
                  </a:cubicBezTo>
                  <a:cubicBezTo>
                    <a:pt x="7766926" y="579439"/>
                    <a:pt x="7751645" y="564158"/>
                    <a:pt x="7751645" y="545307"/>
                  </a:cubicBezTo>
                  <a:cubicBezTo>
                    <a:pt x="7751645" y="526456"/>
                    <a:pt x="7766926" y="511175"/>
                    <a:pt x="7785777" y="511175"/>
                  </a:cubicBezTo>
                  <a:close/>
                  <a:moveTo>
                    <a:pt x="7706402" y="511175"/>
                  </a:moveTo>
                  <a:cubicBezTo>
                    <a:pt x="7725253" y="511175"/>
                    <a:pt x="7740534" y="526456"/>
                    <a:pt x="7740534" y="545307"/>
                  </a:cubicBezTo>
                  <a:cubicBezTo>
                    <a:pt x="7740534" y="564158"/>
                    <a:pt x="7725253" y="579439"/>
                    <a:pt x="7706402" y="579439"/>
                  </a:cubicBezTo>
                  <a:cubicBezTo>
                    <a:pt x="7687551" y="579439"/>
                    <a:pt x="7672270" y="564158"/>
                    <a:pt x="7672270" y="545307"/>
                  </a:cubicBezTo>
                  <a:cubicBezTo>
                    <a:pt x="7672270" y="526456"/>
                    <a:pt x="7687551" y="511175"/>
                    <a:pt x="7706402" y="511175"/>
                  </a:cubicBezTo>
                  <a:close/>
                  <a:moveTo>
                    <a:pt x="7620677" y="511175"/>
                  </a:moveTo>
                  <a:cubicBezTo>
                    <a:pt x="7639528" y="511175"/>
                    <a:pt x="7654809" y="526456"/>
                    <a:pt x="7654809" y="545307"/>
                  </a:cubicBezTo>
                  <a:cubicBezTo>
                    <a:pt x="7654809" y="564158"/>
                    <a:pt x="7639528" y="579439"/>
                    <a:pt x="7620677" y="579439"/>
                  </a:cubicBezTo>
                  <a:cubicBezTo>
                    <a:pt x="7601826" y="579439"/>
                    <a:pt x="7586545" y="564158"/>
                    <a:pt x="7586545" y="545307"/>
                  </a:cubicBezTo>
                  <a:cubicBezTo>
                    <a:pt x="7586545" y="526456"/>
                    <a:pt x="7601826" y="511175"/>
                    <a:pt x="7620677" y="511175"/>
                  </a:cubicBezTo>
                  <a:close/>
                  <a:moveTo>
                    <a:pt x="7534952" y="511175"/>
                  </a:moveTo>
                  <a:cubicBezTo>
                    <a:pt x="7553803" y="511175"/>
                    <a:pt x="7569084" y="526456"/>
                    <a:pt x="7569084" y="545307"/>
                  </a:cubicBezTo>
                  <a:cubicBezTo>
                    <a:pt x="7569084" y="564158"/>
                    <a:pt x="7553803" y="579439"/>
                    <a:pt x="7534952" y="579439"/>
                  </a:cubicBezTo>
                  <a:cubicBezTo>
                    <a:pt x="7516101" y="579439"/>
                    <a:pt x="7500820" y="564158"/>
                    <a:pt x="7500820" y="545307"/>
                  </a:cubicBezTo>
                  <a:cubicBezTo>
                    <a:pt x="7500820" y="526456"/>
                    <a:pt x="7516101" y="511175"/>
                    <a:pt x="7534952" y="511175"/>
                  </a:cubicBezTo>
                  <a:close/>
                  <a:moveTo>
                    <a:pt x="7449227" y="511175"/>
                  </a:moveTo>
                  <a:cubicBezTo>
                    <a:pt x="7468078" y="511175"/>
                    <a:pt x="7483359" y="526456"/>
                    <a:pt x="7483359" y="545307"/>
                  </a:cubicBezTo>
                  <a:cubicBezTo>
                    <a:pt x="7483359" y="564158"/>
                    <a:pt x="7468078" y="579439"/>
                    <a:pt x="7449227" y="579439"/>
                  </a:cubicBezTo>
                  <a:cubicBezTo>
                    <a:pt x="7430376" y="579439"/>
                    <a:pt x="7415095" y="564158"/>
                    <a:pt x="7415095" y="545307"/>
                  </a:cubicBezTo>
                  <a:cubicBezTo>
                    <a:pt x="7415095" y="526456"/>
                    <a:pt x="7430376" y="511175"/>
                    <a:pt x="7449227" y="511175"/>
                  </a:cubicBezTo>
                  <a:close/>
                  <a:moveTo>
                    <a:pt x="7366677" y="511175"/>
                  </a:moveTo>
                  <a:cubicBezTo>
                    <a:pt x="7387281" y="511175"/>
                    <a:pt x="7403984" y="526456"/>
                    <a:pt x="7403984" y="545307"/>
                  </a:cubicBezTo>
                  <a:cubicBezTo>
                    <a:pt x="7403984" y="564158"/>
                    <a:pt x="7387281" y="579439"/>
                    <a:pt x="7366677" y="579439"/>
                  </a:cubicBezTo>
                  <a:cubicBezTo>
                    <a:pt x="7346073" y="579439"/>
                    <a:pt x="7329370" y="564158"/>
                    <a:pt x="7329370" y="545307"/>
                  </a:cubicBezTo>
                  <a:cubicBezTo>
                    <a:pt x="7329370" y="526456"/>
                    <a:pt x="7346073" y="511175"/>
                    <a:pt x="7366677" y="511175"/>
                  </a:cubicBezTo>
                  <a:close/>
                  <a:moveTo>
                    <a:pt x="7284127" y="511175"/>
                  </a:moveTo>
                  <a:cubicBezTo>
                    <a:pt x="7302978" y="511175"/>
                    <a:pt x="7318259" y="526456"/>
                    <a:pt x="7318259" y="545307"/>
                  </a:cubicBezTo>
                  <a:cubicBezTo>
                    <a:pt x="7318259" y="564158"/>
                    <a:pt x="7302978" y="579439"/>
                    <a:pt x="7284127" y="579439"/>
                  </a:cubicBezTo>
                  <a:cubicBezTo>
                    <a:pt x="7265276" y="579439"/>
                    <a:pt x="7249995" y="564158"/>
                    <a:pt x="7249995" y="545307"/>
                  </a:cubicBezTo>
                  <a:cubicBezTo>
                    <a:pt x="7249995" y="526456"/>
                    <a:pt x="7265276" y="511175"/>
                    <a:pt x="7284127" y="511175"/>
                  </a:cubicBezTo>
                  <a:close/>
                  <a:moveTo>
                    <a:pt x="7198402" y="511175"/>
                  </a:moveTo>
                  <a:cubicBezTo>
                    <a:pt x="7217253" y="511175"/>
                    <a:pt x="7232534" y="526456"/>
                    <a:pt x="7232534" y="545307"/>
                  </a:cubicBezTo>
                  <a:cubicBezTo>
                    <a:pt x="7232534" y="564158"/>
                    <a:pt x="7217253" y="579439"/>
                    <a:pt x="7198402" y="579439"/>
                  </a:cubicBezTo>
                  <a:cubicBezTo>
                    <a:pt x="7179551" y="579439"/>
                    <a:pt x="7164270" y="564158"/>
                    <a:pt x="7164270" y="545307"/>
                  </a:cubicBezTo>
                  <a:cubicBezTo>
                    <a:pt x="7164270" y="526456"/>
                    <a:pt x="7179551" y="511175"/>
                    <a:pt x="7198402" y="511175"/>
                  </a:cubicBezTo>
                  <a:close/>
                  <a:moveTo>
                    <a:pt x="7112677" y="511175"/>
                  </a:moveTo>
                  <a:cubicBezTo>
                    <a:pt x="7131528" y="511175"/>
                    <a:pt x="7146809" y="526456"/>
                    <a:pt x="7146809" y="545307"/>
                  </a:cubicBezTo>
                  <a:cubicBezTo>
                    <a:pt x="7146809" y="564158"/>
                    <a:pt x="7131528" y="579439"/>
                    <a:pt x="7112677" y="579439"/>
                  </a:cubicBezTo>
                  <a:cubicBezTo>
                    <a:pt x="7093826" y="579439"/>
                    <a:pt x="7078545" y="564158"/>
                    <a:pt x="7078545" y="545307"/>
                  </a:cubicBezTo>
                  <a:cubicBezTo>
                    <a:pt x="7078545" y="526456"/>
                    <a:pt x="7093826" y="511175"/>
                    <a:pt x="7112677" y="511175"/>
                  </a:cubicBezTo>
                  <a:close/>
                  <a:moveTo>
                    <a:pt x="7027745" y="511175"/>
                  </a:moveTo>
                  <a:cubicBezTo>
                    <a:pt x="7047034" y="511175"/>
                    <a:pt x="7062670" y="526456"/>
                    <a:pt x="7062670" y="545307"/>
                  </a:cubicBezTo>
                  <a:cubicBezTo>
                    <a:pt x="7062670" y="564158"/>
                    <a:pt x="7047034" y="579439"/>
                    <a:pt x="7027745" y="579439"/>
                  </a:cubicBezTo>
                  <a:cubicBezTo>
                    <a:pt x="7008456" y="579439"/>
                    <a:pt x="6992820" y="564158"/>
                    <a:pt x="6992820" y="545307"/>
                  </a:cubicBezTo>
                  <a:cubicBezTo>
                    <a:pt x="6992820" y="526456"/>
                    <a:pt x="7008456" y="511175"/>
                    <a:pt x="7027745" y="511175"/>
                  </a:cubicBezTo>
                  <a:close/>
                  <a:moveTo>
                    <a:pt x="6861852" y="511175"/>
                  </a:moveTo>
                  <a:cubicBezTo>
                    <a:pt x="6880703" y="511175"/>
                    <a:pt x="6895984" y="526456"/>
                    <a:pt x="6895984" y="545307"/>
                  </a:cubicBezTo>
                  <a:cubicBezTo>
                    <a:pt x="6895984" y="564158"/>
                    <a:pt x="6880703" y="579439"/>
                    <a:pt x="6861852" y="579439"/>
                  </a:cubicBezTo>
                  <a:cubicBezTo>
                    <a:pt x="6843001" y="579439"/>
                    <a:pt x="6827720" y="564158"/>
                    <a:pt x="6827720" y="545307"/>
                  </a:cubicBezTo>
                  <a:cubicBezTo>
                    <a:pt x="6827720" y="526456"/>
                    <a:pt x="6843001" y="511175"/>
                    <a:pt x="6861852" y="511175"/>
                  </a:cubicBezTo>
                  <a:close/>
                  <a:moveTo>
                    <a:pt x="6776127" y="511175"/>
                  </a:moveTo>
                  <a:cubicBezTo>
                    <a:pt x="6794978" y="511175"/>
                    <a:pt x="6810259" y="526456"/>
                    <a:pt x="6810259" y="545307"/>
                  </a:cubicBezTo>
                  <a:cubicBezTo>
                    <a:pt x="6810259" y="564158"/>
                    <a:pt x="6794978" y="579439"/>
                    <a:pt x="6776127" y="579439"/>
                  </a:cubicBezTo>
                  <a:cubicBezTo>
                    <a:pt x="6757276" y="579439"/>
                    <a:pt x="6741995" y="564158"/>
                    <a:pt x="6741995" y="545307"/>
                  </a:cubicBezTo>
                  <a:cubicBezTo>
                    <a:pt x="6741995" y="526456"/>
                    <a:pt x="6757276" y="511175"/>
                    <a:pt x="6776127" y="511175"/>
                  </a:cubicBezTo>
                  <a:close/>
                  <a:moveTo>
                    <a:pt x="6691195" y="511175"/>
                  </a:moveTo>
                  <a:cubicBezTo>
                    <a:pt x="6710484" y="511175"/>
                    <a:pt x="6726120" y="526456"/>
                    <a:pt x="6726120" y="545307"/>
                  </a:cubicBezTo>
                  <a:cubicBezTo>
                    <a:pt x="6726120" y="564158"/>
                    <a:pt x="6710484" y="579439"/>
                    <a:pt x="6691195" y="579439"/>
                  </a:cubicBezTo>
                  <a:cubicBezTo>
                    <a:pt x="6671906" y="579439"/>
                    <a:pt x="6656270" y="564158"/>
                    <a:pt x="6656270" y="545307"/>
                  </a:cubicBezTo>
                  <a:cubicBezTo>
                    <a:pt x="6656270" y="526456"/>
                    <a:pt x="6671906" y="511175"/>
                    <a:pt x="6691195" y="511175"/>
                  </a:cubicBezTo>
                  <a:close/>
                  <a:moveTo>
                    <a:pt x="6268920" y="511175"/>
                  </a:moveTo>
                  <a:cubicBezTo>
                    <a:pt x="6288209" y="511175"/>
                    <a:pt x="6303845" y="526456"/>
                    <a:pt x="6303845" y="545307"/>
                  </a:cubicBezTo>
                  <a:cubicBezTo>
                    <a:pt x="6303845" y="564158"/>
                    <a:pt x="6288209" y="579439"/>
                    <a:pt x="6268920" y="579439"/>
                  </a:cubicBezTo>
                  <a:cubicBezTo>
                    <a:pt x="6249631" y="579439"/>
                    <a:pt x="6233995" y="564158"/>
                    <a:pt x="6233995" y="545307"/>
                  </a:cubicBezTo>
                  <a:cubicBezTo>
                    <a:pt x="6233995" y="526456"/>
                    <a:pt x="6249631" y="511175"/>
                    <a:pt x="6268920" y="511175"/>
                  </a:cubicBezTo>
                  <a:close/>
                  <a:moveTo>
                    <a:pt x="4332171" y="511175"/>
                  </a:moveTo>
                  <a:cubicBezTo>
                    <a:pt x="4352337" y="511175"/>
                    <a:pt x="4368684" y="526456"/>
                    <a:pt x="4368684" y="545307"/>
                  </a:cubicBezTo>
                  <a:cubicBezTo>
                    <a:pt x="4368684" y="564158"/>
                    <a:pt x="4352337" y="579439"/>
                    <a:pt x="4332171" y="579439"/>
                  </a:cubicBezTo>
                  <a:cubicBezTo>
                    <a:pt x="4312005" y="579439"/>
                    <a:pt x="4295658" y="564158"/>
                    <a:pt x="4295658" y="545307"/>
                  </a:cubicBezTo>
                  <a:cubicBezTo>
                    <a:pt x="4295658" y="526456"/>
                    <a:pt x="4312005" y="511175"/>
                    <a:pt x="4332171" y="511175"/>
                  </a:cubicBezTo>
                  <a:close/>
                  <a:moveTo>
                    <a:pt x="4248827" y="511175"/>
                  </a:moveTo>
                  <a:cubicBezTo>
                    <a:pt x="4267678" y="511175"/>
                    <a:pt x="4282959" y="526456"/>
                    <a:pt x="4282959" y="545307"/>
                  </a:cubicBezTo>
                  <a:cubicBezTo>
                    <a:pt x="4282959" y="564158"/>
                    <a:pt x="4267678" y="579439"/>
                    <a:pt x="4248827" y="579439"/>
                  </a:cubicBezTo>
                  <a:cubicBezTo>
                    <a:pt x="4229976" y="579439"/>
                    <a:pt x="4214695" y="564158"/>
                    <a:pt x="4214695" y="545307"/>
                  </a:cubicBezTo>
                  <a:cubicBezTo>
                    <a:pt x="4214695" y="526456"/>
                    <a:pt x="4229976" y="511175"/>
                    <a:pt x="4248827" y="511175"/>
                  </a:cubicBezTo>
                  <a:close/>
                  <a:moveTo>
                    <a:pt x="4163895" y="511175"/>
                  </a:moveTo>
                  <a:cubicBezTo>
                    <a:pt x="4183184" y="511175"/>
                    <a:pt x="4198820" y="526456"/>
                    <a:pt x="4198820" y="545307"/>
                  </a:cubicBezTo>
                  <a:cubicBezTo>
                    <a:pt x="4198820" y="564158"/>
                    <a:pt x="4183184" y="579439"/>
                    <a:pt x="4163895" y="579439"/>
                  </a:cubicBezTo>
                  <a:cubicBezTo>
                    <a:pt x="4144606" y="579439"/>
                    <a:pt x="4128970" y="564158"/>
                    <a:pt x="4128970" y="545307"/>
                  </a:cubicBezTo>
                  <a:cubicBezTo>
                    <a:pt x="4128970" y="526456"/>
                    <a:pt x="4144606" y="511175"/>
                    <a:pt x="4163895" y="511175"/>
                  </a:cubicBezTo>
                  <a:close/>
                  <a:moveTo>
                    <a:pt x="4078170" y="511175"/>
                  </a:moveTo>
                  <a:cubicBezTo>
                    <a:pt x="4097459" y="511175"/>
                    <a:pt x="4113095" y="526456"/>
                    <a:pt x="4113095" y="545307"/>
                  </a:cubicBezTo>
                  <a:cubicBezTo>
                    <a:pt x="4113095" y="564158"/>
                    <a:pt x="4097459" y="579439"/>
                    <a:pt x="4078170" y="579439"/>
                  </a:cubicBezTo>
                  <a:cubicBezTo>
                    <a:pt x="4058881" y="579439"/>
                    <a:pt x="4043245" y="564158"/>
                    <a:pt x="4043245" y="545307"/>
                  </a:cubicBezTo>
                  <a:cubicBezTo>
                    <a:pt x="4043245" y="526456"/>
                    <a:pt x="4058881" y="511175"/>
                    <a:pt x="4078170" y="511175"/>
                  </a:cubicBezTo>
                  <a:close/>
                  <a:moveTo>
                    <a:pt x="3993240" y="511175"/>
                  </a:moveTo>
                  <a:cubicBezTo>
                    <a:pt x="4012091" y="511175"/>
                    <a:pt x="4027372" y="526456"/>
                    <a:pt x="4027372" y="545307"/>
                  </a:cubicBezTo>
                  <a:cubicBezTo>
                    <a:pt x="4027372" y="564158"/>
                    <a:pt x="4012091" y="579439"/>
                    <a:pt x="3993240" y="579439"/>
                  </a:cubicBezTo>
                  <a:cubicBezTo>
                    <a:pt x="3974389" y="579439"/>
                    <a:pt x="3959108" y="564158"/>
                    <a:pt x="3959108" y="545307"/>
                  </a:cubicBezTo>
                  <a:cubicBezTo>
                    <a:pt x="3959108" y="526456"/>
                    <a:pt x="3974389" y="511175"/>
                    <a:pt x="3993240" y="511175"/>
                  </a:cubicBezTo>
                  <a:close/>
                  <a:moveTo>
                    <a:pt x="3912277" y="511175"/>
                  </a:moveTo>
                  <a:cubicBezTo>
                    <a:pt x="3931128" y="511175"/>
                    <a:pt x="3946409" y="526456"/>
                    <a:pt x="3946409" y="545307"/>
                  </a:cubicBezTo>
                  <a:cubicBezTo>
                    <a:pt x="3946409" y="564158"/>
                    <a:pt x="3931128" y="579439"/>
                    <a:pt x="3912277" y="579439"/>
                  </a:cubicBezTo>
                  <a:cubicBezTo>
                    <a:pt x="3893426" y="579439"/>
                    <a:pt x="3878145" y="564158"/>
                    <a:pt x="3878145" y="545307"/>
                  </a:cubicBezTo>
                  <a:cubicBezTo>
                    <a:pt x="3878145" y="526456"/>
                    <a:pt x="3893426" y="511175"/>
                    <a:pt x="3912277" y="511175"/>
                  </a:cubicBezTo>
                  <a:close/>
                  <a:moveTo>
                    <a:pt x="3826552" y="511175"/>
                  </a:moveTo>
                  <a:cubicBezTo>
                    <a:pt x="3845403" y="511175"/>
                    <a:pt x="3860684" y="526456"/>
                    <a:pt x="3860684" y="545307"/>
                  </a:cubicBezTo>
                  <a:cubicBezTo>
                    <a:pt x="3860684" y="564158"/>
                    <a:pt x="3845403" y="579439"/>
                    <a:pt x="3826552" y="579439"/>
                  </a:cubicBezTo>
                  <a:cubicBezTo>
                    <a:pt x="3807701" y="579439"/>
                    <a:pt x="3792420" y="564158"/>
                    <a:pt x="3792420" y="545307"/>
                  </a:cubicBezTo>
                  <a:cubicBezTo>
                    <a:pt x="3792420" y="526456"/>
                    <a:pt x="3807701" y="511175"/>
                    <a:pt x="3826552" y="511175"/>
                  </a:cubicBezTo>
                  <a:close/>
                  <a:moveTo>
                    <a:pt x="3741620" y="511175"/>
                  </a:moveTo>
                  <a:cubicBezTo>
                    <a:pt x="3760909" y="511175"/>
                    <a:pt x="3776545" y="526456"/>
                    <a:pt x="3776545" y="545307"/>
                  </a:cubicBezTo>
                  <a:cubicBezTo>
                    <a:pt x="3776545" y="564158"/>
                    <a:pt x="3760909" y="579439"/>
                    <a:pt x="3741620" y="579439"/>
                  </a:cubicBezTo>
                  <a:cubicBezTo>
                    <a:pt x="3722331" y="579439"/>
                    <a:pt x="3706695" y="564158"/>
                    <a:pt x="3706695" y="545307"/>
                  </a:cubicBezTo>
                  <a:cubicBezTo>
                    <a:pt x="3706695" y="526456"/>
                    <a:pt x="3722331" y="511175"/>
                    <a:pt x="3741620" y="511175"/>
                  </a:cubicBezTo>
                  <a:close/>
                  <a:moveTo>
                    <a:pt x="3153452" y="511175"/>
                  </a:moveTo>
                  <a:cubicBezTo>
                    <a:pt x="3172303" y="511175"/>
                    <a:pt x="3187584" y="526456"/>
                    <a:pt x="3187584" y="545307"/>
                  </a:cubicBezTo>
                  <a:cubicBezTo>
                    <a:pt x="3187584" y="564158"/>
                    <a:pt x="3172303" y="579439"/>
                    <a:pt x="3153452" y="579439"/>
                  </a:cubicBezTo>
                  <a:cubicBezTo>
                    <a:pt x="3134601" y="579439"/>
                    <a:pt x="3119320" y="564158"/>
                    <a:pt x="3119320" y="545307"/>
                  </a:cubicBezTo>
                  <a:cubicBezTo>
                    <a:pt x="3119320" y="526456"/>
                    <a:pt x="3134601" y="511175"/>
                    <a:pt x="3153452" y="511175"/>
                  </a:cubicBezTo>
                  <a:close/>
                  <a:moveTo>
                    <a:pt x="3068520" y="511175"/>
                  </a:moveTo>
                  <a:cubicBezTo>
                    <a:pt x="3087809" y="511175"/>
                    <a:pt x="3103445" y="526456"/>
                    <a:pt x="3103445" y="545307"/>
                  </a:cubicBezTo>
                  <a:cubicBezTo>
                    <a:pt x="3103445" y="564158"/>
                    <a:pt x="3087809" y="579439"/>
                    <a:pt x="3068520" y="579439"/>
                  </a:cubicBezTo>
                  <a:cubicBezTo>
                    <a:pt x="3049231" y="579439"/>
                    <a:pt x="3033595" y="564158"/>
                    <a:pt x="3033595" y="545307"/>
                  </a:cubicBezTo>
                  <a:cubicBezTo>
                    <a:pt x="3033595" y="526456"/>
                    <a:pt x="3049231" y="511175"/>
                    <a:pt x="3068520" y="511175"/>
                  </a:cubicBezTo>
                  <a:close/>
                  <a:moveTo>
                    <a:pt x="2983590" y="511175"/>
                  </a:moveTo>
                  <a:cubicBezTo>
                    <a:pt x="3002441" y="511175"/>
                    <a:pt x="3017722" y="526456"/>
                    <a:pt x="3017722" y="545307"/>
                  </a:cubicBezTo>
                  <a:cubicBezTo>
                    <a:pt x="3017722" y="564158"/>
                    <a:pt x="3002441" y="579439"/>
                    <a:pt x="2983590" y="579439"/>
                  </a:cubicBezTo>
                  <a:cubicBezTo>
                    <a:pt x="2964739" y="579439"/>
                    <a:pt x="2949458" y="564158"/>
                    <a:pt x="2949458" y="545307"/>
                  </a:cubicBezTo>
                  <a:cubicBezTo>
                    <a:pt x="2949458" y="526456"/>
                    <a:pt x="2964739" y="511175"/>
                    <a:pt x="2983590" y="511175"/>
                  </a:cubicBezTo>
                  <a:close/>
                  <a:moveTo>
                    <a:pt x="2897865" y="511175"/>
                  </a:moveTo>
                  <a:cubicBezTo>
                    <a:pt x="2916716" y="511175"/>
                    <a:pt x="2931997" y="526456"/>
                    <a:pt x="2931997" y="545307"/>
                  </a:cubicBezTo>
                  <a:cubicBezTo>
                    <a:pt x="2931997" y="564158"/>
                    <a:pt x="2916716" y="579439"/>
                    <a:pt x="2897865" y="579439"/>
                  </a:cubicBezTo>
                  <a:cubicBezTo>
                    <a:pt x="2879014" y="579439"/>
                    <a:pt x="2863733" y="564158"/>
                    <a:pt x="2863733" y="545307"/>
                  </a:cubicBezTo>
                  <a:cubicBezTo>
                    <a:pt x="2863733" y="526456"/>
                    <a:pt x="2879014" y="511175"/>
                    <a:pt x="2897865" y="511175"/>
                  </a:cubicBezTo>
                  <a:close/>
                  <a:moveTo>
                    <a:pt x="2732005" y="511175"/>
                  </a:moveTo>
                  <a:cubicBezTo>
                    <a:pt x="2751293" y="511175"/>
                    <a:pt x="2766929" y="526456"/>
                    <a:pt x="2766929" y="545307"/>
                  </a:cubicBezTo>
                  <a:cubicBezTo>
                    <a:pt x="2766929" y="564158"/>
                    <a:pt x="2751293" y="579439"/>
                    <a:pt x="2732005" y="579439"/>
                  </a:cubicBezTo>
                  <a:cubicBezTo>
                    <a:pt x="2712716" y="579439"/>
                    <a:pt x="2697079" y="564158"/>
                    <a:pt x="2697079" y="545307"/>
                  </a:cubicBezTo>
                  <a:cubicBezTo>
                    <a:pt x="2697079" y="526456"/>
                    <a:pt x="2712716" y="511175"/>
                    <a:pt x="2732005" y="511175"/>
                  </a:cubicBezTo>
                  <a:close/>
                  <a:moveTo>
                    <a:pt x="2475754" y="511175"/>
                  </a:moveTo>
                  <a:cubicBezTo>
                    <a:pt x="2494608" y="511175"/>
                    <a:pt x="2509883" y="526456"/>
                    <a:pt x="2509883" y="545307"/>
                  </a:cubicBezTo>
                  <a:cubicBezTo>
                    <a:pt x="2509883" y="564158"/>
                    <a:pt x="2494608" y="579439"/>
                    <a:pt x="2475754" y="579439"/>
                  </a:cubicBezTo>
                  <a:cubicBezTo>
                    <a:pt x="2456900" y="579439"/>
                    <a:pt x="2441619" y="564158"/>
                    <a:pt x="2441619" y="545307"/>
                  </a:cubicBezTo>
                  <a:cubicBezTo>
                    <a:pt x="2441619" y="526456"/>
                    <a:pt x="2456900" y="511175"/>
                    <a:pt x="2475754" y="511175"/>
                  </a:cubicBezTo>
                  <a:close/>
                  <a:moveTo>
                    <a:pt x="2309856" y="511175"/>
                  </a:moveTo>
                  <a:cubicBezTo>
                    <a:pt x="2329141" y="511175"/>
                    <a:pt x="2344781" y="526456"/>
                    <a:pt x="2344781" y="545307"/>
                  </a:cubicBezTo>
                  <a:cubicBezTo>
                    <a:pt x="2344781" y="564158"/>
                    <a:pt x="2329141" y="579439"/>
                    <a:pt x="2309856" y="579439"/>
                  </a:cubicBezTo>
                  <a:cubicBezTo>
                    <a:pt x="2290564" y="579439"/>
                    <a:pt x="2274920" y="564158"/>
                    <a:pt x="2274920" y="545307"/>
                  </a:cubicBezTo>
                  <a:cubicBezTo>
                    <a:pt x="2274920" y="526456"/>
                    <a:pt x="2290564" y="511175"/>
                    <a:pt x="2309856" y="511175"/>
                  </a:cubicBezTo>
                  <a:close/>
                  <a:moveTo>
                    <a:pt x="2224919" y="511175"/>
                  </a:moveTo>
                  <a:cubicBezTo>
                    <a:pt x="2243761" y="511175"/>
                    <a:pt x="2259040" y="526456"/>
                    <a:pt x="2259040" y="545307"/>
                  </a:cubicBezTo>
                  <a:cubicBezTo>
                    <a:pt x="2259040" y="564158"/>
                    <a:pt x="2243761" y="579439"/>
                    <a:pt x="2224919" y="579439"/>
                  </a:cubicBezTo>
                  <a:cubicBezTo>
                    <a:pt x="2206066" y="579439"/>
                    <a:pt x="2190786" y="564158"/>
                    <a:pt x="2190786" y="545307"/>
                  </a:cubicBezTo>
                  <a:cubicBezTo>
                    <a:pt x="2190786" y="526456"/>
                    <a:pt x="2206066" y="511175"/>
                    <a:pt x="2224919" y="511175"/>
                  </a:cubicBezTo>
                  <a:close/>
                  <a:moveTo>
                    <a:pt x="2055855" y="511175"/>
                  </a:moveTo>
                  <a:cubicBezTo>
                    <a:pt x="2076010" y="511175"/>
                    <a:pt x="2092362" y="526456"/>
                    <a:pt x="2092362" y="545307"/>
                  </a:cubicBezTo>
                  <a:cubicBezTo>
                    <a:pt x="2092362" y="564158"/>
                    <a:pt x="2076010" y="579439"/>
                    <a:pt x="2055855" y="579439"/>
                  </a:cubicBezTo>
                  <a:cubicBezTo>
                    <a:pt x="2035696" y="579439"/>
                    <a:pt x="2019341" y="564158"/>
                    <a:pt x="2019341" y="545307"/>
                  </a:cubicBezTo>
                  <a:cubicBezTo>
                    <a:pt x="2019341" y="526456"/>
                    <a:pt x="2035696" y="511175"/>
                    <a:pt x="2055855" y="511175"/>
                  </a:cubicBezTo>
                  <a:close/>
                  <a:moveTo>
                    <a:pt x="1973301" y="511175"/>
                  </a:moveTo>
                  <a:cubicBezTo>
                    <a:pt x="1992595" y="511175"/>
                    <a:pt x="2008227" y="526456"/>
                    <a:pt x="2008227" y="545307"/>
                  </a:cubicBezTo>
                  <a:cubicBezTo>
                    <a:pt x="2008227" y="564158"/>
                    <a:pt x="1992595" y="579439"/>
                    <a:pt x="1973301" y="579439"/>
                  </a:cubicBezTo>
                  <a:cubicBezTo>
                    <a:pt x="1954014" y="579439"/>
                    <a:pt x="1938380" y="564158"/>
                    <a:pt x="1938380" y="545307"/>
                  </a:cubicBezTo>
                  <a:cubicBezTo>
                    <a:pt x="1938380" y="526456"/>
                    <a:pt x="1954014" y="511175"/>
                    <a:pt x="1973301" y="511175"/>
                  </a:cubicBezTo>
                  <a:close/>
                  <a:moveTo>
                    <a:pt x="1888373" y="511175"/>
                  </a:moveTo>
                  <a:cubicBezTo>
                    <a:pt x="1907222" y="511175"/>
                    <a:pt x="1922503" y="526456"/>
                    <a:pt x="1922503" y="545307"/>
                  </a:cubicBezTo>
                  <a:cubicBezTo>
                    <a:pt x="1922503" y="564158"/>
                    <a:pt x="1907222" y="579439"/>
                    <a:pt x="1888373" y="579439"/>
                  </a:cubicBezTo>
                  <a:cubicBezTo>
                    <a:pt x="1869524" y="579439"/>
                    <a:pt x="1854243" y="564158"/>
                    <a:pt x="1854243" y="545307"/>
                  </a:cubicBezTo>
                  <a:cubicBezTo>
                    <a:pt x="1854243" y="526456"/>
                    <a:pt x="1869524" y="511175"/>
                    <a:pt x="1888373" y="511175"/>
                  </a:cubicBezTo>
                  <a:close/>
                  <a:moveTo>
                    <a:pt x="1802656" y="511175"/>
                  </a:moveTo>
                  <a:cubicBezTo>
                    <a:pt x="1821504" y="511175"/>
                    <a:pt x="1836784" y="526456"/>
                    <a:pt x="1836784" y="545307"/>
                  </a:cubicBezTo>
                  <a:cubicBezTo>
                    <a:pt x="1836784" y="564158"/>
                    <a:pt x="1821504" y="579439"/>
                    <a:pt x="1802656" y="579439"/>
                  </a:cubicBezTo>
                  <a:cubicBezTo>
                    <a:pt x="1783803" y="579439"/>
                    <a:pt x="1768524" y="564158"/>
                    <a:pt x="1768524" y="545307"/>
                  </a:cubicBezTo>
                  <a:cubicBezTo>
                    <a:pt x="1768524" y="526456"/>
                    <a:pt x="1783803" y="511175"/>
                    <a:pt x="1802656" y="511175"/>
                  </a:cubicBezTo>
                  <a:close/>
                  <a:moveTo>
                    <a:pt x="1719314" y="511175"/>
                  </a:moveTo>
                  <a:cubicBezTo>
                    <a:pt x="1739480" y="511175"/>
                    <a:pt x="1755825" y="526456"/>
                    <a:pt x="1755825" y="545307"/>
                  </a:cubicBezTo>
                  <a:cubicBezTo>
                    <a:pt x="1755825" y="564158"/>
                    <a:pt x="1739480" y="579439"/>
                    <a:pt x="1719314" y="579439"/>
                  </a:cubicBezTo>
                  <a:cubicBezTo>
                    <a:pt x="1699147" y="579439"/>
                    <a:pt x="1682803" y="564158"/>
                    <a:pt x="1682803" y="545307"/>
                  </a:cubicBezTo>
                  <a:cubicBezTo>
                    <a:pt x="1682803" y="526456"/>
                    <a:pt x="1699147" y="511175"/>
                    <a:pt x="1719314" y="511175"/>
                  </a:cubicBezTo>
                  <a:close/>
                  <a:moveTo>
                    <a:pt x="1636768" y="511175"/>
                  </a:moveTo>
                  <a:cubicBezTo>
                    <a:pt x="1656054" y="511175"/>
                    <a:pt x="1671691" y="526456"/>
                    <a:pt x="1671691" y="545307"/>
                  </a:cubicBezTo>
                  <a:cubicBezTo>
                    <a:pt x="1671691" y="564158"/>
                    <a:pt x="1656054" y="579439"/>
                    <a:pt x="1636768" y="579439"/>
                  </a:cubicBezTo>
                  <a:cubicBezTo>
                    <a:pt x="1617480" y="579439"/>
                    <a:pt x="1601843" y="564158"/>
                    <a:pt x="1601843" y="545307"/>
                  </a:cubicBezTo>
                  <a:cubicBezTo>
                    <a:pt x="1601843" y="526456"/>
                    <a:pt x="1617480" y="511175"/>
                    <a:pt x="1636768" y="511175"/>
                  </a:cubicBezTo>
                  <a:close/>
                  <a:moveTo>
                    <a:pt x="1551838" y="511175"/>
                  </a:moveTo>
                  <a:cubicBezTo>
                    <a:pt x="1570689" y="511175"/>
                    <a:pt x="1585970" y="526456"/>
                    <a:pt x="1585970" y="545307"/>
                  </a:cubicBezTo>
                  <a:cubicBezTo>
                    <a:pt x="1585970" y="564158"/>
                    <a:pt x="1570689" y="579439"/>
                    <a:pt x="1551838" y="579439"/>
                  </a:cubicBezTo>
                  <a:cubicBezTo>
                    <a:pt x="1532987" y="579439"/>
                    <a:pt x="1517707" y="564158"/>
                    <a:pt x="1517707" y="545307"/>
                  </a:cubicBezTo>
                  <a:cubicBezTo>
                    <a:pt x="1517707" y="526456"/>
                    <a:pt x="1532987" y="511175"/>
                    <a:pt x="1551838" y="511175"/>
                  </a:cubicBezTo>
                  <a:close/>
                  <a:moveTo>
                    <a:pt x="1466114" y="511175"/>
                  </a:moveTo>
                  <a:cubicBezTo>
                    <a:pt x="1484965" y="511175"/>
                    <a:pt x="1500247" y="526456"/>
                    <a:pt x="1500247" y="545307"/>
                  </a:cubicBezTo>
                  <a:cubicBezTo>
                    <a:pt x="1500247" y="564158"/>
                    <a:pt x="1484965" y="579439"/>
                    <a:pt x="1466114" y="579439"/>
                  </a:cubicBezTo>
                  <a:cubicBezTo>
                    <a:pt x="1447265" y="579439"/>
                    <a:pt x="1431983" y="564158"/>
                    <a:pt x="1431983" y="545307"/>
                  </a:cubicBezTo>
                  <a:cubicBezTo>
                    <a:pt x="1431983" y="526456"/>
                    <a:pt x="1447265" y="511175"/>
                    <a:pt x="1466114" y="511175"/>
                  </a:cubicBezTo>
                  <a:close/>
                  <a:moveTo>
                    <a:pt x="1380392" y="511175"/>
                  </a:moveTo>
                  <a:cubicBezTo>
                    <a:pt x="1399243" y="511175"/>
                    <a:pt x="1414522" y="526456"/>
                    <a:pt x="1414522" y="545307"/>
                  </a:cubicBezTo>
                  <a:cubicBezTo>
                    <a:pt x="1414522" y="564158"/>
                    <a:pt x="1399243" y="579439"/>
                    <a:pt x="1380392" y="579439"/>
                  </a:cubicBezTo>
                  <a:cubicBezTo>
                    <a:pt x="1361539" y="579439"/>
                    <a:pt x="1346258" y="564158"/>
                    <a:pt x="1346258" y="545307"/>
                  </a:cubicBezTo>
                  <a:cubicBezTo>
                    <a:pt x="1346258" y="526456"/>
                    <a:pt x="1361539" y="511175"/>
                    <a:pt x="1380392" y="511175"/>
                  </a:cubicBezTo>
                  <a:close/>
                  <a:moveTo>
                    <a:pt x="1300222" y="511175"/>
                  </a:moveTo>
                  <a:cubicBezTo>
                    <a:pt x="1319509" y="511175"/>
                    <a:pt x="1335148" y="526456"/>
                    <a:pt x="1335148" y="545307"/>
                  </a:cubicBezTo>
                  <a:cubicBezTo>
                    <a:pt x="1335148" y="564158"/>
                    <a:pt x="1319509" y="579439"/>
                    <a:pt x="1300222" y="579439"/>
                  </a:cubicBezTo>
                  <a:cubicBezTo>
                    <a:pt x="1280933" y="579439"/>
                    <a:pt x="1265297" y="564158"/>
                    <a:pt x="1265297" y="545307"/>
                  </a:cubicBezTo>
                  <a:cubicBezTo>
                    <a:pt x="1265297" y="526456"/>
                    <a:pt x="1280933" y="511175"/>
                    <a:pt x="1300222" y="511175"/>
                  </a:cubicBezTo>
                  <a:close/>
                  <a:moveTo>
                    <a:pt x="1214500" y="511175"/>
                  </a:moveTo>
                  <a:cubicBezTo>
                    <a:pt x="1233787" y="511175"/>
                    <a:pt x="1249422" y="526456"/>
                    <a:pt x="1249422" y="545307"/>
                  </a:cubicBezTo>
                  <a:cubicBezTo>
                    <a:pt x="1249422" y="564158"/>
                    <a:pt x="1233787" y="579439"/>
                    <a:pt x="1214500" y="579439"/>
                  </a:cubicBezTo>
                  <a:cubicBezTo>
                    <a:pt x="1195210" y="579439"/>
                    <a:pt x="1179573" y="564158"/>
                    <a:pt x="1179573" y="545307"/>
                  </a:cubicBezTo>
                  <a:cubicBezTo>
                    <a:pt x="1179573" y="526456"/>
                    <a:pt x="1195210" y="511175"/>
                    <a:pt x="1214500" y="511175"/>
                  </a:cubicBezTo>
                  <a:close/>
                  <a:moveTo>
                    <a:pt x="1129569" y="511175"/>
                  </a:moveTo>
                  <a:cubicBezTo>
                    <a:pt x="1148422" y="511175"/>
                    <a:pt x="1163703" y="526456"/>
                    <a:pt x="1163703" y="545307"/>
                  </a:cubicBezTo>
                  <a:cubicBezTo>
                    <a:pt x="1163703" y="564158"/>
                    <a:pt x="1148422" y="579439"/>
                    <a:pt x="1129569" y="579439"/>
                  </a:cubicBezTo>
                  <a:cubicBezTo>
                    <a:pt x="1110723" y="579439"/>
                    <a:pt x="1095440" y="564158"/>
                    <a:pt x="1095440" y="545307"/>
                  </a:cubicBezTo>
                  <a:cubicBezTo>
                    <a:pt x="1095440" y="526456"/>
                    <a:pt x="1110723" y="511175"/>
                    <a:pt x="1129569" y="511175"/>
                  </a:cubicBezTo>
                  <a:close/>
                  <a:moveTo>
                    <a:pt x="1043844" y="511175"/>
                  </a:moveTo>
                  <a:cubicBezTo>
                    <a:pt x="1062696" y="511175"/>
                    <a:pt x="1077977" y="526456"/>
                    <a:pt x="1077977" y="545307"/>
                  </a:cubicBezTo>
                  <a:cubicBezTo>
                    <a:pt x="1077977" y="564158"/>
                    <a:pt x="1062696" y="579439"/>
                    <a:pt x="1043844" y="579439"/>
                  </a:cubicBezTo>
                  <a:cubicBezTo>
                    <a:pt x="1024991" y="579439"/>
                    <a:pt x="1009710" y="564158"/>
                    <a:pt x="1009710" y="545307"/>
                  </a:cubicBezTo>
                  <a:cubicBezTo>
                    <a:pt x="1009710" y="526456"/>
                    <a:pt x="1024991" y="511175"/>
                    <a:pt x="1043844" y="511175"/>
                  </a:cubicBezTo>
                  <a:close/>
                  <a:moveTo>
                    <a:pt x="960324" y="511175"/>
                  </a:moveTo>
                  <a:cubicBezTo>
                    <a:pt x="980489" y="511175"/>
                    <a:pt x="996837" y="526456"/>
                    <a:pt x="996837" y="545307"/>
                  </a:cubicBezTo>
                  <a:cubicBezTo>
                    <a:pt x="996837" y="564158"/>
                    <a:pt x="980489" y="579439"/>
                    <a:pt x="960324" y="579439"/>
                  </a:cubicBezTo>
                  <a:cubicBezTo>
                    <a:pt x="940158" y="579439"/>
                    <a:pt x="923810" y="564158"/>
                    <a:pt x="923810" y="545307"/>
                  </a:cubicBezTo>
                  <a:cubicBezTo>
                    <a:pt x="923810" y="526456"/>
                    <a:pt x="940158" y="511175"/>
                    <a:pt x="960324" y="511175"/>
                  </a:cubicBezTo>
                  <a:close/>
                  <a:moveTo>
                    <a:pt x="877939" y="511175"/>
                  </a:moveTo>
                  <a:cubicBezTo>
                    <a:pt x="897228" y="511175"/>
                    <a:pt x="912864" y="526456"/>
                    <a:pt x="912864" y="545307"/>
                  </a:cubicBezTo>
                  <a:cubicBezTo>
                    <a:pt x="912864" y="564158"/>
                    <a:pt x="897228" y="579439"/>
                    <a:pt x="877939" y="579439"/>
                  </a:cubicBezTo>
                  <a:cubicBezTo>
                    <a:pt x="858647" y="579439"/>
                    <a:pt x="843014" y="564158"/>
                    <a:pt x="843014" y="545307"/>
                  </a:cubicBezTo>
                  <a:cubicBezTo>
                    <a:pt x="843014" y="526456"/>
                    <a:pt x="858647" y="511175"/>
                    <a:pt x="877939" y="511175"/>
                  </a:cubicBezTo>
                  <a:close/>
                  <a:moveTo>
                    <a:pt x="8293777" y="425450"/>
                  </a:moveTo>
                  <a:cubicBezTo>
                    <a:pt x="8312628" y="425450"/>
                    <a:pt x="8327909" y="440731"/>
                    <a:pt x="8327909" y="459582"/>
                  </a:cubicBezTo>
                  <a:cubicBezTo>
                    <a:pt x="8327909" y="478433"/>
                    <a:pt x="8312628" y="493714"/>
                    <a:pt x="8293777" y="493714"/>
                  </a:cubicBezTo>
                  <a:cubicBezTo>
                    <a:pt x="8274926" y="493714"/>
                    <a:pt x="8259645" y="478433"/>
                    <a:pt x="8259645" y="459582"/>
                  </a:cubicBezTo>
                  <a:cubicBezTo>
                    <a:pt x="8259645" y="440731"/>
                    <a:pt x="8274926" y="425450"/>
                    <a:pt x="8293777" y="425450"/>
                  </a:cubicBezTo>
                  <a:close/>
                  <a:moveTo>
                    <a:pt x="8208052" y="425450"/>
                  </a:moveTo>
                  <a:cubicBezTo>
                    <a:pt x="8226903" y="425450"/>
                    <a:pt x="8242184" y="440731"/>
                    <a:pt x="8242184" y="459582"/>
                  </a:cubicBezTo>
                  <a:cubicBezTo>
                    <a:pt x="8242184" y="478433"/>
                    <a:pt x="8226903" y="493714"/>
                    <a:pt x="8208052" y="493714"/>
                  </a:cubicBezTo>
                  <a:cubicBezTo>
                    <a:pt x="8189201" y="493714"/>
                    <a:pt x="8173920" y="478433"/>
                    <a:pt x="8173920" y="459582"/>
                  </a:cubicBezTo>
                  <a:cubicBezTo>
                    <a:pt x="8173920" y="440731"/>
                    <a:pt x="8189201" y="425450"/>
                    <a:pt x="8208052" y="425450"/>
                  </a:cubicBezTo>
                  <a:close/>
                  <a:moveTo>
                    <a:pt x="8125502" y="425450"/>
                  </a:moveTo>
                  <a:cubicBezTo>
                    <a:pt x="8146106" y="425450"/>
                    <a:pt x="8162809" y="440731"/>
                    <a:pt x="8162809" y="459582"/>
                  </a:cubicBezTo>
                  <a:cubicBezTo>
                    <a:pt x="8162809" y="478433"/>
                    <a:pt x="8146106" y="493714"/>
                    <a:pt x="8125502" y="493714"/>
                  </a:cubicBezTo>
                  <a:cubicBezTo>
                    <a:pt x="8104898" y="493714"/>
                    <a:pt x="8088195" y="478433"/>
                    <a:pt x="8088195" y="459582"/>
                  </a:cubicBezTo>
                  <a:cubicBezTo>
                    <a:pt x="8088195" y="440731"/>
                    <a:pt x="8104898" y="425450"/>
                    <a:pt x="8125502" y="425450"/>
                  </a:cubicBezTo>
                  <a:close/>
                  <a:moveTo>
                    <a:pt x="8042952" y="425450"/>
                  </a:moveTo>
                  <a:cubicBezTo>
                    <a:pt x="8061803" y="425450"/>
                    <a:pt x="8077084" y="440731"/>
                    <a:pt x="8077084" y="459582"/>
                  </a:cubicBezTo>
                  <a:cubicBezTo>
                    <a:pt x="8077084" y="478433"/>
                    <a:pt x="8061803" y="493714"/>
                    <a:pt x="8042952" y="493714"/>
                  </a:cubicBezTo>
                  <a:cubicBezTo>
                    <a:pt x="8024101" y="493714"/>
                    <a:pt x="8008820" y="478433"/>
                    <a:pt x="8008820" y="459582"/>
                  </a:cubicBezTo>
                  <a:cubicBezTo>
                    <a:pt x="8008820" y="440731"/>
                    <a:pt x="8024101" y="425450"/>
                    <a:pt x="8042952" y="425450"/>
                  </a:cubicBezTo>
                  <a:close/>
                  <a:moveTo>
                    <a:pt x="7957227" y="425450"/>
                  </a:moveTo>
                  <a:cubicBezTo>
                    <a:pt x="7976078" y="425450"/>
                    <a:pt x="7991359" y="440731"/>
                    <a:pt x="7991359" y="459582"/>
                  </a:cubicBezTo>
                  <a:cubicBezTo>
                    <a:pt x="7991359" y="478433"/>
                    <a:pt x="7976078" y="493714"/>
                    <a:pt x="7957227" y="493714"/>
                  </a:cubicBezTo>
                  <a:cubicBezTo>
                    <a:pt x="7938376" y="493714"/>
                    <a:pt x="7923095" y="478433"/>
                    <a:pt x="7923095" y="459582"/>
                  </a:cubicBezTo>
                  <a:cubicBezTo>
                    <a:pt x="7923095" y="440731"/>
                    <a:pt x="7938376" y="425450"/>
                    <a:pt x="7957227" y="425450"/>
                  </a:cubicBezTo>
                  <a:close/>
                  <a:moveTo>
                    <a:pt x="7871502" y="425450"/>
                  </a:moveTo>
                  <a:cubicBezTo>
                    <a:pt x="7890353" y="425450"/>
                    <a:pt x="7905634" y="440731"/>
                    <a:pt x="7905634" y="459582"/>
                  </a:cubicBezTo>
                  <a:cubicBezTo>
                    <a:pt x="7905634" y="478433"/>
                    <a:pt x="7890353" y="493714"/>
                    <a:pt x="7871502" y="493714"/>
                  </a:cubicBezTo>
                  <a:cubicBezTo>
                    <a:pt x="7852651" y="493714"/>
                    <a:pt x="7837370" y="478433"/>
                    <a:pt x="7837370" y="459582"/>
                  </a:cubicBezTo>
                  <a:cubicBezTo>
                    <a:pt x="7837370" y="440731"/>
                    <a:pt x="7852651" y="425450"/>
                    <a:pt x="7871502" y="425450"/>
                  </a:cubicBezTo>
                  <a:close/>
                  <a:moveTo>
                    <a:pt x="7785777" y="425450"/>
                  </a:moveTo>
                  <a:cubicBezTo>
                    <a:pt x="7804628" y="425450"/>
                    <a:pt x="7819909" y="440731"/>
                    <a:pt x="7819909" y="459582"/>
                  </a:cubicBezTo>
                  <a:cubicBezTo>
                    <a:pt x="7819909" y="478433"/>
                    <a:pt x="7804628" y="493714"/>
                    <a:pt x="7785777" y="493714"/>
                  </a:cubicBezTo>
                  <a:cubicBezTo>
                    <a:pt x="7766926" y="493714"/>
                    <a:pt x="7751645" y="478433"/>
                    <a:pt x="7751645" y="459582"/>
                  </a:cubicBezTo>
                  <a:cubicBezTo>
                    <a:pt x="7751645" y="440731"/>
                    <a:pt x="7766926" y="425450"/>
                    <a:pt x="7785777" y="425450"/>
                  </a:cubicBezTo>
                  <a:close/>
                  <a:moveTo>
                    <a:pt x="7706402" y="425450"/>
                  </a:moveTo>
                  <a:cubicBezTo>
                    <a:pt x="7725253" y="425450"/>
                    <a:pt x="7740534" y="440731"/>
                    <a:pt x="7740534" y="459582"/>
                  </a:cubicBezTo>
                  <a:cubicBezTo>
                    <a:pt x="7740534" y="478433"/>
                    <a:pt x="7725253" y="493714"/>
                    <a:pt x="7706402" y="493714"/>
                  </a:cubicBezTo>
                  <a:cubicBezTo>
                    <a:pt x="7687551" y="493714"/>
                    <a:pt x="7672270" y="478433"/>
                    <a:pt x="7672270" y="459582"/>
                  </a:cubicBezTo>
                  <a:cubicBezTo>
                    <a:pt x="7672270" y="440731"/>
                    <a:pt x="7687551" y="425450"/>
                    <a:pt x="7706402" y="425450"/>
                  </a:cubicBezTo>
                  <a:close/>
                  <a:moveTo>
                    <a:pt x="7620677" y="425450"/>
                  </a:moveTo>
                  <a:cubicBezTo>
                    <a:pt x="7639528" y="425450"/>
                    <a:pt x="7654809" y="440731"/>
                    <a:pt x="7654809" y="459582"/>
                  </a:cubicBezTo>
                  <a:cubicBezTo>
                    <a:pt x="7654809" y="478433"/>
                    <a:pt x="7639528" y="493714"/>
                    <a:pt x="7620677" y="493714"/>
                  </a:cubicBezTo>
                  <a:cubicBezTo>
                    <a:pt x="7601826" y="493714"/>
                    <a:pt x="7586545" y="478433"/>
                    <a:pt x="7586545" y="459582"/>
                  </a:cubicBezTo>
                  <a:cubicBezTo>
                    <a:pt x="7586545" y="440731"/>
                    <a:pt x="7601826" y="425450"/>
                    <a:pt x="7620677" y="425450"/>
                  </a:cubicBezTo>
                  <a:close/>
                  <a:moveTo>
                    <a:pt x="7534952" y="425450"/>
                  </a:moveTo>
                  <a:cubicBezTo>
                    <a:pt x="7553803" y="425450"/>
                    <a:pt x="7569084" y="440731"/>
                    <a:pt x="7569084" y="459582"/>
                  </a:cubicBezTo>
                  <a:cubicBezTo>
                    <a:pt x="7569084" y="478433"/>
                    <a:pt x="7553803" y="493714"/>
                    <a:pt x="7534952" y="493714"/>
                  </a:cubicBezTo>
                  <a:cubicBezTo>
                    <a:pt x="7516101" y="493714"/>
                    <a:pt x="7500820" y="478433"/>
                    <a:pt x="7500820" y="459582"/>
                  </a:cubicBezTo>
                  <a:cubicBezTo>
                    <a:pt x="7500820" y="440731"/>
                    <a:pt x="7516101" y="425450"/>
                    <a:pt x="7534952" y="425450"/>
                  </a:cubicBezTo>
                  <a:close/>
                  <a:moveTo>
                    <a:pt x="7449227" y="425450"/>
                  </a:moveTo>
                  <a:cubicBezTo>
                    <a:pt x="7468078" y="425450"/>
                    <a:pt x="7483359" y="440731"/>
                    <a:pt x="7483359" y="459582"/>
                  </a:cubicBezTo>
                  <a:cubicBezTo>
                    <a:pt x="7483359" y="478433"/>
                    <a:pt x="7468078" y="493714"/>
                    <a:pt x="7449227" y="493714"/>
                  </a:cubicBezTo>
                  <a:cubicBezTo>
                    <a:pt x="7430376" y="493714"/>
                    <a:pt x="7415095" y="478433"/>
                    <a:pt x="7415095" y="459582"/>
                  </a:cubicBezTo>
                  <a:cubicBezTo>
                    <a:pt x="7415095" y="440731"/>
                    <a:pt x="7430376" y="425450"/>
                    <a:pt x="7449227" y="425450"/>
                  </a:cubicBezTo>
                  <a:close/>
                  <a:moveTo>
                    <a:pt x="7366677" y="425450"/>
                  </a:moveTo>
                  <a:cubicBezTo>
                    <a:pt x="7387281" y="425450"/>
                    <a:pt x="7403984" y="440731"/>
                    <a:pt x="7403984" y="459582"/>
                  </a:cubicBezTo>
                  <a:cubicBezTo>
                    <a:pt x="7403984" y="478433"/>
                    <a:pt x="7387281" y="493714"/>
                    <a:pt x="7366677" y="493714"/>
                  </a:cubicBezTo>
                  <a:cubicBezTo>
                    <a:pt x="7346073" y="493714"/>
                    <a:pt x="7329370" y="478433"/>
                    <a:pt x="7329370" y="459582"/>
                  </a:cubicBezTo>
                  <a:cubicBezTo>
                    <a:pt x="7329370" y="440731"/>
                    <a:pt x="7346073" y="425450"/>
                    <a:pt x="7366677" y="425450"/>
                  </a:cubicBezTo>
                  <a:close/>
                  <a:moveTo>
                    <a:pt x="7284127" y="425450"/>
                  </a:moveTo>
                  <a:cubicBezTo>
                    <a:pt x="7302978" y="425450"/>
                    <a:pt x="7318259" y="440731"/>
                    <a:pt x="7318259" y="459582"/>
                  </a:cubicBezTo>
                  <a:cubicBezTo>
                    <a:pt x="7318259" y="478433"/>
                    <a:pt x="7302978" y="493714"/>
                    <a:pt x="7284127" y="493714"/>
                  </a:cubicBezTo>
                  <a:cubicBezTo>
                    <a:pt x="7265276" y="493714"/>
                    <a:pt x="7249995" y="478433"/>
                    <a:pt x="7249995" y="459582"/>
                  </a:cubicBezTo>
                  <a:cubicBezTo>
                    <a:pt x="7249995" y="440731"/>
                    <a:pt x="7265276" y="425450"/>
                    <a:pt x="7284127" y="425450"/>
                  </a:cubicBezTo>
                  <a:close/>
                  <a:moveTo>
                    <a:pt x="7198402" y="425450"/>
                  </a:moveTo>
                  <a:cubicBezTo>
                    <a:pt x="7217253" y="425450"/>
                    <a:pt x="7232534" y="440731"/>
                    <a:pt x="7232534" y="459582"/>
                  </a:cubicBezTo>
                  <a:cubicBezTo>
                    <a:pt x="7232534" y="478433"/>
                    <a:pt x="7217253" y="493714"/>
                    <a:pt x="7198402" y="493714"/>
                  </a:cubicBezTo>
                  <a:cubicBezTo>
                    <a:pt x="7179551" y="493714"/>
                    <a:pt x="7164270" y="478433"/>
                    <a:pt x="7164270" y="459582"/>
                  </a:cubicBezTo>
                  <a:cubicBezTo>
                    <a:pt x="7164270" y="440731"/>
                    <a:pt x="7179551" y="425450"/>
                    <a:pt x="7198402" y="425450"/>
                  </a:cubicBezTo>
                  <a:close/>
                  <a:moveTo>
                    <a:pt x="7112677" y="425450"/>
                  </a:moveTo>
                  <a:cubicBezTo>
                    <a:pt x="7131528" y="425450"/>
                    <a:pt x="7146809" y="440731"/>
                    <a:pt x="7146809" y="459582"/>
                  </a:cubicBezTo>
                  <a:cubicBezTo>
                    <a:pt x="7146809" y="478433"/>
                    <a:pt x="7131528" y="493714"/>
                    <a:pt x="7112677" y="493714"/>
                  </a:cubicBezTo>
                  <a:cubicBezTo>
                    <a:pt x="7093826" y="493714"/>
                    <a:pt x="7078545" y="478433"/>
                    <a:pt x="7078545" y="459582"/>
                  </a:cubicBezTo>
                  <a:cubicBezTo>
                    <a:pt x="7078545" y="440731"/>
                    <a:pt x="7093826" y="425450"/>
                    <a:pt x="7112677" y="425450"/>
                  </a:cubicBezTo>
                  <a:close/>
                  <a:moveTo>
                    <a:pt x="7027745" y="425450"/>
                  </a:moveTo>
                  <a:cubicBezTo>
                    <a:pt x="7047034" y="425450"/>
                    <a:pt x="7062670" y="440731"/>
                    <a:pt x="7062670" y="459582"/>
                  </a:cubicBezTo>
                  <a:cubicBezTo>
                    <a:pt x="7062670" y="478433"/>
                    <a:pt x="7047034" y="493714"/>
                    <a:pt x="7027745" y="493714"/>
                  </a:cubicBezTo>
                  <a:cubicBezTo>
                    <a:pt x="7008456" y="493714"/>
                    <a:pt x="6992820" y="478433"/>
                    <a:pt x="6992820" y="459582"/>
                  </a:cubicBezTo>
                  <a:cubicBezTo>
                    <a:pt x="6992820" y="440731"/>
                    <a:pt x="7008456" y="425450"/>
                    <a:pt x="7027745" y="425450"/>
                  </a:cubicBezTo>
                  <a:close/>
                  <a:moveTo>
                    <a:pt x="6947577" y="425450"/>
                  </a:moveTo>
                  <a:cubicBezTo>
                    <a:pt x="6966428" y="425450"/>
                    <a:pt x="6981709" y="440731"/>
                    <a:pt x="6981709" y="459582"/>
                  </a:cubicBezTo>
                  <a:cubicBezTo>
                    <a:pt x="6981709" y="478433"/>
                    <a:pt x="6966428" y="493714"/>
                    <a:pt x="6947577" y="493714"/>
                  </a:cubicBezTo>
                  <a:cubicBezTo>
                    <a:pt x="6928726" y="493714"/>
                    <a:pt x="6913445" y="478433"/>
                    <a:pt x="6913445" y="459582"/>
                  </a:cubicBezTo>
                  <a:cubicBezTo>
                    <a:pt x="6913445" y="440731"/>
                    <a:pt x="6928726" y="425450"/>
                    <a:pt x="6947577" y="425450"/>
                  </a:cubicBezTo>
                  <a:close/>
                  <a:moveTo>
                    <a:pt x="6607852" y="425450"/>
                  </a:moveTo>
                  <a:cubicBezTo>
                    <a:pt x="6628456" y="425450"/>
                    <a:pt x="6645159" y="440731"/>
                    <a:pt x="6645159" y="459582"/>
                  </a:cubicBezTo>
                  <a:cubicBezTo>
                    <a:pt x="6645159" y="478433"/>
                    <a:pt x="6628456" y="493714"/>
                    <a:pt x="6607852" y="493714"/>
                  </a:cubicBezTo>
                  <a:cubicBezTo>
                    <a:pt x="6587248" y="493714"/>
                    <a:pt x="6570545" y="478433"/>
                    <a:pt x="6570545" y="459582"/>
                  </a:cubicBezTo>
                  <a:cubicBezTo>
                    <a:pt x="6570545" y="440731"/>
                    <a:pt x="6587248" y="425450"/>
                    <a:pt x="6607852" y="425450"/>
                  </a:cubicBezTo>
                  <a:close/>
                  <a:moveTo>
                    <a:pt x="6268920" y="425450"/>
                  </a:moveTo>
                  <a:cubicBezTo>
                    <a:pt x="6288209" y="425450"/>
                    <a:pt x="6303845" y="440731"/>
                    <a:pt x="6303845" y="459582"/>
                  </a:cubicBezTo>
                  <a:cubicBezTo>
                    <a:pt x="6303845" y="478433"/>
                    <a:pt x="6288209" y="493714"/>
                    <a:pt x="6268920" y="493714"/>
                  </a:cubicBezTo>
                  <a:cubicBezTo>
                    <a:pt x="6249631" y="493714"/>
                    <a:pt x="6233995" y="478433"/>
                    <a:pt x="6233995" y="459582"/>
                  </a:cubicBezTo>
                  <a:cubicBezTo>
                    <a:pt x="6233995" y="440731"/>
                    <a:pt x="6249631" y="425450"/>
                    <a:pt x="6268920" y="425450"/>
                  </a:cubicBezTo>
                  <a:close/>
                  <a:moveTo>
                    <a:pt x="4500445" y="425450"/>
                  </a:moveTo>
                  <a:cubicBezTo>
                    <a:pt x="4519734" y="425450"/>
                    <a:pt x="4535370" y="440731"/>
                    <a:pt x="4535370" y="459582"/>
                  </a:cubicBezTo>
                  <a:cubicBezTo>
                    <a:pt x="4535370" y="478433"/>
                    <a:pt x="4519734" y="493714"/>
                    <a:pt x="4500445" y="493714"/>
                  </a:cubicBezTo>
                  <a:cubicBezTo>
                    <a:pt x="4481156" y="493714"/>
                    <a:pt x="4465520" y="478433"/>
                    <a:pt x="4465520" y="459582"/>
                  </a:cubicBezTo>
                  <a:cubicBezTo>
                    <a:pt x="4465520" y="440731"/>
                    <a:pt x="4481156" y="425450"/>
                    <a:pt x="4500445" y="425450"/>
                  </a:cubicBezTo>
                  <a:close/>
                  <a:moveTo>
                    <a:pt x="4415515" y="425450"/>
                  </a:moveTo>
                  <a:cubicBezTo>
                    <a:pt x="4434366" y="425450"/>
                    <a:pt x="4449647" y="440731"/>
                    <a:pt x="4449647" y="459582"/>
                  </a:cubicBezTo>
                  <a:cubicBezTo>
                    <a:pt x="4449647" y="478433"/>
                    <a:pt x="4434366" y="493714"/>
                    <a:pt x="4415515" y="493714"/>
                  </a:cubicBezTo>
                  <a:cubicBezTo>
                    <a:pt x="4396664" y="493714"/>
                    <a:pt x="4381383" y="478433"/>
                    <a:pt x="4381383" y="459582"/>
                  </a:cubicBezTo>
                  <a:cubicBezTo>
                    <a:pt x="4381383" y="440731"/>
                    <a:pt x="4396664" y="425450"/>
                    <a:pt x="4415515" y="425450"/>
                  </a:cubicBezTo>
                  <a:close/>
                  <a:moveTo>
                    <a:pt x="4332171" y="425450"/>
                  </a:moveTo>
                  <a:cubicBezTo>
                    <a:pt x="4352337" y="425450"/>
                    <a:pt x="4368684" y="440731"/>
                    <a:pt x="4368684" y="459582"/>
                  </a:cubicBezTo>
                  <a:cubicBezTo>
                    <a:pt x="4368684" y="478433"/>
                    <a:pt x="4352337" y="493714"/>
                    <a:pt x="4332171" y="493714"/>
                  </a:cubicBezTo>
                  <a:cubicBezTo>
                    <a:pt x="4312005" y="493714"/>
                    <a:pt x="4295658" y="478433"/>
                    <a:pt x="4295658" y="459582"/>
                  </a:cubicBezTo>
                  <a:cubicBezTo>
                    <a:pt x="4295658" y="440731"/>
                    <a:pt x="4312005" y="425450"/>
                    <a:pt x="4332171" y="425450"/>
                  </a:cubicBezTo>
                  <a:close/>
                  <a:moveTo>
                    <a:pt x="4248827" y="425450"/>
                  </a:moveTo>
                  <a:cubicBezTo>
                    <a:pt x="4267678" y="425450"/>
                    <a:pt x="4282959" y="440731"/>
                    <a:pt x="4282959" y="459582"/>
                  </a:cubicBezTo>
                  <a:cubicBezTo>
                    <a:pt x="4282959" y="478433"/>
                    <a:pt x="4267678" y="493714"/>
                    <a:pt x="4248827" y="493714"/>
                  </a:cubicBezTo>
                  <a:cubicBezTo>
                    <a:pt x="4229976" y="493714"/>
                    <a:pt x="4214695" y="478433"/>
                    <a:pt x="4214695" y="459582"/>
                  </a:cubicBezTo>
                  <a:cubicBezTo>
                    <a:pt x="4214695" y="440731"/>
                    <a:pt x="4229976" y="425450"/>
                    <a:pt x="4248827" y="425450"/>
                  </a:cubicBezTo>
                  <a:close/>
                  <a:moveTo>
                    <a:pt x="4163895" y="425450"/>
                  </a:moveTo>
                  <a:cubicBezTo>
                    <a:pt x="4183184" y="425450"/>
                    <a:pt x="4198820" y="440731"/>
                    <a:pt x="4198820" y="459582"/>
                  </a:cubicBezTo>
                  <a:cubicBezTo>
                    <a:pt x="4198820" y="478433"/>
                    <a:pt x="4183184" y="493714"/>
                    <a:pt x="4163895" y="493714"/>
                  </a:cubicBezTo>
                  <a:cubicBezTo>
                    <a:pt x="4144606" y="493714"/>
                    <a:pt x="4128970" y="478433"/>
                    <a:pt x="4128970" y="459582"/>
                  </a:cubicBezTo>
                  <a:cubicBezTo>
                    <a:pt x="4128970" y="440731"/>
                    <a:pt x="4144606" y="425450"/>
                    <a:pt x="4163895" y="425450"/>
                  </a:cubicBezTo>
                  <a:close/>
                  <a:moveTo>
                    <a:pt x="4078170" y="425450"/>
                  </a:moveTo>
                  <a:cubicBezTo>
                    <a:pt x="4097459" y="425450"/>
                    <a:pt x="4113095" y="440731"/>
                    <a:pt x="4113095" y="459582"/>
                  </a:cubicBezTo>
                  <a:cubicBezTo>
                    <a:pt x="4113095" y="478433"/>
                    <a:pt x="4097459" y="493714"/>
                    <a:pt x="4078170" y="493714"/>
                  </a:cubicBezTo>
                  <a:cubicBezTo>
                    <a:pt x="4058881" y="493714"/>
                    <a:pt x="4043245" y="478433"/>
                    <a:pt x="4043245" y="459582"/>
                  </a:cubicBezTo>
                  <a:cubicBezTo>
                    <a:pt x="4043245" y="440731"/>
                    <a:pt x="4058881" y="425450"/>
                    <a:pt x="4078170" y="425450"/>
                  </a:cubicBezTo>
                  <a:close/>
                  <a:moveTo>
                    <a:pt x="3993240" y="425450"/>
                  </a:moveTo>
                  <a:cubicBezTo>
                    <a:pt x="4012091" y="425450"/>
                    <a:pt x="4027372" y="440731"/>
                    <a:pt x="4027372" y="459582"/>
                  </a:cubicBezTo>
                  <a:cubicBezTo>
                    <a:pt x="4027372" y="478433"/>
                    <a:pt x="4012091" y="493714"/>
                    <a:pt x="3993240" y="493714"/>
                  </a:cubicBezTo>
                  <a:cubicBezTo>
                    <a:pt x="3974389" y="493714"/>
                    <a:pt x="3959108" y="478433"/>
                    <a:pt x="3959108" y="459582"/>
                  </a:cubicBezTo>
                  <a:cubicBezTo>
                    <a:pt x="3959108" y="440731"/>
                    <a:pt x="3974389" y="425450"/>
                    <a:pt x="3993240" y="425450"/>
                  </a:cubicBezTo>
                  <a:close/>
                  <a:moveTo>
                    <a:pt x="3912277" y="425450"/>
                  </a:moveTo>
                  <a:cubicBezTo>
                    <a:pt x="3931128" y="425450"/>
                    <a:pt x="3946409" y="440731"/>
                    <a:pt x="3946409" y="459582"/>
                  </a:cubicBezTo>
                  <a:cubicBezTo>
                    <a:pt x="3946409" y="478433"/>
                    <a:pt x="3931128" y="493714"/>
                    <a:pt x="3912277" y="493714"/>
                  </a:cubicBezTo>
                  <a:cubicBezTo>
                    <a:pt x="3893426" y="493714"/>
                    <a:pt x="3878145" y="478433"/>
                    <a:pt x="3878145" y="459582"/>
                  </a:cubicBezTo>
                  <a:cubicBezTo>
                    <a:pt x="3878145" y="440731"/>
                    <a:pt x="3893426" y="425450"/>
                    <a:pt x="3912277" y="425450"/>
                  </a:cubicBezTo>
                  <a:close/>
                  <a:moveTo>
                    <a:pt x="3826552" y="425450"/>
                  </a:moveTo>
                  <a:cubicBezTo>
                    <a:pt x="3845403" y="425450"/>
                    <a:pt x="3860684" y="440731"/>
                    <a:pt x="3860684" y="459582"/>
                  </a:cubicBezTo>
                  <a:cubicBezTo>
                    <a:pt x="3860684" y="478433"/>
                    <a:pt x="3845403" y="493714"/>
                    <a:pt x="3826552" y="493714"/>
                  </a:cubicBezTo>
                  <a:cubicBezTo>
                    <a:pt x="3807701" y="493714"/>
                    <a:pt x="3792420" y="478433"/>
                    <a:pt x="3792420" y="459582"/>
                  </a:cubicBezTo>
                  <a:cubicBezTo>
                    <a:pt x="3792420" y="440731"/>
                    <a:pt x="3807701" y="425450"/>
                    <a:pt x="3826552" y="425450"/>
                  </a:cubicBezTo>
                  <a:close/>
                  <a:moveTo>
                    <a:pt x="3741620" y="425450"/>
                  </a:moveTo>
                  <a:cubicBezTo>
                    <a:pt x="3760909" y="425450"/>
                    <a:pt x="3776545" y="440731"/>
                    <a:pt x="3776545" y="459582"/>
                  </a:cubicBezTo>
                  <a:cubicBezTo>
                    <a:pt x="3776545" y="478433"/>
                    <a:pt x="3760909" y="493714"/>
                    <a:pt x="3741620" y="493714"/>
                  </a:cubicBezTo>
                  <a:cubicBezTo>
                    <a:pt x="3722331" y="493714"/>
                    <a:pt x="3706695" y="478433"/>
                    <a:pt x="3706695" y="459582"/>
                  </a:cubicBezTo>
                  <a:cubicBezTo>
                    <a:pt x="3706695" y="440731"/>
                    <a:pt x="3722331" y="425450"/>
                    <a:pt x="3741620" y="425450"/>
                  </a:cubicBezTo>
                  <a:close/>
                  <a:moveTo>
                    <a:pt x="3153452" y="425450"/>
                  </a:moveTo>
                  <a:cubicBezTo>
                    <a:pt x="3172303" y="425450"/>
                    <a:pt x="3187584" y="440731"/>
                    <a:pt x="3187584" y="459582"/>
                  </a:cubicBezTo>
                  <a:cubicBezTo>
                    <a:pt x="3187584" y="478433"/>
                    <a:pt x="3172303" y="493714"/>
                    <a:pt x="3153452" y="493714"/>
                  </a:cubicBezTo>
                  <a:cubicBezTo>
                    <a:pt x="3134601" y="493714"/>
                    <a:pt x="3119320" y="478433"/>
                    <a:pt x="3119320" y="459582"/>
                  </a:cubicBezTo>
                  <a:cubicBezTo>
                    <a:pt x="3119320" y="440731"/>
                    <a:pt x="3134601" y="425450"/>
                    <a:pt x="3153452" y="425450"/>
                  </a:cubicBezTo>
                  <a:close/>
                  <a:moveTo>
                    <a:pt x="3068520" y="425450"/>
                  </a:moveTo>
                  <a:cubicBezTo>
                    <a:pt x="3087809" y="425450"/>
                    <a:pt x="3103445" y="440731"/>
                    <a:pt x="3103445" y="459582"/>
                  </a:cubicBezTo>
                  <a:cubicBezTo>
                    <a:pt x="3103445" y="478433"/>
                    <a:pt x="3087809" y="493714"/>
                    <a:pt x="3068520" y="493714"/>
                  </a:cubicBezTo>
                  <a:cubicBezTo>
                    <a:pt x="3049231" y="493714"/>
                    <a:pt x="3033595" y="478433"/>
                    <a:pt x="3033595" y="459582"/>
                  </a:cubicBezTo>
                  <a:cubicBezTo>
                    <a:pt x="3033595" y="440731"/>
                    <a:pt x="3049231" y="425450"/>
                    <a:pt x="3068520" y="425450"/>
                  </a:cubicBezTo>
                  <a:close/>
                  <a:moveTo>
                    <a:pt x="2897865" y="425450"/>
                  </a:moveTo>
                  <a:cubicBezTo>
                    <a:pt x="2916716" y="425450"/>
                    <a:pt x="2931997" y="440731"/>
                    <a:pt x="2931997" y="459582"/>
                  </a:cubicBezTo>
                  <a:cubicBezTo>
                    <a:pt x="2931997" y="478433"/>
                    <a:pt x="2916716" y="493714"/>
                    <a:pt x="2897865" y="493714"/>
                  </a:cubicBezTo>
                  <a:cubicBezTo>
                    <a:pt x="2879014" y="493714"/>
                    <a:pt x="2863733" y="478433"/>
                    <a:pt x="2863733" y="459582"/>
                  </a:cubicBezTo>
                  <a:cubicBezTo>
                    <a:pt x="2863733" y="440731"/>
                    <a:pt x="2879014" y="425450"/>
                    <a:pt x="2897865" y="425450"/>
                  </a:cubicBezTo>
                  <a:close/>
                  <a:moveTo>
                    <a:pt x="2731999" y="425450"/>
                  </a:moveTo>
                  <a:cubicBezTo>
                    <a:pt x="2751288" y="425450"/>
                    <a:pt x="2766924" y="440731"/>
                    <a:pt x="2766924" y="459582"/>
                  </a:cubicBezTo>
                  <a:cubicBezTo>
                    <a:pt x="2766924" y="478433"/>
                    <a:pt x="2751288" y="493714"/>
                    <a:pt x="2731999" y="493714"/>
                  </a:cubicBezTo>
                  <a:cubicBezTo>
                    <a:pt x="2712710" y="493714"/>
                    <a:pt x="2697074" y="478433"/>
                    <a:pt x="2697074" y="459582"/>
                  </a:cubicBezTo>
                  <a:cubicBezTo>
                    <a:pt x="2697074" y="440731"/>
                    <a:pt x="2712710" y="425450"/>
                    <a:pt x="2731999" y="425450"/>
                  </a:cubicBezTo>
                  <a:close/>
                  <a:moveTo>
                    <a:pt x="2394790" y="425450"/>
                  </a:moveTo>
                  <a:cubicBezTo>
                    <a:pt x="2413638" y="425450"/>
                    <a:pt x="2428919" y="440731"/>
                    <a:pt x="2428919" y="459582"/>
                  </a:cubicBezTo>
                  <a:cubicBezTo>
                    <a:pt x="2428919" y="478433"/>
                    <a:pt x="2413638" y="493714"/>
                    <a:pt x="2394790" y="493714"/>
                  </a:cubicBezTo>
                  <a:cubicBezTo>
                    <a:pt x="2375933" y="493714"/>
                    <a:pt x="2360656" y="478433"/>
                    <a:pt x="2360656" y="459582"/>
                  </a:cubicBezTo>
                  <a:cubicBezTo>
                    <a:pt x="2360656" y="440731"/>
                    <a:pt x="2375933" y="425450"/>
                    <a:pt x="2394790" y="425450"/>
                  </a:cubicBezTo>
                  <a:close/>
                  <a:moveTo>
                    <a:pt x="2309856" y="425450"/>
                  </a:moveTo>
                  <a:cubicBezTo>
                    <a:pt x="2329141" y="425450"/>
                    <a:pt x="2344781" y="440731"/>
                    <a:pt x="2344781" y="459582"/>
                  </a:cubicBezTo>
                  <a:cubicBezTo>
                    <a:pt x="2344781" y="478433"/>
                    <a:pt x="2329141" y="493714"/>
                    <a:pt x="2309856" y="493714"/>
                  </a:cubicBezTo>
                  <a:cubicBezTo>
                    <a:pt x="2290564" y="493714"/>
                    <a:pt x="2274920" y="478433"/>
                    <a:pt x="2274920" y="459582"/>
                  </a:cubicBezTo>
                  <a:cubicBezTo>
                    <a:pt x="2274920" y="440731"/>
                    <a:pt x="2290564" y="425450"/>
                    <a:pt x="2309856" y="425450"/>
                  </a:cubicBezTo>
                  <a:close/>
                  <a:moveTo>
                    <a:pt x="2224919" y="425450"/>
                  </a:moveTo>
                  <a:cubicBezTo>
                    <a:pt x="2243761" y="425450"/>
                    <a:pt x="2259040" y="440731"/>
                    <a:pt x="2259040" y="459582"/>
                  </a:cubicBezTo>
                  <a:cubicBezTo>
                    <a:pt x="2259040" y="478433"/>
                    <a:pt x="2243761" y="493714"/>
                    <a:pt x="2224919" y="493714"/>
                  </a:cubicBezTo>
                  <a:cubicBezTo>
                    <a:pt x="2206066" y="493714"/>
                    <a:pt x="2190786" y="478433"/>
                    <a:pt x="2190786" y="459582"/>
                  </a:cubicBezTo>
                  <a:cubicBezTo>
                    <a:pt x="2190786" y="440731"/>
                    <a:pt x="2206066" y="425450"/>
                    <a:pt x="2224919" y="425450"/>
                  </a:cubicBezTo>
                  <a:close/>
                  <a:moveTo>
                    <a:pt x="2139203" y="425450"/>
                  </a:moveTo>
                  <a:cubicBezTo>
                    <a:pt x="2158055" y="425450"/>
                    <a:pt x="2173331" y="440731"/>
                    <a:pt x="2173331" y="459582"/>
                  </a:cubicBezTo>
                  <a:cubicBezTo>
                    <a:pt x="2173331" y="478433"/>
                    <a:pt x="2158055" y="493714"/>
                    <a:pt x="2139203" y="493714"/>
                  </a:cubicBezTo>
                  <a:cubicBezTo>
                    <a:pt x="2120347" y="493714"/>
                    <a:pt x="2105064" y="478433"/>
                    <a:pt x="2105064" y="459582"/>
                  </a:cubicBezTo>
                  <a:cubicBezTo>
                    <a:pt x="2105064" y="440731"/>
                    <a:pt x="2120347" y="425450"/>
                    <a:pt x="2139203" y="425450"/>
                  </a:cubicBezTo>
                  <a:close/>
                  <a:moveTo>
                    <a:pt x="1973173" y="425450"/>
                  </a:moveTo>
                  <a:cubicBezTo>
                    <a:pt x="1992463" y="425450"/>
                    <a:pt x="2008098" y="440731"/>
                    <a:pt x="2008098" y="459582"/>
                  </a:cubicBezTo>
                  <a:cubicBezTo>
                    <a:pt x="2008098" y="478433"/>
                    <a:pt x="1992463" y="493714"/>
                    <a:pt x="1973173" y="493714"/>
                  </a:cubicBezTo>
                  <a:cubicBezTo>
                    <a:pt x="1953885" y="493714"/>
                    <a:pt x="1938249" y="478433"/>
                    <a:pt x="1938249" y="459582"/>
                  </a:cubicBezTo>
                  <a:cubicBezTo>
                    <a:pt x="1938249" y="440731"/>
                    <a:pt x="1953885" y="425450"/>
                    <a:pt x="1973173" y="425450"/>
                  </a:cubicBezTo>
                  <a:close/>
                  <a:moveTo>
                    <a:pt x="1888373" y="425450"/>
                  </a:moveTo>
                  <a:cubicBezTo>
                    <a:pt x="1907222" y="425450"/>
                    <a:pt x="1922503" y="440731"/>
                    <a:pt x="1922503" y="459582"/>
                  </a:cubicBezTo>
                  <a:cubicBezTo>
                    <a:pt x="1922503" y="478433"/>
                    <a:pt x="1907222" y="493714"/>
                    <a:pt x="1888373" y="493714"/>
                  </a:cubicBezTo>
                  <a:cubicBezTo>
                    <a:pt x="1869524" y="493714"/>
                    <a:pt x="1854243" y="478433"/>
                    <a:pt x="1854243" y="459582"/>
                  </a:cubicBezTo>
                  <a:cubicBezTo>
                    <a:pt x="1854243" y="440731"/>
                    <a:pt x="1869524" y="425450"/>
                    <a:pt x="1888373" y="425450"/>
                  </a:cubicBezTo>
                  <a:close/>
                  <a:moveTo>
                    <a:pt x="1802656" y="425450"/>
                  </a:moveTo>
                  <a:cubicBezTo>
                    <a:pt x="1821504" y="425450"/>
                    <a:pt x="1836784" y="440731"/>
                    <a:pt x="1836784" y="459582"/>
                  </a:cubicBezTo>
                  <a:cubicBezTo>
                    <a:pt x="1836784" y="478433"/>
                    <a:pt x="1821504" y="493714"/>
                    <a:pt x="1802656" y="493714"/>
                  </a:cubicBezTo>
                  <a:cubicBezTo>
                    <a:pt x="1783803" y="493714"/>
                    <a:pt x="1768524" y="478433"/>
                    <a:pt x="1768524" y="459582"/>
                  </a:cubicBezTo>
                  <a:cubicBezTo>
                    <a:pt x="1768524" y="440731"/>
                    <a:pt x="1783803" y="425450"/>
                    <a:pt x="1802656" y="425450"/>
                  </a:cubicBezTo>
                  <a:close/>
                  <a:moveTo>
                    <a:pt x="1719314" y="425450"/>
                  </a:moveTo>
                  <a:cubicBezTo>
                    <a:pt x="1739480" y="425450"/>
                    <a:pt x="1755825" y="440731"/>
                    <a:pt x="1755825" y="459582"/>
                  </a:cubicBezTo>
                  <a:cubicBezTo>
                    <a:pt x="1755825" y="478433"/>
                    <a:pt x="1739480" y="493714"/>
                    <a:pt x="1719314" y="493714"/>
                  </a:cubicBezTo>
                  <a:cubicBezTo>
                    <a:pt x="1699147" y="493714"/>
                    <a:pt x="1682803" y="478433"/>
                    <a:pt x="1682803" y="459582"/>
                  </a:cubicBezTo>
                  <a:cubicBezTo>
                    <a:pt x="1682803" y="440731"/>
                    <a:pt x="1699147" y="425450"/>
                    <a:pt x="1719314" y="425450"/>
                  </a:cubicBezTo>
                  <a:close/>
                  <a:moveTo>
                    <a:pt x="1636626" y="425450"/>
                  </a:moveTo>
                  <a:cubicBezTo>
                    <a:pt x="1655914" y="425450"/>
                    <a:pt x="1671551" y="440731"/>
                    <a:pt x="1671551" y="459582"/>
                  </a:cubicBezTo>
                  <a:cubicBezTo>
                    <a:pt x="1671551" y="478433"/>
                    <a:pt x="1655914" y="493714"/>
                    <a:pt x="1636626" y="493714"/>
                  </a:cubicBezTo>
                  <a:cubicBezTo>
                    <a:pt x="1617336" y="493714"/>
                    <a:pt x="1601701" y="478433"/>
                    <a:pt x="1601701" y="459582"/>
                  </a:cubicBezTo>
                  <a:cubicBezTo>
                    <a:pt x="1601701" y="440731"/>
                    <a:pt x="1617336" y="425450"/>
                    <a:pt x="1636626" y="425450"/>
                  </a:cubicBezTo>
                  <a:close/>
                  <a:moveTo>
                    <a:pt x="1551838" y="425450"/>
                  </a:moveTo>
                  <a:cubicBezTo>
                    <a:pt x="1570689" y="425450"/>
                    <a:pt x="1585970" y="440731"/>
                    <a:pt x="1585970" y="459582"/>
                  </a:cubicBezTo>
                  <a:cubicBezTo>
                    <a:pt x="1585970" y="478433"/>
                    <a:pt x="1570689" y="493714"/>
                    <a:pt x="1551838" y="493714"/>
                  </a:cubicBezTo>
                  <a:cubicBezTo>
                    <a:pt x="1532987" y="493714"/>
                    <a:pt x="1517707" y="478433"/>
                    <a:pt x="1517707" y="459582"/>
                  </a:cubicBezTo>
                  <a:cubicBezTo>
                    <a:pt x="1517707" y="440731"/>
                    <a:pt x="1532987" y="425450"/>
                    <a:pt x="1551838" y="425450"/>
                  </a:cubicBezTo>
                  <a:close/>
                  <a:moveTo>
                    <a:pt x="1466114" y="425450"/>
                  </a:moveTo>
                  <a:cubicBezTo>
                    <a:pt x="1484965" y="425450"/>
                    <a:pt x="1500247" y="440731"/>
                    <a:pt x="1500247" y="459582"/>
                  </a:cubicBezTo>
                  <a:cubicBezTo>
                    <a:pt x="1500247" y="478433"/>
                    <a:pt x="1484965" y="493714"/>
                    <a:pt x="1466114" y="493714"/>
                  </a:cubicBezTo>
                  <a:cubicBezTo>
                    <a:pt x="1447265" y="493714"/>
                    <a:pt x="1431983" y="478433"/>
                    <a:pt x="1431983" y="459582"/>
                  </a:cubicBezTo>
                  <a:cubicBezTo>
                    <a:pt x="1431983" y="440731"/>
                    <a:pt x="1447265" y="425450"/>
                    <a:pt x="1466114" y="425450"/>
                  </a:cubicBezTo>
                  <a:close/>
                  <a:moveTo>
                    <a:pt x="1380392" y="425450"/>
                  </a:moveTo>
                  <a:cubicBezTo>
                    <a:pt x="1399243" y="425450"/>
                    <a:pt x="1414522" y="440731"/>
                    <a:pt x="1414522" y="459582"/>
                  </a:cubicBezTo>
                  <a:cubicBezTo>
                    <a:pt x="1414522" y="478433"/>
                    <a:pt x="1399243" y="493714"/>
                    <a:pt x="1380392" y="493714"/>
                  </a:cubicBezTo>
                  <a:cubicBezTo>
                    <a:pt x="1361539" y="493714"/>
                    <a:pt x="1346258" y="478433"/>
                    <a:pt x="1346258" y="459582"/>
                  </a:cubicBezTo>
                  <a:cubicBezTo>
                    <a:pt x="1346258" y="440731"/>
                    <a:pt x="1361539" y="425450"/>
                    <a:pt x="1380392" y="425450"/>
                  </a:cubicBezTo>
                  <a:close/>
                  <a:moveTo>
                    <a:pt x="1300222" y="425450"/>
                  </a:moveTo>
                  <a:cubicBezTo>
                    <a:pt x="1319509" y="425450"/>
                    <a:pt x="1335148" y="440731"/>
                    <a:pt x="1335148" y="459582"/>
                  </a:cubicBezTo>
                  <a:cubicBezTo>
                    <a:pt x="1335148" y="478433"/>
                    <a:pt x="1319509" y="493714"/>
                    <a:pt x="1300222" y="493714"/>
                  </a:cubicBezTo>
                  <a:cubicBezTo>
                    <a:pt x="1280933" y="493714"/>
                    <a:pt x="1265297" y="478433"/>
                    <a:pt x="1265297" y="459582"/>
                  </a:cubicBezTo>
                  <a:cubicBezTo>
                    <a:pt x="1265297" y="440731"/>
                    <a:pt x="1280933" y="425450"/>
                    <a:pt x="1300222" y="425450"/>
                  </a:cubicBezTo>
                  <a:close/>
                  <a:moveTo>
                    <a:pt x="1214500" y="425450"/>
                  </a:moveTo>
                  <a:cubicBezTo>
                    <a:pt x="1233787" y="425450"/>
                    <a:pt x="1249422" y="440731"/>
                    <a:pt x="1249422" y="459582"/>
                  </a:cubicBezTo>
                  <a:cubicBezTo>
                    <a:pt x="1249422" y="478433"/>
                    <a:pt x="1233787" y="493714"/>
                    <a:pt x="1214500" y="493714"/>
                  </a:cubicBezTo>
                  <a:cubicBezTo>
                    <a:pt x="1195210" y="493714"/>
                    <a:pt x="1179573" y="478433"/>
                    <a:pt x="1179573" y="459582"/>
                  </a:cubicBezTo>
                  <a:cubicBezTo>
                    <a:pt x="1179573" y="440731"/>
                    <a:pt x="1195210" y="425450"/>
                    <a:pt x="1214500" y="425450"/>
                  </a:cubicBezTo>
                  <a:close/>
                  <a:moveTo>
                    <a:pt x="8042952" y="339725"/>
                  </a:moveTo>
                  <a:cubicBezTo>
                    <a:pt x="8061803" y="339725"/>
                    <a:pt x="8077084" y="355006"/>
                    <a:pt x="8077084" y="373857"/>
                  </a:cubicBezTo>
                  <a:cubicBezTo>
                    <a:pt x="8077084" y="392708"/>
                    <a:pt x="8061803" y="407989"/>
                    <a:pt x="8042952" y="407989"/>
                  </a:cubicBezTo>
                  <a:cubicBezTo>
                    <a:pt x="8024101" y="407989"/>
                    <a:pt x="8008820" y="392708"/>
                    <a:pt x="8008820" y="373857"/>
                  </a:cubicBezTo>
                  <a:cubicBezTo>
                    <a:pt x="8008820" y="355006"/>
                    <a:pt x="8024101" y="339725"/>
                    <a:pt x="8042952" y="339725"/>
                  </a:cubicBezTo>
                  <a:close/>
                  <a:moveTo>
                    <a:pt x="7957227" y="339725"/>
                  </a:moveTo>
                  <a:cubicBezTo>
                    <a:pt x="7976078" y="339725"/>
                    <a:pt x="7991359" y="355006"/>
                    <a:pt x="7991359" y="373857"/>
                  </a:cubicBezTo>
                  <a:cubicBezTo>
                    <a:pt x="7991359" y="392708"/>
                    <a:pt x="7976078" y="407989"/>
                    <a:pt x="7957227" y="407989"/>
                  </a:cubicBezTo>
                  <a:cubicBezTo>
                    <a:pt x="7938376" y="407989"/>
                    <a:pt x="7923095" y="392708"/>
                    <a:pt x="7923095" y="373857"/>
                  </a:cubicBezTo>
                  <a:cubicBezTo>
                    <a:pt x="7923095" y="355006"/>
                    <a:pt x="7938376" y="339725"/>
                    <a:pt x="7957227" y="339725"/>
                  </a:cubicBezTo>
                  <a:close/>
                  <a:moveTo>
                    <a:pt x="7871502" y="339725"/>
                  </a:moveTo>
                  <a:cubicBezTo>
                    <a:pt x="7890353" y="339725"/>
                    <a:pt x="7905634" y="355006"/>
                    <a:pt x="7905634" y="373857"/>
                  </a:cubicBezTo>
                  <a:cubicBezTo>
                    <a:pt x="7905634" y="392708"/>
                    <a:pt x="7890353" y="407989"/>
                    <a:pt x="7871502" y="407989"/>
                  </a:cubicBezTo>
                  <a:cubicBezTo>
                    <a:pt x="7852651" y="407989"/>
                    <a:pt x="7837370" y="392708"/>
                    <a:pt x="7837370" y="373857"/>
                  </a:cubicBezTo>
                  <a:cubicBezTo>
                    <a:pt x="7837370" y="355006"/>
                    <a:pt x="7852651" y="339725"/>
                    <a:pt x="7871502" y="339725"/>
                  </a:cubicBezTo>
                  <a:close/>
                  <a:moveTo>
                    <a:pt x="7785777" y="339725"/>
                  </a:moveTo>
                  <a:cubicBezTo>
                    <a:pt x="7804628" y="339725"/>
                    <a:pt x="7819909" y="355006"/>
                    <a:pt x="7819909" y="373857"/>
                  </a:cubicBezTo>
                  <a:cubicBezTo>
                    <a:pt x="7819909" y="392708"/>
                    <a:pt x="7804628" y="407989"/>
                    <a:pt x="7785777" y="407989"/>
                  </a:cubicBezTo>
                  <a:cubicBezTo>
                    <a:pt x="7766926" y="407989"/>
                    <a:pt x="7751645" y="392708"/>
                    <a:pt x="7751645" y="373857"/>
                  </a:cubicBezTo>
                  <a:cubicBezTo>
                    <a:pt x="7751645" y="355006"/>
                    <a:pt x="7766926" y="339725"/>
                    <a:pt x="7785777" y="339725"/>
                  </a:cubicBezTo>
                  <a:close/>
                  <a:moveTo>
                    <a:pt x="7706402" y="339725"/>
                  </a:moveTo>
                  <a:cubicBezTo>
                    <a:pt x="7725253" y="339725"/>
                    <a:pt x="7740534" y="355006"/>
                    <a:pt x="7740534" y="373857"/>
                  </a:cubicBezTo>
                  <a:cubicBezTo>
                    <a:pt x="7740534" y="392708"/>
                    <a:pt x="7725253" y="407989"/>
                    <a:pt x="7706402" y="407989"/>
                  </a:cubicBezTo>
                  <a:cubicBezTo>
                    <a:pt x="7687551" y="407989"/>
                    <a:pt x="7672270" y="392708"/>
                    <a:pt x="7672270" y="373857"/>
                  </a:cubicBezTo>
                  <a:cubicBezTo>
                    <a:pt x="7672270" y="355006"/>
                    <a:pt x="7687551" y="339725"/>
                    <a:pt x="7706402" y="339725"/>
                  </a:cubicBezTo>
                  <a:close/>
                  <a:moveTo>
                    <a:pt x="7620677" y="339725"/>
                  </a:moveTo>
                  <a:cubicBezTo>
                    <a:pt x="7639528" y="339725"/>
                    <a:pt x="7654809" y="355006"/>
                    <a:pt x="7654809" y="373857"/>
                  </a:cubicBezTo>
                  <a:cubicBezTo>
                    <a:pt x="7654809" y="392708"/>
                    <a:pt x="7639528" y="407989"/>
                    <a:pt x="7620677" y="407989"/>
                  </a:cubicBezTo>
                  <a:cubicBezTo>
                    <a:pt x="7601826" y="407989"/>
                    <a:pt x="7586545" y="392708"/>
                    <a:pt x="7586545" y="373857"/>
                  </a:cubicBezTo>
                  <a:cubicBezTo>
                    <a:pt x="7586545" y="355006"/>
                    <a:pt x="7601826" y="339725"/>
                    <a:pt x="7620677" y="339725"/>
                  </a:cubicBezTo>
                  <a:close/>
                  <a:moveTo>
                    <a:pt x="7534952" y="339725"/>
                  </a:moveTo>
                  <a:cubicBezTo>
                    <a:pt x="7553803" y="339725"/>
                    <a:pt x="7569084" y="355006"/>
                    <a:pt x="7569084" y="373857"/>
                  </a:cubicBezTo>
                  <a:cubicBezTo>
                    <a:pt x="7569084" y="392708"/>
                    <a:pt x="7553803" y="407989"/>
                    <a:pt x="7534952" y="407989"/>
                  </a:cubicBezTo>
                  <a:cubicBezTo>
                    <a:pt x="7516101" y="407989"/>
                    <a:pt x="7500820" y="392708"/>
                    <a:pt x="7500820" y="373857"/>
                  </a:cubicBezTo>
                  <a:cubicBezTo>
                    <a:pt x="7500820" y="355006"/>
                    <a:pt x="7516101" y="339725"/>
                    <a:pt x="7534952" y="339725"/>
                  </a:cubicBezTo>
                  <a:close/>
                  <a:moveTo>
                    <a:pt x="7449227" y="339725"/>
                  </a:moveTo>
                  <a:cubicBezTo>
                    <a:pt x="7468078" y="339725"/>
                    <a:pt x="7483359" y="355006"/>
                    <a:pt x="7483359" y="373857"/>
                  </a:cubicBezTo>
                  <a:cubicBezTo>
                    <a:pt x="7483359" y="392708"/>
                    <a:pt x="7468078" y="407989"/>
                    <a:pt x="7449227" y="407989"/>
                  </a:cubicBezTo>
                  <a:cubicBezTo>
                    <a:pt x="7430376" y="407989"/>
                    <a:pt x="7415095" y="392708"/>
                    <a:pt x="7415095" y="373857"/>
                  </a:cubicBezTo>
                  <a:cubicBezTo>
                    <a:pt x="7415095" y="355006"/>
                    <a:pt x="7430376" y="339725"/>
                    <a:pt x="7449227" y="339725"/>
                  </a:cubicBezTo>
                  <a:close/>
                  <a:moveTo>
                    <a:pt x="7366677" y="339725"/>
                  </a:moveTo>
                  <a:cubicBezTo>
                    <a:pt x="7387281" y="339725"/>
                    <a:pt x="7403984" y="355006"/>
                    <a:pt x="7403984" y="373857"/>
                  </a:cubicBezTo>
                  <a:cubicBezTo>
                    <a:pt x="7403984" y="392708"/>
                    <a:pt x="7387281" y="407989"/>
                    <a:pt x="7366677" y="407989"/>
                  </a:cubicBezTo>
                  <a:cubicBezTo>
                    <a:pt x="7346073" y="407989"/>
                    <a:pt x="7329370" y="392708"/>
                    <a:pt x="7329370" y="373857"/>
                  </a:cubicBezTo>
                  <a:cubicBezTo>
                    <a:pt x="7329370" y="355006"/>
                    <a:pt x="7346073" y="339725"/>
                    <a:pt x="7366677" y="339725"/>
                  </a:cubicBezTo>
                  <a:close/>
                  <a:moveTo>
                    <a:pt x="7284127" y="339725"/>
                  </a:moveTo>
                  <a:cubicBezTo>
                    <a:pt x="7302978" y="339725"/>
                    <a:pt x="7318259" y="355006"/>
                    <a:pt x="7318259" y="373857"/>
                  </a:cubicBezTo>
                  <a:cubicBezTo>
                    <a:pt x="7318259" y="392708"/>
                    <a:pt x="7302978" y="407989"/>
                    <a:pt x="7284127" y="407989"/>
                  </a:cubicBezTo>
                  <a:cubicBezTo>
                    <a:pt x="7265276" y="407989"/>
                    <a:pt x="7249995" y="392708"/>
                    <a:pt x="7249995" y="373857"/>
                  </a:cubicBezTo>
                  <a:cubicBezTo>
                    <a:pt x="7249995" y="355006"/>
                    <a:pt x="7265276" y="339725"/>
                    <a:pt x="7284127" y="339725"/>
                  </a:cubicBezTo>
                  <a:close/>
                  <a:moveTo>
                    <a:pt x="7198402" y="339725"/>
                  </a:moveTo>
                  <a:cubicBezTo>
                    <a:pt x="7217253" y="339725"/>
                    <a:pt x="7232534" y="355006"/>
                    <a:pt x="7232534" y="373857"/>
                  </a:cubicBezTo>
                  <a:cubicBezTo>
                    <a:pt x="7232534" y="392708"/>
                    <a:pt x="7217253" y="407989"/>
                    <a:pt x="7198402" y="407989"/>
                  </a:cubicBezTo>
                  <a:cubicBezTo>
                    <a:pt x="7179551" y="407989"/>
                    <a:pt x="7164270" y="392708"/>
                    <a:pt x="7164270" y="373857"/>
                  </a:cubicBezTo>
                  <a:cubicBezTo>
                    <a:pt x="7164270" y="355006"/>
                    <a:pt x="7179551" y="339725"/>
                    <a:pt x="7198402" y="339725"/>
                  </a:cubicBezTo>
                  <a:close/>
                  <a:moveTo>
                    <a:pt x="7112677" y="339725"/>
                  </a:moveTo>
                  <a:cubicBezTo>
                    <a:pt x="7131528" y="339725"/>
                    <a:pt x="7146809" y="355006"/>
                    <a:pt x="7146809" y="373857"/>
                  </a:cubicBezTo>
                  <a:cubicBezTo>
                    <a:pt x="7146809" y="392708"/>
                    <a:pt x="7131528" y="407989"/>
                    <a:pt x="7112677" y="407989"/>
                  </a:cubicBezTo>
                  <a:cubicBezTo>
                    <a:pt x="7093826" y="407989"/>
                    <a:pt x="7078545" y="392708"/>
                    <a:pt x="7078545" y="373857"/>
                  </a:cubicBezTo>
                  <a:cubicBezTo>
                    <a:pt x="7078545" y="355006"/>
                    <a:pt x="7093826" y="339725"/>
                    <a:pt x="7112677" y="339725"/>
                  </a:cubicBezTo>
                  <a:close/>
                  <a:moveTo>
                    <a:pt x="7027745" y="339725"/>
                  </a:moveTo>
                  <a:cubicBezTo>
                    <a:pt x="7047034" y="339725"/>
                    <a:pt x="7062670" y="355006"/>
                    <a:pt x="7062670" y="373857"/>
                  </a:cubicBezTo>
                  <a:cubicBezTo>
                    <a:pt x="7062670" y="392708"/>
                    <a:pt x="7047034" y="407989"/>
                    <a:pt x="7027745" y="407989"/>
                  </a:cubicBezTo>
                  <a:cubicBezTo>
                    <a:pt x="7008456" y="407989"/>
                    <a:pt x="6992820" y="392708"/>
                    <a:pt x="6992820" y="373857"/>
                  </a:cubicBezTo>
                  <a:cubicBezTo>
                    <a:pt x="6992820" y="355006"/>
                    <a:pt x="7008456" y="339725"/>
                    <a:pt x="7027745" y="339725"/>
                  </a:cubicBezTo>
                  <a:close/>
                  <a:moveTo>
                    <a:pt x="6861852" y="339725"/>
                  </a:moveTo>
                  <a:cubicBezTo>
                    <a:pt x="6880703" y="339725"/>
                    <a:pt x="6895984" y="355006"/>
                    <a:pt x="6895984" y="373857"/>
                  </a:cubicBezTo>
                  <a:cubicBezTo>
                    <a:pt x="6895984" y="392708"/>
                    <a:pt x="6880703" y="407989"/>
                    <a:pt x="6861852" y="407989"/>
                  </a:cubicBezTo>
                  <a:cubicBezTo>
                    <a:pt x="6843001" y="407989"/>
                    <a:pt x="6827720" y="392708"/>
                    <a:pt x="6827720" y="373857"/>
                  </a:cubicBezTo>
                  <a:cubicBezTo>
                    <a:pt x="6827720" y="355006"/>
                    <a:pt x="6843001" y="339725"/>
                    <a:pt x="6861852" y="339725"/>
                  </a:cubicBezTo>
                  <a:close/>
                  <a:moveTo>
                    <a:pt x="6268920" y="339725"/>
                  </a:moveTo>
                  <a:cubicBezTo>
                    <a:pt x="6288209" y="339725"/>
                    <a:pt x="6303845" y="355006"/>
                    <a:pt x="6303845" y="373857"/>
                  </a:cubicBezTo>
                  <a:cubicBezTo>
                    <a:pt x="6303845" y="392708"/>
                    <a:pt x="6288209" y="407989"/>
                    <a:pt x="6268920" y="407989"/>
                  </a:cubicBezTo>
                  <a:cubicBezTo>
                    <a:pt x="6249631" y="407989"/>
                    <a:pt x="6233995" y="392708"/>
                    <a:pt x="6233995" y="373857"/>
                  </a:cubicBezTo>
                  <a:cubicBezTo>
                    <a:pt x="6233995" y="355006"/>
                    <a:pt x="6249631" y="339725"/>
                    <a:pt x="6268920" y="339725"/>
                  </a:cubicBezTo>
                  <a:close/>
                  <a:moveTo>
                    <a:pt x="4415515" y="339725"/>
                  </a:moveTo>
                  <a:cubicBezTo>
                    <a:pt x="4434366" y="339725"/>
                    <a:pt x="4449647" y="355006"/>
                    <a:pt x="4449647" y="373857"/>
                  </a:cubicBezTo>
                  <a:cubicBezTo>
                    <a:pt x="4449647" y="392708"/>
                    <a:pt x="4434366" y="407989"/>
                    <a:pt x="4415515" y="407989"/>
                  </a:cubicBezTo>
                  <a:cubicBezTo>
                    <a:pt x="4396664" y="407989"/>
                    <a:pt x="4381383" y="392708"/>
                    <a:pt x="4381383" y="373857"/>
                  </a:cubicBezTo>
                  <a:cubicBezTo>
                    <a:pt x="4381383" y="355006"/>
                    <a:pt x="4396664" y="339725"/>
                    <a:pt x="4415515" y="339725"/>
                  </a:cubicBezTo>
                  <a:close/>
                  <a:moveTo>
                    <a:pt x="4332171" y="339725"/>
                  </a:moveTo>
                  <a:cubicBezTo>
                    <a:pt x="4352337" y="339725"/>
                    <a:pt x="4368684" y="355006"/>
                    <a:pt x="4368684" y="373857"/>
                  </a:cubicBezTo>
                  <a:cubicBezTo>
                    <a:pt x="4368684" y="392708"/>
                    <a:pt x="4352337" y="407989"/>
                    <a:pt x="4332171" y="407989"/>
                  </a:cubicBezTo>
                  <a:cubicBezTo>
                    <a:pt x="4312005" y="407989"/>
                    <a:pt x="4295658" y="392708"/>
                    <a:pt x="4295658" y="373857"/>
                  </a:cubicBezTo>
                  <a:cubicBezTo>
                    <a:pt x="4295658" y="355006"/>
                    <a:pt x="4312005" y="339725"/>
                    <a:pt x="4332171" y="339725"/>
                  </a:cubicBezTo>
                  <a:close/>
                  <a:moveTo>
                    <a:pt x="4248827" y="339725"/>
                  </a:moveTo>
                  <a:cubicBezTo>
                    <a:pt x="4267678" y="339725"/>
                    <a:pt x="4282959" y="355006"/>
                    <a:pt x="4282959" y="373857"/>
                  </a:cubicBezTo>
                  <a:cubicBezTo>
                    <a:pt x="4282959" y="392708"/>
                    <a:pt x="4267678" y="407989"/>
                    <a:pt x="4248827" y="407989"/>
                  </a:cubicBezTo>
                  <a:cubicBezTo>
                    <a:pt x="4229976" y="407989"/>
                    <a:pt x="4214695" y="392708"/>
                    <a:pt x="4214695" y="373857"/>
                  </a:cubicBezTo>
                  <a:cubicBezTo>
                    <a:pt x="4214695" y="355006"/>
                    <a:pt x="4229976" y="339725"/>
                    <a:pt x="4248827" y="339725"/>
                  </a:cubicBezTo>
                  <a:close/>
                  <a:moveTo>
                    <a:pt x="4163895" y="339725"/>
                  </a:moveTo>
                  <a:cubicBezTo>
                    <a:pt x="4183184" y="339725"/>
                    <a:pt x="4198820" y="355006"/>
                    <a:pt x="4198820" y="373857"/>
                  </a:cubicBezTo>
                  <a:cubicBezTo>
                    <a:pt x="4198820" y="392708"/>
                    <a:pt x="4183184" y="407989"/>
                    <a:pt x="4163895" y="407989"/>
                  </a:cubicBezTo>
                  <a:cubicBezTo>
                    <a:pt x="4144606" y="407989"/>
                    <a:pt x="4128970" y="392708"/>
                    <a:pt x="4128970" y="373857"/>
                  </a:cubicBezTo>
                  <a:cubicBezTo>
                    <a:pt x="4128970" y="355006"/>
                    <a:pt x="4144606" y="339725"/>
                    <a:pt x="4163895" y="339725"/>
                  </a:cubicBezTo>
                  <a:close/>
                  <a:moveTo>
                    <a:pt x="4078170" y="339725"/>
                  </a:moveTo>
                  <a:cubicBezTo>
                    <a:pt x="4097459" y="339725"/>
                    <a:pt x="4113095" y="355006"/>
                    <a:pt x="4113095" y="373857"/>
                  </a:cubicBezTo>
                  <a:cubicBezTo>
                    <a:pt x="4113095" y="392708"/>
                    <a:pt x="4097459" y="407989"/>
                    <a:pt x="4078170" y="407989"/>
                  </a:cubicBezTo>
                  <a:cubicBezTo>
                    <a:pt x="4058881" y="407989"/>
                    <a:pt x="4043245" y="392708"/>
                    <a:pt x="4043245" y="373857"/>
                  </a:cubicBezTo>
                  <a:cubicBezTo>
                    <a:pt x="4043245" y="355006"/>
                    <a:pt x="4058881" y="339725"/>
                    <a:pt x="4078170" y="339725"/>
                  </a:cubicBezTo>
                  <a:close/>
                  <a:moveTo>
                    <a:pt x="3993240" y="339725"/>
                  </a:moveTo>
                  <a:cubicBezTo>
                    <a:pt x="4012091" y="339725"/>
                    <a:pt x="4027372" y="355006"/>
                    <a:pt x="4027372" y="373857"/>
                  </a:cubicBezTo>
                  <a:cubicBezTo>
                    <a:pt x="4027372" y="392708"/>
                    <a:pt x="4012091" y="407989"/>
                    <a:pt x="3993240" y="407989"/>
                  </a:cubicBezTo>
                  <a:cubicBezTo>
                    <a:pt x="3974389" y="407989"/>
                    <a:pt x="3959108" y="392708"/>
                    <a:pt x="3959108" y="373857"/>
                  </a:cubicBezTo>
                  <a:cubicBezTo>
                    <a:pt x="3959108" y="355006"/>
                    <a:pt x="3974389" y="339725"/>
                    <a:pt x="3993240" y="339725"/>
                  </a:cubicBezTo>
                  <a:close/>
                  <a:moveTo>
                    <a:pt x="3912277" y="339725"/>
                  </a:moveTo>
                  <a:cubicBezTo>
                    <a:pt x="3931128" y="339725"/>
                    <a:pt x="3946409" y="355006"/>
                    <a:pt x="3946409" y="373857"/>
                  </a:cubicBezTo>
                  <a:cubicBezTo>
                    <a:pt x="3946409" y="392708"/>
                    <a:pt x="3931128" y="407989"/>
                    <a:pt x="3912277" y="407989"/>
                  </a:cubicBezTo>
                  <a:cubicBezTo>
                    <a:pt x="3893426" y="407989"/>
                    <a:pt x="3878145" y="392708"/>
                    <a:pt x="3878145" y="373857"/>
                  </a:cubicBezTo>
                  <a:cubicBezTo>
                    <a:pt x="3878145" y="355006"/>
                    <a:pt x="3893426" y="339725"/>
                    <a:pt x="3912277" y="339725"/>
                  </a:cubicBezTo>
                  <a:close/>
                  <a:moveTo>
                    <a:pt x="3826552" y="339725"/>
                  </a:moveTo>
                  <a:cubicBezTo>
                    <a:pt x="3845403" y="339725"/>
                    <a:pt x="3860684" y="355006"/>
                    <a:pt x="3860684" y="373857"/>
                  </a:cubicBezTo>
                  <a:cubicBezTo>
                    <a:pt x="3860684" y="392708"/>
                    <a:pt x="3845403" y="407989"/>
                    <a:pt x="3826552" y="407989"/>
                  </a:cubicBezTo>
                  <a:cubicBezTo>
                    <a:pt x="3807701" y="407989"/>
                    <a:pt x="3792420" y="392708"/>
                    <a:pt x="3792420" y="373857"/>
                  </a:cubicBezTo>
                  <a:cubicBezTo>
                    <a:pt x="3792420" y="355006"/>
                    <a:pt x="3807701" y="339725"/>
                    <a:pt x="3826552" y="339725"/>
                  </a:cubicBezTo>
                  <a:close/>
                  <a:moveTo>
                    <a:pt x="3741620" y="339725"/>
                  </a:moveTo>
                  <a:cubicBezTo>
                    <a:pt x="3760909" y="339725"/>
                    <a:pt x="3776545" y="355006"/>
                    <a:pt x="3776545" y="373857"/>
                  </a:cubicBezTo>
                  <a:cubicBezTo>
                    <a:pt x="3776545" y="392708"/>
                    <a:pt x="3760909" y="407989"/>
                    <a:pt x="3741620" y="407989"/>
                  </a:cubicBezTo>
                  <a:cubicBezTo>
                    <a:pt x="3722331" y="407989"/>
                    <a:pt x="3706695" y="392708"/>
                    <a:pt x="3706695" y="373857"/>
                  </a:cubicBezTo>
                  <a:cubicBezTo>
                    <a:pt x="3706695" y="355006"/>
                    <a:pt x="3722331" y="339725"/>
                    <a:pt x="3741620" y="339725"/>
                  </a:cubicBezTo>
                  <a:close/>
                  <a:moveTo>
                    <a:pt x="2983590" y="339725"/>
                  </a:moveTo>
                  <a:cubicBezTo>
                    <a:pt x="3002441" y="339725"/>
                    <a:pt x="3017722" y="355006"/>
                    <a:pt x="3017722" y="373857"/>
                  </a:cubicBezTo>
                  <a:cubicBezTo>
                    <a:pt x="3017722" y="392708"/>
                    <a:pt x="3002441" y="407989"/>
                    <a:pt x="2983590" y="407989"/>
                  </a:cubicBezTo>
                  <a:cubicBezTo>
                    <a:pt x="2964739" y="407989"/>
                    <a:pt x="2949458" y="392708"/>
                    <a:pt x="2949458" y="373857"/>
                  </a:cubicBezTo>
                  <a:cubicBezTo>
                    <a:pt x="2949458" y="355006"/>
                    <a:pt x="2964739" y="339725"/>
                    <a:pt x="2983590" y="339725"/>
                  </a:cubicBezTo>
                  <a:close/>
                  <a:moveTo>
                    <a:pt x="2814521" y="339725"/>
                  </a:moveTo>
                  <a:cubicBezTo>
                    <a:pt x="2834687" y="339725"/>
                    <a:pt x="2851034" y="355006"/>
                    <a:pt x="2851034" y="373857"/>
                  </a:cubicBezTo>
                  <a:cubicBezTo>
                    <a:pt x="2851034" y="392708"/>
                    <a:pt x="2834687" y="407989"/>
                    <a:pt x="2814521" y="407989"/>
                  </a:cubicBezTo>
                  <a:cubicBezTo>
                    <a:pt x="2794355" y="407989"/>
                    <a:pt x="2778008" y="392708"/>
                    <a:pt x="2778008" y="373857"/>
                  </a:cubicBezTo>
                  <a:cubicBezTo>
                    <a:pt x="2778008" y="355006"/>
                    <a:pt x="2794355" y="339725"/>
                    <a:pt x="2814521" y="339725"/>
                  </a:cubicBezTo>
                  <a:close/>
                  <a:moveTo>
                    <a:pt x="2646274" y="339725"/>
                  </a:moveTo>
                  <a:cubicBezTo>
                    <a:pt x="2665563" y="339725"/>
                    <a:pt x="2681199" y="355006"/>
                    <a:pt x="2681199" y="373857"/>
                  </a:cubicBezTo>
                  <a:cubicBezTo>
                    <a:pt x="2681199" y="392708"/>
                    <a:pt x="2665563" y="407989"/>
                    <a:pt x="2646274" y="407989"/>
                  </a:cubicBezTo>
                  <a:cubicBezTo>
                    <a:pt x="2626986" y="407989"/>
                    <a:pt x="2611349" y="392708"/>
                    <a:pt x="2611349" y="373857"/>
                  </a:cubicBezTo>
                  <a:cubicBezTo>
                    <a:pt x="2611349" y="355006"/>
                    <a:pt x="2626986" y="339725"/>
                    <a:pt x="2646274" y="339725"/>
                  </a:cubicBezTo>
                  <a:close/>
                  <a:moveTo>
                    <a:pt x="2475754" y="339725"/>
                  </a:moveTo>
                  <a:cubicBezTo>
                    <a:pt x="2494608" y="339725"/>
                    <a:pt x="2509883" y="355006"/>
                    <a:pt x="2509883" y="373857"/>
                  </a:cubicBezTo>
                  <a:cubicBezTo>
                    <a:pt x="2509883" y="392708"/>
                    <a:pt x="2494608" y="407989"/>
                    <a:pt x="2475754" y="407989"/>
                  </a:cubicBezTo>
                  <a:cubicBezTo>
                    <a:pt x="2456900" y="407989"/>
                    <a:pt x="2441619" y="392708"/>
                    <a:pt x="2441619" y="373857"/>
                  </a:cubicBezTo>
                  <a:cubicBezTo>
                    <a:pt x="2441619" y="355006"/>
                    <a:pt x="2456900" y="339725"/>
                    <a:pt x="2475754" y="339725"/>
                  </a:cubicBezTo>
                  <a:close/>
                  <a:moveTo>
                    <a:pt x="2394668" y="339725"/>
                  </a:moveTo>
                  <a:cubicBezTo>
                    <a:pt x="2413519" y="339725"/>
                    <a:pt x="2428802" y="355006"/>
                    <a:pt x="2428802" y="373857"/>
                  </a:cubicBezTo>
                  <a:cubicBezTo>
                    <a:pt x="2428802" y="392708"/>
                    <a:pt x="2413519" y="407989"/>
                    <a:pt x="2394668" y="407989"/>
                  </a:cubicBezTo>
                  <a:cubicBezTo>
                    <a:pt x="2375818" y="407989"/>
                    <a:pt x="2360538" y="392708"/>
                    <a:pt x="2360538" y="373857"/>
                  </a:cubicBezTo>
                  <a:cubicBezTo>
                    <a:pt x="2360538" y="355006"/>
                    <a:pt x="2375818" y="339725"/>
                    <a:pt x="2394668" y="339725"/>
                  </a:cubicBezTo>
                  <a:close/>
                  <a:moveTo>
                    <a:pt x="2309738" y="339725"/>
                  </a:moveTo>
                  <a:cubicBezTo>
                    <a:pt x="2329025" y="339725"/>
                    <a:pt x="2344663" y="355006"/>
                    <a:pt x="2344663" y="373857"/>
                  </a:cubicBezTo>
                  <a:cubicBezTo>
                    <a:pt x="2344663" y="392708"/>
                    <a:pt x="2329025" y="407989"/>
                    <a:pt x="2309738" y="407989"/>
                  </a:cubicBezTo>
                  <a:cubicBezTo>
                    <a:pt x="2290447" y="407989"/>
                    <a:pt x="2274811" y="392708"/>
                    <a:pt x="2274811" y="373857"/>
                  </a:cubicBezTo>
                  <a:cubicBezTo>
                    <a:pt x="2274811" y="355006"/>
                    <a:pt x="2290447" y="339725"/>
                    <a:pt x="2309738" y="339725"/>
                  </a:cubicBezTo>
                  <a:close/>
                  <a:moveTo>
                    <a:pt x="2224806" y="339725"/>
                  </a:moveTo>
                  <a:cubicBezTo>
                    <a:pt x="2243657" y="339725"/>
                    <a:pt x="2258939" y="355006"/>
                    <a:pt x="2258939" y="373857"/>
                  </a:cubicBezTo>
                  <a:cubicBezTo>
                    <a:pt x="2258939" y="392708"/>
                    <a:pt x="2243657" y="407989"/>
                    <a:pt x="2224806" y="407989"/>
                  </a:cubicBezTo>
                  <a:cubicBezTo>
                    <a:pt x="2205955" y="407989"/>
                    <a:pt x="2190673" y="392708"/>
                    <a:pt x="2190673" y="373857"/>
                  </a:cubicBezTo>
                  <a:cubicBezTo>
                    <a:pt x="2190673" y="355006"/>
                    <a:pt x="2205955" y="339725"/>
                    <a:pt x="2224806" y="339725"/>
                  </a:cubicBezTo>
                  <a:close/>
                  <a:moveTo>
                    <a:pt x="1888373" y="339725"/>
                  </a:moveTo>
                  <a:cubicBezTo>
                    <a:pt x="1907222" y="339725"/>
                    <a:pt x="1922503" y="355006"/>
                    <a:pt x="1922503" y="373857"/>
                  </a:cubicBezTo>
                  <a:cubicBezTo>
                    <a:pt x="1922503" y="392708"/>
                    <a:pt x="1907222" y="407989"/>
                    <a:pt x="1888373" y="407989"/>
                  </a:cubicBezTo>
                  <a:cubicBezTo>
                    <a:pt x="1869524" y="407989"/>
                    <a:pt x="1854243" y="392708"/>
                    <a:pt x="1854243" y="373857"/>
                  </a:cubicBezTo>
                  <a:cubicBezTo>
                    <a:pt x="1854243" y="355006"/>
                    <a:pt x="1869524" y="339725"/>
                    <a:pt x="1888373" y="339725"/>
                  </a:cubicBezTo>
                  <a:close/>
                  <a:moveTo>
                    <a:pt x="1802656" y="339725"/>
                  </a:moveTo>
                  <a:cubicBezTo>
                    <a:pt x="1821504" y="339725"/>
                    <a:pt x="1836784" y="355006"/>
                    <a:pt x="1836784" y="373857"/>
                  </a:cubicBezTo>
                  <a:cubicBezTo>
                    <a:pt x="1836784" y="392708"/>
                    <a:pt x="1821504" y="407989"/>
                    <a:pt x="1802656" y="407989"/>
                  </a:cubicBezTo>
                  <a:cubicBezTo>
                    <a:pt x="1783803" y="407989"/>
                    <a:pt x="1768524" y="392708"/>
                    <a:pt x="1768524" y="373857"/>
                  </a:cubicBezTo>
                  <a:cubicBezTo>
                    <a:pt x="1768524" y="355006"/>
                    <a:pt x="1783803" y="339725"/>
                    <a:pt x="1802656" y="339725"/>
                  </a:cubicBezTo>
                  <a:close/>
                  <a:moveTo>
                    <a:pt x="1551838" y="339725"/>
                  </a:moveTo>
                  <a:cubicBezTo>
                    <a:pt x="1570689" y="339725"/>
                    <a:pt x="1585970" y="355006"/>
                    <a:pt x="1585970" y="373857"/>
                  </a:cubicBezTo>
                  <a:cubicBezTo>
                    <a:pt x="1585970" y="392708"/>
                    <a:pt x="1570689" y="407989"/>
                    <a:pt x="1551838" y="407989"/>
                  </a:cubicBezTo>
                  <a:cubicBezTo>
                    <a:pt x="1532987" y="407989"/>
                    <a:pt x="1517707" y="392708"/>
                    <a:pt x="1517707" y="373857"/>
                  </a:cubicBezTo>
                  <a:cubicBezTo>
                    <a:pt x="1517707" y="355006"/>
                    <a:pt x="1532987" y="339725"/>
                    <a:pt x="1551838" y="339725"/>
                  </a:cubicBezTo>
                  <a:close/>
                  <a:moveTo>
                    <a:pt x="1466114" y="339725"/>
                  </a:moveTo>
                  <a:cubicBezTo>
                    <a:pt x="1484965" y="339725"/>
                    <a:pt x="1500247" y="355006"/>
                    <a:pt x="1500247" y="373857"/>
                  </a:cubicBezTo>
                  <a:cubicBezTo>
                    <a:pt x="1500247" y="392708"/>
                    <a:pt x="1484965" y="407989"/>
                    <a:pt x="1466114" y="407989"/>
                  </a:cubicBezTo>
                  <a:cubicBezTo>
                    <a:pt x="1447265" y="407989"/>
                    <a:pt x="1431983" y="392708"/>
                    <a:pt x="1431983" y="373857"/>
                  </a:cubicBezTo>
                  <a:cubicBezTo>
                    <a:pt x="1431983" y="355006"/>
                    <a:pt x="1447265" y="339725"/>
                    <a:pt x="1466114" y="339725"/>
                  </a:cubicBezTo>
                  <a:close/>
                  <a:moveTo>
                    <a:pt x="7620677" y="258763"/>
                  </a:moveTo>
                  <a:cubicBezTo>
                    <a:pt x="7639528" y="258763"/>
                    <a:pt x="7654809" y="274044"/>
                    <a:pt x="7654809" y="292895"/>
                  </a:cubicBezTo>
                  <a:cubicBezTo>
                    <a:pt x="7654809" y="311746"/>
                    <a:pt x="7639528" y="327027"/>
                    <a:pt x="7620677" y="327027"/>
                  </a:cubicBezTo>
                  <a:cubicBezTo>
                    <a:pt x="7601826" y="327027"/>
                    <a:pt x="7586545" y="311746"/>
                    <a:pt x="7586545" y="292895"/>
                  </a:cubicBezTo>
                  <a:cubicBezTo>
                    <a:pt x="7586545" y="274044"/>
                    <a:pt x="7601826" y="258763"/>
                    <a:pt x="7620677" y="258763"/>
                  </a:cubicBezTo>
                  <a:close/>
                  <a:moveTo>
                    <a:pt x="7534952" y="258763"/>
                  </a:moveTo>
                  <a:cubicBezTo>
                    <a:pt x="7553803" y="258763"/>
                    <a:pt x="7569084" y="274044"/>
                    <a:pt x="7569084" y="292895"/>
                  </a:cubicBezTo>
                  <a:cubicBezTo>
                    <a:pt x="7569084" y="311746"/>
                    <a:pt x="7553803" y="327027"/>
                    <a:pt x="7534952" y="327027"/>
                  </a:cubicBezTo>
                  <a:cubicBezTo>
                    <a:pt x="7516101" y="327027"/>
                    <a:pt x="7500820" y="311746"/>
                    <a:pt x="7500820" y="292895"/>
                  </a:cubicBezTo>
                  <a:cubicBezTo>
                    <a:pt x="7500820" y="274044"/>
                    <a:pt x="7516101" y="258763"/>
                    <a:pt x="7534952" y="258763"/>
                  </a:cubicBezTo>
                  <a:close/>
                  <a:moveTo>
                    <a:pt x="7366677" y="258763"/>
                  </a:moveTo>
                  <a:cubicBezTo>
                    <a:pt x="7387281" y="258763"/>
                    <a:pt x="7403984" y="274044"/>
                    <a:pt x="7403984" y="292895"/>
                  </a:cubicBezTo>
                  <a:cubicBezTo>
                    <a:pt x="7403984" y="311746"/>
                    <a:pt x="7387281" y="327027"/>
                    <a:pt x="7366677" y="327027"/>
                  </a:cubicBezTo>
                  <a:cubicBezTo>
                    <a:pt x="7346073" y="327027"/>
                    <a:pt x="7329370" y="311746"/>
                    <a:pt x="7329370" y="292895"/>
                  </a:cubicBezTo>
                  <a:cubicBezTo>
                    <a:pt x="7329370" y="274044"/>
                    <a:pt x="7346073" y="258763"/>
                    <a:pt x="7366677" y="258763"/>
                  </a:cubicBezTo>
                  <a:close/>
                  <a:moveTo>
                    <a:pt x="7284127" y="258763"/>
                  </a:moveTo>
                  <a:cubicBezTo>
                    <a:pt x="7302978" y="258763"/>
                    <a:pt x="7318259" y="274044"/>
                    <a:pt x="7318259" y="292895"/>
                  </a:cubicBezTo>
                  <a:cubicBezTo>
                    <a:pt x="7318259" y="311746"/>
                    <a:pt x="7302978" y="327027"/>
                    <a:pt x="7284127" y="327027"/>
                  </a:cubicBezTo>
                  <a:cubicBezTo>
                    <a:pt x="7265276" y="327027"/>
                    <a:pt x="7249995" y="311746"/>
                    <a:pt x="7249995" y="292895"/>
                  </a:cubicBezTo>
                  <a:cubicBezTo>
                    <a:pt x="7249995" y="274044"/>
                    <a:pt x="7265276" y="258763"/>
                    <a:pt x="7284127" y="258763"/>
                  </a:cubicBezTo>
                  <a:close/>
                  <a:moveTo>
                    <a:pt x="7198402" y="258763"/>
                  </a:moveTo>
                  <a:cubicBezTo>
                    <a:pt x="7217253" y="258763"/>
                    <a:pt x="7232534" y="274044"/>
                    <a:pt x="7232534" y="292895"/>
                  </a:cubicBezTo>
                  <a:cubicBezTo>
                    <a:pt x="7232534" y="311746"/>
                    <a:pt x="7217253" y="327027"/>
                    <a:pt x="7198402" y="327027"/>
                  </a:cubicBezTo>
                  <a:cubicBezTo>
                    <a:pt x="7179551" y="327027"/>
                    <a:pt x="7164270" y="311746"/>
                    <a:pt x="7164270" y="292895"/>
                  </a:cubicBezTo>
                  <a:cubicBezTo>
                    <a:pt x="7164270" y="274044"/>
                    <a:pt x="7179551" y="258763"/>
                    <a:pt x="7198402" y="258763"/>
                  </a:cubicBezTo>
                  <a:close/>
                  <a:moveTo>
                    <a:pt x="7112677" y="258763"/>
                  </a:moveTo>
                  <a:cubicBezTo>
                    <a:pt x="7131528" y="258763"/>
                    <a:pt x="7146809" y="274044"/>
                    <a:pt x="7146809" y="292895"/>
                  </a:cubicBezTo>
                  <a:cubicBezTo>
                    <a:pt x="7146809" y="311746"/>
                    <a:pt x="7131528" y="327027"/>
                    <a:pt x="7112677" y="327027"/>
                  </a:cubicBezTo>
                  <a:cubicBezTo>
                    <a:pt x="7093826" y="327027"/>
                    <a:pt x="7078545" y="311746"/>
                    <a:pt x="7078545" y="292895"/>
                  </a:cubicBezTo>
                  <a:cubicBezTo>
                    <a:pt x="7078545" y="274044"/>
                    <a:pt x="7093826" y="258763"/>
                    <a:pt x="7112677" y="258763"/>
                  </a:cubicBezTo>
                  <a:close/>
                  <a:moveTo>
                    <a:pt x="7027745" y="258763"/>
                  </a:moveTo>
                  <a:cubicBezTo>
                    <a:pt x="7047034" y="258763"/>
                    <a:pt x="7062670" y="274044"/>
                    <a:pt x="7062670" y="292895"/>
                  </a:cubicBezTo>
                  <a:cubicBezTo>
                    <a:pt x="7062670" y="311746"/>
                    <a:pt x="7047034" y="327027"/>
                    <a:pt x="7027745" y="327027"/>
                  </a:cubicBezTo>
                  <a:cubicBezTo>
                    <a:pt x="7008456" y="327027"/>
                    <a:pt x="6992820" y="311746"/>
                    <a:pt x="6992820" y="292895"/>
                  </a:cubicBezTo>
                  <a:cubicBezTo>
                    <a:pt x="6992820" y="274044"/>
                    <a:pt x="7008456" y="258763"/>
                    <a:pt x="7027745" y="258763"/>
                  </a:cubicBezTo>
                  <a:close/>
                  <a:moveTo>
                    <a:pt x="6353852" y="258763"/>
                  </a:moveTo>
                  <a:cubicBezTo>
                    <a:pt x="6372703" y="258763"/>
                    <a:pt x="6387984" y="274044"/>
                    <a:pt x="6387984" y="292895"/>
                  </a:cubicBezTo>
                  <a:cubicBezTo>
                    <a:pt x="6387984" y="311746"/>
                    <a:pt x="6372703" y="327027"/>
                    <a:pt x="6353852" y="327027"/>
                  </a:cubicBezTo>
                  <a:cubicBezTo>
                    <a:pt x="6335001" y="327027"/>
                    <a:pt x="6319720" y="311746"/>
                    <a:pt x="6319720" y="292895"/>
                  </a:cubicBezTo>
                  <a:cubicBezTo>
                    <a:pt x="6319720" y="274044"/>
                    <a:pt x="6335001" y="258763"/>
                    <a:pt x="6353852" y="258763"/>
                  </a:cubicBezTo>
                  <a:close/>
                  <a:moveTo>
                    <a:pt x="5344202" y="258763"/>
                  </a:moveTo>
                  <a:cubicBezTo>
                    <a:pt x="5363053" y="258763"/>
                    <a:pt x="5378334" y="274044"/>
                    <a:pt x="5378334" y="292895"/>
                  </a:cubicBezTo>
                  <a:cubicBezTo>
                    <a:pt x="5378334" y="311746"/>
                    <a:pt x="5363053" y="327027"/>
                    <a:pt x="5344202" y="327027"/>
                  </a:cubicBezTo>
                  <a:cubicBezTo>
                    <a:pt x="5325351" y="327027"/>
                    <a:pt x="5310070" y="311746"/>
                    <a:pt x="5310070" y="292895"/>
                  </a:cubicBezTo>
                  <a:cubicBezTo>
                    <a:pt x="5310070" y="274044"/>
                    <a:pt x="5325351" y="258763"/>
                    <a:pt x="5344202" y="258763"/>
                  </a:cubicBezTo>
                  <a:close/>
                  <a:moveTo>
                    <a:pt x="4500445" y="258763"/>
                  </a:moveTo>
                  <a:cubicBezTo>
                    <a:pt x="4519734" y="258763"/>
                    <a:pt x="4535370" y="274044"/>
                    <a:pt x="4535370" y="292895"/>
                  </a:cubicBezTo>
                  <a:cubicBezTo>
                    <a:pt x="4535370" y="311746"/>
                    <a:pt x="4519734" y="327027"/>
                    <a:pt x="4500445" y="327027"/>
                  </a:cubicBezTo>
                  <a:cubicBezTo>
                    <a:pt x="4481156" y="327027"/>
                    <a:pt x="4465520" y="311746"/>
                    <a:pt x="4465520" y="292895"/>
                  </a:cubicBezTo>
                  <a:cubicBezTo>
                    <a:pt x="4465520" y="274044"/>
                    <a:pt x="4481156" y="258763"/>
                    <a:pt x="4500445" y="258763"/>
                  </a:cubicBezTo>
                  <a:close/>
                  <a:moveTo>
                    <a:pt x="4415515" y="258763"/>
                  </a:moveTo>
                  <a:cubicBezTo>
                    <a:pt x="4434366" y="258763"/>
                    <a:pt x="4449647" y="274044"/>
                    <a:pt x="4449647" y="292895"/>
                  </a:cubicBezTo>
                  <a:cubicBezTo>
                    <a:pt x="4449647" y="311746"/>
                    <a:pt x="4434366" y="327027"/>
                    <a:pt x="4415515" y="327027"/>
                  </a:cubicBezTo>
                  <a:cubicBezTo>
                    <a:pt x="4396664" y="327027"/>
                    <a:pt x="4381383" y="311746"/>
                    <a:pt x="4381383" y="292895"/>
                  </a:cubicBezTo>
                  <a:cubicBezTo>
                    <a:pt x="4381383" y="274044"/>
                    <a:pt x="4396664" y="258763"/>
                    <a:pt x="4415515" y="258763"/>
                  </a:cubicBezTo>
                  <a:close/>
                  <a:moveTo>
                    <a:pt x="4332171" y="258763"/>
                  </a:moveTo>
                  <a:cubicBezTo>
                    <a:pt x="4352337" y="258763"/>
                    <a:pt x="4368684" y="274044"/>
                    <a:pt x="4368684" y="292895"/>
                  </a:cubicBezTo>
                  <a:cubicBezTo>
                    <a:pt x="4368684" y="311746"/>
                    <a:pt x="4352337" y="327027"/>
                    <a:pt x="4332171" y="327027"/>
                  </a:cubicBezTo>
                  <a:cubicBezTo>
                    <a:pt x="4312005" y="327027"/>
                    <a:pt x="4295658" y="311746"/>
                    <a:pt x="4295658" y="292895"/>
                  </a:cubicBezTo>
                  <a:cubicBezTo>
                    <a:pt x="4295658" y="274044"/>
                    <a:pt x="4312005" y="258763"/>
                    <a:pt x="4332171" y="258763"/>
                  </a:cubicBezTo>
                  <a:close/>
                  <a:moveTo>
                    <a:pt x="4248827" y="258763"/>
                  </a:moveTo>
                  <a:cubicBezTo>
                    <a:pt x="4267678" y="258763"/>
                    <a:pt x="4282959" y="274044"/>
                    <a:pt x="4282959" y="292895"/>
                  </a:cubicBezTo>
                  <a:cubicBezTo>
                    <a:pt x="4282959" y="311746"/>
                    <a:pt x="4267678" y="327027"/>
                    <a:pt x="4248827" y="327027"/>
                  </a:cubicBezTo>
                  <a:cubicBezTo>
                    <a:pt x="4229976" y="327027"/>
                    <a:pt x="4214695" y="311746"/>
                    <a:pt x="4214695" y="292895"/>
                  </a:cubicBezTo>
                  <a:cubicBezTo>
                    <a:pt x="4214695" y="274044"/>
                    <a:pt x="4229976" y="258763"/>
                    <a:pt x="4248827" y="258763"/>
                  </a:cubicBezTo>
                  <a:close/>
                  <a:moveTo>
                    <a:pt x="4163895" y="258763"/>
                  </a:moveTo>
                  <a:cubicBezTo>
                    <a:pt x="4183184" y="258763"/>
                    <a:pt x="4198820" y="274044"/>
                    <a:pt x="4198820" y="292895"/>
                  </a:cubicBezTo>
                  <a:cubicBezTo>
                    <a:pt x="4198820" y="311746"/>
                    <a:pt x="4183184" y="327027"/>
                    <a:pt x="4163895" y="327027"/>
                  </a:cubicBezTo>
                  <a:cubicBezTo>
                    <a:pt x="4144606" y="327027"/>
                    <a:pt x="4128970" y="311746"/>
                    <a:pt x="4128970" y="292895"/>
                  </a:cubicBezTo>
                  <a:cubicBezTo>
                    <a:pt x="4128970" y="274044"/>
                    <a:pt x="4144606" y="258763"/>
                    <a:pt x="4163895" y="258763"/>
                  </a:cubicBezTo>
                  <a:close/>
                  <a:moveTo>
                    <a:pt x="4078170" y="258763"/>
                  </a:moveTo>
                  <a:cubicBezTo>
                    <a:pt x="4097459" y="258763"/>
                    <a:pt x="4113095" y="274044"/>
                    <a:pt x="4113095" y="292895"/>
                  </a:cubicBezTo>
                  <a:cubicBezTo>
                    <a:pt x="4113095" y="311746"/>
                    <a:pt x="4097459" y="327027"/>
                    <a:pt x="4078170" y="327027"/>
                  </a:cubicBezTo>
                  <a:cubicBezTo>
                    <a:pt x="4058881" y="327027"/>
                    <a:pt x="4043245" y="311746"/>
                    <a:pt x="4043245" y="292895"/>
                  </a:cubicBezTo>
                  <a:cubicBezTo>
                    <a:pt x="4043245" y="274044"/>
                    <a:pt x="4058881" y="258763"/>
                    <a:pt x="4078170" y="258763"/>
                  </a:cubicBezTo>
                  <a:close/>
                  <a:moveTo>
                    <a:pt x="3993240" y="258763"/>
                  </a:moveTo>
                  <a:cubicBezTo>
                    <a:pt x="4012091" y="258763"/>
                    <a:pt x="4027372" y="274044"/>
                    <a:pt x="4027372" y="292895"/>
                  </a:cubicBezTo>
                  <a:cubicBezTo>
                    <a:pt x="4027372" y="311746"/>
                    <a:pt x="4012091" y="327027"/>
                    <a:pt x="3993240" y="327027"/>
                  </a:cubicBezTo>
                  <a:cubicBezTo>
                    <a:pt x="3974389" y="327027"/>
                    <a:pt x="3959108" y="311746"/>
                    <a:pt x="3959108" y="292895"/>
                  </a:cubicBezTo>
                  <a:cubicBezTo>
                    <a:pt x="3959108" y="274044"/>
                    <a:pt x="3974389" y="258763"/>
                    <a:pt x="3993240" y="258763"/>
                  </a:cubicBezTo>
                  <a:close/>
                  <a:moveTo>
                    <a:pt x="3912277" y="258763"/>
                  </a:moveTo>
                  <a:cubicBezTo>
                    <a:pt x="3931128" y="258763"/>
                    <a:pt x="3946409" y="274044"/>
                    <a:pt x="3946409" y="292895"/>
                  </a:cubicBezTo>
                  <a:cubicBezTo>
                    <a:pt x="3946409" y="311746"/>
                    <a:pt x="3931128" y="327027"/>
                    <a:pt x="3912277" y="327027"/>
                  </a:cubicBezTo>
                  <a:cubicBezTo>
                    <a:pt x="3893426" y="327027"/>
                    <a:pt x="3878145" y="311746"/>
                    <a:pt x="3878145" y="292895"/>
                  </a:cubicBezTo>
                  <a:cubicBezTo>
                    <a:pt x="3878145" y="274044"/>
                    <a:pt x="3893426" y="258763"/>
                    <a:pt x="3912277" y="258763"/>
                  </a:cubicBezTo>
                  <a:close/>
                  <a:moveTo>
                    <a:pt x="3826552" y="258763"/>
                  </a:moveTo>
                  <a:cubicBezTo>
                    <a:pt x="3845403" y="258763"/>
                    <a:pt x="3860684" y="274044"/>
                    <a:pt x="3860684" y="292895"/>
                  </a:cubicBezTo>
                  <a:cubicBezTo>
                    <a:pt x="3860684" y="311746"/>
                    <a:pt x="3845403" y="327027"/>
                    <a:pt x="3826552" y="327027"/>
                  </a:cubicBezTo>
                  <a:cubicBezTo>
                    <a:pt x="3807701" y="327027"/>
                    <a:pt x="3792420" y="311746"/>
                    <a:pt x="3792420" y="292895"/>
                  </a:cubicBezTo>
                  <a:cubicBezTo>
                    <a:pt x="3792420" y="274044"/>
                    <a:pt x="3807701" y="258763"/>
                    <a:pt x="3826552" y="258763"/>
                  </a:cubicBezTo>
                  <a:close/>
                  <a:moveTo>
                    <a:pt x="3741620" y="258763"/>
                  </a:moveTo>
                  <a:cubicBezTo>
                    <a:pt x="3760909" y="258763"/>
                    <a:pt x="3776545" y="274044"/>
                    <a:pt x="3776545" y="292895"/>
                  </a:cubicBezTo>
                  <a:cubicBezTo>
                    <a:pt x="3776545" y="311746"/>
                    <a:pt x="3760909" y="327027"/>
                    <a:pt x="3741620" y="327027"/>
                  </a:cubicBezTo>
                  <a:cubicBezTo>
                    <a:pt x="3722331" y="327027"/>
                    <a:pt x="3706695" y="311746"/>
                    <a:pt x="3706695" y="292895"/>
                  </a:cubicBezTo>
                  <a:cubicBezTo>
                    <a:pt x="3706695" y="274044"/>
                    <a:pt x="3722331" y="258763"/>
                    <a:pt x="3741620" y="258763"/>
                  </a:cubicBezTo>
                  <a:close/>
                  <a:moveTo>
                    <a:pt x="3153452" y="258763"/>
                  </a:moveTo>
                  <a:cubicBezTo>
                    <a:pt x="3172303" y="258763"/>
                    <a:pt x="3187584" y="274044"/>
                    <a:pt x="3187584" y="292895"/>
                  </a:cubicBezTo>
                  <a:cubicBezTo>
                    <a:pt x="3187584" y="311746"/>
                    <a:pt x="3172303" y="327027"/>
                    <a:pt x="3153452" y="327027"/>
                  </a:cubicBezTo>
                  <a:cubicBezTo>
                    <a:pt x="3134601" y="327027"/>
                    <a:pt x="3119320" y="311746"/>
                    <a:pt x="3119320" y="292895"/>
                  </a:cubicBezTo>
                  <a:cubicBezTo>
                    <a:pt x="3119320" y="274044"/>
                    <a:pt x="3134601" y="258763"/>
                    <a:pt x="3153452" y="258763"/>
                  </a:cubicBezTo>
                  <a:close/>
                  <a:moveTo>
                    <a:pt x="2897865" y="258763"/>
                  </a:moveTo>
                  <a:cubicBezTo>
                    <a:pt x="2916716" y="258763"/>
                    <a:pt x="2931997" y="274044"/>
                    <a:pt x="2931997" y="292895"/>
                  </a:cubicBezTo>
                  <a:cubicBezTo>
                    <a:pt x="2931997" y="311746"/>
                    <a:pt x="2916716" y="327027"/>
                    <a:pt x="2897865" y="327027"/>
                  </a:cubicBezTo>
                  <a:cubicBezTo>
                    <a:pt x="2879014" y="327027"/>
                    <a:pt x="2863733" y="311746"/>
                    <a:pt x="2863733" y="292895"/>
                  </a:cubicBezTo>
                  <a:cubicBezTo>
                    <a:pt x="2863733" y="274044"/>
                    <a:pt x="2879014" y="258763"/>
                    <a:pt x="2897865" y="258763"/>
                  </a:cubicBezTo>
                  <a:close/>
                  <a:moveTo>
                    <a:pt x="2731999" y="258763"/>
                  </a:moveTo>
                  <a:cubicBezTo>
                    <a:pt x="2751288" y="258763"/>
                    <a:pt x="2766923" y="274044"/>
                    <a:pt x="2766923" y="292895"/>
                  </a:cubicBezTo>
                  <a:cubicBezTo>
                    <a:pt x="2766923" y="311746"/>
                    <a:pt x="2751288" y="327027"/>
                    <a:pt x="2731999" y="327027"/>
                  </a:cubicBezTo>
                  <a:cubicBezTo>
                    <a:pt x="2712710" y="327027"/>
                    <a:pt x="2697074" y="311746"/>
                    <a:pt x="2697074" y="292895"/>
                  </a:cubicBezTo>
                  <a:cubicBezTo>
                    <a:pt x="2697074" y="274044"/>
                    <a:pt x="2712710" y="258763"/>
                    <a:pt x="2731999" y="258763"/>
                  </a:cubicBezTo>
                  <a:close/>
                  <a:moveTo>
                    <a:pt x="2561479" y="258763"/>
                  </a:moveTo>
                  <a:cubicBezTo>
                    <a:pt x="2580330" y="258763"/>
                    <a:pt x="2595609" y="274044"/>
                    <a:pt x="2595609" y="292895"/>
                  </a:cubicBezTo>
                  <a:cubicBezTo>
                    <a:pt x="2595609" y="311746"/>
                    <a:pt x="2580330" y="327027"/>
                    <a:pt x="2561479" y="327027"/>
                  </a:cubicBezTo>
                  <a:cubicBezTo>
                    <a:pt x="2542628" y="327027"/>
                    <a:pt x="2527342" y="311746"/>
                    <a:pt x="2527342" y="292895"/>
                  </a:cubicBezTo>
                  <a:cubicBezTo>
                    <a:pt x="2527342" y="274044"/>
                    <a:pt x="2542628" y="258763"/>
                    <a:pt x="2561479" y="258763"/>
                  </a:cubicBezTo>
                  <a:close/>
                  <a:moveTo>
                    <a:pt x="2309735" y="258763"/>
                  </a:moveTo>
                  <a:cubicBezTo>
                    <a:pt x="2329023" y="258763"/>
                    <a:pt x="2344661" y="274044"/>
                    <a:pt x="2344661" y="292895"/>
                  </a:cubicBezTo>
                  <a:cubicBezTo>
                    <a:pt x="2344661" y="311746"/>
                    <a:pt x="2329023" y="327027"/>
                    <a:pt x="2309735" y="327027"/>
                  </a:cubicBezTo>
                  <a:cubicBezTo>
                    <a:pt x="2290446" y="327027"/>
                    <a:pt x="2274810" y="311746"/>
                    <a:pt x="2274810" y="292895"/>
                  </a:cubicBezTo>
                  <a:cubicBezTo>
                    <a:pt x="2274810" y="274044"/>
                    <a:pt x="2290446" y="258763"/>
                    <a:pt x="2309735" y="258763"/>
                  </a:cubicBezTo>
                  <a:close/>
                  <a:moveTo>
                    <a:pt x="2224806" y="258763"/>
                  </a:moveTo>
                  <a:cubicBezTo>
                    <a:pt x="2243656" y="258763"/>
                    <a:pt x="2258937" y="274044"/>
                    <a:pt x="2258937" y="292895"/>
                  </a:cubicBezTo>
                  <a:cubicBezTo>
                    <a:pt x="2258937" y="311746"/>
                    <a:pt x="2243656" y="327027"/>
                    <a:pt x="2224806" y="327027"/>
                  </a:cubicBezTo>
                  <a:cubicBezTo>
                    <a:pt x="2205955" y="327027"/>
                    <a:pt x="2190673" y="311746"/>
                    <a:pt x="2190673" y="292895"/>
                  </a:cubicBezTo>
                  <a:cubicBezTo>
                    <a:pt x="2190673" y="274044"/>
                    <a:pt x="2205955" y="258763"/>
                    <a:pt x="2224806" y="258763"/>
                  </a:cubicBezTo>
                  <a:close/>
                  <a:moveTo>
                    <a:pt x="2055738" y="258763"/>
                  </a:moveTo>
                  <a:cubicBezTo>
                    <a:pt x="2075905" y="258763"/>
                    <a:pt x="2092252" y="274044"/>
                    <a:pt x="2092252" y="292895"/>
                  </a:cubicBezTo>
                  <a:cubicBezTo>
                    <a:pt x="2092252" y="311746"/>
                    <a:pt x="2075905" y="327027"/>
                    <a:pt x="2055738" y="327027"/>
                  </a:cubicBezTo>
                  <a:cubicBezTo>
                    <a:pt x="2035573" y="327027"/>
                    <a:pt x="2019226" y="311746"/>
                    <a:pt x="2019226" y="292895"/>
                  </a:cubicBezTo>
                  <a:cubicBezTo>
                    <a:pt x="2019226" y="274044"/>
                    <a:pt x="2035573" y="258763"/>
                    <a:pt x="2055738" y="258763"/>
                  </a:cubicBezTo>
                  <a:close/>
                  <a:moveTo>
                    <a:pt x="7198402" y="173038"/>
                  </a:moveTo>
                  <a:cubicBezTo>
                    <a:pt x="7217253" y="173038"/>
                    <a:pt x="7232534" y="188319"/>
                    <a:pt x="7232534" y="207170"/>
                  </a:cubicBezTo>
                  <a:cubicBezTo>
                    <a:pt x="7232534" y="226021"/>
                    <a:pt x="7217253" y="241302"/>
                    <a:pt x="7198402" y="241302"/>
                  </a:cubicBezTo>
                  <a:cubicBezTo>
                    <a:pt x="7179551" y="241302"/>
                    <a:pt x="7164270" y="226021"/>
                    <a:pt x="7164270" y="207170"/>
                  </a:cubicBezTo>
                  <a:cubicBezTo>
                    <a:pt x="7164270" y="188319"/>
                    <a:pt x="7179551" y="173038"/>
                    <a:pt x="7198402" y="173038"/>
                  </a:cubicBezTo>
                  <a:close/>
                  <a:moveTo>
                    <a:pt x="7112677" y="173038"/>
                  </a:moveTo>
                  <a:cubicBezTo>
                    <a:pt x="7131528" y="173038"/>
                    <a:pt x="7146809" y="188319"/>
                    <a:pt x="7146809" y="207170"/>
                  </a:cubicBezTo>
                  <a:cubicBezTo>
                    <a:pt x="7146809" y="226021"/>
                    <a:pt x="7131528" y="241302"/>
                    <a:pt x="7112677" y="241302"/>
                  </a:cubicBezTo>
                  <a:cubicBezTo>
                    <a:pt x="7093826" y="241302"/>
                    <a:pt x="7078545" y="226021"/>
                    <a:pt x="7078545" y="207170"/>
                  </a:cubicBezTo>
                  <a:cubicBezTo>
                    <a:pt x="7078545" y="188319"/>
                    <a:pt x="7093826" y="173038"/>
                    <a:pt x="7112677" y="173038"/>
                  </a:cubicBezTo>
                  <a:close/>
                  <a:moveTo>
                    <a:pt x="7027745" y="173038"/>
                  </a:moveTo>
                  <a:cubicBezTo>
                    <a:pt x="7047034" y="173038"/>
                    <a:pt x="7062670" y="188319"/>
                    <a:pt x="7062670" y="207170"/>
                  </a:cubicBezTo>
                  <a:cubicBezTo>
                    <a:pt x="7062670" y="226021"/>
                    <a:pt x="7047034" y="241302"/>
                    <a:pt x="7027745" y="241302"/>
                  </a:cubicBezTo>
                  <a:cubicBezTo>
                    <a:pt x="7008456" y="241302"/>
                    <a:pt x="6992820" y="226021"/>
                    <a:pt x="6992820" y="207170"/>
                  </a:cubicBezTo>
                  <a:cubicBezTo>
                    <a:pt x="6992820" y="188319"/>
                    <a:pt x="7008456" y="173038"/>
                    <a:pt x="7027745" y="173038"/>
                  </a:cubicBezTo>
                  <a:close/>
                  <a:moveTo>
                    <a:pt x="6439577" y="173038"/>
                  </a:moveTo>
                  <a:cubicBezTo>
                    <a:pt x="6458428" y="173038"/>
                    <a:pt x="6473709" y="188319"/>
                    <a:pt x="6473709" y="207170"/>
                  </a:cubicBezTo>
                  <a:cubicBezTo>
                    <a:pt x="6473709" y="226021"/>
                    <a:pt x="6458428" y="241302"/>
                    <a:pt x="6439577" y="241302"/>
                  </a:cubicBezTo>
                  <a:cubicBezTo>
                    <a:pt x="6420726" y="241302"/>
                    <a:pt x="6405445" y="226021"/>
                    <a:pt x="6405445" y="207170"/>
                  </a:cubicBezTo>
                  <a:cubicBezTo>
                    <a:pt x="6405445" y="188319"/>
                    <a:pt x="6420726" y="173038"/>
                    <a:pt x="6439577" y="173038"/>
                  </a:cubicBezTo>
                  <a:close/>
                  <a:moveTo>
                    <a:pt x="5429927" y="173038"/>
                  </a:moveTo>
                  <a:cubicBezTo>
                    <a:pt x="5448778" y="173038"/>
                    <a:pt x="5464059" y="188319"/>
                    <a:pt x="5464059" y="207170"/>
                  </a:cubicBezTo>
                  <a:cubicBezTo>
                    <a:pt x="5464059" y="226021"/>
                    <a:pt x="5448778" y="241302"/>
                    <a:pt x="5429927" y="241302"/>
                  </a:cubicBezTo>
                  <a:cubicBezTo>
                    <a:pt x="5411076" y="241302"/>
                    <a:pt x="5395795" y="226021"/>
                    <a:pt x="5395795" y="207170"/>
                  </a:cubicBezTo>
                  <a:cubicBezTo>
                    <a:pt x="5395795" y="188319"/>
                    <a:pt x="5411076" y="173038"/>
                    <a:pt x="5429927" y="173038"/>
                  </a:cubicBezTo>
                  <a:close/>
                  <a:moveTo>
                    <a:pt x="5344202" y="173038"/>
                  </a:moveTo>
                  <a:cubicBezTo>
                    <a:pt x="5363053" y="173038"/>
                    <a:pt x="5378334" y="188319"/>
                    <a:pt x="5378334" y="207170"/>
                  </a:cubicBezTo>
                  <a:cubicBezTo>
                    <a:pt x="5378334" y="226021"/>
                    <a:pt x="5363053" y="241302"/>
                    <a:pt x="5344202" y="241302"/>
                  </a:cubicBezTo>
                  <a:cubicBezTo>
                    <a:pt x="5325351" y="241302"/>
                    <a:pt x="5310070" y="226021"/>
                    <a:pt x="5310070" y="207170"/>
                  </a:cubicBezTo>
                  <a:cubicBezTo>
                    <a:pt x="5310070" y="188319"/>
                    <a:pt x="5325351" y="173038"/>
                    <a:pt x="5344202" y="173038"/>
                  </a:cubicBezTo>
                  <a:close/>
                  <a:moveTo>
                    <a:pt x="4500445" y="173038"/>
                  </a:moveTo>
                  <a:cubicBezTo>
                    <a:pt x="4519734" y="173038"/>
                    <a:pt x="4535370" y="188319"/>
                    <a:pt x="4535370" y="207170"/>
                  </a:cubicBezTo>
                  <a:cubicBezTo>
                    <a:pt x="4535370" y="226021"/>
                    <a:pt x="4519734" y="241302"/>
                    <a:pt x="4500445" y="241302"/>
                  </a:cubicBezTo>
                  <a:cubicBezTo>
                    <a:pt x="4481156" y="241302"/>
                    <a:pt x="4465520" y="226021"/>
                    <a:pt x="4465520" y="207170"/>
                  </a:cubicBezTo>
                  <a:cubicBezTo>
                    <a:pt x="4465520" y="188319"/>
                    <a:pt x="4481156" y="173038"/>
                    <a:pt x="4500445" y="173038"/>
                  </a:cubicBezTo>
                  <a:close/>
                  <a:moveTo>
                    <a:pt x="4415515" y="173038"/>
                  </a:moveTo>
                  <a:cubicBezTo>
                    <a:pt x="4434366" y="173038"/>
                    <a:pt x="4449647" y="188319"/>
                    <a:pt x="4449647" y="207170"/>
                  </a:cubicBezTo>
                  <a:cubicBezTo>
                    <a:pt x="4449647" y="226021"/>
                    <a:pt x="4434366" y="241302"/>
                    <a:pt x="4415515" y="241302"/>
                  </a:cubicBezTo>
                  <a:cubicBezTo>
                    <a:pt x="4396664" y="241302"/>
                    <a:pt x="4381383" y="226021"/>
                    <a:pt x="4381383" y="207170"/>
                  </a:cubicBezTo>
                  <a:cubicBezTo>
                    <a:pt x="4381383" y="188319"/>
                    <a:pt x="4396664" y="173038"/>
                    <a:pt x="4415515" y="173038"/>
                  </a:cubicBezTo>
                  <a:close/>
                  <a:moveTo>
                    <a:pt x="4332171" y="173038"/>
                  </a:moveTo>
                  <a:cubicBezTo>
                    <a:pt x="4352337" y="173038"/>
                    <a:pt x="4368684" y="188319"/>
                    <a:pt x="4368684" y="207170"/>
                  </a:cubicBezTo>
                  <a:cubicBezTo>
                    <a:pt x="4368684" y="226021"/>
                    <a:pt x="4352337" y="241302"/>
                    <a:pt x="4332171" y="241302"/>
                  </a:cubicBezTo>
                  <a:cubicBezTo>
                    <a:pt x="4312005" y="241302"/>
                    <a:pt x="4295658" y="226021"/>
                    <a:pt x="4295658" y="207170"/>
                  </a:cubicBezTo>
                  <a:cubicBezTo>
                    <a:pt x="4295658" y="188319"/>
                    <a:pt x="4312005" y="173038"/>
                    <a:pt x="4332171" y="173038"/>
                  </a:cubicBezTo>
                  <a:close/>
                  <a:moveTo>
                    <a:pt x="4248827" y="173038"/>
                  </a:moveTo>
                  <a:cubicBezTo>
                    <a:pt x="4267678" y="173038"/>
                    <a:pt x="4282959" y="188319"/>
                    <a:pt x="4282959" y="207170"/>
                  </a:cubicBezTo>
                  <a:cubicBezTo>
                    <a:pt x="4282959" y="226021"/>
                    <a:pt x="4267678" y="241302"/>
                    <a:pt x="4248827" y="241302"/>
                  </a:cubicBezTo>
                  <a:cubicBezTo>
                    <a:pt x="4229976" y="241302"/>
                    <a:pt x="4214695" y="226021"/>
                    <a:pt x="4214695" y="207170"/>
                  </a:cubicBezTo>
                  <a:cubicBezTo>
                    <a:pt x="4214695" y="188319"/>
                    <a:pt x="4229976" y="173038"/>
                    <a:pt x="4248827" y="173038"/>
                  </a:cubicBezTo>
                  <a:close/>
                  <a:moveTo>
                    <a:pt x="4163895" y="173038"/>
                  </a:moveTo>
                  <a:cubicBezTo>
                    <a:pt x="4183184" y="173038"/>
                    <a:pt x="4198820" y="188319"/>
                    <a:pt x="4198820" y="207170"/>
                  </a:cubicBezTo>
                  <a:cubicBezTo>
                    <a:pt x="4198820" y="226021"/>
                    <a:pt x="4183184" y="241302"/>
                    <a:pt x="4163895" y="241302"/>
                  </a:cubicBezTo>
                  <a:cubicBezTo>
                    <a:pt x="4144606" y="241302"/>
                    <a:pt x="4128970" y="226021"/>
                    <a:pt x="4128970" y="207170"/>
                  </a:cubicBezTo>
                  <a:cubicBezTo>
                    <a:pt x="4128970" y="188319"/>
                    <a:pt x="4144606" y="173038"/>
                    <a:pt x="4163895" y="173038"/>
                  </a:cubicBezTo>
                  <a:close/>
                  <a:moveTo>
                    <a:pt x="4078170" y="173038"/>
                  </a:moveTo>
                  <a:cubicBezTo>
                    <a:pt x="4097459" y="173038"/>
                    <a:pt x="4113095" y="188319"/>
                    <a:pt x="4113095" y="207170"/>
                  </a:cubicBezTo>
                  <a:cubicBezTo>
                    <a:pt x="4113095" y="226021"/>
                    <a:pt x="4097459" y="241302"/>
                    <a:pt x="4078170" y="241302"/>
                  </a:cubicBezTo>
                  <a:cubicBezTo>
                    <a:pt x="4058881" y="241302"/>
                    <a:pt x="4043245" y="226021"/>
                    <a:pt x="4043245" y="207170"/>
                  </a:cubicBezTo>
                  <a:cubicBezTo>
                    <a:pt x="4043245" y="188319"/>
                    <a:pt x="4058881" y="173038"/>
                    <a:pt x="4078170" y="173038"/>
                  </a:cubicBezTo>
                  <a:close/>
                  <a:moveTo>
                    <a:pt x="3993240" y="173038"/>
                  </a:moveTo>
                  <a:cubicBezTo>
                    <a:pt x="4012091" y="173038"/>
                    <a:pt x="4027372" y="188319"/>
                    <a:pt x="4027372" y="207170"/>
                  </a:cubicBezTo>
                  <a:cubicBezTo>
                    <a:pt x="4027372" y="226021"/>
                    <a:pt x="4012091" y="241302"/>
                    <a:pt x="3993240" y="241302"/>
                  </a:cubicBezTo>
                  <a:cubicBezTo>
                    <a:pt x="3974389" y="241302"/>
                    <a:pt x="3959108" y="226021"/>
                    <a:pt x="3959108" y="207170"/>
                  </a:cubicBezTo>
                  <a:cubicBezTo>
                    <a:pt x="3959108" y="188319"/>
                    <a:pt x="3974389" y="173038"/>
                    <a:pt x="3993240" y="173038"/>
                  </a:cubicBezTo>
                  <a:close/>
                  <a:moveTo>
                    <a:pt x="3912277" y="173038"/>
                  </a:moveTo>
                  <a:cubicBezTo>
                    <a:pt x="3931128" y="173038"/>
                    <a:pt x="3946409" y="188319"/>
                    <a:pt x="3946409" y="207170"/>
                  </a:cubicBezTo>
                  <a:cubicBezTo>
                    <a:pt x="3946409" y="226021"/>
                    <a:pt x="3931128" y="241302"/>
                    <a:pt x="3912277" y="241302"/>
                  </a:cubicBezTo>
                  <a:cubicBezTo>
                    <a:pt x="3893426" y="241302"/>
                    <a:pt x="3878145" y="226021"/>
                    <a:pt x="3878145" y="207170"/>
                  </a:cubicBezTo>
                  <a:cubicBezTo>
                    <a:pt x="3878145" y="188319"/>
                    <a:pt x="3893426" y="173038"/>
                    <a:pt x="3912277" y="173038"/>
                  </a:cubicBezTo>
                  <a:close/>
                  <a:moveTo>
                    <a:pt x="3826552" y="173038"/>
                  </a:moveTo>
                  <a:cubicBezTo>
                    <a:pt x="3845403" y="173038"/>
                    <a:pt x="3860684" y="188319"/>
                    <a:pt x="3860684" y="207170"/>
                  </a:cubicBezTo>
                  <a:cubicBezTo>
                    <a:pt x="3860684" y="226021"/>
                    <a:pt x="3845403" y="241302"/>
                    <a:pt x="3826552" y="241302"/>
                  </a:cubicBezTo>
                  <a:cubicBezTo>
                    <a:pt x="3807701" y="241302"/>
                    <a:pt x="3792420" y="226021"/>
                    <a:pt x="3792420" y="207170"/>
                  </a:cubicBezTo>
                  <a:cubicBezTo>
                    <a:pt x="3792420" y="188319"/>
                    <a:pt x="3807701" y="173038"/>
                    <a:pt x="3826552" y="173038"/>
                  </a:cubicBezTo>
                  <a:close/>
                  <a:moveTo>
                    <a:pt x="3741620" y="173038"/>
                  </a:moveTo>
                  <a:cubicBezTo>
                    <a:pt x="3760909" y="173038"/>
                    <a:pt x="3776545" y="188319"/>
                    <a:pt x="3776545" y="207170"/>
                  </a:cubicBezTo>
                  <a:cubicBezTo>
                    <a:pt x="3776545" y="226021"/>
                    <a:pt x="3760909" y="241302"/>
                    <a:pt x="3741620" y="241302"/>
                  </a:cubicBezTo>
                  <a:cubicBezTo>
                    <a:pt x="3722331" y="241302"/>
                    <a:pt x="3706695" y="226021"/>
                    <a:pt x="3706695" y="207170"/>
                  </a:cubicBezTo>
                  <a:cubicBezTo>
                    <a:pt x="3706695" y="188319"/>
                    <a:pt x="3722331" y="173038"/>
                    <a:pt x="3741620" y="173038"/>
                  </a:cubicBezTo>
                  <a:close/>
                  <a:moveTo>
                    <a:pt x="3656689" y="173038"/>
                  </a:moveTo>
                  <a:cubicBezTo>
                    <a:pt x="3675540" y="173038"/>
                    <a:pt x="3690821" y="188319"/>
                    <a:pt x="3690821" y="207170"/>
                  </a:cubicBezTo>
                  <a:cubicBezTo>
                    <a:pt x="3690821" y="226021"/>
                    <a:pt x="3675540" y="241302"/>
                    <a:pt x="3656689" y="241302"/>
                  </a:cubicBezTo>
                  <a:cubicBezTo>
                    <a:pt x="3637838" y="241302"/>
                    <a:pt x="3622557" y="226021"/>
                    <a:pt x="3622557" y="207170"/>
                  </a:cubicBezTo>
                  <a:cubicBezTo>
                    <a:pt x="3622557" y="188319"/>
                    <a:pt x="3637838" y="173038"/>
                    <a:pt x="3656689" y="173038"/>
                  </a:cubicBezTo>
                  <a:close/>
                  <a:moveTo>
                    <a:pt x="3573346" y="173038"/>
                  </a:moveTo>
                  <a:cubicBezTo>
                    <a:pt x="3593512" y="173038"/>
                    <a:pt x="3609859" y="188319"/>
                    <a:pt x="3609859" y="207170"/>
                  </a:cubicBezTo>
                  <a:cubicBezTo>
                    <a:pt x="3609859" y="226021"/>
                    <a:pt x="3593512" y="241302"/>
                    <a:pt x="3573346" y="241302"/>
                  </a:cubicBezTo>
                  <a:cubicBezTo>
                    <a:pt x="3553180" y="241302"/>
                    <a:pt x="3536833" y="226021"/>
                    <a:pt x="3536833" y="207170"/>
                  </a:cubicBezTo>
                  <a:cubicBezTo>
                    <a:pt x="3536833" y="188319"/>
                    <a:pt x="3553180" y="173038"/>
                    <a:pt x="3573346" y="173038"/>
                  </a:cubicBezTo>
                  <a:close/>
                  <a:moveTo>
                    <a:pt x="3490002" y="173038"/>
                  </a:moveTo>
                  <a:cubicBezTo>
                    <a:pt x="3508853" y="173038"/>
                    <a:pt x="3524134" y="188319"/>
                    <a:pt x="3524134" y="207170"/>
                  </a:cubicBezTo>
                  <a:cubicBezTo>
                    <a:pt x="3524134" y="226021"/>
                    <a:pt x="3508853" y="241302"/>
                    <a:pt x="3490002" y="241302"/>
                  </a:cubicBezTo>
                  <a:cubicBezTo>
                    <a:pt x="3471151" y="241302"/>
                    <a:pt x="3455870" y="226021"/>
                    <a:pt x="3455870" y="207170"/>
                  </a:cubicBezTo>
                  <a:cubicBezTo>
                    <a:pt x="3455870" y="188319"/>
                    <a:pt x="3471151" y="173038"/>
                    <a:pt x="3490002" y="173038"/>
                  </a:cubicBezTo>
                  <a:close/>
                  <a:moveTo>
                    <a:pt x="3153452" y="173038"/>
                  </a:moveTo>
                  <a:cubicBezTo>
                    <a:pt x="3172303" y="173038"/>
                    <a:pt x="3187584" y="188319"/>
                    <a:pt x="3187584" y="207170"/>
                  </a:cubicBezTo>
                  <a:cubicBezTo>
                    <a:pt x="3187584" y="226021"/>
                    <a:pt x="3172303" y="241302"/>
                    <a:pt x="3153452" y="241302"/>
                  </a:cubicBezTo>
                  <a:cubicBezTo>
                    <a:pt x="3134601" y="241302"/>
                    <a:pt x="3119320" y="226021"/>
                    <a:pt x="3119320" y="207170"/>
                  </a:cubicBezTo>
                  <a:cubicBezTo>
                    <a:pt x="3119320" y="188319"/>
                    <a:pt x="3134601" y="173038"/>
                    <a:pt x="3153452" y="173038"/>
                  </a:cubicBezTo>
                  <a:close/>
                  <a:moveTo>
                    <a:pt x="3068520" y="173038"/>
                  </a:moveTo>
                  <a:cubicBezTo>
                    <a:pt x="3087809" y="173038"/>
                    <a:pt x="3103445" y="188319"/>
                    <a:pt x="3103445" y="207170"/>
                  </a:cubicBezTo>
                  <a:cubicBezTo>
                    <a:pt x="3103445" y="226021"/>
                    <a:pt x="3087809" y="241302"/>
                    <a:pt x="3068520" y="241302"/>
                  </a:cubicBezTo>
                  <a:cubicBezTo>
                    <a:pt x="3049231" y="241302"/>
                    <a:pt x="3033595" y="226021"/>
                    <a:pt x="3033595" y="207170"/>
                  </a:cubicBezTo>
                  <a:cubicBezTo>
                    <a:pt x="3033595" y="188319"/>
                    <a:pt x="3049231" y="173038"/>
                    <a:pt x="3068520" y="173038"/>
                  </a:cubicBezTo>
                  <a:close/>
                  <a:moveTo>
                    <a:pt x="2983590" y="173038"/>
                  </a:moveTo>
                  <a:cubicBezTo>
                    <a:pt x="3002441" y="173038"/>
                    <a:pt x="3017722" y="188319"/>
                    <a:pt x="3017722" y="207170"/>
                  </a:cubicBezTo>
                  <a:cubicBezTo>
                    <a:pt x="3017722" y="226021"/>
                    <a:pt x="3002441" y="241302"/>
                    <a:pt x="2983590" y="241302"/>
                  </a:cubicBezTo>
                  <a:cubicBezTo>
                    <a:pt x="2964739" y="241302"/>
                    <a:pt x="2949458" y="226021"/>
                    <a:pt x="2949458" y="207170"/>
                  </a:cubicBezTo>
                  <a:cubicBezTo>
                    <a:pt x="2949458" y="188319"/>
                    <a:pt x="2964739" y="173038"/>
                    <a:pt x="2983590" y="173038"/>
                  </a:cubicBezTo>
                  <a:close/>
                  <a:moveTo>
                    <a:pt x="2309735" y="173038"/>
                  </a:moveTo>
                  <a:cubicBezTo>
                    <a:pt x="2329023" y="173038"/>
                    <a:pt x="2344662" y="188319"/>
                    <a:pt x="2344662" y="207170"/>
                  </a:cubicBezTo>
                  <a:cubicBezTo>
                    <a:pt x="2344662" y="226021"/>
                    <a:pt x="2329023" y="241302"/>
                    <a:pt x="2309735" y="241302"/>
                  </a:cubicBezTo>
                  <a:cubicBezTo>
                    <a:pt x="2290446" y="241302"/>
                    <a:pt x="2274810" y="226021"/>
                    <a:pt x="2274810" y="207170"/>
                  </a:cubicBezTo>
                  <a:cubicBezTo>
                    <a:pt x="2274810" y="188319"/>
                    <a:pt x="2290446" y="173038"/>
                    <a:pt x="2309735" y="173038"/>
                  </a:cubicBezTo>
                  <a:close/>
                  <a:moveTo>
                    <a:pt x="2224806" y="173038"/>
                  </a:moveTo>
                  <a:cubicBezTo>
                    <a:pt x="2243656" y="173038"/>
                    <a:pt x="2258937" y="188319"/>
                    <a:pt x="2258937" y="207170"/>
                  </a:cubicBezTo>
                  <a:cubicBezTo>
                    <a:pt x="2258937" y="226021"/>
                    <a:pt x="2243656" y="241302"/>
                    <a:pt x="2224806" y="241302"/>
                  </a:cubicBezTo>
                  <a:cubicBezTo>
                    <a:pt x="2205954" y="241302"/>
                    <a:pt x="2190673" y="226021"/>
                    <a:pt x="2190673" y="207170"/>
                  </a:cubicBezTo>
                  <a:cubicBezTo>
                    <a:pt x="2190673" y="188319"/>
                    <a:pt x="2205954" y="173038"/>
                    <a:pt x="2224806" y="173038"/>
                  </a:cubicBezTo>
                  <a:close/>
                  <a:moveTo>
                    <a:pt x="5344202" y="87313"/>
                  </a:moveTo>
                  <a:cubicBezTo>
                    <a:pt x="5363053" y="87313"/>
                    <a:pt x="5378334" y="102594"/>
                    <a:pt x="5378334" y="121445"/>
                  </a:cubicBezTo>
                  <a:cubicBezTo>
                    <a:pt x="5378334" y="140296"/>
                    <a:pt x="5363053" y="155577"/>
                    <a:pt x="5344202" y="155577"/>
                  </a:cubicBezTo>
                  <a:cubicBezTo>
                    <a:pt x="5325351" y="155577"/>
                    <a:pt x="5310070" y="140296"/>
                    <a:pt x="5310070" y="121445"/>
                  </a:cubicBezTo>
                  <a:cubicBezTo>
                    <a:pt x="5310070" y="102594"/>
                    <a:pt x="5325351" y="87313"/>
                    <a:pt x="5344202" y="87313"/>
                  </a:cubicBezTo>
                  <a:close/>
                  <a:moveTo>
                    <a:pt x="5258477" y="87313"/>
                  </a:moveTo>
                  <a:cubicBezTo>
                    <a:pt x="5277328" y="87313"/>
                    <a:pt x="5292609" y="102594"/>
                    <a:pt x="5292609" y="121445"/>
                  </a:cubicBezTo>
                  <a:cubicBezTo>
                    <a:pt x="5292609" y="140296"/>
                    <a:pt x="5277328" y="155577"/>
                    <a:pt x="5258477" y="155577"/>
                  </a:cubicBezTo>
                  <a:cubicBezTo>
                    <a:pt x="5239626" y="155577"/>
                    <a:pt x="5224345" y="140296"/>
                    <a:pt x="5224345" y="121445"/>
                  </a:cubicBezTo>
                  <a:cubicBezTo>
                    <a:pt x="5224345" y="102594"/>
                    <a:pt x="5239626" y="87313"/>
                    <a:pt x="5258477" y="87313"/>
                  </a:cubicBezTo>
                  <a:close/>
                  <a:moveTo>
                    <a:pt x="4585377" y="87313"/>
                  </a:moveTo>
                  <a:cubicBezTo>
                    <a:pt x="4604228" y="87313"/>
                    <a:pt x="4619509" y="102594"/>
                    <a:pt x="4619509" y="121445"/>
                  </a:cubicBezTo>
                  <a:cubicBezTo>
                    <a:pt x="4619509" y="140296"/>
                    <a:pt x="4604228" y="155577"/>
                    <a:pt x="4585377" y="155577"/>
                  </a:cubicBezTo>
                  <a:cubicBezTo>
                    <a:pt x="4566526" y="155577"/>
                    <a:pt x="4551245" y="140296"/>
                    <a:pt x="4551245" y="121445"/>
                  </a:cubicBezTo>
                  <a:cubicBezTo>
                    <a:pt x="4551245" y="102594"/>
                    <a:pt x="4566526" y="87313"/>
                    <a:pt x="4585377" y="87313"/>
                  </a:cubicBezTo>
                  <a:close/>
                  <a:moveTo>
                    <a:pt x="4500445" y="87313"/>
                  </a:moveTo>
                  <a:cubicBezTo>
                    <a:pt x="4519734" y="87313"/>
                    <a:pt x="4535370" y="102594"/>
                    <a:pt x="4535370" y="121445"/>
                  </a:cubicBezTo>
                  <a:cubicBezTo>
                    <a:pt x="4535370" y="140296"/>
                    <a:pt x="4519734" y="155577"/>
                    <a:pt x="4500445" y="155577"/>
                  </a:cubicBezTo>
                  <a:cubicBezTo>
                    <a:pt x="4481156" y="155577"/>
                    <a:pt x="4465520" y="140296"/>
                    <a:pt x="4465520" y="121445"/>
                  </a:cubicBezTo>
                  <a:cubicBezTo>
                    <a:pt x="4465520" y="102594"/>
                    <a:pt x="4481156" y="87313"/>
                    <a:pt x="4500445" y="87313"/>
                  </a:cubicBezTo>
                  <a:close/>
                  <a:moveTo>
                    <a:pt x="4415515" y="87313"/>
                  </a:moveTo>
                  <a:cubicBezTo>
                    <a:pt x="4434366" y="87313"/>
                    <a:pt x="4449647" y="102594"/>
                    <a:pt x="4449647" y="121445"/>
                  </a:cubicBezTo>
                  <a:cubicBezTo>
                    <a:pt x="4449647" y="140296"/>
                    <a:pt x="4434366" y="155577"/>
                    <a:pt x="4415515" y="155577"/>
                  </a:cubicBezTo>
                  <a:cubicBezTo>
                    <a:pt x="4396664" y="155577"/>
                    <a:pt x="4381383" y="140296"/>
                    <a:pt x="4381383" y="121445"/>
                  </a:cubicBezTo>
                  <a:cubicBezTo>
                    <a:pt x="4381383" y="102594"/>
                    <a:pt x="4396664" y="87313"/>
                    <a:pt x="4415515" y="87313"/>
                  </a:cubicBezTo>
                  <a:close/>
                  <a:moveTo>
                    <a:pt x="4332171" y="87313"/>
                  </a:moveTo>
                  <a:cubicBezTo>
                    <a:pt x="4352337" y="87313"/>
                    <a:pt x="4368684" y="102594"/>
                    <a:pt x="4368684" y="121445"/>
                  </a:cubicBezTo>
                  <a:cubicBezTo>
                    <a:pt x="4368684" y="140296"/>
                    <a:pt x="4352337" y="155577"/>
                    <a:pt x="4332171" y="155577"/>
                  </a:cubicBezTo>
                  <a:cubicBezTo>
                    <a:pt x="4312005" y="155577"/>
                    <a:pt x="4295658" y="140296"/>
                    <a:pt x="4295658" y="121445"/>
                  </a:cubicBezTo>
                  <a:cubicBezTo>
                    <a:pt x="4295658" y="102594"/>
                    <a:pt x="4312005" y="87313"/>
                    <a:pt x="4332171" y="87313"/>
                  </a:cubicBezTo>
                  <a:close/>
                  <a:moveTo>
                    <a:pt x="4248827" y="87313"/>
                  </a:moveTo>
                  <a:cubicBezTo>
                    <a:pt x="4267678" y="87313"/>
                    <a:pt x="4282959" y="102594"/>
                    <a:pt x="4282959" y="121445"/>
                  </a:cubicBezTo>
                  <a:cubicBezTo>
                    <a:pt x="4282959" y="140296"/>
                    <a:pt x="4267678" y="155577"/>
                    <a:pt x="4248827" y="155577"/>
                  </a:cubicBezTo>
                  <a:cubicBezTo>
                    <a:pt x="4229976" y="155577"/>
                    <a:pt x="4214695" y="140296"/>
                    <a:pt x="4214695" y="121445"/>
                  </a:cubicBezTo>
                  <a:cubicBezTo>
                    <a:pt x="4214695" y="102594"/>
                    <a:pt x="4229976" y="87313"/>
                    <a:pt x="4248827" y="87313"/>
                  </a:cubicBezTo>
                  <a:close/>
                  <a:moveTo>
                    <a:pt x="4163895" y="87313"/>
                  </a:moveTo>
                  <a:cubicBezTo>
                    <a:pt x="4183184" y="87313"/>
                    <a:pt x="4198820" y="102594"/>
                    <a:pt x="4198820" y="121445"/>
                  </a:cubicBezTo>
                  <a:cubicBezTo>
                    <a:pt x="4198820" y="140296"/>
                    <a:pt x="4183184" y="155577"/>
                    <a:pt x="4163895" y="155577"/>
                  </a:cubicBezTo>
                  <a:cubicBezTo>
                    <a:pt x="4144606" y="155577"/>
                    <a:pt x="4128970" y="140296"/>
                    <a:pt x="4128970" y="121445"/>
                  </a:cubicBezTo>
                  <a:cubicBezTo>
                    <a:pt x="4128970" y="102594"/>
                    <a:pt x="4144606" y="87313"/>
                    <a:pt x="4163895" y="87313"/>
                  </a:cubicBezTo>
                  <a:close/>
                  <a:moveTo>
                    <a:pt x="4078170" y="87313"/>
                  </a:moveTo>
                  <a:cubicBezTo>
                    <a:pt x="4097459" y="87313"/>
                    <a:pt x="4113095" y="102594"/>
                    <a:pt x="4113095" y="121445"/>
                  </a:cubicBezTo>
                  <a:cubicBezTo>
                    <a:pt x="4113095" y="140296"/>
                    <a:pt x="4097459" y="155577"/>
                    <a:pt x="4078170" y="155577"/>
                  </a:cubicBezTo>
                  <a:cubicBezTo>
                    <a:pt x="4058881" y="155577"/>
                    <a:pt x="4043245" y="140296"/>
                    <a:pt x="4043245" y="121445"/>
                  </a:cubicBezTo>
                  <a:cubicBezTo>
                    <a:pt x="4043245" y="102594"/>
                    <a:pt x="4058881" y="87313"/>
                    <a:pt x="4078170" y="87313"/>
                  </a:cubicBezTo>
                  <a:close/>
                  <a:moveTo>
                    <a:pt x="3993240" y="87313"/>
                  </a:moveTo>
                  <a:cubicBezTo>
                    <a:pt x="4012091" y="87313"/>
                    <a:pt x="4027372" y="102594"/>
                    <a:pt x="4027372" y="121445"/>
                  </a:cubicBezTo>
                  <a:cubicBezTo>
                    <a:pt x="4027372" y="140296"/>
                    <a:pt x="4012091" y="155577"/>
                    <a:pt x="3993240" y="155577"/>
                  </a:cubicBezTo>
                  <a:cubicBezTo>
                    <a:pt x="3974389" y="155577"/>
                    <a:pt x="3959108" y="140296"/>
                    <a:pt x="3959108" y="121445"/>
                  </a:cubicBezTo>
                  <a:cubicBezTo>
                    <a:pt x="3959108" y="102594"/>
                    <a:pt x="3974389" y="87313"/>
                    <a:pt x="3993240" y="87313"/>
                  </a:cubicBezTo>
                  <a:close/>
                  <a:moveTo>
                    <a:pt x="3912277" y="87313"/>
                  </a:moveTo>
                  <a:cubicBezTo>
                    <a:pt x="3931128" y="87313"/>
                    <a:pt x="3946409" y="102594"/>
                    <a:pt x="3946409" y="121445"/>
                  </a:cubicBezTo>
                  <a:cubicBezTo>
                    <a:pt x="3946409" y="140296"/>
                    <a:pt x="3931128" y="155577"/>
                    <a:pt x="3912277" y="155577"/>
                  </a:cubicBezTo>
                  <a:cubicBezTo>
                    <a:pt x="3893426" y="155577"/>
                    <a:pt x="3878145" y="140296"/>
                    <a:pt x="3878145" y="121445"/>
                  </a:cubicBezTo>
                  <a:cubicBezTo>
                    <a:pt x="3878145" y="102594"/>
                    <a:pt x="3893426" y="87313"/>
                    <a:pt x="3912277" y="87313"/>
                  </a:cubicBezTo>
                  <a:close/>
                  <a:moveTo>
                    <a:pt x="3826552" y="87313"/>
                  </a:moveTo>
                  <a:cubicBezTo>
                    <a:pt x="3845403" y="87313"/>
                    <a:pt x="3860684" y="102594"/>
                    <a:pt x="3860684" y="121445"/>
                  </a:cubicBezTo>
                  <a:cubicBezTo>
                    <a:pt x="3860684" y="140296"/>
                    <a:pt x="3845403" y="155577"/>
                    <a:pt x="3826552" y="155577"/>
                  </a:cubicBezTo>
                  <a:cubicBezTo>
                    <a:pt x="3807701" y="155577"/>
                    <a:pt x="3792420" y="140296"/>
                    <a:pt x="3792420" y="121445"/>
                  </a:cubicBezTo>
                  <a:cubicBezTo>
                    <a:pt x="3792420" y="102594"/>
                    <a:pt x="3807701" y="87313"/>
                    <a:pt x="3826552" y="87313"/>
                  </a:cubicBezTo>
                  <a:close/>
                  <a:moveTo>
                    <a:pt x="3741620" y="87313"/>
                  </a:moveTo>
                  <a:cubicBezTo>
                    <a:pt x="3760909" y="87313"/>
                    <a:pt x="3776545" y="102594"/>
                    <a:pt x="3776545" y="121445"/>
                  </a:cubicBezTo>
                  <a:cubicBezTo>
                    <a:pt x="3776545" y="140296"/>
                    <a:pt x="3760909" y="155577"/>
                    <a:pt x="3741620" y="155577"/>
                  </a:cubicBezTo>
                  <a:cubicBezTo>
                    <a:pt x="3722331" y="155577"/>
                    <a:pt x="3706695" y="140296"/>
                    <a:pt x="3706695" y="121445"/>
                  </a:cubicBezTo>
                  <a:cubicBezTo>
                    <a:pt x="3706695" y="102594"/>
                    <a:pt x="3722331" y="87313"/>
                    <a:pt x="3741620" y="87313"/>
                  </a:cubicBezTo>
                  <a:close/>
                  <a:moveTo>
                    <a:pt x="3656689" y="87313"/>
                  </a:moveTo>
                  <a:cubicBezTo>
                    <a:pt x="3675540" y="87313"/>
                    <a:pt x="3690821" y="102594"/>
                    <a:pt x="3690821" y="121445"/>
                  </a:cubicBezTo>
                  <a:cubicBezTo>
                    <a:pt x="3690821" y="140296"/>
                    <a:pt x="3675540" y="155577"/>
                    <a:pt x="3656689" y="155577"/>
                  </a:cubicBezTo>
                  <a:cubicBezTo>
                    <a:pt x="3637838" y="155577"/>
                    <a:pt x="3622557" y="140296"/>
                    <a:pt x="3622557" y="121445"/>
                  </a:cubicBezTo>
                  <a:cubicBezTo>
                    <a:pt x="3622557" y="102594"/>
                    <a:pt x="3637838" y="87313"/>
                    <a:pt x="3656689" y="87313"/>
                  </a:cubicBezTo>
                  <a:close/>
                  <a:moveTo>
                    <a:pt x="3573345" y="87313"/>
                  </a:moveTo>
                  <a:cubicBezTo>
                    <a:pt x="3593511" y="87313"/>
                    <a:pt x="3609858" y="102594"/>
                    <a:pt x="3609858" y="121445"/>
                  </a:cubicBezTo>
                  <a:cubicBezTo>
                    <a:pt x="3609858" y="140296"/>
                    <a:pt x="3593511" y="155577"/>
                    <a:pt x="3573345" y="155577"/>
                  </a:cubicBezTo>
                  <a:cubicBezTo>
                    <a:pt x="3553179" y="155577"/>
                    <a:pt x="3536832" y="140296"/>
                    <a:pt x="3536832" y="121445"/>
                  </a:cubicBezTo>
                  <a:cubicBezTo>
                    <a:pt x="3536832" y="102594"/>
                    <a:pt x="3553179" y="87313"/>
                    <a:pt x="3573345" y="87313"/>
                  </a:cubicBezTo>
                  <a:close/>
                  <a:moveTo>
                    <a:pt x="3234415" y="87313"/>
                  </a:moveTo>
                  <a:cubicBezTo>
                    <a:pt x="3253266" y="87313"/>
                    <a:pt x="3268547" y="102594"/>
                    <a:pt x="3268547" y="121445"/>
                  </a:cubicBezTo>
                  <a:cubicBezTo>
                    <a:pt x="3268547" y="140296"/>
                    <a:pt x="3253266" y="155577"/>
                    <a:pt x="3234415" y="155577"/>
                  </a:cubicBezTo>
                  <a:cubicBezTo>
                    <a:pt x="3215564" y="155577"/>
                    <a:pt x="3200283" y="140296"/>
                    <a:pt x="3200283" y="121445"/>
                  </a:cubicBezTo>
                  <a:cubicBezTo>
                    <a:pt x="3200283" y="102594"/>
                    <a:pt x="3215564" y="87313"/>
                    <a:pt x="3234415" y="87313"/>
                  </a:cubicBezTo>
                  <a:close/>
                  <a:moveTo>
                    <a:pt x="3153452" y="87313"/>
                  </a:moveTo>
                  <a:cubicBezTo>
                    <a:pt x="3172303" y="87313"/>
                    <a:pt x="3187584" y="102594"/>
                    <a:pt x="3187584" y="121445"/>
                  </a:cubicBezTo>
                  <a:cubicBezTo>
                    <a:pt x="3187584" y="140296"/>
                    <a:pt x="3172303" y="155577"/>
                    <a:pt x="3153452" y="155577"/>
                  </a:cubicBezTo>
                  <a:cubicBezTo>
                    <a:pt x="3134601" y="155577"/>
                    <a:pt x="3119320" y="140296"/>
                    <a:pt x="3119320" y="121445"/>
                  </a:cubicBezTo>
                  <a:cubicBezTo>
                    <a:pt x="3119320" y="102594"/>
                    <a:pt x="3134601" y="87313"/>
                    <a:pt x="3153452" y="87313"/>
                  </a:cubicBezTo>
                  <a:close/>
                  <a:moveTo>
                    <a:pt x="2983590" y="87313"/>
                  </a:moveTo>
                  <a:cubicBezTo>
                    <a:pt x="3002441" y="87313"/>
                    <a:pt x="3017722" y="102594"/>
                    <a:pt x="3017722" y="121445"/>
                  </a:cubicBezTo>
                  <a:cubicBezTo>
                    <a:pt x="3017722" y="140296"/>
                    <a:pt x="3002441" y="155577"/>
                    <a:pt x="2983590" y="155577"/>
                  </a:cubicBezTo>
                  <a:cubicBezTo>
                    <a:pt x="2964739" y="155577"/>
                    <a:pt x="2949458" y="140296"/>
                    <a:pt x="2949458" y="121445"/>
                  </a:cubicBezTo>
                  <a:cubicBezTo>
                    <a:pt x="2949458" y="102594"/>
                    <a:pt x="2964739" y="87313"/>
                    <a:pt x="2983590" y="87313"/>
                  </a:cubicBezTo>
                  <a:close/>
                  <a:moveTo>
                    <a:pt x="5510095" y="0"/>
                  </a:moveTo>
                  <a:cubicBezTo>
                    <a:pt x="5529384" y="0"/>
                    <a:pt x="5545020" y="15636"/>
                    <a:pt x="5545020" y="34925"/>
                  </a:cubicBezTo>
                  <a:cubicBezTo>
                    <a:pt x="5545020" y="54214"/>
                    <a:pt x="5529384" y="69850"/>
                    <a:pt x="5510095" y="69850"/>
                  </a:cubicBezTo>
                  <a:cubicBezTo>
                    <a:pt x="5490806" y="69850"/>
                    <a:pt x="5475170" y="54214"/>
                    <a:pt x="5475170" y="34925"/>
                  </a:cubicBezTo>
                  <a:cubicBezTo>
                    <a:pt x="5475170" y="15636"/>
                    <a:pt x="5490806" y="0"/>
                    <a:pt x="5510095" y="0"/>
                  </a:cubicBezTo>
                  <a:close/>
                  <a:moveTo>
                    <a:pt x="5429927" y="0"/>
                  </a:moveTo>
                  <a:cubicBezTo>
                    <a:pt x="5448778" y="0"/>
                    <a:pt x="5464059" y="15636"/>
                    <a:pt x="5464059" y="34925"/>
                  </a:cubicBezTo>
                  <a:cubicBezTo>
                    <a:pt x="5464059" y="54214"/>
                    <a:pt x="5448778" y="69850"/>
                    <a:pt x="5429927" y="69850"/>
                  </a:cubicBezTo>
                  <a:cubicBezTo>
                    <a:pt x="5411076" y="69850"/>
                    <a:pt x="5395795" y="54214"/>
                    <a:pt x="5395795" y="34925"/>
                  </a:cubicBezTo>
                  <a:cubicBezTo>
                    <a:pt x="5395795" y="15636"/>
                    <a:pt x="5411076" y="0"/>
                    <a:pt x="5429927" y="0"/>
                  </a:cubicBezTo>
                  <a:close/>
                  <a:moveTo>
                    <a:pt x="4585377" y="0"/>
                  </a:moveTo>
                  <a:cubicBezTo>
                    <a:pt x="4604228" y="0"/>
                    <a:pt x="4619509" y="15636"/>
                    <a:pt x="4619509" y="34925"/>
                  </a:cubicBezTo>
                  <a:cubicBezTo>
                    <a:pt x="4619509" y="54214"/>
                    <a:pt x="4604228" y="69850"/>
                    <a:pt x="4585377" y="69850"/>
                  </a:cubicBezTo>
                  <a:cubicBezTo>
                    <a:pt x="4566526" y="69850"/>
                    <a:pt x="4551245" y="54214"/>
                    <a:pt x="4551245" y="34925"/>
                  </a:cubicBezTo>
                  <a:cubicBezTo>
                    <a:pt x="4551245" y="15636"/>
                    <a:pt x="4566526" y="0"/>
                    <a:pt x="4585377" y="0"/>
                  </a:cubicBezTo>
                  <a:close/>
                  <a:moveTo>
                    <a:pt x="4500445" y="0"/>
                  </a:moveTo>
                  <a:cubicBezTo>
                    <a:pt x="4519734" y="0"/>
                    <a:pt x="4535370" y="15636"/>
                    <a:pt x="4535370" y="34925"/>
                  </a:cubicBezTo>
                  <a:cubicBezTo>
                    <a:pt x="4535370" y="54214"/>
                    <a:pt x="4519734" y="69850"/>
                    <a:pt x="4500445" y="69850"/>
                  </a:cubicBezTo>
                  <a:cubicBezTo>
                    <a:pt x="4481156" y="69850"/>
                    <a:pt x="4465520" y="54214"/>
                    <a:pt x="4465520" y="34925"/>
                  </a:cubicBezTo>
                  <a:cubicBezTo>
                    <a:pt x="4465520" y="15636"/>
                    <a:pt x="4481156" y="0"/>
                    <a:pt x="4500445" y="0"/>
                  </a:cubicBezTo>
                  <a:close/>
                  <a:moveTo>
                    <a:pt x="4415515" y="0"/>
                  </a:moveTo>
                  <a:cubicBezTo>
                    <a:pt x="4434366" y="0"/>
                    <a:pt x="4449647" y="15636"/>
                    <a:pt x="4449647" y="34925"/>
                  </a:cubicBezTo>
                  <a:cubicBezTo>
                    <a:pt x="4449647" y="54214"/>
                    <a:pt x="4434366" y="69850"/>
                    <a:pt x="4415515" y="69850"/>
                  </a:cubicBezTo>
                  <a:cubicBezTo>
                    <a:pt x="4396664" y="69850"/>
                    <a:pt x="4381383" y="54214"/>
                    <a:pt x="4381383" y="34925"/>
                  </a:cubicBezTo>
                  <a:cubicBezTo>
                    <a:pt x="4381383" y="15636"/>
                    <a:pt x="4396664" y="0"/>
                    <a:pt x="4415515" y="0"/>
                  </a:cubicBezTo>
                  <a:close/>
                  <a:moveTo>
                    <a:pt x="4332171" y="0"/>
                  </a:moveTo>
                  <a:cubicBezTo>
                    <a:pt x="4352337" y="0"/>
                    <a:pt x="4368684" y="15636"/>
                    <a:pt x="4368684" y="34925"/>
                  </a:cubicBezTo>
                  <a:cubicBezTo>
                    <a:pt x="4368684" y="54214"/>
                    <a:pt x="4352337" y="69850"/>
                    <a:pt x="4332171" y="69850"/>
                  </a:cubicBezTo>
                  <a:cubicBezTo>
                    <a:pt x="4312005" y="69850"/>
                    <a:pt x="4295658" y="54214"/>
                    <a:pt x="4295658" y="34925"/>
                  </a:cubicBezTo>
                  <a:cubicBezTo>
                    <a:pt x="4295658" y="15636"/>
                    <a:pt x="4312005" y="0"/>
                    <a:pt x="4332171" y="0"/>
                  </a:cubicBezTo>
                  <a:close/>
                  <a:moveTo>
                    <a:pt x="4248827" y="0"/>
                  </a:moveTo>
                  <a:cubicBezTo>
                    <a:pt x="4267678" y="0"/>
                    <a:pt x="4282959" y="15636"/>
                    <a:pt x="4282959" y="34925"/>
                  </a:cubicBezTo>
                  <a:cubicBezTo>
                    <a:pt x="4282959" y="54214"/>
                    <a:pt x="4267678" y="69850"/>
                    <a:pt x="4248827" y="69850"/>
                  </a:cubicBezTo>
                  <a:cubicBezTo>
                    <a:pt x="4229976" y="69850"/>
                    <a:pt x="4214695" y="54214"/>
                    <a:pt x="4214695" y="34925"/>
                  </a:cubicBezTo>
                  <a:cubicBezTo>
                    <a:pt x="4214695" y="15636"/>
                    <a:pt x="4229976" y="0"/>
                    <a:pt x="4248827" y="0"/>
                  </a:cubicBezTo>
                  <a:close/>
                  <a:moveTo>
                    <a:pt x="4163895" y="0"/>
                  </a:moveTo>
                  <a:cubicBezTo>
                    <a:pt x="4183184" y="0"/>
                    <a:pt x="4198820" y="15636"/>
                    <a:pt x="4198820" y="34925"/>
                  </a:cubicBezTo>
                  <a:cubicBezTo>
                    <a:pt x="4198820" y="54214"/>
                    <a:pt x="4183184" y="69850"/>
                    <a:pt x="4163895" y="69850"/>
                  </a:cubicBezTo>
                  <a:cubicBezTo>
                    <a:pt x="4144606" y="69850"/>
                    <a:pt x="4128970" y="54214"/>
                    <a:pt x="4128970" y="34925"/>
                  </a:cubicBezTo>
                  <a:cubicBezTo>
                    <a:pt x="4128970" y="15636"/>
                    <a:pt x="4144606" y="0"/>
                    <a:pt x="4163895" y="0"/>
                  </a:cubicBezTo>
                  <a:close/>
                  <a:moveTo>
                    <a:pt x="4078170" y="0"/>
                  </a:moveTo>
                  <a:cubicBezTo>
                    <a:pt x="4097459" y="0"/>
                    <a:pt x="4113095" y="15636"/>
                    <a:pt x="4113095" y="34925"/>
                  </a:cubicBezTo>
                  <a:cubicBezTo>
                    <a:pt x="4113095" y="54214"/>
                    <a:pt x="4097459" y="69850"/>
                    <a:pt x="4078170" y="69850"/>
                  </a:cubicBezTo>
                  <a:cubicBezTo>
                    <a:pt x="4058881" y="69850"/>
                    <a:pt x="4043245" y="54214"/>
                    <a:pt x="4043245" y="34925"/>
                  </a:cubicBezTo>
                  <a:cubicBezTo>
                    <a:pt x="4043245" y="15636"/>
                    <a:pt x="4058881" y="0"/>
                    <a:pt x="4078170" y="0"/>
                  </a:cubicBezTo>
                  <a:close/>
                  <a:moveTo>
                    <a:pt x="3993240" y="0"/>
                  </a:moveTo>
                  <a:cubicBezTo>
                    <a:pt x="4012091" y="0"/>
                    <a:pt x="4027372" y="15636"/>
                    <a:pt x="4027372" y="34925"/>
                  </a:cubicBezTo>
                  <a:cubicBezTo>
                    <a:pt x="4027372" y="54214"/>
                    <a:pt x="4012091" y="69850"/>
                    <a:pt x="3993240" y="69850"/>
                  </a:cubicBezTo>
                  <a:cubicBezTo>
                    <a:pt x="3974389" y="69850"/>
                    <a:pt x="3959108" y="54214"/>
                    <a:pt x="3959108" y="34925"/>
                  </a:cubicBezTo>
                  <a:cubicBezTo>
                    <a:pt x="3959108" y="15636"/>
                    <a:pt x="3974389" y="0"/>
                    <a:pt x="3993240" y="0"/>
                  </a:cubicBezTo>
                  <a:close/>
                  <a:moveTo>
                    <a:pt x="3912277" y="0"/>
                  </a:moveTo>
                  <a:cubicBezTo>
                    <a:pt x="3931128" y="0"/>
                    <a:pt x="3946409" y="15636"/>
                    <a:pt x="3946409" y="34925"/>
                  </a:cubicBezTo>
                  <a:cubicBezTo>
                    <a:pt x="3946409" y="54214"/>
                    <a:pt x="3931128" y="69850"/>
                    <a:pt x="3912277" y="69850"/>
                  </a:cubicBezTo>
                  <a:cubicBezTo>
                    <a:pt x="3893426" y="69850"/>
                    <a:pt x="3878145" y="54214"/>
                    <a:pt x="3878145" y="34925"/>
                  </a:cubicBezTo>
                  <a:cubicBezTo>
                    <a:pt x="3878145" y="15636"/>
                    <a:pt x="3893426" y="0"/>
                    <a:pt x="3912277" y="0"/>
                  </a:cubicBezTo>
                  <a:close/>
                  <a:moveTo>
                    <a:pt x="3826552" y="0"/>
                  </a:moveTo>
                  <a:cubicBezTo>
                    <a:pt x="3845403" y="0"/>
                    <a:pt x="3860684" y="15636"/>
                    <a:pt x="3860684" y="34925"/>
                  </a:cubicBezTo>
                  <a:cubicBezTo>
                    <a:pt x="3860684" y="54214"/>
                    <a:pt x="3845403" y="69850"/>
                    <a:pt x="3826552" y="69850"/>
                  </a:cubicBezTo>
                  <a:cubicBezTo>
                    <a:pt x="3807701" y="69850"/>
                    <a:pt x="3792420" y="54214"/>
                    <a:pt x="3792420" y="34925"/>
                  </a:cubicBezTo>
                  <a:cubicBezTo>
                    <a:pt x="3792420" y="15636"/>
                    <a:pt x="3807701" y="0"/>
                    <a:pt x="3826552" y="0"/>
                  </a:cubicBezTo>
                  <a:close/>
                  <a:moveTo>
                    <a:pt x="3741620" y="0"/>
                  </a:moveTo>
                  <a:cubicBezTo>
                    <a:pt x="3760909" y="0"/>
                    <a:pt x="3776545" y="15636"/>
                    <a:pt x="3776545" y="34925"/>
                  </a:cubicBezTo>
                  <a:cubicBezTo>
                    <a:pt x="3776545" y="54214"/>
                    <a:pt x="3760909" y="69850"/>
                    <a:pt x="3741620" y="69850"/>
                  </a:cubicBezTo>
                  <a:cubicBezTo>
                    <a:pt x="3722331" y="69850"/>
                    <a:pt x="3706695" y="54214"/>
                    <a:pt x="3706695" y="34925"/>
                  </a:cubicBezTo>
                  <a:cubicBezTo>
                    <a:pt x="3706695" y="15636"/>
                    <a:pt x="3722331" y="0"/>
                    <a:pt x="3741620" y="0"/>
                  </a:cubicBezTo>
                  <a:close/>
                  <a:moveTo>
                    <a:pt x="3656689" y="0"/>
                  </a:moveTo>
                  <a:cubicBezTo>
                    <a:pt x="3675540" y="0"/>
                    <a:pt x="3690821" y="15636"/>
                    <a:pt x="3690821" y="34925"/>
                  </a:cubicBezTo>
                  <a:cubicBezTo>
                    <a:pt x="3690821" y="54214"/>
                    <a:pt x="3675540" y="69850"/>
                    <a:pt x="3656689" y="69850"/>
                  </a:cubicBezTo>
                  <a:cubicBezTo>
                    <a:pt x="3637838" y="69850"/>
                    <a:pt x="3622557" y="54214"/>
                    <a:pt x="3622557" y="34925"/>
                  </a:cubicBezTo>
                  <a:cubicBezTo>
                    <a:pt x="3622557" y="15636"/>
                    <a:pt x="3637838" y="0"/>
                    <a:pt x="3656689" y="0"/>
                  </a:cubicBezTo>
                  <a:close/>
                </a:path>
              </a:pathLst>
            </a:custGeom>
            <a:solidFill>
              <a:schemeClr val="bg1">
                <a:lumMod val="95000"/>
              </a:schemeClr>
            </a:solidFill>
            <a:ln>
              <a:noFill/>
            </a:ln>
          </p:spPr>
          <p:txBody>
            <a:bodyPr vert="horz" wrap="square" lIns="67232" tIns="33616" rIns="67232" bIns="33616" numCol="1" anchor="t" anchorCtr="0" compatLnSpc="1">
              <a:prstTxWarp prst="textNoShape">
                <a:avLst/>
              </a:prstTxWarp>
              <a:noAutofit/>
            </a:bodyPr>
            <a:lstStyle/>
            <a:p>
              <a:pPr defTabSz="685775" fontAlgn="auto">
                <a:spcBef>
                  <a:spcPts val="0"/>
                </a:spcBef>
                <a:spcAft>
                  <a:spcPts val="0"/>
                </a:spcAft>
                <a:defRPr/>
              </a:pPr>
              <a:endParaRPr lang="en-US" sz="1324" b="0">
                <a:solidFill>
                  <a:srgbClr val="353535"/>
                </a:solidFill>
                <a:latin typeface="Segoe UI Semilight"/>
                <a:cs typeface="+mn-cs"/>
              </a:endParaRPr>
            </a:p>
          </p:txBody>
        </p:sp>
      </p:grpSp>
      <p:grpSp>
        <p:nvGrpSpPr>
          <p:cNvPr id="2128" name="Group 2127">
            <a:extLst>
              <a:ext uri="{FF2B5EF4-FFF2-40B4-BE49-F238E27FC236}">
                <a16:creationId xmlns:a16="http://schemas.microsoft.com/office/drawing/2014/main" id="{B9110557-6FBD-4D84-9778-40E92F7B6765}"/>
              </a:ext>
            </a:extLst>
          </p:cNvPr>
          <p:cNvGrpSpPr/>
          <p:nvPr/>
        </p:nvGrpSpPr>
        <p:grpSpPr>
          <a:xfrm>
            <a:off x="1999394" y="5060724"/>
            <a:ext cx="564516" cy="564515"/>
            <a:chOff x="2871714" y="5625079"/>
            <a:chExt cx="767781" cy="767780"/>
          </a:xfrm>
        </p:grpSpPr>
        <p:sp>
          <p:nvSpPr>
            <p:cNvPr id="2129" name="Freeform: Shape 411">
              <a:extLst>
                <a:ext uri="{FF2B5EF4-FFF2-40B4-BE49-F238E27FC236}">
                  <a16:creationId xmlns:a16="http://schemas.microsoft.com/office/drawing/2014/main" id="{E08268B0-95C1-4055-8DCB-F47AF3105078}"/>
                </a:ext>
              </a:extLst>
            </p:cNvPr>
            <p:cNvSpPr/>
            <p:nvPr/>
          </p:nvSpPr>
          <p:spPr>
            <a:xfrm>
              <a:off x="3099311" y="6245437"/>
              <a:ext cx="308354" cy="88308"/>
            </a:xfrm>
            <a:custGeom>
              <a:avLst/>
              <a:gdLst>
                <a:gd name="connsiteX0" fmla="*/ 33738 w 67473"/>
                <a:gd name="connsiteY0" fmla="*/ 0 h 67473"/>
                <a:gd name="connsiteX1" fmla="*/ 67473 w 67473"/>
                <a:gd name="connsiteY1" fmla="*/ 33736 h 67473"/>
                <a:gd name="connsiteX2" fmla="*/ 33738 w 67473"/>
                <a:gd name="connsiteY2" fmla="*/ 67473 h 67473"/>
                <a:gd name="connsiteX3" fmla="*/ 0 w 67473"/>
                <a:gd name="connsiteY3" fmla="*/ 33736 h 67473"/>
                <a:gd name="connsiteX4" fmla="*/ 33738 w 67473"/>
                <a:gd name="connsiteY4" fmla="*/ 0 h 6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473" h="67473">
                  <a:moveTo>
                    <a:pt x="33738" y="0"/>
                  </a:moveTo>
                  <a:cubicBezTo>
                    <a:pt x="52370" y="0"/>
                    <a:pt x="67473" y="15104"/>
                    <a:pt x="67473" y="33736"/>
                  </a:cubicBezTo>
                  <a:cubicBezTo>
                    <a:pt x="67473" y="52368"/>
                    <a:pt x="52370" y="67473"/>
                    <a:pt x="33738" y="67473"/>
                  </a:cubicBezTo>
                  <a:cubicBezTo>
                    <a:pt x="15105" y="67473"/>
                    <a:pt x="0" y="52368"/>
                    <a:pt x="0" y="33736"/>
                  </a:cubicBezTo>
                  <a:cubicBezTo>
                    <a:pt x="0" y="15104"/>
                    <a:pt x="15105" y="0"/>
                    <a:pt x="33738" y="0"/>
                  </a:cubicBezTo>
                  <a:close/>
                </a:path>
              </a:pathLst>
            </a:custGeom>
            <a:solidFill>
              <a:schemeClr val="tx1"/>
            </a:solidFill>
            <a:ln w="12700" cap="flat" cmpd="sng" algn="ctr">
              <a:noFill/>
              <a:prstDash val="solid"/>
              <a:miter lim="800000"/>
            </a:ln>
            <a:effectLst/>
          </p:spPr>
          <p:txBody>
            <a:bodyPr rtlCol="0" anchor="ctr"/>
            <a:lstStyle/>
            <a:p>
              <a:pPr algn="ctr" defTabSz="685537" fontAlgn="auto">
                <a:spcBef>
                  <a:spcPts val="0"/>
                </a:spcBef>
                <a:spcAft>
                  <a:spcPts val="0"/>
                </a:spcAft>
                <a:defRPr/>
              </a:pPr>
              <a:endParaRPr lang="en-US" sz="1350" b="0" kern="0">
                <a:solidFill>
                  <a:srgbClr val="FFFFFF"/>
                </a:solidFill>
                <a:latin typeface="Segoe UI"/>
                <a:cs typeface="+mn-cs"/>
              </a:endParaRPr>
            </a:p>
          </p:txBody>
        </p:sp>
        <p:pic>
          <p:nvPicPr>
            <p:cNvPr id="2130" name="Graphic 2129" descr="Marker">
              <a:extLst>
                <a:ext uri="{FF2B5EF4-FFF2-40B4-BE49-F238E27FC236}">
                  <a16:creationId xmlns:a16="http://schemas.microsoft.com/office/drawing/2014/main" id="{31A5D84A-94F5-4979-9E20-9D52A366A442}"/>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rcRect/>
            <a:stretch>
              <a:fillRect/>
            </a:stretch>
          </p:blipFill>
          <p:spPr>
            <a:xfrm>
              <a:off x="2871714" y="5625079"/>
              <a:ext cx="767781" cy="767780"/>
            </a:xfrm>
            <a:custGeom>
              <a:avLst/>
              <a:gdLst>
                <a:gd name="connsiteX0" fmla="*/ 381775 w 767781"/>
                <a:gd name="connsiteY0" fmla="*/ 174225 h 767780"/>
                <a:gd name="connsiteX1" fmla="*/ 283415 w 767781"/>
                <a:gd name="connsiteY1" fmla="*/ 272585 h 767780"/>
                <a:gd name="connsiteX2" fmla="*/ 381775 w 767781"/>
                <a:gd name="connsiteY2" fmla="*/ 370945 h 767780"/>
                <a:gd name="connsiteX3" fmla="*/ 480135 w 767781"/>
                <a:gd name="connsiteY3" fmla="*/ 272585 h 767780"/>
                <a:gd name="connsiteX4" fmla="*/ 381775 w 767781"/>
                <a:gd name="connsiteY4" fmla="*/ 174225 h 767780"/>
                <a:gd name="connsiteX5" fmla="*/ 0 w 767781"/>
                <a:gd name="connsiteY5" fmla="*/ 0 h 767780"/>
                <a:gd name="connsiteX6" fmla="*/ 767781 w 767781"/>
                <a:gd name="connsiteY6" fmla="*/ 0 h 767780"/>
                <a:gd name="connsiteX7" fmla="*/ 767781 w 767781"/>
                <a:gd name="connsiteY7" fmla="*/ 767780 h 767780"/>
                <a:gd name="connsiteX8" fmla="*/ 0 w 767781"/>
                <a:gd name="connsiteY8" fmla="*/ 767780 h 767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7781" h="767780">
                  <a:moveTo>
                    <a:pt x="381775" y="174225"/>
                  </a:moveTo>
                  <a:cubicBezTo>
                    <a:pt x="327452" y="174225"/>
                    <a:pt x="283415" y="218262"/>
                    <a:pt x="283415" y="272585"/>
                  </a:cubicBezTo>
                  <a:cubicBezTo>
                    <a:pt x="283415" y="326908"/>
                    <a:pt x="327452" y="370945"/>
                    <a:pt x="381775" y="370945"/>
                  </a:cubicBezTo>
                  <a:cubicBezTo>
                    <a:pt x="436098" y="370945"/>
                    <a:pt x="480135" y="326908"/>
                    <a:pt x="480135" y="272585"/>
                  </a:cubicBezTo>
                  <a:cubicBezTo>
                    <a:pt x="480135" y="218262"/>
                    <a:pt x="436098" y="174225"/>
                    <a:pt x="381775" y="174225"/>
                  </a:cubicBezTo>
                  <a:close/>
                  <a:moveTo>
                    <a:pt x="0" y="0"/>
                  </a:moveTo>
                  <a:lnTo>
                    <a:pt x="767781" y="0"/>
                  </a:lnTo>
                  <a:lnTo>
                    <a:pt x="767781" y="767780"/>
                  </a:lnTo>
                  <a:lnTo>
                    <a:pt x="0" y="767780"/>
                  </a:lnTo>
                  <a:close/>
                </a:path>
              </a:pathLst>
            </a:custGeom>
          </p:spPr>
        </p:pic>
      </p:grpSp>
      <p:grpSp>
        <p:nvGrpSpPr>
          <p:cNvPr id="2131" name="Group 2130">
            <a:extLst>
              <a:ext uri="{FF2B5EF4-FFF2-40B4-BE49-F238E27FC236}">
                <a16:creationId xmlns:a16="http://schemas.microsoft.com/office/drawing/2014/main" id="{B396EE50-96EC-47E9-BCE9-C32F4022E799}"/>
              </a:ext>
            </a:extLst>
          </p:cNvPr>
          <p:cNvGrpSpPr/>
          <p:nvPr/>
        </p:nvGrpSpPr>
        <p:grpSpPr>
          <a:xfrm>
            <a:off x="5379173" y="5019576"/>
            <a:ext cx="564516" cy="564515"/>
            <a:chOff x="2871714" y="5625079"/>
            <a:chExt cx="767781" cy="767780"/>
          </a:xfrm>
        </p:grpSpPr>
        <p:sp>
          <p:nvSpPr>
            <p:cNvPr id="2132" name="Freeform: Shape 411">
              <a:extLst>
                <a:ext uri="{FF2B5EF4-FFF2-40B4-BE49-F238E27FC236}">
                  <a16:creationId xmlns:a16="http://schemas.microsoft.com/office/drawing/2014/main" id="{0EEEE73D-46FA-47C9-92EF-3878E0916300}"/>
                </a:ext>
              </a:extLst>
            </p:cNvPr>
            <p:cNvSpPr/>
            <p:nvPr/>
          </p:nvSpPr>
          <p:spPr>
            <a:xfrm>
              <a:off x="3099311" y="6245437"/>
              <a:ext cx="308354" cy="88308"/>
            </a:xfrm>
            <a:custGeom>
              <a:avLst/>
              <a:gdLst>
                <a:gd name="connsiteX0" fmla="*/ 33738 w 67473"/>
                <a:gd name="connsiteY0" fmla="*/ 0 h 67473"/>
                <a:gd name="connsiteX1" fmla="*/ 67473 w 67473"/>
                <a:gd name="connsiteY1" fmla="*/ 33736 h 67473"/>
                <a:gd name="connsiteX2" fmla="*/ 33738 w 67473"/>
                <a:gd name="connsiteY2" fmla="*/ 67473 h 67473"/>
                <a:gd name="connsiteX3" fmla="*/ 0 w 67473"/>
                <a:gd name="connsiteY3" fmla="*/ 33736 h 67473"/>
                <a:gd name="connsiteX4" fmla="*/ 33738 w 67473"/>
                <a:gd name="connsiteY4" fmla="*/ 0 h 6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473" h="67473">
                  <a:moveTo>
                    <a:pt x="33738" y="0"/>
                  </a:moveTo>
                  <a:cubicBezTo>
                    <a:pt x="52370" y="0"/>
                    <a:pt x="67473" y="15104"/>
                    <a:pt x="67473" y="33736"/>
                  </a:cubicBezTo>
                  <a:cubicBezTo>
                    <a:pt x="67473" y="52368"/>
                    <a:pt x="52370" y="67473"/>
                    <a:pt x="33738" y="67473"/>
                  </a:cubicBezTo>
                  <a:cubicBezTo>
                    <a:pt x="15105" y="67473"/>
                    <a:pt x="0" y="52368"/>
                    <a:pt x="0" y="33736"/>
                  </a:cubicBezTo>
                  <a:cubicBezTo>
                    <a:pt x="0" y="15104"/>
                    <a:pt x="15105" y="0"/>
                    <a:pt x="33738" y="0"/>
                  </a:cubicBezTo>
                  <a:close/>
                </a:path>
              </a:pathLst>
            </a:custGeom>
            <a:solidFill>
              <a:schemeClr val="tx1"/>
            </a:solidFill>
            <a:ln w="12700" cap="flat" cmpd="sng" algn="ctr">
              <a:noFill/>
              <a:prstDash val="solid"/>
              <a:miter lim="800000"/>
            </a:ln>
            <a:effectLst/>
          </p:spPr>
          <p:txBody>
            <a:bodyPr rtlCol="0" anchor="ctr"/>
            <a:lstStyle/>
            <a:p>
              <a:pPr algn="ctr" defTabSz="685537" fontAlgn="auto">
                <a:spcBef>
                  <a:spcPts val="0"/>
                </a:spcBef>
                <a:spcAft>
                  <a:spcPts val="0"/>
                </a:spcAft>
                <a:defRPr/>
              </a:pPr>
              <a:endParaRPr lang="en-US" sz="1350" b="0" kern="0">
                <a:solidFill>
                  <a:srgbClr val="FFFFFF"/>
                </a:solidFill>
                <a:latin typeface="Segoe UI"/>
                <a:cs typeface="+mn-cs"/>
              </a:endParaRPr>
            </a:p>
          </p:txBody>
        </p:sp>
        <p:pic>
          <p:nvPicPr>
            <p:cNvPr id="2133" name="Graphic 2132" descr="Marker">
              <a:extLst>
                <a:ext uri="{FF2B5EF4-FFF2-40B4-BE49-F238E27FC236}">
                  <a16:creationId xmlns:a16="http://schemas.microsoft.com/office/drawing/2014/main" id="{A490BD88-449F-427F-A005-DDF4857C27D5}"/>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rcRect/>
            <a:stretch>
              <a:fillRect/>
            </a:stretch>
          </p:blipFill>
          <p:spPr>
            <a:xfrm>
              <a:off x="2871714" y="5625079"/>
              <a:ext cx="767781" cy="767780"/>
            </a:xfrm>
            <a:custGeom>
              <a:avLst/>
              <a:gdLst>
                <a:gd name="connsiteX0" fmla="*/ 381775 w 767781"/>
                <a:gd name="connsiteY0" fmla="*/ 174225 h 767780"/>
                <a:gd name="connsiteX1" fmla="*/ 283415 w 767781"/>
                <a:gd name="connsiteY1" fmla="*/ 272585 h 767780"/>
                <a:gd name="connsiteX2" fmla="*/ 381775 w 767781"/>
                <a:gd name="connsiteY2" fmla="*/ 370945 h 767780"/>
                <a:gd name="connsiteX3" fmla="*/ 480135 w 767781"/>
                <a:gd name="connsiteY3" fmla="*/ 272585 h 767780"/>
                <a:gd name="connsiteX4" fmla="*/ 381775 w 767781"/>
                <a:gd name="connsiteY4" fmla="*/ 174225 h 767780"/>
                <a:gd name="connsiteX5" fmla="*/ 0 w 767781"/>
                <a:gd name="connsiteY5" fmla="*/ 0 h 767780"/>
                <a:gd name="connsiteX6" fmla="*/ 767781 w 767781"/>
                <a:gd name="connsiteY6" fmla="*/ 0 h 767780"/>
                <a:gd name="connsiteX7" fmla="*/ 767781 w 767781"/>
                <a:gd name="connsiteY7" fmla="*/ 767780 h 767780"/>
                <a:gd name="connsiteX8" fmla="*/ 0 w 767781"/>
                <a:gd name="connsiteY8" fmla="*/ 767780 h 767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7781" h="767780">
                  <a:moveTo>
                    <a:pt x="381775" y="174225"/>
                  </a:moveTo>
                  <a:cubicBezTo>
                    <a:pt x="327452" y="174225"/>
                    <a:pt x="283415" y="218262"/>
                    <a:pt x="283415" y="272585"/>
                  </a:cubicBezTo>
                  <a:cubicBezTo>
                    <a:pt x="283415" y="326908"/>
                    <a:pt x="327452" y="370945"/>
                    <a:pt x="381775" y="370945"/>
                  </a:cubicBezTo>
                  <a:cubicBezTo>
                    <a:pt x="436098" y="370945"/>
                    <a:pt x="480135" y="326908"/>
                    <a:pt x="480135" y="272585"/>
                  </a:cubicBezTo>
                  <a:cubicBezTo>
                    <a:pt x="480135" y="218262"/>
                    <a:pt x="436098" y="174225"/>
                    <a:pt x="381775" y="174225"/>
                  </a:cubicBezTo>
                  <a:close/>
                  <a:moveTo>
                    <a:pt x="0" y="0"/>
                  </a:moveTo>
                  <a:lnTo>
                    <a:pt x="767781" y="0"/>
                  </a:lnTo>
                  <a:lnTo>
                    <a:pt x="767781" y="767780"/>
                  </a:lnTo>
                  <a:lnTo>
                    <a:pt x="0" y="767780"/>
                  </a:lnTo>
                  <a:close/>
                </a:path>
              </a:pathLst>
            </a:custGeom>
          </p:spPr>
        </p:pic>
      </p:grpSp>
      <p:grpSp>
        <p:nvGrpSpPr>
          <p:cNvPr id="2134" name="Group 2133">
            <a:extLst>
              <a:ext uri="{FF2B5EF4-FFF2-40B4-BE49-F238E27FC236}">
                <a16:creationId xmlns:a16="http://schemas.microsoft.com/office/drawing/2014/main" id="{3BB17088-2280-43C9-9B88-D6250F2F3A6F}"/>
              </a:ext>
            </a:extLst>
          </p:cNvPr>
          <p:cNvGrpSpPr/>
          <p:nvPr/>
        </p:nvGrpSpPr>
        <p:grpSpPr>
          <a:xfrm>
            <a:off x="6078128" y="5206393"/>
            <a:ext cx="564516" cy="564515"/>
            <a:chOff x="2871714" y="5625079"/>
            <a:chExt cx="767781" cy="767780"/>
          </a:xfrm>
        </p:grpSpPr>
        <p:sp>
          <p:nvSpPr>
            <p:cNvPr id="2135" name="Freeform: Shape 411">
              <a:extLst>
                <a:ext uri="{FF2B5EF4-FFF2-40B4-BE49-F238E27FC236}">
                  <a16:creationId xmlns:a16="http://schemas.microsoft.com/office/drawing/2014/main" id="{35A6A7CD-2BB9-4474-9A80-46CFA63DAFBD}"/>
                </a:ext>
              </a:extLst>
            </p:cNvPr>
            <p:cNvSpPr/>
            <p:nvPr/>
          </p:nvSpPr>
          <p:spPr>
            <a:xfrm>
              <a:off x="3099311" y="6245437"/>
              <a:ext cx="308354" cy="88308"/>
            </a:xfrm>
            <a:custGeom>
              <a:avLst/>
              <a:gdLst>
                <a:gd name="connsiteX0" fmla="*/ 33738 w 67473"/>
                <a:gd name="connsiteY0" fmla="*/ 0 h 67473"/>
                <a:gd name="connsiteX1" fmla="*/ 67473 w 67473"/>
                <a:gd name="connsiteY1" fmla="*/ 33736 h 67473"/>
                <a:gd name="connsiteX2" fmla="*/ 33738 w 67473"/>
                <a:gd name="connsiteY2" fmla="*/ 67473 h 67473"/>
                <a:gd name="connsiteX3" fmla="*/ 0 w 67473"/>
                <a:gd name="connsiteY3" fmla="*/ 33736 h 67473"/>
                <a:gd name="connsiteX4" fmla="*/ 33738 w 67473"/>
                <a:gd name="connsiteY4" fmla="*/ 0 h 6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473" h="67473">
                  <a:moveTo>
                    <a:pt x="33738" y="0"/>
                  </a:moveTo>
                  <a:cubicBezTo>
                    <a:pt x="52370" y="0"/>
                    <a:pt x="67473" y="15104"/>
                    <a:pt x="67473" y="33736"/>
                  </a:cubicBezTo>
                  <a:cubicBezTo>
                    <a:pt x="67473" y="52368"/>
                    <a:pt x="52370" y="67473"/>
                    <a:pt x="33738" y="67473"/>
                  </a:cubicBezTo>
                  <a:cubicBezTo>
                    <a:pt x="15105" y="67473"/>
                    <a:pt x="0" y="52368"/>
                    <a:pt x="0" y="33736"/>
                  </a:cubicBezTo>
                  <a:cubicBezTo>
                    <a:pt x="0" y="15104"/>
                    <a:pt x="15105" y="0"/>
                    <a:pt x="33738" y="0"/>
                  </a:cubicBezTo>
                  <a:close/>
                </a:path>
              </a:pathLst>
            </a:custGeom>
            <a:solidFill>
              <a:schemeClr val="tx1"/>
            </a:solidFill>
            <a:ln w="12700" cap="flat" cmpd="sng" algn="ctr">
              <a:noFill/>
              <a:prstDash val="solid"/>
              <a:miter lim="800000"/>
            </a:ln>
            <a:effectLst/>
          </p:spPr>
          <p:txBody>
            <a:bodyPr rtlCol="0" anchor="ctr"/>
            <a:lstStyle/>
            <a:p>
              <a:pPr algn="ctr" defTabSz="685537" fontAlgn="auto">
                <a:spcBef>
                  <a:spcPts val="0"/>
                </a:spcBef>
                <a:spcAft>
                  <a:spcPts val="0"/>
                </a:spcAft>
                <a:defRPr/>
              </a:pPr>
              <a:endParaRPr lang="en-US" sz="1350" b="0" kern="0">
                <a:solidFill>
                  <a:srgbClr val="FFFFFF"/>
                </a:solidFill>
                <a:latin typeface="Segoe UI"/>
                <a:cs typeface="+mn-cs"/>
              </a:endParaRPr>
            </a:p>
          </p:txBody>
        </p:sp>
        <p:pic>
          <p:nvPicPr>
            <p:cNvPr id="2136" name="Graphic 2135" descr="Marker">
              <a:extLst>
                <a:ext uri="{FF2B5EF4-FFF2-40B4-BE49-F238E27FC236}">
                  <a16:creationId xmlns:a16="http://schemas.microsoft.com/office/drawing/2014/main" id="{27AD8D45-B695-4FE9-AE97-48509FC318BF}"/>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rcRect/>
            <a:stretch>
              <a:fillRect/>
            </a:stretch>
          </p:blipFill>
          <p:spPr>
            <a:xfrm>
              <a:off x="2871714" y="5625079"/>
              <a:ext cx="767781" cy="767780"/>
            </a:xfrm>
            <a:custGeom>
              <a:avLst/>
              <a:gdLst>
                <a:gd name="connsiteX0" fmla="*/ 381775 w 767781"/>
                <a:gd name="connsiteY0" fmla="*/ 174225 h 767780"/>
                <a:gd name="connsiteX1" fmla="*/ 283415 w 767781"/>
                <a:gd name="connsiteY1" fmla="*/ 272585 h 767780"/>
                <a:gd name="connsiteX2" fmla="*/ 381775 w 767781"/>
                <a:gd name="connsiteY2" fmla="*/ 370945 h 767780"/>
                <a:gd name="connsiteX3" fmla="*/ 480135 w 767781"/>
                <a:gd name="connsiteY3" fmla="*/ 272585 h 767780"/>
                <a:gd name="connsiteX4" fmla="*/ 381775 w 767781"/>
                <a:gd name="connsiteY4" fmla="*/ 174225 h 767780"/>
                <a:gd name="connsiteX5" fmla="*/ 0 w 767781"/>
                <a:gd name="connsiteY5" fmla="*/ 0 h 767780"/>
                <a:gd name="connsiteX6" fmla="*/ 767781 w 767781"/>
                <a:gd name="connsiteY6" fmla="*/ 0 h 767780"/>
                <a:gd name="connsiteX7" fmla="*/ 767781 w 767781"/>
                <a:gd name="connsiteY7" fmla="*/ 767780 h 767780"/>
                <a:gd name="connsiteX8" fmla="*/ 0 w 767781"/>
                <a:gd name="connsiteY8" fmla="*/ 767780 h 767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7781" h="767780">
                  <a:moveTo>
                    <a:pt x="381775" y="174225"/>
                  </a:moveTo>
                  <a:cubicBezTo>
                    <a:pt x="327452" y="174225"/>
                    <a:pt x="283415" y="218262"/>
                    <a:pt x="283415" y="272585"/>
                  </a:cubicBezTo>
                  <a:cubicBezTo>
                    <a:pt x="283415" y="326908"/>
                    <a:pt x="327452" y="370945"/>
                    <a:pt x="381775" y="370945"/>
                  </a:cubicBezTo>
                  <a:cubicBezTo>
                    <a:pt x="436098" y="370945"/>
                    <a:pt x="480135" y="326908"/>
                    <a:pt x="480135" y="272585"/>
                  </a:cubicBezTo>
                  <a:cubicBezTo>
                    <a:pt x="480135" y="218262"/>
                    <a:pt x="436098" y="174225"/>
                    <a:pt x="381775" y="174225"/>
                  </a:cubicBezTo>
                  <a:close/>
                  <a:moveTo>
                    <a:pt x="0" y="0"/>
                  </a:moveTo>
                  <a:lnTo>
                    <a:pt x="767781" y="0"/>
                  </a:lnTo>
                  <a:lnTo>
                    <a:pt x="767781" y="767780"/>
                  </a:lnTo>
                  <a:lnTo>
                    <a:pt x="0" y="767780"/>
                  </a:lnTo>
                  <a:close/>
                </a:path>
              </a:pathLst>
            </a:custGeom>
          </p:spPr>
        </p:pic>
      </p:grpSp>
      <p:grpSp>
        <p:nvGrpSpPr>
          <p:cNvPr id="2137" name="Group 2136">
            <a:extLst>
              <a:ext uri="{FF2B5EF4-FFF2-40B4-BE49-F238E27FC236}">
                <a16:creationId xmlns:a16="http://schemas.microsoft.com/office/drawing/2014/main" id="{0965F2FF-0179-45F6-BBB1-34B3D2B35D5C}"/>
              </a:ext>
            </a:extLst>
          </p:cNvPr>
          <p:cNvGrpSpPr/>
          <p:nvPr/>
        </p:nvGrpSpPr>
        <p:grpSpPr>
          <a:xfrm>
            <a:off x="7254685" y="4814207"/>
            <a:ext cx="564516" cy="564515"/>
            <a:chOff x="2871714" y="5625079"/>
            <a:chExt cx="767781" cy="767780"/>
          </a:xfrm>
        </p:grpSpPr>
        <p:sp>
          <p:nvSpPr>
            <p:cNvPr id="2138" name="Freeform: Shape 411">
              <a:extLst>
                <a:ext uri="{FF2B5EF4-FFF2-40B4-BE49-F238E27FC236}">
                  <a16:creationId xmlns:a16="http://schemas.microsoft.com/office/drawing/2014/main" id="{6B7A75A0-940F-41B2-9624-240BCE2C0C69}"/>
                </a:ext>
              </a:extLst>
            </p:cNvPr>
            <p:cNvSpPr/>
            <p:nvPr/>
          </p:nvSpPr>
          <p:spPr>
            <a:xfrm>
              <a:off x="3099311" y="6245437"/>
              <a:ext cx="308354" cy="88308"/>
            </a:xfrm>
            <a:custGeom>
              <a:avLst/>
              <a:gdLst>
                <a:gd name="connsiteX0" fmla="*/ 33738 w 67473"/>
                <a:gd name="connsiteY0" fmla="*/ 0 h 67473"/>
                <a:gd name="connsiteX1" fmla="*/ 67473 w 67473"/>
                <a:gd name="connsiteY1" fmla="*/ 33736 h 67473"/>
                <a:gd name="connsiteX2" fmla="*/ 33738 w 67473"/>
                <a:gd name="connsiteY2" fmla="*/ 67473 h 67473"/>
                <a:gd name="connsiteX3" fmla="*/ 0 w 67473"/>
                <a:gd name="connsiteY3" fmla="*/ 33736 h 67473"/>
                <a:gd name="connsiteX4" fmla="*/ 33738 w 67473"/>
                <a:gd name="connsiteY4" fmla="*/ 0 h 6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473" h="67473">
                  <a:moveTo>
                    <a:pt x="33738" y="0"/>
                  </a:moveTo>
                  <a:cubicBezTo>
                    <a:pt x="52370" y="0"/>
                    <a:pt x="67473" y="15104"/>
                    <a:pt x="67473" y="33736"/>
                  </a:cubicBezTo>
                  <a:cubicBezTo>
                    <a:pt x="67473" y="52368"/>
                    <a:pt x="52370" y="67473"/>
                    <a:pt x="33738" y="67473"/>
                  </a:cubicBezTo>
                  <a:cubicBezTo>
                    <a:pt x="15105" y="67473"/>
                    <a:pt x="0" y="52368"/>
                    <a:pt x="0" y="33736"/>
                  </a:cubicBezTo>
                  <a:cubicBezTo>
                    <a:pt x="0" y="15104"/>
                    <a:pt x="15105" y="0"/>
                    <a:pt x="33738" y="0"/>
                  </a:cubicBezTo>
                  <a:close/>
                </a:path>
              </a:pathLst>
            </a:custGeom>
            <a:solidFill>
              <a:schemeClr val="tx1"/>
            </a:solidFill>
            <a:ln w="12700" cap="flat" cmpd="sng" algn="ctr">
              <a:noFill/>
              <a:prstDash val="solid"/>
              <a:miter lim="800000"/>
            </a:ln>
            <a:effectLst/>
          </p:spPr>
          <p:txBody>
            <a:bodyPr rtlCol="0" anchor="ctr"/>
            <a:lstStyle/>
            <a:p>
              <a:pPr algn="ctr" defTabSz="685537" fontAlgn="auto">
                <a:spcBef>
                  <a:spcPts val="0"/>
                </a:spcBef>
                <a:spcAft>
                  <a:spcPts val="0"/>
                </a:spcAft>
                <a:defRPr/>
              </a:pPr>
              <a:endParaRPr lang="en-US" sz="1350" b="0" kern="0">
                <a:solidFill>
                  <a:srgbClr val="FFFFFF"/>
                </a:solidFill>
                <a:latin typeface="Segoe UI"/>
                <a:cs typeface="+mn-cs"/>
              </a:endParaRPr>
            </a:p>
          </p:txBody>
        </p:sp>
        <p:pic>
          <p:nvPicPr>
            <p:cNvPr id="2139" name="Graphic 2138" descr="Marker">
              <a:extLst>
                <a:ext uri="{FF2B5EF4-FFF2-40B4-BE49-F238E27FC236}">
                  <a16:creationId xmlns:a16="http://schemas.microsoft.com/office/drawing/2014/main" id="{E1ECDBE5-2838-473F-BFE0-D6EB7F677263}"/>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rcRect/>
            <a:stretch>
              <a:fillRect/>
            </a:stretch>
          </p:blipFill>
          <p:spPr>
            <a:xfrm>
              <a:off x="2871714" y="5625079"/>
              <a:ext cx="767781" cy="767780"/>
            </a:xfrm>
            <a:custGeom>
              <a:avLst/>
              <a:gdLst>
                <a:gd name="connsiteX0" fmla="*/ 381775 w 767781"/>
                <a:gd name="connsiteY0" fmla="*/ 174225 h 767780"/>
                <a:gd name="connsiteX1" fmla="*/ 283415 w 767781"/>
                <a:gd name="connsiteY1" fmla="*/ 272585 h 767780"/>
                <a:gd name="connsiteX2" fmla="*/ 381775 w 767781"/>
                <a:gd name="connsiteY2" fmla="*/ 370945 h 767780"/>
                <a:gd name="connsiteX3" fmla="*/ 480135 w 767781"/>
                <a:gd name="connsiteY3" fmla="*/ 272585 h 767780"/>
                <a:gd name="connsiteX4" fmla="*/ 381775 w 767781"/>
                <a:gd name="connsiteY4" fmla="*/ 174225 h 767780"/>
                <a:gd name="connsiteX5" fmla="*/ 0 w 767781"/>
                <a:gd name="connsiteY5" fmla="*/ 0 h 767780"/>
                <a:gd name="connsiteX6" fmla="*/ 767781 w 767781"/>
                <a:gd name="connsiteY6" fmla="*/ 0 h 767780"/>
                <a:gd name="connsiteX7" fmla="*/ 767781 w 767781"/>
                <a:gd name="connsiteY7" fmla="*/ 767780 h 767780"/>
                <a:gd name="connsiteX8" fmla="*/ 0 w 767781"/>
                <a:gd name="connsiteY8" fmla="*/ 767780 h 767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7781" h="767780">
                  <a:moveTo>
                    <a:pt x="381775" y="174225"/>
                  </a:moveTo>
                  <a:cubicBezTo>
                    <a:pt x="327452" y="174225"/>
                    <a:pt x="283415" y="218262"/>
                    <a:pt x="283415" y="272585"/>
                  </a:cubicBezTo>
                  <a:cubicBezTo>
                    <a:pt x="283415" y="326908"/>
                    <a:pt x="327452" y="370945"/>
                    <a:pt x="381775" y="370945"/>
                  </a:cubicBezTo>
                  <a:cubicBezTo>
                    <a:pt x="436098" y="370945"/>
                    <a:pt x="480135" y="326908"/>
                    <a:pt x="480135" y="272585"/>
                  </a:cubicBezTo>
                  <a:cubicBezTo>
                    <a:pt x="480135" y="218262"/>
                    <a:pt x="436098" y="174225"/>
                    <a:pt x="381775" y="174225"/>
                  </a:cubicBezTo>
                  <a:close/>
                  <a:moveTo>
                    <a:pt x="0" y="0"/>
                  </a:moveTo>
                  <a:lnTo>
                    <a:pt x="767781" y="0"/>
                  </a:lnTo>
                  <a:lnTo>
                    <a:pt x="767781" y="767780"/>
                  </a:lnTo>
                  <a:lnTo>
                    <a:pt x="0" y="767780"/>
                  </a:lnTo>
                  <a:close/>
                </a:path>
              </a:pathLst>
            </a:custGeom>
          </p:spPr>
        </p:pic>
      </p:grpSp>
      <p:sp>
        <p:nvSpPr>
          <p:cNvPr id="2143" name="Freeform: Shape 2142">
            <a:extLst>
              <a:ext uri="{FF2B5EF4-FFF2-40B4-BE49-F238E27FC236}">
                <a16:creationId xmlns:a16="http://schemas.microsoft.com/office/drawing/2014/main" id="{036C06E9-5F40-4794-86B2-EC191778D448}"/>
              </a:ext>
            </a:extLst>
          </p:cNvPr>
          <p:cNvSpPr/>
          <p:nvPr/>
        </p:nvSpPr>
        <p:spPr>
          <a:xfrm>
            <a:off x="1" y="4047394"/>
            <a:ext cx="9144000" cy="918836"/>
          </a:xfrm>
          <a:custGeom>
            <a:avLst/>
            <a:gdLst>
              <a:gd name="connsiteX0" fmla="*/ 5907680 w 11815361"/>
              <a:gd name="connsiteY0" fmla="*/ 0 h 1745574"/>
              <a:gd name="connsiteX1" fmla="*/ 11747164 w 11815361"/>
              <a:gd name="connsiteY1" fmla="*/ 1675322 h 1745574"/>
              <a:gd name="connsiteX2" fmla="*/ 11815361 w 11815361"/>
              <a:gd name="connsiteY2" fmla="*/ 1745574 h 1745574"/>
              <a:gd name="connsiteX3" fmla="*/ 0 w 11815361"/>
              <a:gd name="connsiteY3" fmla="*/ 1745574 h 1745574"/>
              <a:gd name="connsiteX4" fmla="*/ 68197 w 11815361"/>
              <a:gd name="connsiteY4" fmla="*/ 1675322 h 1745574"/>
              <a:gd name="connsiteX5" fmla="*/ 5907680 w 11815361"/>
              <a:gd name="connsiteY5" fmla="*/ 0 h 1745574"/>
              <a:gd name="connsiteX0" fmla="*/ 0 w 11815361"/>
              <a:gd name="connsiteY0" fmla="*/ 1745574 h 1833150"/>
              <a:gd name="connsiteX1" fmla="*/ 68197 w 11815361"/>
              <a:gd name="connsiteY1" fmla="*/ 1675322 h 1833150"/>
              <a:gd name="connsiteX2" fmla="*/ 5907680 w 11815361"/>
              <a:gd name="connsiteY2" fmla="*/ 0 h 1833150"/>
              <a:gd name="connsiteX3" fmla="*/ 11747164 w 11815361"/>
              <a:gd name="connsiteY3" fmla="*/ 1675322 h 1833150"/>
              <a:gd name="connsiteX4" fmla="*/ 11815361 w 11815361"/>
              <a:gd name="connsiteY4" fmla="*/ 1745574 h 1833150"/>
              <a:gd name="connsiteX5" fmla="*/ 86873 w 11815361"/>
              <a:gd name="connsiteY5" fmla="*/ 1833150 h 1833150"/>
              <a:gd name="connsiteX0" fmla="*/ 0 w 11815361"/>
              <a:gd name="connsiteY0" fmla="*/ 1745574 h 1745574"/>
              <a:gd name="connsiteX1" fmla="*/ 68197 w 11815361"/>
              <a:gd name="connsiteY1" fmla="*/ 1675322 h 1745574"/>
              <a:gd name="connsiteX2" fmla="*/ 5907680 w 11815361"/>
              <a:gd name="connsiteY2" fmla="*/ 0 h 1745574"/>
              <a:gd name="connsiteX3" fmla="*/ 11747164 w 11815361"/>
              <a:gd name="connsiteY3" fmla="*/ 1675322 h 1745574"/>
              <a:gd name="connsiteX4" fmla="*/ 11815361 w 11815361"/>
              <a:gd name="connsiteY4" fmla="*/ 1745574 h 17455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15361" h="1745574">
                <a:moveTo>
                  <a:pt x="0" y="1745574"/>
                </a:moveTo>
                <a:lnTo>
                  <a:pt x="68197" y="1675322"/>
                </a:lnTo>
                <a:cubicBezTo>
                  <a:pt x="1078372" y="686989"/>
                  <a:pt x="3313125" y="0"/>
                  <a:pt x="5907680" y="0"/>
                </a:cubicBezTo>
                <a:cubicBezTo>
                  <a:pt x="8502236" y="0"/>
                  <a:pt x="10736988" y="686989"/>
                  <a:pt x="11747164" y="1675322"/>
                </a:cubicBezTo>
                <a:lnTo>
                  <a:pt x="11815361" y="1745574"/>
                </a:lnTo>
              </a:path>
            </a:pathLst>
          </a:custGeom>
          <a:noFill/>
          <a:ln w="6350">
            <a:solidFill>
              <a:schemeClr val="bg1">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537" fontAlgn="auto">
              <a:spcBef>
                <a:spcPts val="0"/>
              </a:spcBef>
              <a:spcAft>
                <a:spcPts val="0"/>
              </a:spcAft>
              <a:defRPr/>
            </a:pPr>
            <a:endParaRPr lang="en-US" sz="1350" b="0" dirty="0">
              <a:solidFill>
                <a:srgbClr val="FFFFFF"/>
              </a:solidFill>
              <a:latin typeface="Segoe UI"/>
            </a:endParaRPr>
          </a:p>
        </p:txBody>
      </p:sp>
      <p:sp>
        <p:nvSpPr>
          <p:cNvPr id="2144" name="Freeform: Shape 2143">
            <a:extLst>
              <a:ext uri="{FF2B5EF4-FFF2-40B4-BE49-F238E27FC236}">
                <a16:creationId xmlns:a16="http://schemas.microsoft.com/office/drawing/2014/main" id="{DB751003-B8CA-43FF-B4A5-BF594CB6CB59}"/>
              </a:ext>
            </a:extLst>
          </p:cNvPr>
          <p:cNvSpPr/>
          <p:nvPr/>
        </p:nvSpPr>
        <p:spPr>
          <a:xfrm>
            <a:off x="1" y="3195790"/>
            <a:ext cx="9144000" cy="918836"/>
          </a:xfrm>
          <a:custGeom>
            <a:avLst/>
            <a:gdLst>
              <a:gd name="connsiteX0" fmla="*/ 5907680 w 11815361"/>
              <a:gd name="connsiteY0" fmla="*/ 0 h 1745574"/>
              <a:gd name="connsiteX1" fmla="*/ 11747164 w 11815361"/>
              <a:gd name="connsiteY1" fmla="*/ 1675322 h 1745574"/>
              <a:gd name="connsiteX2" fmla="*/ 11815361 w 11815361"/>
              <a:gd name="connsiteY2" fmla="*/ 1745574 h 1745574"/>
              <a:gd name="connsiteX3" fmla="*/ 0 w 11815361"/>
              <a:gd name="connsiteY3" fmla="*/ 1745574 h 1745574"/>
              <a:gd name="connsiteX4" fmla="*/ 68197 w 11815361"/>
              <a:gd name="connsiteY4" fmla="*/ 1675322 h 1745574"/>
              <a:gd name="connsiteX5" fmla="*/ 5907680 w 11815361"/>
              <a:gd name="connsiteY5" fmla="*/ 0 h 1745574"/>
              <a:gd name="connsiteX0" fmla="*/ 0 w 11815361"/>
              <a:gd name="connsiteY0" fmla="*/ 1745574 h 1833150"/>
              <a:gd name="connsiteX1" fmla="*/ 68197 w 11815361"/>
              <a:gd name="connsiteY1" fmla="*/ 1675322 h 1833150"/>
              <a:gd name="connsiteX2" fmla="*/ 5907680 w 11815361"/>
              <a:gd name="connsiteY2" fmla="*/ 0 h 1833150"/>
              <a:gd name="connsiteX3" fmla="*/ 11747164 w 11815361"/>
              <a:gd name="connsiteY3" fmla="*/ 1675322 h 1833150"/>
              <a:gd name="connsiteX4" fmla="*/ 11815361 w 11815361"/>
              <a:gd name="connsiteY4" fmla="*/ 1745574 h 1833150"/>
              <a:gd name="connsiteX5" fmla="*/ 86873 w 11815361"/>
              <a:gd name="connsiteY5" fmla="*/ 1833150 h 1833150"/>
              <a:gd name="connsiteX0" fmla="*/ 0 w 11815361"/>
              <a:gd name="connsiteY0" fmla="*/ 1745574 h 1745574"/>
              <a:gd name="connsiteX1" fmla="*/ 68197 w 11815361"/>
              <a:gd name="connsiteY1" fmla="*/ 1675322 h 1745574"/>
              <a:gd name="connsiteX2" fmla="*/ 5907680 w 11815361"/>
              <a:gd name="connsiteY2" fmla="*/ 0 h 1745574"/>
              <a:gd name="connsiteX3" fmla="*/ 11747164 w 11815361"/>
              <a:gd name="connsiteY3" fmla="*/ 1675322 h 1745574"/>
              <a:gd name="connsiteX4" fmla="*/ 11815361 w 11815361"/>
              <a:gd name="connsiteY4" fmla="*/ 1745574 h 17455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15361" h="1745574">
                <a:moveTo>
                  <a:pt x="0" y="1745574"/>
                </a:moveTo>
                <a:lnTo>
                  <a:pt x="68197" y="1675322"/>
                </a:lnTo>
                <a:cubicBezTo>
                  <a:pt x="1078372" y="686989"/>
                  <a:pt x="3313125" y="0"/>
                  <a:pt x="5907680" y="0"/>
                </a:cubicBezTo>
                <a:cubicBezTo>
                  <a:pt x="8502236" y="0"/>
                  <a:pt x="10736988" y="686989"/>
                  <a:pt x="11747164" y="1675322"/>
                </a:cubicBezTo>
                <a:lnTo>
                  <a:pt x="11815361" y="1745574"/>
                </a:lnTo>
              </a:path>
            </a:pathLst>
          </a:custGeom>
          <a:noFill/>
          <a:ln w="6350">
            <a:solidFill>
              <a:schemeClr val="bg1">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537" fontAlgn="auto">
              <a:spcBef>
                <a:spcPts val="0"/>
              </a:spcBef>
              <a:spcAft>
                <a:spcPts val="0"/>
              </a:spcAft>
              <a:defRPr/>
            </a:pPr>
            <a:endParaRPr lang="en-US" sz="1350" b="0" dirty="0">
              <a:solidFill>
                <a:srgbClr val="FFFFFF"/>
              </a:solidFill>
              <a:latin typeface="Segoe UI"/>
            </a:endParaRPr>
          </a:p>
        </p:txBody>
      </p:sp>
    </p:spTree>
    <p:extLst>
      <p:ext uri="{BB962C8B-B14F-4D97-AF65-F5344CB8AC3E}">
        <p14:creationId xmlns:p14="http://schemas.microsoft.com/office/powerpoint/2010/main" val="5487990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4" name="Picture 3" descr="Screen Clipping">
            <a:extLst>
              <a:ext uri="{FF2B5EF4-FFF2-40B4-BE49-F238E27FC236}">
                <a16:creationId xmlns:a16="http://schemas.microsoft.com/office/drawing/2014/main" id="{BA7533DD-BF2B-4E52-9EA9-7A999EBBD8F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51590" y="1039416"/>
            <a:ext cx="8381645" cy="4745663"/>
          </a:xfrm>
          <a:prstGeom prst="rect">
            <a:avLst/>
          </a:prstGeom>
        </p:spPr>
      </p:pic>
    </p:spTree>
    <p:extLst>
      <p:ext uri="{BB962C8B-B14F-4D97-AF65-F5344CB8AC3E}">
        <p14:creationId xmlns:p14="http://schemas.microsoft.com/office/powerpoint/2010/main" val="40185146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4" name="Picture 3" descr="Screen Clipping">
            <a:extLst>
              <a:ext uri="{FF2B5EF4-FFF2-40B4-BE49-F238E27FC236}">
                <a16:creationId xmlns:a16="http://schemas.microsoft.com/office/drawing/2014/main" id="{EDE79423-2E27-426D-8DB3-FFF7531BE44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867797" y="1574007"/>
            <a:ext cx="5215232" cy="3709987"/>
          </a:xfrm>
          <a:prstGeom prst="rect">
            <a:avLst/>
          </a:prstGeom>
        </p:spPr>
      </p:pic>
    </p:spTree>
    <p:extLst>
      <p:ext uri="{BB962C8B-B14F-4D97-AF65-F5344CB8AC3E}">
        <p14:creationId xmlns:p14="http://schemas.microsoft.com/office/powerpoint/2010/main" val="30601183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Cosmos DB</a:t>
            </a:r>
          </a:p>
        </p:txBody>
      </p:sp>
      <p:sp>
        <p:nvSpPr>
          <p:cNvPr id="5" name="Content Placeholder 4"/>
          <p:cNvSpPr>
            <a:spLocks noGrp="1"/>
          </p:cNvSpPr>
          <p:nvPr>
            <p:ph idx="1"/>
          </p:nvPr>
        </p:nvSpPr>
        <p:spPr/>
        <p:txBody>
          <a:bodyPr>
            <a:normAutofit/>
          </a:bodyPr>
          <a:lstStyle/>
          <a:p>
            <a:pPr marL="428625" indent="-428625">
              <a:buFont typeface="Arial" panose="020B0604020202020204" pitchFamily="34" charset="0"/>
              <a:buChar char="•"/>
            </a:pPr>
            <a:r>
              <a:rPr lang="en-US" dirty="0"/>
              <a:t>Azure Cosmos DB is a globally distributed database service</a:t>
            </a:r>
          </a:p>
          <a:p>
            <a:pPr marL="342900" indent="-342900">
              <a:buFont typeface="Arial" panose="020B0604020202020204" pitchFamily="34" charset="0"/>
              <a:buChar char="•"/>
            </a:pPr>
            <a:r>
              <a:rPr lang="en-US" dirty="0"/>
              <a:t>“one of the supported APIs and data models”</a:t>
            </a:r>
          </a:p>
          <a:p>
            <a:pPr marL="428625" indent="-428625">
              <a:buFont typeface="Arial" panose="020B0604020202020204" pitchFamily="34" charset="0"/>
              <a:buChar char="•"/>
            </a:pPr>
            <a:r>
              <a:rPr lang="en-US" dirty="0"/>
              <a:t>Document != *.</a:t>
            </a:r>
            <a:r>
              <a:rPr lang="en-US" dirty="0" err="1"/>
              <a:t>docx</a:t>
            </a:r>
            <a:endParaRPr lang="en-US" dirty="0"/>
          </a:p>
          <a:p>
            <a:pPr marL="428625" indent="-428625">
              <a:buFont typeface="Arial" panose="020B0604020202020204" pitchFamily="34" charset="0"/>
              <a:buChar char="•"/>
            </a:pPr>
            <a:r>
              <a:rPr lang="en-US" dirty="0"/>
              <a:t>Document == JSON</a:t>
            </a:r>
          </a:p>
          <a:p>
            <a:pPr marL="428625" indent="-428625">
              <a:buFont typeface="Arial" panose="020B0604020202020204" pitchFamily="34" charset="0"/>
              <a:buChar char="•"/>
            </a:pPr>
            <a:r>
              <a:rPr lang="en-US" dirty="0"/>
              <a:t>NoSQL, Schema free database</a:t>
            </a:r>
          </a:p>
          <a:p>
            <a:pPr marL="428625" indent="-428625">
              <a:buFont typeface="Arial" panose="020B0604020202020204" pitchFamily="34" charset="0"/>
              <a:buChar char="•"/>
            </a:pPr>
            <a:r>
              <a:rPr lang="en-US" dirty="0"/>
              <a:t>99.99% availability within a single region.</a:t>
            </a:r>
          </a:p>
          <a:p>
            <a:pPr marL="428625" indent="-428625">
              <a:buFont typeface="Arial" panose="020B0604020202020204" pitchFamily="34" charset="0"/>
              <a:buChar char="•"/>
            </a:pPr>
            <a:r>
              <a:rPr lang="en-US" dirty="0"/>
              <a:t>It is a good choice for new web, mobile, gaming, and </a:t>
            </a:r>
            <a:r>
              <a:rPr lang="en-US" dirty="0" err="1"/>
              <a:t>IoT</a:t>
            </a:r>
            <a:r>
              <a:rPr lang="en-US" dirty="0"/>
              <a:t> applications</a:t>
            </a:r>
          </a:p>
          <a:p>
            <a:pPr marL="428625" indent="-428625">
              <a:buFont typeface="Arial" panose="020B0604020202020204" pitchFamily="34" charset="0"/>
              <a:buChar char="•"/>
            </a:pPr>
            <a:r>
              <a:rPr lang="en-US" b="1" dirty="0"/>
              <a:t>HIPAA-compliant</a:t>
            </a:r>
          </a:p>
          <a:p>
            <a:pPr marL="428625" indent="-428625">
              <a:buFont typeface="Arial" panose="020B0604020202020204" pitchFamily="34" charset="0"/>
              <a:buChar char="•"/>
            </a:pPr>
            <a:r>
              <a:rPr lang="en-US" dirty="0"/>
              <a:t>PaaS</a:t>
            </a:r>
          </a:p>
          <a:p>
            <a:endParaRPr lang="en-US" dirty="0"/>
          </a:p>
          <a:p>
            <a:endParaRPr lang="en-US" dirty="0"/>
          </a:p>
          <a:p>
            <a:endParaRPr lang="en-US" dirty="0"/>
          </a:p>
          <a:p>
            <a:endParaRPr lang="en-US" dirty="0"/>
          </a:p>
        </p:txBody>
      </p:sp>
    </p:spTree>
    <p:extLst>
      <p:ext uri="{BB962C8B-B14F-4D97-AF65-F5344CB8AC3E}">
        <p14:creationId xmlns:p14="http://schemas.microsoft.com/office/powerpoint/2010/main" val="2722659313"/>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err="1"/>
              <a:t>DocumentDB</a:t>
            </a:r>
            <a:r>
              <a:rPr lang="en-US" dirty="0"/>
              <a:t> Programming Options</a:t>
            </a:r>
          </a:p>
        </p:txBody>
      </p:sp>
      <p:sp>
        <p:nvSpPr>
          <p:cNvPr id="5" name="Content Placeholder 4"/>
          <p:cNvSpPr>
            <a:spLocks noGrp="1"/>
          </p:cNvSpPr>
          <p:nvPr>
            <p:ph idx="1"/>
          </p:nvPr>
        </p:nvSpPr>
        <p:spPr/>
        <p:txBody>
          <a:bodyPr/>
          <a:lstStyle/>
          <a:p>
            <a:r>
              <a:rPr lang="en-US" dirty="0"/>
              <a:t>Server-side programming options</a:t>
            </a:r>
          </a:p>
          <a:p>
            <a:r>
              <a:rPr lang="en-US" dirty="0"/>
              <a:t>Stored procs, triggers, &amp; user-defined functions </a:t>
            </a:r>
          </a:p>
          <a:p>
            <a:r>
              <a:rPr lang="en-US" dirty="0"/>
              <a:t>Written in JavaScript</a:t>
            </a:r>
          </a:p>
          <a:p>
            <a:r>
              <a:rPr lang="en-US" sz="2100" dirty="0">
                <a:hlinkClick r:id="rId3"/>
              </a:rPr>
              <a:t>https://docs.microsoft.com/en-us/azure/cosmos-db/programming</a:t>
            </a:r>
            <a:r>
              <a:rPr lang="en-US" sz="2100" dirty="0"/>
              <a:t> </a:t>
            </a:r>
            <a:endParaRPr lang="en-US" dirty="0"/>
          </a:p>
          <a:p>
            <a:endParaRPr lang="en-US" dirty="0"/>
          </a:p>
          <a:p>
            <a:endParaRPr lang="en-US" dirty="0"/>
          </a:p>
          <a:p>
            <a:endParaRPr lang="en-US" dirty="0"/>
          </a:p>
          <a:p>
            <a:endParaRPr lang="en-US" dirty="0"/>
          </a:p>
          <a:p>
            <a:endParaRPr lang="en-US" dirty="0"/>
          </a:p>
        </p:txBody>
      </p:sp>
    </p:spTree>
    <p:extLst>
      <p:ext uri="{BB962C8B-B14F-4D97-AF65-F5344CB8AC3E}">
        <p14:creationId xmlns:p14="http://schemas.microsoft.com/office/powerpoint/2010/main" val="1865051036"/>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err="1"/>
              <a:t>DocumentDB</a:t>
            </a:r>
            <a:r>
              <a:rPr lang="en-US" dirty="0"/>
              <a:t> Resources</a:t>
            </a:r>
          </a:p>
        </p:txBody>
      </p:sp>
      <p:sp>
        <p:nvSpPr>
          <p:cNvPr id="3" name="Content Placeholder 2"/>
          <p:cNvSpPr>
            <a:spLocks noGrp="1"/>
          </p:cNvSpPr>
          <p:nvPr>
            <p:ph idx="1"/>
          </p:nvPr>
        </p:nvSpPr>
        <p:spPr/>
        <p:txBody>
          <a:bodyPr/>
          <a:lstStyle/>
          <a:p>
            <a:r>
              <a:rPr lang="en-US" dirty="0"/>
              <a:t>Stored Proc Programming Video</a:t>
            </a:r>
          </a:p>
          <a:p>
            <a:pPr lvl="1"/>
            <a:r>
              <a:rPr lang="en-US" sz="2100" dirty="0">
                <a:hlinkClick r:id="rId3"/>
              </a:rPr>
              <a:t>https://docs.microsoft.com/en-us/azure/cosmos-db/programming</a:t>
            </a:r>
            <a:r>
              <a:rPr lang="en-US" sz="2100" dirty="0"/>
              <a:t> </a:t>
            </a:r>
            <a:endParaRPr lang="en-US" dirty="0"/>
          </a:p>
          <a:p>
            <a:r>
              <a:rPr lang="en-US" dirty="0" err="1"/>
              <a:t>DocumentDB</a:t>
            </a:r>
            <a:r>
              <a:rPr lang="en-US" dirty="0"/>
              <a:t> vs MongoDB</a:t>
            </a:r>
          </a:p>
          <a:p>
            <a:pPr lvl="1"/>
            <a:r>
              <a:rPr lang="en-US" sz="1500" dirty="0">
                <a:hlinkClick r:id="rId4"/>
              </a:rPr>
              <a:t>https://medium.com/@th0maswe1ss/azure-documentdb-vs-mongodb-6d5806c16239</a:t>
            </a:r>
            <a:r>
              <a:rPr lang="en-US" sz="1500" dirty="0"/>
              <a:t> </a:t>
            </a:r>
            <a:endParaRPr lang="en-US" dirty="0"/>
          </a:p>
          <a:p>
            <a:r>
              <a:rPr lang="en-US" dirty="0"/>
              <a:t>Getting Started</a:t>
            </a:r>
          </a:p>
          <a:p>
            <a:r>
              <a:rPr lang="en-US" sz="1800" dirty="0">
                <a:hlinkClick r:id="rId5"/>
              </a:rPr>
              <a:t>https://docs.microsoft.com/en-us/azure/cosmos-db/documentdb-get-started</a:t>
            </a:r>
            <a:endParaRPr lang="en-US" sz="1800" dirty="0"/>
          </a:p>
          <a:p>
            <a:endParaRPr lang="en-US" sz="1800" dirty="0"/>
          </a:p>
        </p:txBody>
      </p:sp>
    </p:spTree>
    <p:extLst>
      <p:ext uri="{BB962C8B-B14F-4D97-AF65-F5344CB8AC3E}">
        <p14:creationId xmlns:p14="http://schemas.microsoft.com/office/powerpoint/2010/main" val="3029933110"/>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zure </a:t>
            </a:r>
            <a:r>
              <a:rPr lang="en-US" dirty="0" err="1"/>
              <a:t>CosmosDb</a:t>
            </a:r>
            <a:r>
              <a:rPr lang="en-US" dirty="0"/>
              <a:t> </a:t>
            </a:r>
            <a:r>
              <a:rPr lang="en-US" dirty="0" err="1"/>
              <a:t>KeyWords</a:t>
            </a:r>
            <a:endParaRPr lang="en-US" dirty="0"/>
          </a:p>
        </p:txBody>
      </p:sp>
      <p:sp>
        <p:nvSpPr>
          <p:cNvPr id="3" name="Content Placeholder 2"/>
          <p:cNvSpPr>
            <a:spLocks noGrp="1"/>
          </p:cNvSpPr>
          <p:nvPr>
            <p:ph idx="1"/>
          </p:nvPr>
        </p:nvSpPr>
        <p:spPr>
          <a:xfrm>
            <a:off x="4400704" y="1895477"/>
            <a:ext cx="4061579" cy="3972732"/>
          </a:xfrm>
        </p:spPr>
        <p:txBody>
          <a:bodyPr>
            <a:normAutofit/>
          </a:bodyPr>
          <a:lstStyle/>
          <a:p>
            <a:pPr marL="428625" indent="-428625">
              <a:buFont typeface="Arial" panose="020B0604020202020204" pitchFamily="34" charset="0"/>
              <a:buChar char="•"/>
            </a:pPr>
            <a:r>
              <a:rPr lang="en-US" dirty="0"/>
              <a:t>Indexing Policy</a:t>
            </a:r>
          </a:p>
          <a:p>
            <a:pPr marL="428625" indent="-428625">
              <a:buFont typeface="Arial" panose="020B0604020202020204" pitchFamily="34" charset="0"/>
              <a:buChar char="•"/>
            </a:pPr>
            <a:r>
              <a:rPr lang="en-US" dirty="0"/>
              <a:t>Partition Key</a:t>
            </a:r>
          </a:p>
          <a:p>
            <a:pPr marL="428625" indent="-428625">
              <a:buFont typeface="Arial" panose="020B0604020202020204" pitchFamily="34" charset="0"/>
              <a:buChar char="•"/>
            </a:pPr>
            <a:r>
              <a:rPr lang="en-US" dirty="0"/>
              <a:t>Row Key</a:t>
            </a:r>
          </a:p>
          <a:p>
            <a:pPr marL="428625" indent="-428625">
              <a:buFont typeface="Arial" panose="020B0604020202020204" pitchFamily="34" charset="0"/>
              <a:buChar char="•"/>
            </a:pPr>
            <a:endParaRPr lang="en-US" dirty="0"/>
          </a:p>
          <a:p>
            <a:pPr marL="428625" indent="-428625">
              <a:buFont typeface="Arial" panose="020B0604020202020204" pitchFamily="34" charset="0"/>
              <a:buChar char="•"/>
            </a:pPr>
            <a:endParaRPr lang="en-US" dirty="0"/>
          </a:p>
          <a:p>
            <a:pPr lvl="1"/>
            <a:endParaRPr lang="en-US" dirty="0"/>
          </a:p>
        </p:txBody>
      </p:sp>
      <p:sp>
        <p:nvSpPr>
          <p:cNvPr id="5" name="Content Placeholder 2"/>
          <p:cNvSpPr txBox="1">
            <a:spLocks/>
          </p:cNvSpPr>
          <p:nvPr/>
        </p:nvSpPr>
        <p:spPr>
          <a:xfrm>
            <a:off x="265493" y="1895477"/>
            <a:ext cx="4061579" cy="3972732"/>
          </a:xfrm>
          <a:prstGeom prst="rect">
            <a:avLst/>
          </a:prstGeom>
        </p:spPr>
        <p:txBody>
          <a:bodyPr vert="horz" lIns="68580" tIns="34290" rIns="68580" bIns="34290" rtlCol="0">
            <a:normAutofit fontScale="92500" lnSpcReduction="10000"/>
          </a:bodyPr>
          <a:lstStyle>
            <a:lvl1pPr marL="0" indent="0" algn="l" defTabSz="914400" rtl="0" eaLnBrk="1" latinLnBrk="0" hangingPunct="1">
              <a:lnSpc>
                <a:spcPct val="90000"/>
              </a:lnSpc>
              <a:spcBef>
                <a:spcPts val="1000"/>
              </a:spcBef>
              <a:buFontTx/>
              <a:buNone/>
              <a:defRPr sz="3600" kern="1200">
                <a:solidFill>
                  <a:schemeClr val="tx1"/>
                </a:solidFill>
                <a:latin typeface="+mn-lt"/>
                <a:ea typeface="+mn-ea"/>
                <a:cs typeface="+mn-cs"/>
              </a:defRPr>
            </a:lvl1pPr>
            <a:lvl2pPr marL="457200" indent="0" algn="l" defTabSz="914400" rtl="0" eaLnBrk="1" latinLnBrk="0" hangingPunct="1">
              <a:lnSpc>
                <a:spcPct val="90000"/>
              </a:lnSpc>
              <a:spcBef>
                <a:spcPts val="500"/>
              </a:spcBef>
              <a:buFontTx/>
              <a:buNone/>
              <a:defRPr sz="32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Tx/>
              <a:buNone/>
              <a:defRPr sz="28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Tx/>
              <a:buNone/>
              <a:defRPr sz="24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Tx/>
              <a:buNone/>
              <a:defRPr sz="2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28625" indent="-428625" defTabSz="685800" fontAlgn="auto">
              <a:spcBef>
                <a:spcPts val="750"/>
              </a:spcBef>
              <a:spcAft>
                <a:spcPts val="0"/>
              </a:spcAft>
              <a:buFont typeface="Arial" panose="020B0604020202020204" pitchFamily="34" charset="0"/>
              <a:buChar char="•"/>
              <a:defRPr/>
            </a:pPr>
            <a:r>
              <a:rPr lang="en-US" sz="2700" b="0">
                <a:solidFill>
                  <a:prstClr val="black"/>
                </a:solidFill>
                <a:latin typeface="Calibri" panose="020F0502020204030204"/>
              </a:rPr>
              <a:t>Request Unit(RU)</a:t>
            </a:r>
          </a:p>
          <a:p>
            <a:pPr marL="428625" indent="-428625" defTabSz="685800" fontAlgn="auto">
              <a:spcBef>
                <a:spcPts val="750"/>
              </a:spcBef>
              <a:spcAft>
                <a:spcPts val="0"/>
              </a:spcAft>
              <a:buFont typeface="Arial" panose="020B0604020202020204" pitchFamily="34" charset="0"/>
              <a:buChar char="•"/>
              <a:defRPr/>
            </a:pPr>
            <a:r>
              <a:rPr lang="en-US" sz="2700" b="0">
                <a:solidFill>
                  <a:prstClr val="black"/>
                </a:solidFill>
                <a:latin typeface="Calibri" panose="020F0502020204030204"/>
              </a:rPr>
              <a:t>Key-Value Pair</a:t>
            </a:r>
          </a:p>
          <a:p>
            <a:pPr marL="428625" indent="-428625" defTabSz="685800" fontAlgn="auto">
              <a:spcBef>
                <a:spcPts val="750"/>
              </a:spcBef>
              <a:spcAft>
                <a:spcPts val="0"/>
              </a:spcAft>
              <a:buFont typeface="Arial" panose="020B0604020202020204" pitchFamily="34" charset="0"/>
              <a:buChar char="•"/>
              <a:defRPr/>
            </a:pPr>
            <a:r>
              <a:rPr lang="en-US" sz="2700" b="0">
                <a:solidFill>
                  <a:prstClr val="black"/>
                </a:solidFill>
                <a:latin typeface="Calibri" panose="020F0502020204030204"/>
              </a:rPr>
              <a:t>No SQL</a:t>
            </a:r>
          </a:p>
          <a:p>
            <a:pPr marL="428625" indent="-428625" defTabSz="685800" fontAlgn="auto">
              <a:spcBef>
                <a:spcPts val="750"/>
              </a:spcBef>
              <a:spcAft>
                <a:spcPts val="0"/>
              </a:spcAft>
              <a:buFont typeface="Arial" panose="020B0604020202020204" pitchFamily="34" charset="0"/>
              <a:buChar char="•"/>
              <a:defRPr/>
            </a:pPr>
            <a:r>
              <a:rPr lang="en-US" sz="2700" b="0">
                <a:solidFill>
                  <a:prstClr val="black"/>
                </a:solidFill>
                <a:latin typeface="Calibri" panose="020F0502020204030204"/>
              </a:rPr>
              <a:t>Schema less</a:t>
            </a:r>
          </a:p>
          <a:p>
            <a:pPr marL="428625" indent="-428625" defTabSz="685800" fontAlgn="auto">
              <a:spcBef>
                <a:spcPts val="750"/>
              </a:spcBef>
              <a:spcAft>
                <a:spcPts val="0"/>
              </a:spcAft>
              <a:buFont typeface="Arial" panose="020B0604020202020204" pitchFamily="34" charset="0"/>
              <a:buChar char="•"/>
              <a:defRPr/>
            </a:pPr>
            <a:r>
              <a:rPr lang="en-US" sz="2700" b="0">
                <a:solidFill>
                  <a:prstClr val="black"/>
                </a:solidFill>
                <a:latin typeface="Calibri" panose="020F0502020204030204"/>
              </a:rPr>
              <a:t>ARS (atoms, records and sequences) </a:t>
            </a:r>
          </a:p>
          <a:p>
            <a:pPr marL="428625" indent="-428625" defTabSz="685800" fontAlgn="auto">
              <a:spcBef>
                <a:spcPts val="750"/>
              </a:spcBef>
              <a:spcAft>
                <a:spcPts val="0"/>
              </a:spcAft>
              <a:buFont typeface="Arial" panose="020B0604020202020204" pitchFamily="34" charset="0"/>
              <a:buChar char="•"/>
              <a:defRPr/>
            </a:pPr>
            <a:r>
              <a:rPr lang="en-US" sz="2700" b="0">
                <a:solidFill>
                  <a:prstClr val="black"/>
                </a:solidFill>
                <a:latin typeface="Calibri" panose="020F0502020204030204"/>
              </a:rPr>
              <a:t>Master Key</a:t>
            </a:r>
          </a:p>
          <a:p>
            <a:pPr marL="428625" indent="-428625" defTabSz="685800" fontAlgn="auto">
              <a:spcBef>
                <a:spcPts val="750"/>
              </a:spcBef>
              <a:spcAft>
                <a:spcPts val="0"/>
              </a:spcAft>
              <a:buFont typeface="Arial" panose="020B0604020202020204" pitchFamily="34" charset="0"/>
              <a:buChar char="•"/>
              <a:defRPr/>
            </a:pPr>
            <a:r>
              <a:rPr lang="en-US" sz="2700" b="0">
                <a:solidFill>
                  <a:prstClr val="black"/>
                </a:solidFill>
                <a:latin typeface="Calibri" panose="020F0502020204030204"/>
              </a:rPr>
              <a:t>PreferredLocations</a:t>
            </a:r>
          </a:p>
          <a:p>
            <a:pPr marL="428625" indent="-428625" defTabSz="685800" fontAlgn="auto">
              <a:spcBef>
                <a:spcPts val="750"/>
              </a:spcBef>
              <a:spcAft>
                <a:spcPts val="0"/>
              </a:spcAft>
              <a:buFont typeface="Arial" panose="020B0604020202020204" pitchFamily="34" charset="0"/>
              <a:buChar char="•"/>
              <a:defRPr/>
            </a:pPr>
            <a:r>
              <a:rPr lang="en-US" sz="2700" b="0">
                <a:solidFill>
                  <a:prstClr val="black"/>
                </a:solidFill>
                <a:latin typeface="Calibri" panose="020F0502020204030204"/>
              </a:rPr>
              <a:t>Collection</a:t>
            </a:r>
          </a:p>
          <a:p>
            <a:pPr marL="428625" indent="-428625" defTabSz="685800" fontAlgn="auto">
              <a:spcBef>
                <a:spcPts val="750"/>
              </a:spcBef>
              <a:spcAft>
                <a:spcPts val="0"/>
              </a:spcAft>
              <a:buFont typeface="Arial" panose="020B0604020202020204" pitchFamily="34" charset="0"/>
              <a:buChar char="•"/>
              <a:defRPr/>
            </a:pPr>
            <a:r>
              <a:rPr lang="en-US" sz="2700" b="0">
                <a:solidFill>
                  <a:prstClr val="black"/>
                </a:solidFill>
                <a:latin typeface="Calibri" panose="020F0502020204030204"/>
              </a:rPr>
              <a:t>Connection String</a:t>
            </a:r>
          </a:p>
          <a:p>
            <a:pPr marL="428625" indent="-428625" defTabSz="685800" fontAlgn="auto">
              <a:spcBef>
                <a:spcPts val="750"/>
              </a:spcBef>
              <a:spcAft>
                <a:spcPts val="0"/>
              </a:spcAft>
              <a:buFont typeface="Arial" panose="020B0604020202020204" pitchFamily="34" charset="0"/>
              <a:buChar char="•"/>
              <a:defRPr/>
            </a:pPr>
            <a:endParaRPr lang="en-US" sz="2700" b="0">
              <a:solidFill>
                <a:prstClr val="black"/>
              </a:solidFill>
              <a:latin typeface="Calibri" panose="020F0502020204030204"/>
            </a:endParaRPr>
          </a:p>
          <a:p>
            <a:pPr marL="342900" lvl="1" defTabSz="685800" fontAlgn="auto">
              <a:spcBef>
                <a:spcPts val="375"/>
              </a:spcBef>
              <a:spcAft>
                <a:spcPts val="0"/>
              </a:spcAft>
              <a:defRPr/>
            </a:pPr>
            <a:endParaRPr lang="en-US" sz="2400" b="0" dirty="0">
              <a:solidFill>
                <a:prstClr val="black"/>
              </a:solidFill>
              <a:latin typeface="Calibri" panose="020F0502020204030204"/>
            </a:endParaRPr>
          </a:p>
        </p:txBody>
      </p:sp>
    </p:spTree>
    <p:extLst>
      <p:ext uri="{BB962C8B-B14F-4D97-AF65-F5344CB8AC3E}">
        <p14:creationId xmlns:p14="http://schemas.microsoft.com/office/powerpoint/2010/main" val="2846648042"/>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333" name="Rectangle 9332">
            <a:extLst>
              <a:ext uri="{FF2B5EF4-FFF2-40B4-BE49-F238E27FC236}">
                <a16:creationId xmlns:a16="http://schemas.microsoft.com/office/drawing/2014/main" id="{899232E6-A91C-4A69-B0FE-15390D3872B8}"/>
              </a:ext>
            </a:extLst>
          </p:cNvPr>
          <p:cNvSpPr/>
          <p:nvPr/>
        </p:nvSpPr>
        <p:spPr bwMode="auto">
          <a:xfrm>
            <a:off x="0" y="1748205"/>
            <a:ext cx="9149380" cy="4252181"/>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a:lnSpc>
                <a:spcPct val="90000"/>
              </a:lnSpc>
              <a:defRPr/>
            </a:pPr>
            <a:endParaRPr lang="en-US" sz="1765" b="0" dirty="0" err="1">
              <a:solidFill>
                <a:srgbClr val="FFFFFF"/>
              </a:solidFill>
              <a:latin typeface="Segoe UI Semilight"/>
              <a:ea typeface="Segoe UI" pitchFamily="34" charset="0"/>
              <a:cs typeface="Segoe UI" pitchFamily="34" charset="0"/>
            </a:endParaRPr>
          </a:p>
        </p:txBody>
      </p:sp>
      <p:sp>
        <p:nvSpPr>
          <p:cNvPr id="9329" name="Title 9328">
            <a:extLst>
              <a:ext uri="{FF2B5EF4-FFF2-40B4-BE49-F238E27FC236}">
                <a16:creationId xmlns:a16="http://schemas.microsoft.com/office/drawing/2014/main" id="{A68E6FBD-4E96-44C3-8500-B0720DF0A318}"/>
              </a:ext>
            </a:extLst>
          </p:cNvPr>
          <p:cNvSpPr>
            <a:spLocks noGrp="1"/>
          </p:cNvSpPr>
          <p:nvPr>
            <p:ph type="title"/>
          </p:nvPr>
        </p:nvSpPr>
        <p:spPr/>
        <p:txBody>
          <a:bodyPr/>
          <a:lstStyle/>
          <a:p>
            <a:r>
              <a:rPr lang="en-US" dirty="0"/>
              <a:t>IoT and Telematics Solution Architecture</a:t>
            </a:r>
          </a:p>
        </p:txBody>
      </p:sp>
      <p:sp>
        <p:nvSpPr>
          <p:cNvPr id="9334" name="TextBox 9333">
            <a:extLst>
              <a:ext uri="{FF2B5EF4-FFF2-40B4-BE49-F238E27FC236}">
                <a16:creationId xmlns:a16="http://schemas.microsoft.com/office/drawing/2014/main" id="{B7AB8B02-999A-4C3B-AF33-C39BDCB9C328}"/>
              </a:ext>
            </a:extLst>
          </p:cNvPr>
          <p:cNvSpPr txBox="1"/>
          <p:nvPr/>
        </p:nvSpPr>
        <p:spPr>
          <a:xfrm>
            <a:off x="3899985" y="2662043"/>
            <a:ext cx="818575" cy="142565"/>
          </a:xfrm>
          <a:prstGeom prst="rect">
            <a:avLst/>
          </a:prstGeom>
          <a:noFill/>
        </p:spPr>
        <p:txBody>
          <a:bodyPr wrap="none" lIns="0" tIns="0" rIns="0" bIns="0" rtlCol="0">
            <a:noAutofit/>
          </a:bodyPr>
          <a:lstStyle/>
          <a:p>
            <a:pPr algn="ctr" defTabSz="685775" fontAlgn="auto">
              <a:lnSpc>
                <a:spcPct val="90000"/>
              </a:lnSpc>
              <a:spcBef>
                <a:spcPts val="0"/>
              </a:spcBef>
              <a:spcAft>
                <a:spcPts val="441"/>
              </a:spcAft>
              <a:defRPr/>
            </a:pPr>
            <a:r>
              <a:rPr lang="en-US" sz="1029" b="0" dirty="0">
                <a:solidFill>
                  <a:srgbClr val="FFFFFF"/>
                </a:solidFill>
                <a:latin typeface="Segoe UI Semilight"/>
                <a:cs typeface="+mn-cs"/>
              </a:rPr>
              <a:t>Azure IoT Hub</a:t>
            </a:r>
          </a:p>
        </p:txBody>
      </p:sp>
      <p:sp>
        <p:nvSpPr>
          <p:cNvPr id="152" name="TextBox 151">
            <a:extLst>
              <a:ext uri="{FF2B5EF4-FFF2-40B4-BE49-F238E27FC236}">
                <a16:creationId xmlns:a16="http://schemas.microsoft.com/office/drawing/2014/main" id="{A6F4B0CE-9E80-47EF-8B83-A1B308DB6608}"/>
              </a:ext>
            </a:extLst>
          </p:cNvPr>
          <p:cNvSpPr txBox="1"/>
          <p:nvPr/>
        </p:nvSpPr>
        <p:spPr>
          <a:xfrm>
            <a:off x="5668835" y="2662043"/>
            <a:ext cx="818575" cy="142565"/>
          </a:xfrm>
          <a:prstGeom prst="rect">
            <a:avLst/>
          </a:prstGeom>
          <a:noFill/>
        </p:spPr>
        <p:txBody>
          <a:bodyPr wrap="none" lIns="0" tIns="0" rIns="0" bIns="0" rtlCol="0">
            <a:noAutofit/>
          </a:bodyPr>
          <a:lstStyle/>
          <a:p>
            <a:pPr algn="ctr" defTabSz="685775" fontAlgn="auto">
              <a:lnSpc>
                <a:spcPct val="90000"/>
              </a:lnSpc>
              <a:spcBef>
                <a:spcPts val="0"/>
              </a:spcBef>
              <a:spcAft>
                <a:spcPts val="441"/>
              </a:spcAft>
              <a:defRPr/>
            </a:pPr>
            <a:r>
              <a:rPr lang="en-US" sz="1029" b="0" dirty="0">
                <a:solidFill>
                  <a:srgbClr val="FFFFFF"/>
                </a:solidFill>
                <a:latin typeface="Segoe UI Semilight"/>
                <a:cs typeface="+mn-cs"/>
              </a:rPr>
              <a:t>Apache Storm on</a:t>
            </a:r>
            <a:br>
              <a:rPr lang="en-US" sz="1029" b="0" dirty="0">
                <a:solidFill>
                  <a:srgbClr val="FFFFFF"/>
                </a:solidFill>
                <a:latin typeface="Segoe UI Semilight"/>
                <a:cs typeface="+mn-cs"/>
              </a:rPr>
            </a:br>
            <a:r>
              <a:rPr lang="en-US" sz="1029" b="0" dirty="0">
                <a:solidFill>
                  <a:srgbClr val="FFFFFF"/>
                </a:solidFill>
                <a:latin typeface="Segoe UI Semilight"/>
                <a:cs typeface="+mn-cs"/>
              </a:rPr>
              <a:t>Azure HDInsight</a:t>
            </a:r>
          </a:p>
        </p:txBody>
      </p:sp>
      <p:sp>
        <p:nvSpPr>
          <p:cNvPr id="153" name="TextBox 152">
            <a:extLst>
              <a:ext uri="{FF2B5EF4-FFF2-40B4-BE49-F238E27FC236}">
                <a16:creationId xmlns:a16="http://schemas.microsoft.com/office/drawing/2014/main" id="{2A42EDF1-23B9-4AE7-826E-30ECE2694112}"/>
              </a:ext>
            </a:extLst>
          </p:cNvPr>
          <p:cNvSpPr txBox="1"/>
          <p:nvPr/>
        </p:nvSpPr>
        <p:spPr>
          <a:xfrm>
            <a:off x="7409517" y="4046886"/>
            <a:ext cx="818575" cy="142565"/>
          </a:xfrm>
          <a:prstGeom prst="rect">
            <a:avLst/>
          </a:prstGeom>
          <a:noFill/>
        </p:spPr>
        <p:txBody>
          <a:bodyPr wrap="none" lIns="0" tIns="0" rIns="0" bIns="0" rtlCol="0">
            <a:noAutofit/>
          </a:bodyPr>
          <a:lstStyle/>
          <a:p>
            <a:pPr algn="ctr" defTabSz="685775" fontAlgn="auto">
              <a:lnSpc>
                <a:spcPct val="90000"/>
              </a:lnSpc>
              <a:spcBef>
                <a:spcPts val="0"/>
              </a:spcBef>
              <a:spcAft>
                <a:spcPts val="441"/>
              </a:spcAft>
              <a:defRPr/>
            </a:pPr>
            <a:r>
              <a:rPr lang="en-US" sz="1029" b="0" dirty="0">
                <a:solidFill>
                  <a:srgbClr val="FFFFFF"/>
                </a:solidFill>
                <a:latin typeface="Segoe UI Semilight"/>
                <a:cs typeface="+mn-cs"/>
              </a:rPr>
              <a:t>Azure Cosmos DB</a:t>
            </a:r>
            <a:br>
              <a:rPr lang="en-US" sz="1029" b="0" dirty="0">
                <a:solidFill>
                  <a:srgbClr val="FFFFFF"/>
                </a:solidFill>
                <a:latin typeface="Segoe UI Semilight"/>
                <a:cs typeface="+mn-cs"/>
              </a:rPr>
            </a:br>
            <a:r>
              <a:rPr lang="en-US" sz="1029" b="0" dirty="0">
                <a:solidFill>
                  <a:srgbClr val="FFFFFF"/>
                </a:solidFill>
                <a:latin typeface="Segoe UI Semilight"/>
                <a:cs typeface="+mn-cs"/>
              </a:rPr>
              <a:t>(Telemetry &amp; device state)</a:t>
            </a:r>
          </a:p>
        </p:txBody>
      </p:sp>
      <p:sp>
        <p:nvSpPr>
          <p:cNvPr id="154" name="TextBox 153">
            <a:extLst>
              <a:ext uri="{FF2B5EF4-FFF2-40B4-BE49-F238E27FC236}">
                <a16:creationId xmlns:a16="http://schemas.microsoft.com/office/drawing/2014/main" id="{96BAEA1F-AF4E-4166-AC56-5064E4B501B3}"/>
              </a:ext>
            </a:extLst>
          </p:cNvPr>
          <p:cNvSpPr txBox="1"/>
          <p:nvPr/>
        </p:nvSpPr>
        <p:spPr>
          <a:xfrm>
            <a:off x="7409517" y="2662043"/>
            <a:ext cx="818575" cy="142565"/>
          </a:xfrm>
          <a:prstGeom prst="rect">
            <a:avLst/>
          </a:prstGeom>
          <a:noFill/>
        </p:spPr>
        <p:txBody>
          <a:bodyPr wrap="none" lIns="0" tIns="0" rIns="0" bIns="0" rtlCol="0">
            <a:noAutofit/>
          </a:bodyPr>
          <a:lstStyle/>
          <a:p>
            <a:pPr algn="ctr" defTabSz="685775" fontAlgn="auto">
              <a:lnSpc>
                <a:spcPct val="90000"/>
              </a:lnSpc>
              <a:spcBef>
                <a:spcPts val="0"/>
              </a:spcBef>
              <a:spcAft>
                <a:spcPts val="441"/>
              </a:spcAft>
              <a:defRPr/>
            </a:pPr>
            <a:r>
              <a:rPr lang="en-US" sz="1029" b="0" dirty="0">
                <a:solidFill>
                  <a:srgbClr val="FFFFFF"/>
                </a:solidFill>
                <a:latin typeface="Segoe UI Semilight"/>
                <a:cs typeface="+mn-cs"/>
              </a:rPr>
              <a:t>Azure Web Jobs</a:t>
            </a:r>
            <a:br>
              <a:rPr lang="en-US" sz="1029" b="0" dirty="0">
                <a:solidFill>
                  <a:srgbClr val="FFFFFF"/>
                </a:solidFill>
                <a:latin typeface="Segoe UI Semilight"/>
                <a:cs typeface="+mn-cs"/>
              </a:rPr>
            </a:br>
            <a:r>
              <a:rPr lang="en-US" sz="1029" b="0" dirty="0">
                <a:solidFill>
                  <a:srgbClr val="FFFFFF"/>
                </a:solidFill>
                <a:latin typeface="Segoe UI Semilight"/>
                <a:cs typeface="+mn-cs"/>
              </a:rPr>
              <a:t>(Change feed processor)</a:t>
            </a:r>
          </a:p>
        </p:txBody>
      </p:sp>
      <p:sp>
        <p:nvSpPr>
          <p:cNvPr id="155" name="TextBox 154">
            <a:extLst>
              <a:ext uri="{FF2B5EF4-FFF2-40B4-BE49-F238E27FC236}">
                <a16:creationId xmlns:a16="http://schemas.microsoft.com/office/drawing/2014/main" id="{48518198-D3F9-447A-94A4-084496A47C51}"/>
              </a:ext>
            </a:extLst>
          </p:cNvPr>
          <p:cNvSpPr txBox="1"/>
          <p:nvPr/>
        </p:nvSpPr>
        <p:spPr>
          <a:xfrm>
            <a:off x="7510663" y="5641641"/>
            <a:ext cx="627026" cy="142540"/>
          </a:xfrm>
          <a:prstGeom prst="rect">
            <a:avLst/>
          </a:prstGeom>
          <a:noFill/>
        </p:spPr>
        <p:txBody>
          <a:bodyPr wrap="square" lIns="0" tIns="0" rIns="0" bIns="0" rtlCol="0">
            <a:spAutoFit/>
          </a:bodyPr>
          <a:lstStyle/>
          <a:p>
            <a:pPr algn="ctr" defTabSz="685775" fontAlgn="auto">
              <a:lnSpc>
                <a:spcPct val="90000"/>
              </a:lnSpc>
              <a:spcBef>
                <a:spcPts val="0"/>
              </a:spcBef>
              <a:spcAft>
                <a:spcPts val="441"/>
              </a:spcAft>
              <a:defRPr/>
            </a:pPr>
            <a:r>
              <a:rPr lang="en-US" sz="1029" b="0" dirty="0">
                <a:solidFill>
                  <a:srgbClr val="FFFFFF"/>
                </a:solidFill>
                <a:latin typeface="Segoe UI Semilight"/>
                <a:cs typeface="+mn-cs"/>
              </a:rPr>
              <a:t>Logic Apps</a:t>
            </a:r>
          </a:p>
        </p:txBody>
      </p:sp>
      <p:sp>
        <p:nvSpPr>
          <p:cNvPr id="156" name="TextBox 155">
            <a:extLst>
              <a:ext uri="{FF2B5EF4-FFF2-40B4-BE49-F238E27FC236}">
                <a16:creationId xmlns:a16="http://schemas.microsoft.com/office/drawing/2014/main" id="{60F149A6-349A-439F-85FD-E2B269ADDDB5}"/>
              </a:ext>
            </a:extLst>
          </p:cNvPr>
          <p:cNvSpPr txBox="1"/>
          <p:nvPr/>
        </p:nvSpPr>
        <p:spPr>
          <a:xfrm>
            <a:off x="5668835" y="4330571"/>
            <a:ext cx="818575" cy="142565"/>
          </a:xfrm>
          <a:prstGeom prst="rect">
            <a:avLst/>
          </a:prstGeom>
          <a:noFill/>
        </p:spPr>
        <p:txBody>
          <a:bodyPr wrap="none" lIns="0" tIns="0" rIns="0" bIns="0" rtlCol="0">
            <a:noAutofit/>
          </a:bodyPr>
          <a:lstStyle/>
          <a:p>
            <a:pPr algn="ctr" defTabSz="685775" fontAlgn="auto">
              <a:lnSpc>
                <a:spcPct val="90000"/>
              </a:lnSpc>
              <a:spcBef>
                <a:spcPts val="0"/>
              </a:spcBef>
              <a:spcAft>
                <a:spcPts val="441"/>
              </a:spcAft>
              <a:defRPr/>
            </a:pPr>
            <a:r>
              <a:rPr lang="en-US" sz="1029" b="0" dirty="0">
                <a:solidFill>
                  <a:srgbClr val="FFFFFF"/>
                </a:solidFill>
                <a:latin typeface="Segoe UI Semilight"/>
                <a:cs typeface="+mn-cs"/>
              </a:rPr>
              <a:t>Azure Storage</a:t>
            </a:r>
            <a:br>
              <a:rPr lang="en-US" sz="1029" b="0" dirty="0">
                <a:solidFill>
                  <a:srgbClr val="FFFFFF"/>
                </a:solidFill>
                <a:latin typeface="Segoe UI Semilight"/>
                <a:cs typeface="+mn-cs"/>
              </a:rPr>
            </a:br>
            <a:r>
              <a:rPr lang="en-US" sz="1029" b="0" dirty="0">
                <a:solidFill>
                  <a:srgbClr val="FFFFFF"/>
                </a:solidFill>
                <a:latin typeface="Segoe UI Semilight"/>
                <a:cs typeface="+mn-cs"/>
              </a:rPr>
              <a:t>(archival)</a:t>
            </a:r>
          </a:p>
        </p:txBody>
      </p:sp>
      <p:pic>
        <p:nvPicPr>
          <p:cNvPr id="26" name="Graphic 25">
            <a:extLst>
              <a:ext uri="{FF2B5EF4-FFF2-40B4-BE49-F238E27FC236}">
                <a16:creationId xmlns:a16="http://schemas.microsoft.com/office/drawing/2014/main" id="{66F0E42C-7DF3-434B-B7F9-AF4B7A39C9EA}"/>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l="52443" r="33185" b="80206"/>
          <a:stretch/>
        </p:blipFill>
        <p:spPr>
          <a:xfrm>
            <a:off x="5726663" y="2017629"/>
            <a:ext cx="702919" cy="579175"/>
          </a:xfrm>
          <a:prstGeom prst="rect">
            <a:avLst/>
          </a:prstGeom>
        </p:spPr>
      </p:pic>
      <p:pic>
        <p:nvPicPr>
          <p:cNvPr id="5" name="Picture 4">
            <a:extLst>
              <a:ext uri="{FF2B5EF4-FFF2-40B4-BE49-F238E27FC236}">
                <a16:creationId xmlns:a16="http://schemas.microsoft.com/office/drawing/2014/main" id="{63811FA4-C443-4DFA-966D-11194493CE17}"/>
              </a:ext>
            </a:extLst>
          </p:cNvPr>
          <p:cNvPicPr>
            <a:picLocks noChangeAspect="1"/>
          </p:cNvPicPr>
          <p:nvPr/>
        </p:nvPicPr>
        <p:blipFill>
          <a:blip r:embed="rId5"/>
          <a:stretch>
            <a:fillRect/>
          </a:stretch>
        </p:blipFill>
        <p:spPr>
          <a:xfrm>
            <a:off x="2529501" y="2006319"/>
            <a:ext cx="453899" cy="601798"/>
          </a:xfrm>
          <a:prstGeom prst="rect">
            <a:avLst/>
          </a:prstGeom>
        </p:spPr>
      </p:pic>
      <p:pic>
        <p:nvPicPr>
          <p:cNvPr id="7" name="Picture 6">
            <a:extLst>
              <a:ext uri="{FF2B5EF4-FFF2-40B4-BE49-F238E27FC236}">
                <a16:creationId xmlns:a16="http://schemas.microsoft.com/office/drawing/2014/main" id="{A945E69D-F5A2-48AF-A91D-07D695A5F723}"/>
              </a:ext>
            </a:extLst>
          </p:cNvPr>
          <p:cNvPicPr>
            <a:picLocks noChangeAspect="1"/>
          </p:cNvPicPr>
          <p:nvPr/>
        </p:nvPicPr>
        <p:blipFill>
          <a:blip r:embed="rId6"/>
          <a:stretch>
            <a:fillRect/>
          </a:stretch>
        </p:blipFill>
        <p:spPr>
          <a:xfrm>
            <a:off x="4012119" y="1991200"/>
            <a:ext cx="685825" cy="632035"/>
          </a:xfrm>
          <a:prstGeom prst="rect">
            <a:avLst/>
          </a:prstGeom>
        </p:spPr>
      </p:pic>
      <p:pic>
        <p:nvPicPr>
          <p:cNvPr id="8" name="Picture 7">
            <a:extLst>
              <a:ext uri="{FF2B5EF4-FFF2-40B4-BE49-F238E27FC236}">
                <a16:creationId xmlns:a16="http://schemas.microsoft.com/office/drawing/2014/main" id="{EE6E9ABE-19DB-4A06-95E0-330AE8654980}"/>
              </a:ext>
            </a:extLst>
          </p:cNvPr>
          <p:cNvPicPr>
            <a:picLocks noChangeAspect="1"/>
          </p:cNvPicPr>
          <p:nvPr/>
        </p:nvPicPr>
        <p:blipFill>
          <a:blip r:embed="rId7"/>
          <a:stretch>
            <a:fillRect/>
          </a:stretch>
        </p:blipFill>
        <p:spPr>
          <a:xfrm>
            <a:off x="7458300" y="1982120"/>
            <a:ext cx="721009" cy="650193"/>
          </a:xfrm>
          <a:prstGeom prst="rect">
            <a:avLst/>
          </a:prstGeom>
        </p:spPr>
      </p:pic>
      <p:pic>
        <p:nvPicPr>
          <p:cNvPr id="9" name="Picture 8">
            <a:extLst>
              <a:ext uri="{FF2B5EF4-FFF2-40B4-BE49-F238E27FC236}">
                <a16:creationId xmlns:a16="http://schemas.microsoft.com/office/drawing/2014/main" id="{071C22D3-323F-46D5-8F81-3A8CB4BD2682}"/>
              </a:ext>
            </a:extLst>
          </p:cNvPr>
          <p:cNvPicPr>
            <a:picLocks noChangeAspect="1"/>
          </p:cNvPicPr>
          <p:nvPr/>
        </p:nvPicPr>
        <p:blipFill>
          <a:blip r:embed="rId8"/>
          <a:stretch>
            <a:fillRect/>
          </a:stretch>
        </p:blipFill>
        <p:spPr>
          <a:xfrm>
            <a:off x="7499919" y="3468726"/>
            <a:ext cx="637771" cy="615778"/>
          </a:xfrm>
          <a:prstGeom prst="rect">
            <a:avLst/>
          </a:prstGeom>
        </p:spPr>
      </p:pic>
      <p:pic>
        <p:nvPicPr>
          <p:cNvPr id="10" name="Picture 9">
            <a:extLst>
              <a:ext uri="{FF2B5EF4-FFF2-40B4-BE49-F238E27FC236}">
                <a16:creationId xmlns:a16="http://schemas.microsoft.com/office/drawing/2014/main" id="{2DECADA1-D1FE-4A06-B654-2198F95EF1E0}"/>
              </a:ext>
            </a:extLst>
          </p:cNvPr>
          <p:cNvPicPr>
            <a:picLocks noChangeAspect="1"/>
          </p:cNvPicPr>
          <p:nvPr/>
        </p:nvPicPr>
        <p:blipFill>
          <a:blip r:embed="rId9"/>
          <a:stretch>
            <a:fillRect/>
          </a:stretch>
        </p:blipFill>
        <p:spPr>
          <a:xfrm>
            <a:off x="7522238" y="5028171"/>
            <a:ext cx="593132" cy="495527"/>
          </a:xfrm>
          <a:prstGeom prst="rect">
            <a:avLst/>
          </a:prstGeom>
        </p:spPr>
      </p:pic>
      <p:pic>
        <p:nvPicPr>
          <p:cNvPr id="11" name="Picture 10">
            <a:extLst>
              <a:ext uri="{FF2B5EF4-FFF2-40B4-BE49-F238E27FC236}">
                <a16:creationId xmlns:a16="http://schemas.microsoft.com/office/drawing/2014/main" id="{0D7442B6-7990-4414-A734-D0F4B42AB8E1}"/>
              </a:ext>
            </a:extLst>
          </p:cNvPr>
          <p:cNvPicPr>
            <a:picLocks noChangeAspect="1"/>
          </p:cNvPicPr>
          <p:nvPr/>
        </p:nvPicPr>
        <p:blipFill>
          <a:blip r:embed="rId10"/>
          <a:stretch>
            <a:fillRect/>
          </a:stretch>
        </p:blipFill>
        <p:spPr>
          <a:xfrm>
            <a:off x="5690370" y="3651763"/>
            <a:ext cx="775503" cy="624921"/>
          </a:xfrm>
          <a:prstGeom prst="rect">
            <a:avLst/>
          </a:prstGeom>
        </p:spPr>
      </p:pic>
      <p:sp>
        <p:nvSpPr>
          <p:cNvPr id="12" name="Rectangle 11">
            <a:extLst>
              <a:ext uri="{FF2B5EF4-FFF2-40B4-BE49-F238E27FC236}">
                <a16:creationId xmlns:a16="http://schemas.microsoft.com/office/drawing/2014/main" id="{89B37605-C6B8-4473-8519-6E139212F4F1}"/>
              </a:ext>
            </a:extLst>
          </p:cNvPr>
          <p:cNvSpPr/>
          <p:nvPr/>
        </p:nvSpPr>
        <p:spPr bwMode="auto">
          <a:xfrm>
            <a:off x="3062507" y="2308469"/>
            <a:ext cx="870504" cy="0"/>
          </a:xfrm>
          <a:custGeom>
            <a:avLst/>
            <a:gdLst>
              <a:gd name="connsiteX0" fmla="*/ 0 w 1183946"/>
              <a:gd name="connsiteY0" fmla="*/ 0 h 312008"/>
              <a:gd name="connsiteX1" fmla="*/ 1183946 w 1183946"/>
              <a:gd name="connsiteY1" fmla="*/ 0 h 312008"/>
              <a:gd name="connsiteX2" fmla="*/ 1183946 w 1183946"/>
              <a:gd name="connsiteY2" fmla="*/ 312008 h 312008"/>
              <a:gd name="connsiteX3" fmla="*/ 0 w 1183946"/>
              <a:gd name="connsiteY3" fmla="*/ 312008 h 312008"/>
              <a:gd name="connsiteX4" fmla="*/ 0 w 1183946"/>
              <a:gd name="connsiteY4" fmla="*/ 0 h 312008"/>
              <a:gd name="connsiteX0" fmla="*/ 1183946 w 1275386"/>
              <a:gd name="connsiteY0" fmla="*/ 312008 h 403448"/>
              <a:gd name="connsiteX1" fmla="*/ 0 w 1275386"/>
              <a:gd name="connsiteY1" fmla="*/ 312008 h 403448"/>
              <a:gd name="connsiteX2" fmla="*/ 0 w 1275386"/>
              <a:gd name="connsiteY2" fmla="*/ 0 h 403448"/>
              <a:gd name="connsiteX3" fmla="*/ 1183946 w 1275386"/>
              <a:gd name="connsiteY3" fmla="*/ 0 h 403448"/>
              <a:gd name="connsiteX4" fmla="*/ 1275386 w 1275386"/>
              <a:gd name="connsiteY4" fmla="*/ 403448 h 403448"/>
              <a:gd name="connsiteX0" fmla="*/ 1183946 w 1183946"/>
              <a:gd name="connsiteY0" fmla="*/ 312008 h 312008"/>
              <a:gd name="connsiteX1" fmla="*/ 0 w 1183946"/>
              <a:gd name="connsiteY1" fmla="*/ 312008 h 312008"/>
              <a:gd name="connsiteX2" fmla="*/ 0 w 1183946"/>
              <a:gd name="connsiteY2" fmla="*/ 0 h 312008"/>
              <a:gd name="connsiteX3" fmla="*/ 1183946 w 1183946"/>
              <a:gd name="connsiteY3" fmla="*/ 0 h 312008"/>
              <a:gd name="connsiteX0" fmla="*/ 0 w 1183946"/>
              <a:gd name="connsiteY0" fmla="*/ 312008 h 312008"/>
              <a:gd name="connsiteX1" fmla="*/ 0 w 1183946"/>
              <a:gd name="connsiteY1" fmla="*/ 0 h 312008"/>
              <a:gd name="connsiteX2" fmla="*/ 1183946 w 1183946"/>
              <a:gd name="connsiteY2" fmla="*/ 0 h 312008"/>
              <a:gd name="connsiteX0" fmla="*/ 0 w 1183946"/>
              <a:gd name="connsiteY0" fmla="*/ 0 h 0"/>
              <a:gd name="connsiteX1" fmla="*/ 1183946 w 1183946"/>
              <a:gd name="connsiteY1" fmla="*/ 0 h 0"/>
            </a:gdLst>
            <a:ahLst/>
            <a:cxnLst>
              <a:cxn ang="0">
                <a:pos x="connsiteX0" y="connsiteY0"/>
              </a:cxn>
              <a:cxn ang="0">
                <a:pos x="connsiteX1" y="connsiteY1"/>
              </a:cxn>
            </a:cxnLst>
            <a:rect l="l" t="t" r="r" b="b"/>
            <a:pathLst>
              <a:path w="1183946">
                <a:moveTo>
                  <a:pt x="0" y="0"/>
                </a:moveTo>
                <a:lnTo>
                  <a:pt x="1183946" y="0"/>
                </a:lnTo>
              </a:path>
            </a:pathLst>
          </a:custGeom>
          <a:noFill/>
          <a:ln w="6350">
            <a:solidFill>
              <a:schemeClr val="bg1">
                <a:lumMod val="95000"/>
              </a:schemeClr>
            </a:solidFill>
            <a:headEnd type="none" w="med" len="med"/>
            <a:tailEnd type="arrow"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a:lnSpc>
                <a:spcPct val="90000"/>
              </a:lnSpc>
              <a:defRPr/>
            </a:pPr>
            <a:endParaRPr lang="en-IN" sz="1765" b="0" dirty="0" err="1">
              <a:solidFill>
                <a:srgbClr val="FFFFFF"/>
              </a:solidFill>
              <a:latin typeface="Segoe UI Semilight"/>
              <a:ea typeface="Segoe UI" pitchFamily="34" charset="0"/>
              <a:cs typeface="Segoe UI" pitchFamily="34" charset="0"/>
            </a:endParaRPr>
          </a:p>
        </p:txBody>
      </p:sp>
      <p:sp>
        <p:nvSpPr>
          <p:cNvPr id="40" name="Rectangle 11">
            <a:extLst>
              <a:ext uri="{FF2B5EF4-FFF2-40B4-BE49-F238E27FC236}">
                <a16:creationId xmlns:a16="http://schemas.microsoft.com/office/drawing/2014/main" id="{5236C041-25E6-4B89-9C4C-791B27D65FDE}"/>
              </a:ext>
            </a:extLst>
          </p:cNvPr>
          <p:cNvSpPr/>
          <p:nvPr/>
        </p:nvSpPr>
        <p:spPr bwMode="auto">
          <a:xfrm>
            <a:off x="4777051" y="2308469"/>
            <a:ext cx="870504" cy="0"/>
          </a:xfrm>
          <a:custGeom>
            <a:avLst/>
            <a:gdLst>
              <a:gd name="connsiteX0" fmla="*/ 0 w 1183946"/>
              <a:gd name="connsiteY0" fmla="*/ 0 h 312008"/>
              <a:gd name="connsiteX1" fmla="*/ 1183946 w 1183946"/>
              <a:gd name="connsiteY1" fmla="*/ 0 h 312008"/>
              <a:gd name="connsiteX2" fmla="*/ 1183946 w 1183946"/>
              <a:gd name="connsiteY2" fmla="*/ 312008 h 312008"/>
              <a:gd name="connsiteX3" fmla="*/ 0 w 1183946"/>
              <a:gd name="connsiteY3" fmla="*/ 312008 h 312008"/>
              <a:gd name="connsiteX4" fmla="*/ 0 w 1183946"/>
              <a:gd name="connsiteY4" fmla="*/ 0 h 312008"/>
              <a:gd name="connsiteX0" fmla="*/ 1183946 w 1275386"/>
              <a:gd name="connsiteY0" fmla="*/ 312008 h 403448"/>
              <a:gd name="connsiteX1" fmla="*/ 0 w 1275386"/>
              <a:gd name="connsiteY1" fmla="*/ 312008 h 403448"/>
              <a:gd name="connsiteX2" fmla="*/ 0 w 1275386"/>
              <a:gd name="connsiteY2" fmla="*/ 0 h 403448"/>
              <a:gd name="connsiteX3" fmla="*/ 1183946 w 1275386"/>
              <a:gd name="connsiteY3" fmla="*/ 0 h 403448"/>
              <a:gd name="connsiteX4" fmla="*/ 1275386 w 1275386"/>
              <a:gd name="connsiteY4" fmla="*/ 403448 h 403448"/>
              <a:gd name="connsiteX0" fmla="*/ 1183946 w 1183946"/>
              <a:gd name="connsiteY0" fmla="*/ 312008 h 312008"/>
              <a:gd name="connsiteX1" fmla="*/ 0 w 1183946"/>
              <a:gd name="connsiteY1" fmla="*/ 312008 h 312008"/>
              <a:gd name="connsiteX2" fmla="*/ 0 w 1183946"/>
              <a:gd name="connsiteY2" fmla="*/ 0 h 312008"/>
              <a:gd name="connsiteX3" fmla="*/ 1183946 w 1183946"/>
              <a:gd name="connsiteY3" fmla="*/ 0 h 312008"/>
              <a:gd name="connsiteX0" fmla="*/ 0 w 1183946"/>
              <a:gd name="connsiteY0" fmla="*/ 312008 h 312008"/>
              <a:gd name="connsiteX1" fmla="*/ 0 w 1183946"/>
              <a:gd name="connsiteY1" fmla="*/ 0 h 312008"/>
              <a:gd name="connsiteX2" fmla="*/ 1183946 w 1183946"/>
              <a:gd name="connsiteY2" fmla="*/ 0 h 312008"/>
              <a:gd name="connsiteX0" fmla="*/ 0 w 1183946"/>
              <a:gd name="connsiteY0" fmla="*/ 0 h 0"/>
              <a:gd name="connsiteX1" fmla="*/ 1183946 w 1183946"/>
              <a:gd name="connsiteY1" fmla="*/ 0 h 0"/>
            </a:gdLst>
            <a:ahLst/>
            <a:cxnLst>
              <a:cxn ang="0">
                <a:pos x="connsiteX0" y="connsiteY0"/>
              </a:cxn>
              <a:cxn ang="0">
                <a:pos x="connsiteX1" y="connsiteY1"/>
              </a:cxn>
            </a:cxnLst>
            <a:rect l="l" t="t" r="r" b="b"/>
            <a:pathLst>
              <a:path w="1183946">
                <a:moveTo>
                  <a:pt x="0" y="0"/>
                </a:moveTo>
                <a:lnTo>
                  <a:pt x="1183946" y="0"/>
                </a:lnTo>
              </a:path>
            </a:pathLst>
          </a:custGeom>
          <a:noFill/>
          <a:ln w="6350">
            <a:solidFill>
              <a:schemeClr val="bg1">
                <a:lumMod val="95000"/>
              </a:schemeClr>
            </a:solidFill>
            <a:headEnd type="none" w="med" len="med"/>
            <a:tailEnd type="arrow"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a:lnSpc>
                <a:spcPct val="90000"/>
              </a:lnSpc>
              <a:defRPr/>
            </a:pPr>
            <a:endParaRPr lang="en-IN" sz="1765" b="0" dirty="0" err="1">
              <a:solidFill>
                <a:srgbClr val="FFFFFF"/>
              </a:solidFill>
              <a:latin typeface="Segoe UI Semilight"/>
              <a:ea typeface="Segoe UI" pitchFamily="34" charset="0"/>
              <a:cs typeface="Segoe UI" pitchFamily="34" charset="0"/>
            </a:endParaRPr>
          </a:p>
        </p:txBody>
      </p:sp>
      <p:sp>
        <p:nvSpPr>
          <p:cNvPr id="44" name="Rectangle 11">
            <a:extLst>
              <a:ext uri="{FF2B5EF4-FFF2-40B4-BE49-F238E27FC236}">
                <a16:creationId xmlns:a16="http://schemas.microsoft.com/office/drawing/2014/main" id="{7344FE1A-CAFB-4177-9EB4-993DD18A66AB}"/>
              </a:ext>
            </a:extLst>
          </p:cNvPr>
          <p:cNvSpPr/>
          <p:nvPr/>
        </p:nvSpPr>
        <p:spPr bwMode="auto">
          <a:xfrm>
            <a:off x="6508689" y="2308469"/>
            <a:ext cx="870504" cy="0"/>
          </a:xfrm>
          <a:custGeom>
            <a:avLst/>
            <a:gdLst>
              <a:gd name="connsiteX0" fmla="*/ 0 w 1183946"/>
              <a:gd name="connsiteY0" fmla="*/ 0 h 312008"/>
              <a:gd name="connsiteX1" fmla="*/ 1183946 w 1183946"/>
              <a:gd name="connsiteY1" fmla="*/ 0 h 312008"/>
              <a:gd name="connsiteX2" fmla="*/ 1183946 w 1183946"/>
              <a:gd name="connsiteY2" fmla="*/ 312008 h 312008"/>
              <a:gd name="connsiteX3" fmla="*/ 0 w 1183946"/>
              <a:gd name="connsiteY3" fmla="*/ 312008 h 312008"/>
              <a:gd name="connsiteX4" fmla="*/ 0 w 1183946"/>
              <a:gd name="connsiteY4" fmla="*/ 0 h 312008"/>
              <a:gd name="connsiteX0" fmla="*/ 1183946 w 1275386"/>
              <a:gd name="connsiteY0" fmla="*/ 312008 h 403448"/>
              <a:gd name="connsiteX1" fmla="*/ 0 w 1275386"/>
              <a:gd name="connsiteY1" fmla="*/ 312008 h 403448"/>
              <a:gd name="connsiteX2" fmla="*/ 0 w 1275386"/>
              <a:gd name="connsiteY2" fmla="*/ 0 h 403448"/>
              <a:gd name="connsiteX3" fmla="*/ 1183946 w 1275386"/>
              <a:gd name="connsiteY3" fmla="*/ 0 h 403448"/>
              <a:gd name="connsiteX4" fmla="*/ 1275386 w 1275386"/>
              <a:gd name="connsiteY4" fmla="*/ 403448 h 403448"/>
              <a:gd name="connsiteX0" fmla="*/ 1183946 w 1183946"/>
              <a:gd name="connsiteY0" fmla="*/ 312008 h 312008"/>
              <a:gd name="connsiteX1" fmla="*/ 0 w 1183946"/>
              <a:gd name="connsiteY1" fmla="*/ 312008 h 312008"/>
              <a:gd name="connsiteX2" fmla="*/ 0 w 1183946"/>
              <a:gd name="connsiteY2" fmla="*/ 0 h 312008"/>
              <a:gd name="connsiteX3" fmla="*/ 1183946 w 1183946"/>
              <a:gd name="connsiteY3" fmla="*/ 0 h 312008"/>
              <a:gd name="connsiteX0" fmla="*/ 0 w 1183946"/>
              <a:gd name="connsiteY0" fmla="*/ 312008 h 312008"/>
              <a:gd name="connsiteX1" fmla="*/ 0 w 1183946"/>
              <a:gd name="connsiteY1" fmla="*/ 0 h 312008"/>
              <a:gd name="connsiteX2" fmla="*/ 1183946 w 1183946"/>
              <a:gd name="connsiteY2" fmla="*/ 0 h 312008"/>
              <a:gd name="connsiteX0" fmla="*/ 0 w 1183946"/>
              <a:gd name="connsiteY0" fmla="*/ 0 h 0"/>
              <a:gd name="connsiteX1" fmla="*/ 1183946 w 1183946"/>
              <a:gd name="connsiteY1" fmla="*/ 0 h 0"/>
            </a:gdLst>
            <a:ahLst/>
            <a:cxnLst>
              <a:cxn ang="0">
                <a:pos x="connsiteX0" y="connsiteY0"/>
              </a:cxn>
              <a:cxn ang="0">
                <a:pos x="connsiteX1" y="connsiteY1"/>
              </a:cxn>
            </a:cxnLst>
            <a:rect l="l" t="t" r="r" b="b"/>
            <a:pathLst>
              <a:path w="1183946">
                <a:moveTo>
                  <a:pt x="0" y="0"/>
                </a:moveTo>
                <a:lnTo>
                  <a:pt x="1183946" y="0"/>
                </a:lnTo>
              </a:path>
            </a:pathLst>
          </a:custGeom>
          <a:noFill/>
          <a:ln w="6350">
            <a:solidFill>
              <a:schemeClr val="bg1">
                <a:lumMod val="95000"/>
              </a:schemeClr>
            </a:solidFill>
            <a:headEnd type="none" w="med" len="med"/>
            <a:tailEnd type="arrow"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a:lnSpc>
                <a:spcPct val="90000"/>
              </a:lnSpc>
              <a:defRPr/>
            </a:pPr>
            <a:endParaRPr lang="en-IN" sz="1765" b="0" dirty="0" err="1">
              <a:solidFill>
                <a:srgbClr val="FFFFFF"/>
              </a:solidFill>
              <a:latin typeface="Segoe UI Semilight"/>
              <a:ea typeface="Segoe UI" pitchFamily="34" charset="0"/>
              <a:cs typeface="Segoe UI" pitchFamily="34" charset="0"/>
            </a:endParaRPr>
          </a:p>
        </p:txBody>
      </p:sp>
      <p:sp>
        <p:nvSpPr>
          <p:cNvPr id="45" name="Rectangle 11">
            <a:extLst>
              <a:ext uri="{FF2B5EF4-FFF2-40B4-BE49-F238E27FC236}">
                <a16:creationId xmlns:a16="http://schemas.microsoft.com/office/drawing/2014/main" id="{D129C0BC-F64F-4A21-A59B-9323E94451CA}"/>
              </a:ext>
            </a:extLst>
          </p:cNvPr>
          <p:cNvSpPr/>
          <p:nvPr/>
        </p:nvSpPr>
        <p:spPr bwMode="auto">
          <a:xfrm rot="5400000">
            <a:off x="7586229" y="3216099"/>
            <a:ext cx="470623" cy="0"/>
          </a:xfrm>
          <a:custGeom>
            <a:avLst/>
            <a:gdLst>
              <a:gd name="connsiteX0" fmla="*/ 0 w 1183946"/>
              <a:gd name="connsiteY0" fmla="*/ 0 h 312008"/>
              <a:gd name="connsiteX1" fmla="*/ 1183946 w 1183946"/>
              <a:gd name="connsiteY1" fmla="*/ 0 h 312008"/>
              <a:gd name="connsiteX2" fmla="*/ 1183946 w 1183946"/>
              <a:gd name="connsiteY2" fmla="*/ 312008 h 312008"/>
              <a:gd name="connsiteX3" fmla="*/ 0 w 1183946"/>
              <a:gd name="connsiteY3" fmla="*/ 312008 h 312008"/>
              <a:gd name="connsiteX4" fmla="*/ 0 w 1183946"/>
              <a:gd name="connsiteY4" fmla="*/ 0 h 312008"/>
              <a:gd name="connsiteX0" fmla="*/ 1183946 w 1275386"/>
              <a:gd name="connsiteY0" fmla="*/ 312008 h 403448"/>
              <a:gd name="connsiteX1" fmla="*/ 0 w 1275386"/>
              <a:gd name="connsiteY1" fmla="*/ 312008 h 403448"/>
              <a:gd name="connsiteX2" fmla="*/ 0 w 1275386"/>
              <a:gd name="connsiteY2" fmla="*/ 0 h 403448"/>
              <a:gd name="connsiteX3" fmla="*/ 1183946 w 1275386"/>
              <a:gd name="connsiteY3" fmla="*/ 0 h 403448"/>
              <a:gd name="connsiteX4" fmla="*/ 1275386 w 1275386"/>
              <a:gd name="connsiteY4" fmla="*/ 403448 h 403448"/>
              <a:gd name="connsiteX0" fmla="*/ 1183946 w 1183946"/>
              <a:gd name="connsiteY0" fmla="*/ 312008 h 312008"/>
              <a:gd name="connsiteX1" fmla="*/ 0 w 1183946"/>
              <a:gd name="connsiteY1" fmla="*/ 312008 h 312008"/>
              <a:gd name="connsiteX2" fmla="*/ 0 w 1183946"/>
              <a:gd name="connsiteY2" fmla="*/ 0 h 312008"/>
              <a:gd name="connsiteX3" fmla="*/ 1183946 w 1183946"/>
              <a:gd name="connsiteY3" fmla="*/ 0 h 312008"/>
              <a:gd name="connsiteX0" fmla="*/ 0 w 1183946"/>
              <a:gd name="connsiteY0" fmla="*/ 312008 h 312008"/>
              <a:gd name="connsiteX1" fmla="*/ 0 w 1183946"/>
              <a:gd name="connsiteY1" fmla="*/ 0 h 312008"/>
              <a:gd name="connsiteX2" fmla="*/ 1183946 w 1183946"/>
              <a:gd name="connsiteY2" fmla="*/ 0 h 312008"/>
              <a:gd name="connsiteX0" fmla="*/ 0 w 1183946"/>
              <a:gd name="connsiteY0" fmla="*/ 0 h 0"/>
              <a:gd name="connsiteX1" fmla="*/ 1183946 w 1183946"/>
              <a:gd name="connsiteY1" fmla="*/ 0 h 0"/>
            </a:gdLst>
            <a:ahLst/>
            <a:cxnLst>
              <a:cxn ang="0">
                <a:pos x="connsiteX0" y="connsiteY0"/>
              </a:cxn>
              <a:cxn ang="0">
                <a:pos x="connsiteX1" y="connsiteY1"/>
              </a:cxn>
            </a:cxnLst>
            <a:rect l="l" t="t" r="r" b="b"/>
            <a:pathLst>
              <a:path w="1183946">
                <a:moveTo>
                  <a:pt x="0" y="0"/>
                </a:moveTo>
                <a:lnTo>
                  <a:pt x="1183946" y="0"/>
                </a:lnTo>
              </a:path>
            </a:pathLst>
          </a:custGeom>
          <a:noFill/>
          <a:ln w="6350">
            <a:solidFill>
              <a:schemeClr val="bg1">
                <a:lumMod val="95000"/>
              </a:schemeClr>
            </a:solidFill>
            <a:headEnd type="none" w="med" len="med"/>
            <a:tailEnd type="arrow"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a:lnSpc>
                <a:spcPct val="90000"/>
              </a:lnSpc>
              <a:defRPr/>
            </a:pPr>
            <a:endParaRPr lang="en-IN" sz="1765" b="0" dirty="0" err="1">
              <a:solidFill>
                <a:srgbClr val="FFFFFF"/>
              </a:solidFill>
              <a:latin typeface="Segoe UI Semilight"/>
              <a:ea typeface="Segoe UI" pitchFamily="34" charset="0"/>
              <a:cs typeface="Segoe UI" pitchFamily="34" charset="0"/>
            </a:endParaRPr>
          </a:p>
        </p:txBody>
      </p:sp>
      <p:sp>
        <p:nvSpPr>
          <p:cNvPr id="46" name="Rectangle 11">
            <a:extLst>
              <a:ext uri="{FF2B5EF4-FFF2-40B4-BE49-F238E27FC236}">
                <a16:creationId xmlns:a16="http://schemas.microsoft.com/office/drawing/2014/main" id="{B4301D0D-3DEE-4CD4-AE00-2E9CF932F483}"/>
              </a:ext>
            </a:extLst>
          </p:cNvPr>
          <p:cNvSpPr/>
          <p:nvPr/>
        </p:nvSpPr>
        <p:spPr bwMode="auto">
          <a:xfrm rot="5400000">
            <a:off x="7552613" y="4677252"/>
            <a:ext cx="537855" cy="0"/>
          </a:xfrm>
          <a:custGeom>
            <a:avLst/>
            <a:gdLst>
              <a:gd name="connsiteX0" fmla="*/ 0 w 1183946"/>
              <a:gd name="connsiteY0" fmla="*/ 0 h 312008"/>
              <a:gd name="connsiteX1" fmla="*/ 1183946 w 1183946"/>
              <a:gd name="connsiteY1" fmla="*/ 0 h 312008"/>
              <a:gd name="connsiteX2" fmla="*/ 1183946 w 1183946"/>
              <a:gd name="connsiteY2" fmla="*/ 312008 h 312008"/>
              <a:gd name="connsiteX3" fmla="*/ 0 w 1183946"/>
              <a:gd name="connsiteY3" fmla="*/ 312008 h 312008"/>
              <a:gd name="connsiteX4" fmla="*/ 0 w 1183946"/>
              <a:gd name="connsiteY4" fmla="*/ 0 h 312008"/>
              <a:gd name="connsiteX0" fmla="*/ 1183946 w 1275386"/>
              <a:gd name="connsiteY0" fmla="*/ 312008 h 403448"/>
              <a:gd name="connsiteX1" fmla="*/ 0 w 1275386"/>
              <a:gd name="connsiteY1" fmla="*/ 312008 h 403448"/>
              <a:gd name="connsiteX2" fmla="*/ 0 w 1275386"/>
              <a:gd name="connsiteY2" fmla="*/ 0 h 403448"/>
              <a:gd name="connsiteX3" fmla="*/ 1183946 w 1275386"/>
              <a:gd name="connsiteY3" fmla="*/ 0 h 403448"/>
              <a:gd name="connsiteX4" fmla="*/ 1275386 w 1275386"/>
              <a:gd name="connsiteY4" fmla="*/ 403448 h 403448"/>
              <a:gd name="connsiteX0" fmla="*/ 1183946 w 1183946"/>
              <a:gd name="connsiteY0" fmla="*/ 312008 h 312008"/>
              <a:gd name="connsiteX1" fmla="*/ 0 w 1183946"/>
              <a:gd name="connsiteY1" fmla="*/ 312008 h 312008"/>
              <a:gd name="connsiteX2" fmla="*/ 0 w 1183946"/>
              <a:gd name="connsiteY2" fmla="*/ 0 h 312008"/>
              <a:gd name="connsiteX3" fmla="*/ 1183946 w 1183946"/>
              <a:gd name="connsiteY3" fmla="*/ 0 h 312008"/>
              <a:gd name="connsiteX0" fmla="*/ 0 w 1183946"/>
              <a:gd name="connsiteY0" fmla="*/ 312008 h 312008"/>
              <a:gd name="connsiteX1" fmla="*/ 0 w 1183946"/>
              <a:gd name="connsiteY1" fmla="*/ 0 h 312008"/>
              <a:gd name="connsiteX2" fmla="*/ 1183946 w 1183946"/>
              <a:gd name="connsiteY2" fmla="*/ 0 h 312008"/>
              <a:gd name="connsiteX0" fmla="*/ 0 w 1183946"/>
              <a:gd name="connsiteY0" fmla="*/ 0 h 0"/>
              <a:gd name="connsiteX1" fmla="*/ 1183946 w 1183946"/>
              <a:gd name="connsiteY1" fmla="*/ 0 h 0"/>
            </a:gdLst>
            <a:ahLst/>
            <a:cxnLst>
              <a:cxn ang="0">
                <a:pos x="connsiteX0" y="connsiteY0"/>
              </a:cxn>
              <a:cxn ang="0">
                <a:pos x="connsiteX1" y="connsiteY1"/>
              </a:cxn>
            </a:cxnLst>
            <a:rect l="l" t="t" r="r" b="b"/>
            <a:pathLst>
              <a:path w="1183946">
                <a:moveTo>
                  <a:pt x="0" y="0"/>
                </a:moveTo>
                <a:lnTo>
                  <a:pt x="1183946" y="0"/>
                </a:lnTo>
              </a:path>
            </a:pathLst>
          </a:custGeom>
          <a:noFill/>
          <a:ln w="6350">
            <a:solidFill>
              <a:schemeClr val="bg1">
                <a:lumMod val="95000"/>
              </a:schemeClr>
            </a:solidFill>
            <a:headEnd type="none" w="med" len="med"/>
            <a:tailEnd type="arrow"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a:lnSpc>
                <a:spcPct val="90000"/>
              </a:lnSpc>
              <a:defRPr/>
            </a:pPr>
            <a:endParaRPr lang="en-IN" sz="1765" b="0" dirty="0" err="1">
              <a:solidFill>
                <a:srgbClr val="FFFFFF"/>
              </a:solidFill>
              <a:latin typeface="Segoe UI Semilight"/>
              <a:ea typeface="Segoe UI" pitchFamily="34" charset="0"/>
              <a:cs typeface="Segoe UI" pitchFamily="34" charset="0"/>
            </a:endParaRPr>
          </a:p>
        </p:txBody>
      </p:sp>
      <p:sp>
        <p:nvSpPr>
          <p:cNvPr id="47" name="Rectangle 11">
            <a:extLst>
              <a:ext uri="{FF2B5EF4-FFF2-40B4-BE49-F238E27FC236}">
                <a16:creationId xmlns:a16="http://schemas.microsoft.com/office/drawing/2014/main" id="{29100C76-EC2C-4507-BDA3-2DD50F5F00F4}"/>
              </a:ext>
            </a:extLst>
          </p:cNvPr>
          <p:cNvSpPr/>
          <p:nvPr/>
        </p:nvSpPr>
        <p:spPr bwMode="auto">
          <a:xfrm rot="5400000">
            <a:off x="5741963" y="3316947"/>
            <a:ext cx="672319" cy="0"/>
          </a:xfrm>
          <a:custGeom>
            <a:avLst/>
            <a:gdLst>
              <a:gd name="connsiteX0" fmla="*/ 0 w 1183946"/>
              <a:gd name="connsiteY0" fmla="*/ 0 h 312008"/>
              <a:gd name="connsiteX1" fmla="*/ 1183946 w 1183946"/>
              <a:gd name="connsiteY1" fmla="*/ 0 h 312008"/>
              <a:gd name="connsiteX2" fmla="*/ 1183946 w 1183946"/>
              <a:gd name="connsiteY2" fmla="*/ 312008 h 312008"/>
              <a:gd name="connsiteX3" fmla="*/ 0 w 1183946"/>
              <a:gd name="connsiteY3" fmla="*/ 312008 h 312008"/>
              <a:gd name="connsiteX4" fmla="*/ 0 w 1183946"/>
              <a:gd name="connsiteY4" fmla="*/ 0 h 312008"/>
              <a:gd name="connsiteX0" fmla="*/ 1183946 w 1275386"/>
              <a:gd name="connsiteY0" fmla="*/ 312008 h 403448"/>
              <a:gd name="connsiteX1" fmla="*/ 0 w 1275386"/>
              <a:gd name="connsiteY1" fmla="*/ 312008 h 403448"/>
              <a:gd name="connsiteX2" fmla="*/ 0 w 1275386"/>
              <a:gd name="connsiteY2" fmla="*/ 0 h 403448"/>
              <a:gd name="connsiteX3" fmla="*/ 1183946 w 1275386"/>
              <a:gd name="connsiteY3" fmla="*/ 0 h 403448"/>
              <a:gd name="connsiteX4" fmla="*/ 1275386 w 1275386"/>
              <a:gd name="connsiteY4" fmla="*/ 403448 h 403448"/>
              <a:gd name="connsiteX0" fmla="*/ 1183946 w 1183946"/>
              <a:gd name="connsiteY0" fmla="*/ 312008 h 312008"/>
              <a:gd name="connsiteX1" fmla="*/ 0 w 1183946"/>
              <a:gd name="connsiteY1" fmla="*/ 312008 h 312008"/>
              <a:gd name="connsiteX2" fmla="*/ 0 w 1183946"/>
              <a:gd name="connsiteY2" fmla="*/ 0 h 312008"/>
              <a:gd name="connsiteX3" fmla="*/ 1183946 w 1183946"/>
              <a:gd name="connsiteY3" fmla="*/ 0 h 312008"/>
              <a:gd name="connsiteX0" fmla="*/ 0 w 1183946"/>
              <a:gd name="connsiteY0" fmla="*/ 312008 h 312008"/>
              <a:gd name="connsiteX1" fmla="*/ 0 w 1183946"/>
              <a:gd name="connsiteY1" fmla="*/ 0 h 312008"/>
              <a:gd name="connsiteX2" fmla="*/ 1183946 w 1183946"/>
              <a:gd name="connsiteY2" fmla="*/ 0 h 312008"/>
              <a:gd name="connsiteX0" fmla="*/ 0 w 1183946"/>
              <a:gd name="connsiteY0" fmla="*/ 0 h 0"/>
              <a:gd name="connsiteX1" fmla="*/ 1183946 w 1183946"/>
              <a:gd name="connsiteY1" fmla="*/ 0 h 0"/>
            </a:gdLst>
            <a:ahLst/>
            <a:cxnLst>
              <a:cxn ang="0">
                <a:pos x="connsiteX0" y="connsiteY0"/>
              </a:cxn>
              <a:cxn ang="0">
                <a:pos x="connsiteX1" y="connsiteY1"/>
              </a:cxn>
            </a:cxnLst>
            <a:rect l="l" t="t" r="r" b="b"/>
            <a:pathLst>
              <a:path w="1183946">
                <a:moveTo>
                  <a:pt x="0" y="0"/>
                </a:moveTo>
                <a:lnTo>
                  <a:pt x="1183946" y="0"/>
                </a:lnTo>
              </a:path>
            </a:pathLst>
          </a:custGeom>
          <a:noFill/>
          <a:ln w="6350">
            <a:solidFill>
              <a:schemeClr val="bg1">
                <a:lumMod val="95000"/>
              </a:schemeClr>
            </a:solidFill>
            <a:headEnd type="none" w="med" len="med"/>
            <a:tailEnd type="arrow"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a:lnSpc>
                <a:spcPct val="90000"/>
              </a:lnSpc>
              <a:defRPr/>
            </a:pPr>
            <a:endParaRPr lang="en-IN" sz="1765" b="0" dirty="0" err="1">
              <a:solidFill>
                <a:srgbClr val="FFFFFF"/>
              </a:solidFill>
              <a:latin typeface="Segoe UI Semilight"/>
              <a:ea typeface="Segoe UI" pitchFamily="34" charset="0"/>
              <a:cs typeface="Segoe UI" pitchFamily="34" charset="0"/>
            </a:endParaRPr>
          </a:p>
        </p:txBody>
      </p:sp>
      <p:sp>
        <p:nvSpPr>
          <p:cNvPr id="23" name="Rectangle 22">
            <a:extLst>
              <a:ext uri="{FF2B5EF4-FFF2-40B4-BE49-F238E27FC236}">
                <a16:creationId xmlns:a16="http://schemas.microsoft.com/office/drawing/2014/main" id="{CE1B65E8-3743-401B-BC63-C89199382B5F}"/>
              </a:ext>
            </a:extLst>
          </p:cNvPr>
          <p:cNvSpPr/>
          <p:nvPr/>
        </p:nvSpPr>
        <p:spPr bwMode="auto">
          <a:xfrm>
            <a:off x="6757036" y="2421385"/>
            <a:ext cx="735812" cy="1339277"/>
          </a:xfrm>
          <a:custGeom>
            <a:avLst/>
            <a:gdLst>
              <a:gd name="connsiteX0" fmla="*/ 0 w 1324847"/>
              <a:gd name="connsiteY0" fmla="*/ 0 h 1814669"/>
              <a:gd name="connsiteX1" fmla="*/ 1324847 w 1324847"/>
              <a:gd name="connsiteY1" fmla="*/ 0 h 1814669"/>
              <a:gd name="connsiteX2" fmla="*/ 1324847 w 1324847"/>
              <a:gd name="connsiteY2" fmla="*/ 1814669 h 1814669"/>
              <a:gd name="connsiteX3" fmla="*/ 0 w 1324847"/>
              <a:gd name="connsiteY3" fmla="*/ 1814669 h 1814669"/>
              <a:gd name="connsiteX4" fmla="*/ 0 w 1324847"/>
              <a:gd name="connsiteY4" fmla="*/ 0 h 1814669"/>
              <a:gd name="connsiteX0" fmla="*/ 1324847 w 1416287"/>
              <a:gd name="connsiteY0" fmla="*/ 1814669 h 1906109"/>
              <a:gd name="connsiteX1" fmla="*/ 0 w 1416287"/>
              <a:gd name="connsiteY1" fmla="*/ 1814669 h 1906109"/>
              <a:gd name="connsiteX2" fmla="*/ 0 w 1416287"/>
              <a:gd name="connsiteY2" fmla="*/ 0 h 1906109"/>
              <a:gd name="connsiteX3" fmla="*/ 1324847 w 1416287"/>
              <a:gd name="connsiteY3" fmla="*/ 0 h 1906109"/>
              <a:gd name="connsiteX4" fmla="*/ 1416287 w 1416287"/>
              <a:gd name="connsiteY4" fmla="*/ 1906109 h 1906109"/>
              <a:gd name="connsiteX0" fmla="*/ 1324847 w 1324847"/>
              <a:gd name="connsiteY0" fmla="*/ 1814669 h 1814669"/>
              <a:gd name="connsiteX1" fmla="*/ 0 w 1324847"/>
              <a:gd name="connsiteY1" fmla="*/ 1814669 h 1814669"/>
              <a:gd name="connsiteX2" fmla="*/ 0 w 1324847"/>
              <a:gd name="connsiteY2" fmla="*/ 0 h 1814669"/>
              <a:gd name="connsiteX3" fmla="*/ 1324847 w 1324847"/>
              <a:gd name="connsiteY3" fmla="*/ 0 h 1814669"/>
              <a:gd name="connsiteX0" fmla="*/ 1324847 w 1324847"/>
              <a:gd name="connsiteY0" fmla="*/ 1814669 h 1814669"/>
              <a:gd name="connsiteX1" fmla="*/ 0 w 1324847"/>
              <a:gd name="connsiteY1" fmla="*/ 1814669 h 1814669"/>
              <a:gd name="connsiteX2" fmla="*/ 0 w 1324847"/>
              <a:gd name="connsiteY2" fmla="*/ 0 h 1814669"/>
              <a:gd name="connsiteX3" fmla="*/ 780837 w 1324847"/>
              <a:gd name="connsiteY3" fmla="*/ 11574 h 1814669"/>
              <a:gd name="connsiteX0" fmla="*/ 1000756 w 1000756"/>
              <a:gd name="connsiteY0" fmla="*/ 1803094 h 1814669"/>
              <a:gd name="connsiteX1" fmla="*/ 0 w 1000756"/>
              <a:gd name="connsiteY1" fmla="*/ 1814669 h 1814669"/>
              <a:gd name="connsiteX2" fmla="*/ 0 w 1000756"/>
              <a:gd name="connsiteY2" fmla="*/ 0 h 1814669"/>
              <a:gd name="connsiteX3" fmla="*/ 780837 w 1000756"/>
              <a:gd name="connsiteY3" fmla="*/ 11574 h 1814669"/>
              <a:gd name="connsiteX0" fmla="*/ 1000756 w 1000756"/>
              <a:gd name="connsiteY0" fmla="*/ 1814380 h 1825955"/>
              <a:gd name="connsiteX1" fmla="*/ 0 w 1000756"/>
              <a:gd name="connsiteY1" fmla="*/ 1825955 h 1825955"/>
              <a:gd name="connsiteX2" fmla="*/ 0 w 1000756"/>
              <a:gd name="connsiteY2" fmla="*/ 11286 h 1825955"/>
              <a:gd name="connsiteX3" fmla="*/ 785917 w 1000756"/>
              <a:gd name="connsiteY3" fmla="*/ 0 h 1825955"/>
              <a:gd name="connsiteX0" fmla="*/ 1000756 w 1000756"/>
              <a:gd name="connsiteY0" fmla="*/ 1806760 h 1818335"/>
              <a:gd name="connsiteX1" fmla="*/ 0 w 1000756"/>
              <a:gd name="connsiteY1" fmla="*/ 1818335 h 1818335"/>
              <a:gd name="connsiteX2" fmla="*/ 0 w 1000756"/>
              <a:gd name="connsiteY2" fmla="*/ 3666 h 1818335"/>
              <a:gd name="connsiteX3" fmla="*/ 785917 w 1000756"/>
              <a:gd name="connsiteY3" fmla="*/ 0 h 1818335"/>
              <a:gd name="connsiteX0" fmla="*/ 1000756 w 1000756"/>
              <a:gd name="connsiteY0" fmla="*/ 1811840 h 1823415"/>
              <a:gd name="connsiteX1" fmla="*/ 0 w 1000756"/>
              <a:gd name="connsiteY1" fmla="*/ 1823415 h 1823415"/>
              <a:gd name="connsiteX2" fmla="*/ 0 w 1000756"/>
              <a:gd name="connsiteY2" fmla="*/ 8746 h 1823415"/>
              <a:gd name="connsiteX3" fmla="*/ 788457 w 1000756"/>
              <a:gd name="connsiteY3" fmla="*/ 0 h 1823415"/>
              <a:gd name="connsiteX0" fmla="*/ 1000756 w 1000756"/>
              <a:gd name="connsiteY0" fmla="*/ 1811840 h 1823415"/>
              <a:gd name="connsiteX1" fmla="*/ 0 w 1000756"/>
              <a:gd name="connsiteY1" fmla="*/ 1823415 h 1823415"/>
              <a:gd name="connsiteX2" fmla="*/ 0 w 1000756"/>
              <a:gd name="connsiteY2" fmla="*/ 8746 h 1823415"/>
              <a:gd name="connsiteX3" fmla="*/ 788457 w 1000756"/>
              <a:gd name="connsiteY3" fmla="*/ 0 h 1823415"/>
              <a:gd name="connsiteX0" fmla="*/ 1000756 w 1000756"/>
              <a:gd name="connsiteY0" fmla="*/ 1804220 h 1815795"/>
              <a:gd name="connsiteX1" fmla="*/ 0 w 1000756"/>
              <a:gd name="connsiteY1" fmla="*/ 1815795 h 1815795"/>
              <a:gd name="connsiteX2" fmla="*/ 0 w 1000756"/>
              <a:gd name="connsiteY2" fmla="*/ 1126 h 1815795"/>
              <a:gd name="connsiteX3" fmla="*/ 788457 w 1000756"/>
              <a:gd name="connsiteY3" fmla="*/ 0 h 1815795"/>
              <a:gd name="connsiteX0" fmla="*/ 1000756 w 1000756"/>
              <a:gd name="connsiteY0" fmla="*/ 1811840 h 1823415"/>
              <a:gd name="connsiteX1" fmla="*/ 0 w 1000756"/>
              <a:gd name="connsiteY1" fmla="*/ 1823415 h 1823415"/>
              <a:gd name="connsiteX2" fmla="*/ 0 w 1000756"/>
              <a:gd name="connsiteY2" fmla="*/ 8746 h 1823415"/>
              <a:gd name="connsiteX3" fmla="*/ 788457 w 1000756"/>
              <a:gd name="connsiteY3" fmla="*/ 0 h 1823415"/>
              <a:gd name="connsiteX0" fmla="*/ 1000756 w 1000756"/>
              <a:gd name="connsiteY0" fmla="*/ 1809935 h 1821510"/>
              <a:gd name="connsiteX1" fmla="*/ 0 w 1000756"/>
              <a:gd name="connsiteY1" fmla="*/ 1821510 h 1821510"/>
              <a:gd name="connsiteX2" fmla="*/ 0 w 1000756"/>
              <a:gd name="connsiteY2" fmla="*/ 6841 h 1821510"/>
              <a:gd name="connsiteX3" fmla="*/ 790362 w 1000756"/>
              <a:gd name="connsiteY3" fmla="*/ 0 h 1821510"/>
            </a:gdLst>
            <a:ahLst/>
            <a:cxnLst>
              <a:cxn ang="0">
                <a:pos x="connsiteX0" y="connsiteY0"/>
              </a:cxn>
              <a:cxn ang="0">
                <a:pos x="connsiteX1" y="connsiteY1"/>
              </a:cxn>
              <a:cxn ang="0">
                <a:pos x="connsiteX2" y="connsiteY2"/>
              </a:cxn>
              <a:cxn ang="0">
                <a:pos x="connsiteX3" y="connsiteY3"/>
              </a:cxn>
            </a:cxnLst>
            <a:rect l="l" t="t" r="r" b="b"/>
            <a:pathLst>
              <a:path w="1000756" h="1821510">
                <a:moveTo>
                  <a:pt x="1000756" y="1809935"/>
                </a:moveTo>
                <a:lnTo>
                  <a:pt x="0" y="1821510"/>
                </a:lnTo>
                <a:lnTo>
                  <a:pt x="0" y="6841"/>
                </a:lnTo>
                <a:lnTo>
                  <a:pt x="790362" y="0"/>
                </a:lnTo>
              </a:path>
            </a:pathLst>
          </a:custGeom>
          <a:noFill/>
          <a:ln w="6350">
            <a:solidFill>
              <a:schemeClr val="bg1">
                <a:lumMod val="95000"/>
              </a:schemeClr>
            </a:solidFill>
            <a:headEnd type="none" w="med" len="med"/>
            <a:tailEnd type="arrow"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a:lnSpc>
                <a:spcPct val="90000"/>
              </a:lnSpc>
              <a:defRPr/>
            </a:pPr>
            <a:endParaRPr lang="en-IN" sz="1765" b="0" dirty="0" err="1">
              <a:solidFill>
                <a:srgbClr val="FFFFFF"/>
              </a:solidFill>
              <a:latin typeface="Segoe UI Semilight"/>
              <a:cs typeface="Segoe UI" pitchFamily="34" charset="0"/>
            </a:endParaRPr>
          </a:p>
        </p:txBody>
      </p:sp>
      <p:sp>
        <p:nvSpPr>
          <p:cNvPr id="32" name="Rectangle 31">
            <a:extLst>
              <a:ext uri="{FF2B5EF4-FFF2-40B4-BE49-F238E27FC236}">
                <a16:creationId xmlns:a16="http://schemas.microsoft.com/office/drawing/2014/main" id="{3568179B-8624-44F1-BFEF-B529A85B4BA5}"/>
              </a:ext>
            </a:extLst>
          </p:cNvPr>
          <p:cNvSpPr/>
          <p:nvPr/>
        </p:nvSpPr>
        <p:spPr bwMode="auto">
          <a:xfrm>
            <a:off x="4269164" y="3148868"/>
            <a:ext cx="3249540" cy="2228110"/>
          </a:xfrm>
          <a:custGeom>
            <a:avLst/>
            <a:gdLst>
              <a:gd name="connsiteX0" fmla="*/ 0 w 4419600"/>
              <a:gd name="connsiteY0" fmla="*/ 0 h 3030384"/>
              <a:gd name="connsiteX1" fmla="*/ 4419600 w 4419600"/>
              <a:gd name="connsiteY1" fmla="*/ 0 h 3030384"/>
              <a:gd name="connsiteX2" fmla="*/ 4419600 w 4419600"/>
              <a:gd name="connsiteY2" fmla="*/ 3030384 h 3030384"/>
              <a:gd name="connsiteX3" fmla="*/ 0 w 4419600"/>
              <a:gd name="connsiteY3" fmla="*/ 3030384 h 3030384"/>
              <a:gd name="connsiteX4" fmla="*/ 0 w 4419600"/>
              <a:gd name="connsiteY4" fmla="*/ 0 h 3030384"/>
              <a:gd name="connsiteX0" fmla="*/ 4419600 w 4511040"/>
              <a:gd name="connsiteY0" fmla="*/ 0 h 3030384"/>
              <a:gd name="connsiteX1" fmla="*/ 4419600 w 4511040"/>
              <a:gd name="connsiteY1" fmla="*/ 3030384 h 3030384"/>
              <a:gd name="connsiteX2" fmla="*/ 0 w 4511040"/>
              <a:gd name="connsiteY2" fmla="*/ 3030384 h 3030384"/>
              <a:gd name="connsiteX3" fmla="*/ 0 w 4511040"/>
              <a:gd name="connsiteY3" fmla="*/ 0 h 3030384"/>
              <a:gd name="connsiteX4" fmla="*/ 4511040 w 4511040"/>
              <a:gd name="connsiteY4" fmla="*/ 91440 h 3030384"/>
              <a:gd name="connsiteX0" fmla="*/ 4419600 w 4419600"/>
              <a:gd name="connsiteY0" fmla="*/ 0 h 3030384"/>
              <a:gd name="connsiteX1" fmla="*/ 4419600 w 4419600"/>
              <a:gd name="connsiteY1" fmla="*/ 3030384 h 3030384"/>
              <a:gd name="connsiteX2" fmla="*/ 0 w 4419600"/>
              <a:gd name="connsiteY2" fmla="*/ 3030384 h 3030384"/>
              <a:gd name="connsiteX3" fmla="*/ 0 w 4419600"/>
              <a:gd name="connsiteY3" fmla="*/ 0 h 3030384"/>
              <a:gd name="connsiteX0" fmla="*/ 4419600 w 4419600"/>
              <a:gd name="connsiteY0" fmla="*/ 3030384 h 3030384"/>
              <a:gd name="connsiteX1" fmla="*/ 0 w 4419600"/>
              <a:gd name="connsiteY1" fmla="*/ 3030384 h 3030384"/>
              <a:gd name="connsiteX2" fmla="*/ 0 w 4419600"/>
              <a:gd name="connsiteY2" fmla="*/ 0 h 3030384"/>
            </a:gdLst>
            <a:ahLst/>
            <a:cxnLst>
              <a:cxn ang="0">
                <a:pos x="connsiteX0" y="connsiteY0"/>
              </a:cxn>
              <a:cxn ang="0">
                <a:pos x="connsiteX1" y="connsiteY1"/>
              </a:cxn>
              <a:cxn ang="0">
                <a:pos x="connsiteX2" y="connsiteY2"/>
              </a:cxn>
            </a:cxnLst>
            <a:rect l="l" t="t" r="r" b="b"/>
            <a:pathLst>
              <a:path w="4419600" h="3030384">
                <a:moveTo>
                  <a:pt x="4419600" y="3030384"/>
                </a:moveTo>
                <a:lnTo>
                  <a:pt x="0" y="3030384"/>
                </a:lnTo>
                <a:lnTo>
                  <a:pt x="0" y="0"/>
                </a:lnTo>
              </a:path>
            </a:pathLst>
          </a:custGeom>
          <a:noFill/>
          <a:ln w="6350">
            <a:solidFill>
              <a:schemeClr val="bg1">
                <a:lumMod val="95000"/>
              </a:schemeClr>
            </a:solidFill>
            <a:headEnd type="none" w="med" len="med"/>
            <a:tailEnd type="arrow"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a:lnSpc>
                <a:spcPct val="90000"/>
              </a:lnSpc>
              <a:defRPr/>
            </a:pPr>
            <a:endParaRPr lang="en-IN" sz="1765" b="0" dirty="0" err="1">
              <a:solidFill>
                <a:srgbClr val="FFFFFF"/>
              </a:solidFill>
              <a:latin typeface="Segoe UI Semilight"/>
              <a:cs typeface="Segoe UI" pitchFamily="34" charset="0"/>
            </a:endParaRPr>
          </a:p>
        </p:txBody>
      </p:sp>
      <p:grpSp>
        <p:nvGrpSpPr>
          <p:cNvPr id="35" name="Group 34">
            <a:extLst>
              <a:ext uri="{FF2B5EF4-FFF2-40B4-BE49-F238E27FC236}">
                <a16:creationId xmlns:a16="http://schemas.microsoft.com/office/drawing/2014/main" id="{48B2F827-E2A2-4A72-A101-BE641930D88B}"/>
              </a:ext>
            </a:extLst>
          </p:cNvPr>
          <p:cNvGrpSpPr/>
          <p:nvPr/>
        </p:nvGrpSpPr>
        <p:grpSpPr>
          <a:xfrm>
            <a:off x="344293" y="3765164"/>
            <a:ext cx="3667826" cy="997709"/>
            <a:chOff x="468261" y="3954463"/>
            <a:chExt cx="4988498" cy="1356953"/>
          </a:xfrm>
        </p:grpSpPr>
        <p:sp>
          <p:nvSpPr>
            <p:cNvPr id="53" name="Rectangle 52">
              <a:extLst>
                <a:ext uri="{FF2B5EF4-FFF2-40B4-BE49-F238E27FC236}">
                  <a16:creationId xmlns:a16="http://schemas.microsoft.com/office/drawing/2014/main" id="{5DF5BC02-83F6-4896-89BF-A667E3BBC57E}"/>
                </a:ext>
              </a:extLst>
            </p:cNvPr>
            <p:cNvSpPr/>
            <p:nvPr/>
          </p:nvSpPr>
          <p:spPr>
            <a:xfrm>
              <a:off x="1201270" y="3954463"/>
              <a:ext cx="4255489" cy="1356953"/>
            </a:xfrm>
            <a:prstGeom prst="rect">
              <a:avLst/>
            </a:prstGeom>
          </p:spPr>
          <p:txBody>
            <a:bodyPr wrap="square">
              <a:spAutoFit/>
            </a:bodyPr>
            <a:lstStyle/>
            <a:p>
              <a:pPr defTabSz="699314" fontAlgn="auto">
                <a:spcBef>
                  <a:spcPts val="0"/>
                </a:spcBef>
                <a:spcAft>
                  <a:spcPts val="900"/>
                </a:spcAft>
                <a:buClr>
                  <a:srgbClr val="FFFFFF"/>
                </a:buClr>
                <a:buSzPct val="100000"/>
                <a:defRPr/>
              </a:pPr>
              <a:r>
                <a:rPr lang="en-US" sz="1471" b="0" kern="0" dirty="0">
                  <a:solidFill>
                    <a:srgbClr val="FFFFFF"/>
                  </a:solidFill>
                  <a:latin typeface="Segoe UI Semilight"/>
                  <a:cs typeface="Segoe UI Semilight" panose="020B0402040204020203" pitchFamily="34" charset="0"/>
                </a:rPr>
                <a:t>Need to ingest massive volumes of diagnostic data from devices and take real-time actions as part of connected car platform</a:t>
              </a:r>
            </a:p>
          </p:txBody>
        </p:sp>
        <p:grpSp>
          <p:nvGrpSpPr>
            <p:cNvPr id="54" name="Group 53">
              <a:extLst>
                <a:ext uri="{FF2B5EF4-FFF2-40B4-BE49-F238E27FC236}">
                  <a16:creationId xmlns:a16="http://schemas.microsoft.com/office/drawing/2014/main" id="{30163455-42EC-4E26-A0A8-63F244A68864}"/>
                </a:ext>
              </a:extLst>
            </p:cNvPr>
            <p:cNvGrpSpPr/>
            <p:nvPr/>
          </p:nvGrpSpPr>
          <p:grpSpPr>
            <a:xfrm>
              <a:off x="468261" y="4478757"/>
              <a:ext cx="534340" cy="274850"/>
              <a:chOff x="467677" y="5956094"/>
              <a:chExt cx="534340" cy="274850"/>
            </a:xfrm>
          </p:grpSpPr>
          <p:sp>
            <p:nvSpPr>
              <p:cNvPr id="55" name="Oval 54">
                <a:extLst>
                  <a:ext uri="{FF2B5EF4-FFF2-40B4-BE49-F238E27FC236}">
                    <a16:creationId xmlns:a16="http://schemas.microsoft.com/office/drawing/2014/main" id="{9F3A29AE-7D9D-4DA0-925D-5712D97B70C7}"/>
                  </a:ext>
                </a:extLst>
              </p:cNvPr>
              <p:cNvSpPr/>
              <p:nvPr/>
            </p:nvSpPr>
            <p:spPr bwMode="auto">
              <a:xfrm>
                <a:off x="467677" y="5956094"/>
                <a:ext cx="274850" cy="274850"/>
              </a:xfrm>
              <a:prstGeom prst="ellipse">
                <a:avLst/>
              </a:prstGeom>
              <a:solidFill>
                <a:schemeClr val="accent1"/>
              </a:solidFill>
              <a:ln w="28575">
                <a:solidFill>
                  <a:schemeClr val="bg1"/>
                </a:solidFill>
                <a:miter lim="800000"/>
                <a:headEnd/>
                <a:tailEnd/>
              </a:ln>
              <a:effectLst/>
            </p:spPr>
            <p:txBody>
              <a:bodyPr vert="horz" wrap="square" lIns="71990" tIns="71990" rIns="71990" bIns="71990" numCol="1" rtlCol="0" anchor="t" anchorCtr="0" compatLnSpc="1">
                <a:prstTxWarp prst="textNoShape">
                  <a:avLst/>
                </a:prstTxWarp>
                <a:noAutofit/>
              </a:bodyPr>
              <a:lstStyle/>
              <a:p>
                <a:pPr defTabSz="914201">
                  <a:spcBef>
                    <a:spcPts val="0"/>
                  </a:spcBef>
                  <a:spcAft>
                    <a:spcPts val="300"/>
                  </a:spcAft>
                  <a:defRPr/>
                </a:pPr>
                <a:endParaRPr lang="en-US" sz="1599" b="0" kern="0" dirty="0" err="1">
                  <a:solidFill>
                    <a:srgbClr val="FFFFFF"/>
                  </a:solidFill>
                  <a:latin typeface="Segoe UI Semilight"/>
                  <a:cs typeface="Segoe UI Semibold" panose="020B0702040204020203" pitchFamily="34" charset="0"/>
                </a:endParaRPr>
              </a:p>
            </p:txBody>
          </p:sp>
          <p:cxnSp>
            <p:nvCxnSpPr>
              <p:cNvPr id="56" name="Straight Connector 55">
                <a:extLst>
                  <a:ext uri="{FF2B5EF4-FFF2-40B4-BE49-F238E27FC236}">
                    <a16:creationId xmlns:a16="http://schemas.microsoft.com/office/drawing/2014/main" id="{3408D389-46FD-4679-B033-C6BC90B9146C}"/>
                  </a:ext>
                </a:extLst>
              </p:cNvPr>
              <p:cNvCxnSpPr>
                <a:cxnSpLocks/>
              </p:cNvCxnSpPr>
              <p:nvPr/>
            </p:nvCxnSpPr>
            <p:spPr>
              <a:xfrm>
                <a:off x="742527" y="6093519"/>
                <a:ext cx="259490" cy="0"/>
              </a:xfrm>
              <a:prstGeom prst="line">
                <a:avLst/>
              </a:prstGeom>
              <a:ln>
                <a:solidFill>
                  <a:schemeClr val="bg1"/>
                </a:solidFill>
                <a:headEnd type="none"/>
                <a:tailEnd type="oval"/>
              </a:ln>
            </p:spPr>
            <p:style>
              <a:lnRef idx="1">
                <a:schemeClr val="accent1"/>
              </a:lnRef>
              <a:fillRef idx="0">
                <a:schemeClr val="accent1"/>
              </a:fillRef>
              <a:effectRef idx="0">
                <a:schemeClr val="accent1"/>
              </a:effectRef>
              <a:fontRef idx="minor">
                <a:schemeClr val="tx1"/>
              </a:fontRef>
            </p:style>
          </p:cxnSp>
        </p:grpSp>
      </p:grpSp>
      <p:grpSp>
        <p:nvGrpSpPr>
          <p:cNvPr id="36" name="Group 35">
            <a:extLst>
              <a:ext uri="{FF2B5EF4-FFF2-40B4-BE49-F238E27FC236}">
                <a16:creationId xmlns:a16="http://schemas.microsoft.com/office/drawing/2014/main" id="{1082EFFA-3ADD-489F-8FD8-9844D2211AA8}"/>
              </a:ext>
            </a:extLst>
          </p:cNvPr>
          <p:cNvGrpSpPr/>
          <p:nvPr/>
        </p:nvGrpSpPr>
        <p:grpSpPr>
          <a:xfrm>
            <a:off x="344292" y="4916959"/>
            <a:ext cx="3387310" cy="771365"/>
            <a:chOff x="468261" y="5520991"/>
            <a:chExt cx="4606976" cy="1049110"/>
          </a:xfrm>
        </p:grpSpPr>
        <p:sp>
          <p:nvSpPr>
            <p:cNvPr id="58" name="Rectangle 57">
              <a:extLst>
                <a:ext uri="{FF2B5EF4-FFF2-40B4-BE49-F238E27FC236}">
                  <a16:creationId xmlns:a16="http://schemas.microsoft.com/office/drawing/2014/main" id="{E780325B-59FB-4729-B839-53CF24473779}"/>
                </a:ext>
              </a:extLst>
            </p:cNvPr>
            <p:cNvSpPr/>
            <p:nvPr/>
          </p:nvSpPr>
          <p:spPr>
            <a:xfrm>
              <a:off x="1201270" y="5520991"/>
              <a:ext cx="3873967" cy="1049110"/>
            </a:xfrm>
            <a:prstGeom prst="rect">
              <a:avLst/>
            </a:prstGeom>
          </p:spPr>
          <p:txBody>
            <a:bodyPr wrap="square">
              <a:spAutoFit/>
            </a:bodyPr>
            <a:lstStyle/>
            <a:p>
              <a:pPr defTabSz="699314" fontAlgn="auto">
                <a:spcBef>
                  <a:spcPts val="0"/>
                </a:spcBef>
                <a:spcAft>
                  <a:spcPts val="900"/>
                </a:spcAft>
                <a:buClr>
                  <a:srgbClr val="FFFFFF"/>
                </a:buClr>
                <a:buSzPct val="100000"/>
                <a:defRPr/>
              </a:pPr>
              <a:r>
                <a:rPr lang="en-US" sz="1471" b="0" kern="0" dirty="0">
                  <a:solidFill>
                    <a:srgbClr val="FFFFFF"/>
                  </a:solidFill>
                  <a:latin typeface="Segoe UI Semilight"/>
                  <a:cs typeface="Segoe UI Semilight" panose="020B0402040204020203" pitchFamily="34" charset="0"/>
                </a:rPr>
                <a:t>Management and operations of database infrastructure to handle exponential growth of data</a:t>
              </a:r>
            </a:p>
          </p:txBody>
        </p:sp>
        <p:grpSp>
          <p:nvGrpSpPr>
            <p:cNvPr id="59" name="Group 58">
              <a:extLst>
                <a:ext uri="{FF2B5EF4-FFF2-40B4-BE49-F238E27FC236}">
                  <a16:creationId xmlns:a16="http://schemas.microsoft.com/office/drawing/2014/main" id="{1A826C02-0441-4DAE-BD35-35BE1622FB9A}"/>
                </a:ext>
              </a:extLst>
            </p:cNvPr>
            <p:cNvGrpSpPr/>
            <p:nvPr/>
          </p:nvGrpSpPr>
          <p:grpSpPr>
            <a:xfrm>
              <a:off x="468261" y="5891397"/>
              <a:ext cx="534340" cy="274850"/>
              <a:chOff x="467677" y="5956094"/>
              <a:chExt cx="534340" cy="274850"/>
            </a:xfrm>
          </p:grpSpPr>
          <p:sp>
            <p:nvSpPr>
              <p:cNvPr id="60" name="Oval 59">
                <a:extLst>
                  <a:ext uri="{FF2B5EF4-FFF2-40B4-BE49-F238E27FC236}">
                    <a16:creationId xmlns:a16="http://schemas.microsoft.com/office/drawing/2014/main" id="{902EF4FB-F1B3-40AC-A413-76326789644F}"/>
                  </a:ext>
                </a:extLst>
              </p:cNvPr>
              <p:cNvSpPr/>
              <p:nvPr/>
            </p:nvSpPr>
            <p:spPr bwMode="auto">
              <a:xfrm>
                <a:off x="467677" y="5956094"/>
                <a:ext cx="274850" cy="274850"/>
              </a:xfrm>
              <a:prstGeom prst="ellipse">
                <a:avLst/>
              </a:prstGeom>
              <a:solidFill>
                <a:schemeClr val="accent1"/>
              </a:solidFill>
              <a:ln w="28575">
                <a:solidFill>
                  <a:schemeClr val="bg1"/>
                </a:solidFill>
                <a:miter lim="800000"/>
                <a:headEnd/>
                <a:tailEnd/>
              </a:ln>
              <a:effectLst/>
            </p:spPr>
            <p:txBody>
              <a:bodyPr vert="horz" wrap="square" lIns="71990" tIns="71990" rIns="71990" bIns="71990" numCol="1" rtlCol="0" anchor="t" anchorCtr="0" compatLnSpc="1">
                <a:prstTxWarp prst="textNoShape">
                  <a:avLst/>
                </a:prstTxWarp>
                <a:noAutofit/>
              </a:bodyPr>
              <a:lstStyle/>
              <a:p>
                <a:pPr defTabSz="914201">
                  <a:spcBef>
                    <a:spcPts val="0"/>
                  </a:spcBef>
                  <a:spcAft>
                    <a:spcPts val="300"/>
                  </a:spcAft>
                  <a:defRPr/>
                </a:pPr>
                <a:endParaRPr lang="en-US" sz="1599" b="0" kern="0" dirty="0" err="1">
                  <a:solidFill>
                    <a:srgbClr val="FFFFFF"/>
                  </a:solidFill>
                  <a:latin typeface="Segoe UI Semilight"/>
                  <a:cs typeface="Segoe UI Semibold" panose="020B0702040204020203" pitchFamily="34" charset="0"/>
                </a:endParaRPr>
              </a:p>
            </p:txBody>
          </p:sp>
          <p:cxnSp>
            <p:nvCxnSpPr>
              <p:cNvPr id="61" name="Straight Connector 60">
                <a:extLst>
                  <a:ext uri="{FF2B5EF4-FFF2-40B4-BE49-F238E27FC236}">
                    <a16:creationId xmlns:a16="http://schemas.microsoft.com/office/drawing/2014/main" id="{44CD874F-7ED8-4E40-A982-E643C9F0BDFC}"/>
                  </a:ext>
                </a:extLst>
              </p:cNvPr>
              <p:cNvCxnSpPr>
                <a:cxnSpLocks/>
              </p:cNvCxnSpPr>
              <p:nvPr/>
            </p:nvCxnSpPr>
            <p:spPr>
              <a:xfrm>
                <a:off x="742527" y="6093519"/>
                <a:ext cx="259490" cy="0"/>
              </a:xfrm>
              <a:prstGeom prst="line">
                <a:avLst/>
              </a:prstGeom>
              <a:ln>
                <a:solidFill>
                  <a:schemeClr val="bg1"/>
                </a:solidFill>
                <a:headEnd type="none"/>
                <a:tailEnd type="oval"/>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1214976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a:xfrm>
            <a:off x="201930" y="2112327"/>
            <a:ext cx="8741880" cy="3598863"/>
          </a:xfrm>
        </p:spPr>
        <p:txBody>
          <a:bodyPr/>
          <a:lstStyle/>
          <a:p>
            <a:r>
              <a:rPr lang="en-GB" sz="3300" b="1" dirty="0"/>
              <a:t>Read</a:t>
            </a:r>
          </a:p>
          <a:p>
            <a:pPr marL="252109" lvl="1"/>
            <a:r>
              <a:rPr lang="en-US" sz="2100" dirty="0"/>
              <a:t>Azure Storage | </a:t>
            </a:r>
            <a:r>
              <a:rPr lang="en-US" sz="2100" dirty="0">
                <a:solidFill>
                  <a:srgbClr val="00BCF2"/>
                </a:solidFill>
              </a:rPr>
              <a:t>Share Access Signature </a:t>
            </a:r>
            <a:r>
              <a:rPr lang="en-US" sz="2100" dirty="0"/>
              <a:t>- </a:t>
            </a:r>
            <a:r>
              <a:rPr lang="en-US" sz="2100" dirty="0">
                <a:hlinkClick r:id="rId3"/>
              </a:rPr>
              <a:t>SAS</a:t>
            </a:r>
            <a:endParaRPr lang="en-US" sz="2100" dirty="0"/>
          </a:p>
          <a:p>
            <a:pPr marL="43186" lvl="1"/>
            <a:endParaRPr lang="en-US" sz="2400" dirty="0"/>
          </a:p>
          <a:p>
            <a:pPr marL="43186" lvl="1"/>
            <a:r>
              <a:rPr lang="en-US" sz="3300" b="1" dirty="0"/>
              <a:t>Download and Use: </a:t>
            </a:r>
          </a:p>
          <a:p>
            <a:pPr marL="43186" lvl="1"/>
            <a:r>
              <a:rPr lang="en-US" sz="2100" dirty="0"/>
              <a:t>Microsoft Azure Storage Explorer (Preview) is a standalone app from Microsoft that allows you to easily work with Azure Storage data on Windows, </a:t>
            </a:r>
            <a:r>
              <a:rPr lang="en-US" sz="2100" dirty="0" err="1"/>
              <a:t>macOS</a:t>
            </a:r>
            <a:r>
              <a:rPr lang="en-US" sz="2100" dirty="0"/>
              <a:t> and Linux. </a:t>
            </a:r>
            <a:r>
              <a:rPr lang="en-US" sz="2100" dirty="0">
                <a:hlinkClick r:id="rId4"/>
              </a:rPr>
              <a:t>http://storageexplorer.com/</a:t>
            </a:r>
            <a:r>
              <a:rPr lang="en-US" sz="2100" dirty="0"/>
              <a:t> </a:t>
            </a:r>
          </a:p>
          <a:p>
            <a:r>
              <a:rPr lang="en-GB" sz="4050" dirty="0"/>
              <a:t> </a:t>
            </a:r>
          </a:p>
          <a:p>
            <a:endParaRPr lang="en-GB" sz="4050" dirty="0"/>
          </a:p>
        </p:txBody>
      </p:sp>
    </p:spTree>
    <p:extLst>
      <p:ext uri="{BB962C8B-B14F-4D97-AF65-F5344CB8AC3E}">
        <p14:creationId xmlns:p14="http://schemas.microsoft.com/office/powerpoint/2010/main" val="1553765743"/>
      </p:ext>
    </p:extLst>
  </p:cSld>
  <p:clrMapOvr>
    <a:masterClrMapping/>
  </p:clrMapOvr>
  <p:transition>
    <p:fade/>
  </p:transition>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2" name="Object 41" hidden="1">
            <a:extLst>
              <a:ext uri="{FF2B5EF4-FFF2-40B4-BE49-F238E27FC236}">
                <a16:creationId xmlns:a16="http://schemas.microsoft.com/office/drawing/2014/main" id="{727B0A4D-DEFB-404D-A1C8-4FDF7E85FDFF}"/>
              </a:ext>
            </a:extLst>
          </p:cNvPr>
          <p:cNvGraphicFramePr>
            <a:graphicFrameLocks noChangeAspect="1"/>
          </p:cNvGraphicFramePr>
          <p:nvPr>
            <p:custDataLst>
              <p:tags r:id="rId2"/>
            </p:custDataLst>
            <p:extLst/>
          </p:nvPr>
        </p:nvGraphicFramePr>
        <p:xfrm>
          <a:off x="1169" y="858783"/>
          <a:ext cx="1167" cy="1167"/>
        </p:xfrm>
        <a:graphic>
          <a:graphicData uri="http://schemas.openxmlformats.org/presentationml/2006/ole">
            <mc:AlternateContent xmlns:mc="http://schemas.openxmlformats.org/markup-compatibility/2006">
              <mc:Choice xmlns:v="urn:schemas-microsoft-com:vml" Requires="v">
                <p:oleObj spid="_x0000_s9218" name="think-cell Slide" r:id="rId5" imgW="425" imgH="424" progId="TCLayout.ActiveDocument.1">
                  <p:embed/>
                </p:oleObj>
              </mc:Choice>
              <mc:Fallback>
                <p:oleObj name="think-cell Slide" r:id="rId5" imgW="425" imgH="424" progId="TCLayout.ActiveDocument.1">
                  <p:embed/>
                  <p:pic>
                    <p:nvPicPr>
                      <p:cNvPr id="42" name="Object 41" hidden="1">
                        <a:extLst>
                          <a:ext uri="{FF2B5EF4-FFF2-40B4-BE49-F238E27FC236}">
                            <a16:creationId xmlns:a16="http://schemas.microsoft.com/office/drawing/2014/main" id="{727B0A4D-DEFB-404D-A1C8-4FDF7E85FDFF}"/>
                          </a:ext>
                        </a:extLst>
                      </p:cNvPr>
                      <p:cNvPicPr/>
                      <p:nvPr/>
                    </p:nvPicPr>
                    <p:blipFill>
                      <a:blip r:embed="rId6"/>
                      <a:stretch>
                        <a:fillRect/>
                      </a:stretch>
                    </p:blipFill>
                    <p:spPr>
                      <a:xfrm>
                        <a:off x="1169" y="858783"/>
                        <a:ext cx="1167" cy="1167"/>
                      </a:xfrm>
                      <a:prstGeom prst="rect">
                        <a:avLst/>
                      </a:prstGeom>
                    </p:spPr>
                  </p:pic>
                </p:oleObj>
              </mc:Fallback>
            </mc:AlternateContent>
          </a:graphicData>
        </a:graphic>
      </p:graphicFrame>
      <p:sp>
        <p:nvSpPr>
          <p:cNvPr id="57" name="Rectangle 56">
            <a:extLst>
              <a:ext uri="{FF2B5EF4-FFF2-40B4-BE49-F238E27FC236}">
                <a16:creationId xmlns:a16="http://schemas.microsoft.com/office/drawing/2014/main" id="{30504257-C871-4394-BBD0-4F35CFFC8330}"/>
              </a:ext>
            </a:extLst>
          </p:cNvPr>
          <p:cNvSpPr/>
          <p:nvPr/>
        </p:nvSpPr>
        <p:spPr bwMode="auto">
          <a:xfrm>
            <a:off x="0" y="1748205"/>
            <a:ext cx="9149380" cy="4252181"/>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a:lnSpc>
                <a:spcPct val="90000"/>
              </a:lnSpc>
              <a:defRPr/>
            </a:pPr>
            <a:endParaRPr lang="en-US" sz="1765" b="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 name="TextBox 7">
            <a:extLst>
              <a:ext uri="{FF2B5EF4-FFF2-40B4-BE49-F238E27FC236}">
                <a16:creationId xmlns:a16="http://schemas.microsoft.com/office/drawing/2014/main" id="{ED2B60BD-26EE-4ECE-A288-D6A44A498FDB}"/>
              </a:ext>
            </a:extLst>
          </p:cNvPr>
          <p:cNvSpPr txBox="1"/>
          <p:nvPr/>
        </p:nvSpPr>
        <p:spPr>
          <a:xfrm>
            <a:off x="4069732" y="2718553"/>
            <a:ext cx="818575" cy="142565"/>
          </a:xfrm>
          <a:prstGeom prst="rect">
            <a:avLst/>
          </a:prstGeom>
          <a:noFill/>
        </p:spPr>
        <p:txBody>
          <a:bodyPr wrap="none" lIns="0" tIns="0" rIns="0" bIns="0" rtlCol="0">
            <a:noAutofit/>
          </a:bodyPr>
          <a:lstStyle/>
          <a:p>
            <a:pPr algn="ctr" defTabSz="685775" fontAlgn="auto">
              <a:lnSpc>
                <a:spcPct val="90000"/>
              </a:lnSpc>
              <a:spcBef>
                <a:spcPts val="0"/>
              </a:spcBef>
              <a:spcAft>
                <a:spcPts val="441"/>
              </a:spcAft>
              <a:defRPr/>
            </a:pPr>
            <a:r>
              <a:rPr lang="en-US" sz="1029" b="0" dirty="0">
                <a:solidFill>
                  <a:srgbClr val="FFFFFF"/>
                </a:solidFill>
                <a:latin typeface="Segoe UI Semilight"/>
                <a:cs typeface="+mn-cs"/>
              </a:rPr>
              <a:t>Azure Web App</a:t>
            </a:r>
            <a:br>
              <a:rPr lang="en-US" sz="1029" b="0" dirty="0">
                <a:solidFill>
                  <a:srgbClr val="FFFFFF"/>
                </a:solidFill>
                <a:latin typeface="Segoe UI Semilight"/>
                <a:cs typeface="+mn-cs"/>
              </a:rPr>
            </a:br>
            <a:r>
              <a:rPr lang="en-US" sz="1029" b="0" dirty="0">
                <a:solidFill>
                  <a:srgbClr val="FFFFFF"/>
                </a:solidFill>
                <a:latin typeface="Segoe UI Semilight"/>
                <a:cs typeface="+mn-cs"/>
              </a:rPr>
              <a:t>(e-commerce web)</a:t>
            </a:r>
          </a:p>
        </p:txBody>
      </p:sp>
      <p:sp>
        <p:nvSpPr>
          <p:cNvPr id="11" name="TextBox 10">
            <a:extLst>
              <a:ext uri="{FF2B5EF4-FFF2-40B4-BE49-F238E27FC236}">
                <a16:creationId xmlns:a16="http://schemas.microsoft.com/office/drawing/2014/main" id="{8113DC52-4D0E-4F4F-8947-6C46F96B240B}"/>
              </a:ext>
            </a:extLst>
          </p:cNvPr>
          <p:cNvSpPr txBox="1"/>
          <p:nvPr/>
        </p:nvSpPr>
        <p:spPr>
          <a:xfrm>
            <a:off x="6003639" y="2718553"/>
            <a:ext cx="818575" cy="142565"/>
          </a:xfrm>
          <a:prstGeom prst="rect">
            <a:avLst/>
          </a:prstGeom>
          <a:noFill/>
        </p:spPr>
        <p:txBody>
          <a:bodyPr wrap="none" lIns="0" tIns="0" rIns="0" bIns="0" rtlCol="0">
            <a:noAutofit/>
          </a:bodyPr>
          <a:lstStyle/>
          <a:p>
            <a:pPr algn="ctr" defTabSz="685775" fontAlgn="auto">
              <a:lnSpc>
                <a:spcPct val="90000"/>
              </a:lnSpc>
              <a:spcBef>
                <a:spcPts val="0"/>
              </a:spcBef>
              <a:spcAft>
                <a:spcPts val="441"/>
              </a:spcAft>
              <a:defRPr/>
            </a:pPr>
            <a:r>
              <a:rPr lang="en-US" sz="1029" b="0" dirty="0">
                <a:solidFill>
                  <a:srgbClr val="FFFFFF"/>
                </a:solidFill>
                <a:latin typeface="Segoe UI Semilight"/>
                <a:cs typeface="+mn-cs"/>
              </a:rPr>
              <a:t>Azure Cosmos DB</a:t>
            </a:r>
            <a:br>
              <a:rPr lang="en-US" sz="1029" b="0" dirty="0">
                <a:solidFill>
                  <a:srgbClr val="FFFFFF"/>
                </a:solidFill>
                <a:latin typeface="Segoe UI Semilight"/>
                <a:cs typeface="+mn-cs"/>
              </a:rPr>
            </a:br>
            <a:r>
              <a:rPr lang="en-US" sz="1029" b="0" dirty="0">
                <a:solidFill>
                  <a:srgbClr val="FFFFFF"/>
                </a:solidFill>
                <a:latin typeface="Segoe UI Semilight"/>
                <a:cs typeface="+mn-cs"/>
              </a:rPr>
              <a:t>(Product catalog)</a:t>
            </a:r>
          </a:p>
        </p:txBody>
      </p:sp>
      <p:sp>
        <p:nvSpPr>
          <p:cNvPr id="13" name="TextBox 12">
            <a:extLst>
              <a:ext uri="{FF2B5EF4-FFF2-40B4-BE49-F238E27FC236}">
                <a16:creationId xmlns:a16="http://schemas.microsoft.com/office/drawing/2014/main" id="{64E6B49D-DBC7-41BA-8B52-E42F07E29954}"/>
              </a:ext>
            </a:extLst>
          </p:cNvPr>
          <p:cNvSpPr txBox="1"/>
          <p:nvPr/>
        </p:nvSpPr>
        <p:spPr>
          <a:xfrm>
            <a:off x="8005877" y="2718553"/>
            <a:ext cx="818575" cy="142565"/>
          </a:xfrm>
          <a:prstGeom prst="rect">
            <a:avLst/>
          </a:prstGeom>
          <a:noFill/>
        </p:spPr>
        <p:txBody>
          <a:bodyPr wrap="none" lIns="0" tIns="0" rIns="0" bIns="0" rtlCol="0">
            <a:noAutofit/>
          </a:bodyPr>
          <a:lstStyle/>
          <a:p>
            <a:pPr algn="ctr" defTabSz="685775" fontAlgn="auto">
              <a:lnSpc>
                <a:spcPct val="90000"/>
              </a:lnSpc>
              <a:spcBef>
                <a:spcPts val="0"/>
              </a:spcBef>
              <a:spcAft>
                <a:spcPts val="441"/>
              </a:spcAft>
              <a:defRPr/>
            </a:pPr>
            <a:r>
              <a:rPr lang="en-US" sz="1029" b="0" dirty="0">
                <a:solidFill>
                  <a:srgbClr val="FFFFFF"/>
                </a:solidFill>
                <a:latin typeface="Segoe UI Semilight"/>
                <a:cs typeface="+mn-cs"/>
              </a:rPr>
              <a:t>Azure Search</a:t>
            </a:r>
            <a:br>
              <a:rPr lang="en-US" sz="1029" b="0" dirty="0">
                <a:solidFill>
                  <a:srgbClr val="FFFFFF"/>
                </a:solidFill>
                <a:latin typeface="Segoe UI Semilight"/>
                <a:cs typeface="+mn-cs"/>
              </a:rPr>
            </a:br>
            <a:r>
              <a:rPr lang="en-US" sz="1029" b="0" dirty="0">
                <a:solidFill>
                  <a:srgbClr val="FFFFFF"/>
                </a:solidFill>
                <a:latin typeface="Segoe UI Semilight"/>
                <a:cs typeface="+mn-cs"/>
              </a:rPr>
              <a:t>(Full-text index)</a:t>
            </a:r>
          </a:p>
        </p:txBody>
      </p:sp>
      <p:sp>
        <p:nvSpPr>
          <p:cNvPr id="15" name="TextBox 14">
            <a:extLst>
              <a:ext uri="{FF2B5EF4-FFF2-40B4-BE49-F238E27FC236}">
                <a16:creationId xmlns:a16="http://schemas.microsoft.com/office/drawing/2014/main" id="{32309D05-5691-4D76-BCE8-55247D9BEA88}"/>
              </a:ext>
            </a:extLst>
          </p:cNvPr>
          <p:cNvSpPr txBox="1"/>
          <p:nvPr/>
        </p:nvSpPr>
        <p:spPr>
          <a:xfrm>
            <a:off x="6070809" y="4409130"/>
            <a:ext cx="818575" cy="142565"/>
          </a:xfrm>
          <a:prstGeom prst="rect">
            <a:avLst/>
          </a:prstGeom>
          <a:noFill/>
        </p:spPr>
        <p:txBody>
          <a:bodyPr wrap="none" lIns="0" tIns="0" rIns="0" bIns="0" rtlCol="0">
            <a:noAutofit/>
          </a:bodyPr>
          <a:lstStyle/>
          <a:p>
            <a:pPr algn="ctr" defTabSz="685775" fontAlgn="auto">
              <a:lnSpc>
                <a:spcPct val="90000"/>
              </a:lnSpc>
              <a:spcBef>
                <a:spcPts val="0"/>
              </a:spcBef>
              <a:spcAft>
                <a:spcPts val="441"/>
              </a:spcAft>
              <a:defRPr/>
            </a:pPr>
            <a:r>
              <a:rPr lang="en-US" sz="1029" b="0" dirty="0">
                <a:solidFill>
                  <a:srgbClr val="FFFFFF"/>
                </a:solidFill>
                <a:latin typeface="Segoe UI Semilight"/>
                <a:cs typeface="+mn-cs"/>
              </a:rPr>
              <a:t>Azure Cosmos DB</a:t>
            </a:r>
            <a:br>
              <a:rPr lang="en-US" sz="1029" b="0" dirty="0">
                <a:solidFill>
                  <a:srgbClr val="FFFFFF"/>
                </a:solidFill>
                <a:latin typeface="Segoe UI Semilight"/>
                <a:cs typeface="+mn-cs"/>
              </a:rPr>
            </a:br>
            <a:r>
              <a:rPr lang="en-US" sz="1029" b="0" dirty="0">
                <a:solidFill>
                  <a:srgbClr val="FFFFFF"/>
                </a:solidFill>
                <a:latin typeface="Segoe UI Semilight"/>
                <a:cs typeface="+mn-cs"/>
              </a:rPr>
              <a:t>(Session state)</a:t>
            </a:r>
          </a:p>
        </p:txBody>
      </p:sp>
      <p:grpSp>
        <p:nvGrpSpPr>
          <p:cNvPr id="4" name="Group 3">
            <a:extLst>
              <a:ext uri="{FF2B5EF4-FFF2-40B4-BE49-F238E27FC236}">
                <a16:creationId xmlns:a16="http://schemas.microsoft.com/office/drawing/2014/main" id="{6182F750-8451-45B8-B266-397E6E3E8745}"/>
              </a:ext>
            </a:extLst>
          </p:cNvPr>
          <p:cNvGrpSpPr/>
          <p:nvPr/>
        </p:nvGrpSpPr>
        <p:grpSpPr>
          <a:xfrm>
            <a:off x="344292" y="4214000"/>
            <a:ext cx="3387310" cy="771365"/>
            <a:chOff x="468261" y="4257025"/>
            <a:chExt cx="4606976" cy="1049110"/>
          </a:xfrm>
        </p:grpSpPr>
        <p:sp>
          <p:nvSpPr>
            <p:cNvPr id="17" name="Rectangle 16">
              <a:extLst>
                <a:ext uri="{FF2B5EF4-FFF2-40B4-BE49-F238E27FC236}">
                  <a16:creationId xmlns:a16="http://schemas.microsoft.com/office/drawing/2014/main" id="{49520154-7665-4EB9-A082-0D5562994E25}"/>
                </a:ext>
              </a:extLst>
            </p:cNvPr>
            <p:cNvSpPr/>
            <p:nvPr/>
          </p:nvSpPr>
          <p:spPr>
            <a:xfrm>
              <a:off x="1201270" y="4257025"/>
              <a:ext cx="3873967" cy="1049110"/>
            </a:xfrm>
            <a:prstGeom prst="rect">
              <a:avLst/>
            </a:prstGeom>
          </p:spPr>
          <p:txBody>
            <a:bodyPr wrap="square">
              <a:spAutoFit/>
            </a:bodyPr>
            <a:lstStyle/>
            <a:p>
              <a:pPr defTabSz="699314" fontAlgn="auto">
                <a:spcBef>
                  <a:spcPts val="0"/>
                </a:spcBef>
                <a:spcAft>
                  <a:spcPts val="900"/>
                </a:spcAft>
                <a:buClr>
                  <a:srgbClr val="FFFFFF"/>
                </a:buClr>
                <a:buSzPct val="100000"/>
                <a:defRPr/>
              </a:pPr>
              <a:r>
                <a:rPr lang="en-US" sz="1471" b="0" kern="0" dirty="0">
                  <a:solidFill>
                    <a:srgbClr val="FFFFFF"/>
                  </a:solidFill>
                  <a:latin typeface="Segoe UI Semilight"/>
                  <a:cs typeface="Segoe UI Semilight" panose="020B0402040204020203" pitchFamily="34" charset="0"/>
                </a:rPr>
                <a:t>Process </a:t>
              </a:r>
              <a:r>
                <a:rPr lang="en-US" sz="1471" b="0" kern="0" dirty="0" err="1">
                  <a:solidFill>
                    <a:srgbClr val="FFFFFF"/>
                  </a:solidFill>
                  <a:latin typeface="Segoe UI Semilight"/>
                  <a:cs typeface="Segoe UI Semilight" panose="020B0402040204020203" pitchFamily="34" charset="0"/>
                </a:rPr>
                <a:t>ms</a:t>
              </a:r>
              <a:r>
                <a:rPr lang="en-US" sz="1471" b="0" kern="0" dirty="0">
                  <a:solidFill>
                    <a:srgbClr val="FFFFFF"/>
                  </a:solidFill>
                  <a:latin typeface="Segoe UI Semilight"/>
                  <a:cs typeface="Segoe UI Semilight" panose="020B0402040204020203" pitchFamily="34" charset="0"/>
                </a:rPr>
                <a:t> of retail transactions per second in milliseconds in inventory pipeline during peak </a:t>
              </a:r>
            </a:p>
          </p:txBody>
        </p:sp>
        <p:grpSp>
          <p:nvGrpSpPr>
            <p:cNvPr id="18" name="Group 17">
              <a:extLst>
                <a:ext uri="{FF2B5EF4-FFF2-40B4-BE49-F238E27FC236}">
                  <a16:creationId xmlns:a16="http://schemas.microsoft.com/office/drawing/2014/main" id="{157402BE-ED64-42C1-82BC-6B08DFEBDA7F}"/>
                </a:ext>
              </a:extLst>
            </p:cNvPr>
            <p:cNvGrpSpPr/>
            <p:nvPr/>
          </p:nvGrpSpPr>
          <p:grpSpPr>
            <a:xfrm>
              <a:off x="468261" y="4627431"/>
              <a:ext cx="534340" cy="274850"/>
              <a:chOff x="467677" y="5956094"/>
              <a:chExt cx="534340" cy="274850"/>
            </a:xfrm>
          </p:grpSpPr>
          <p:sp>
            <p:nvSpPr>
              <p:cNvPr id="19" name="Oval 18">
                <a:extLst>
                  <a:ext uri="{FF2B5EF4-FFF2-40B4-BE49-F238E27FC236}">
                    <a16:creationId xmlns:a16="http://schemas.microsoft.com/office/drawing/2014/main" id="{CD2C3CB8-4FB3-4079-A767-EC0909C2679B}"/>
                  </a:ext>
                </a:extLst>
              </p:cNvPr>
              <p:cNvSpPr/>
              <p:nvPr/>
            </p:nvSpPr>
            <p:spPr bwMode="auto">
              <a:xfrm>
                <a:off x="467677" y="5956094"/>
                <a:ext cx="274850" cy="274850"/>
              </a:xfrm>
              <a:prstGeom prst="ellipse">
                <a:avLst/>
              </a:prstGeom>
              <a:solidFill>
                <a:schemeClr val="accent1"/>
              </a:solidFill>
              <a:ln w="28575">
                <a:solidFill>
                  <a:schemeClr val="bg1"/>
                </a:solidFill>
                <a:miter lim="800000"/>
                <a:headEnd/>
                <a:tailEnd/>
              </a:ln>
              <a:effectLst/>
            </p:spPr>
            <p:txBody>
              <a:bodyPr vert="horz" wrap="square" lIns="71990" tIns="71990" rIns="71990" bIns="71990" numCol="1" rtlCol="0" anchor="t" anchorCtr="0" compatLnSpc="1">
                <a:prstTxWarp prst="textNoShape">
                  <a:avLst/>
                </a:prstTxWarp>
                <a:noAutofit/>
              </a:bodyPr>
              <a:lstStyle/>
              <a:p>
                <a:pPr defTabSz="914201">
                  <a:spcBef>
                    <a:spcPts val="0"/>
                  </a:spcBef>
                  <a:spcAft>
                    <a:spcPts val="300"/>
                  </a:spcAft>
                  <a:defRPr/>
                </a:pPr>
                <a:endParaRPr lang="en-US" sz="1599" b="0" kern="0" dirty="0" err="1">
                  <a:solidFill>
                    <a:srgbClr val="FFFFFF"/>
                  </a:solidFill>
                  <a:latin typeface="Segoe UI Semilight"/>
                  <a:cs typeface="Segoe UI Semibold" panose="020B0702040204020203" pitchFamily="34" charset="0"/>
                </a:endParaRPr>
              </a:p>
            </p:txBody>
          </p:sp>
          <p:cxnSp>
            <p:nvCxnSpPr>
              <p:cNvPr id="20" name="Straight Connector 19">
                <a:extLst>
                  <a:ext uri="{FF2B5EF4-FFF2-40B4-BE49-F238E27FC236}">
                    <a16:creationId xmlns:a16="http://schemas.microsoft.com/office/drawing/2014/main" id="{790D8FBC-2BEC-48BE-A1BB-E6DC8A070C3A}"/>
                  </a:ext>
                </a:extLst>
              </p:cNvPr>
              <p:cNvCxnSpPr>
                <a:cxnSpLocks/>
              </p:cNvCxnSpPr>
              <p:nvPr/>
            </p:nvCxnSpPr>
            <p:spPr>
              <a:xfrm>
                <a:off x="742527" y="6093519"/>
                <a:ext cx="259490" cy="0"/>
              </a:xfrm>
              <a:prstGeom prst="line">
                <a:avLst/>
              </a:prstGeom>
              <a:ln>
                <a:solidFill>
                  <a:schemeClr val="bg1"/>
                </a:solidFill>
                <a:headEnd type="none"/>
                <a:tailEnd type="oval"/>
              </a:ln>
            </p:spPr>
            <p:style>
              <a:lnRef idx="1">
                <a:schemeClr val="accent1"/>
              </a:lnRef>
              <a:fillRef idx="0">
                <a:schemeClr val="accent1"/>
              </a:fillRef>
              <a:effectRef idx="0">
                <a:schemeClr val="accent1"/>
              </a:effectRef>
              <a:fontRef idx="minor">
                <a:schemeClr val="tx1"/>
              </a:fontRef>
            </p:style>
          </p:cxnSp>
        </p:grpSp>
      </p:grpSp>
      <p:grpSp>
        <p:nvGrpSpPr>
          <p:cNvPr id="5" name="Group 4">
            <a:extLst>
              <a:ext uri="{FF2B5EF4-FFF2-40B4-BE49-F238E27FC236}">
                <a16:creationId xmlns:a16="http://schemas.microsoft.com/office/drawing/2014/main" id="{2FFFC7B6-A587-4D5E-B498-AF8B43B1A620}"/>
              </a:ext>
            </a:extLst>
          </p:cNvPr>
          <p:cNvGrpSpPr/>
          <p:nvPr/>
        </p:nvGrpSpPr>
        <p:grpSpPr>
          <a:xfrm>
            <a:off x="344292" y="5173597"/>
            <a:ext cx="3387310" cy="545021"/>
            <a:chOff x="468261" y="5992253"/>
            <a:chExt cx="4606976" cy="741266"/>
          </a:xfrm>
        </p:grpSpPr>
        <p:sp>
          <p:nvSpPr>
            <p:cNvPr id="22" name="Rectangle 21">
              <a:extLst>
                <a:ext uri="{FF2B5EF4-FFF2-40B4-BE49-F238E27FC236}">
                  <a16:creationId xmlns:a16="http://schemas.microsoft.com/office/drawing/2014/main" id="{6163758E-ECBB-4F8D-BBDA-DD8C57A53B33}"/>
                </a:ext>
              </a:extLst>
            </p:cNvPr>
            <p:cNvSpPr/>
            <p:nvPr/>
          </p:nvSpPr>
          <p:spPr>
            <a:xfrm>
              <a:off x="1201270" y="5992253"/>
              <a:ext cx="3873967" cy="741266"/>
            </a:xfrm>
            <a:prstGeom prst="rect">
              <a:avLst/>
            </a:prstGeom>
          </p:spPr>
          <p:txBody>
            <a:bodyPr wrap="square">
              <a:spAutoFit/>
            </a:bodyPr>
            <a:lstStyle/>
            <a:p>
              <a:pPr defTabSz="699314" fontAlgn="auto">
                <a:spcBef>
                  <a:spcPts val="0"/>
                </a:spcBef>
                <a:spcAft>
                  <a:spcPts val="900"/>
                </a:spcAft>
                <a:buClr>
                  <a:srgbClr val="FFFFFF"/>
                </a:buClr>
                <a:buSzPct val="100000"/>
                <a:defRPr/>
              </a:pPr>
              <a:r>
                <a:rPr lang="en-US" sz="1471" b="0" kern="0" dirty="0">
                  <a:solidFill>
                    <a:srgbClr val="FFFFFF"/>
                  </a:solidFill>
                  <a:latin typeface="Segoe UI Semilight"/>
                  <a:cs typeface="Segoe UI Semilight" panose="020B0402040204020203" pitchFamily="34" charset="0"/>
                </a:rPr>
                <a:t>Fast development cycles and loosely coupled micro-services</a:t>
              </a:r>
            </a:p>
          </p:txBody>
        </p:sp>
        <p:grpSp>
          <p:nvGrpSpPr>
            <p:cNvPr id="23" name="Group 22">
              <a:extLst>
                <a:ext uri="{FF2B5EF4-FFF2-40B4-BE49-F238E27FC236}">
                  <a16:creationId xmlns:a16="http://schemas.microsoft.com/office/drawing/2014/main" id="{69CE32BB-1E01-4470-96A8-F3D9F1875023}"/>
                </a:ext>
              </a:extLst>
            </p:cNvPr>
            <p:cNvGrpSpPr/>
            <p:nvPr/>
          </p:nvGrpSpPr>
          <p:grpSpPr>
            <a:xfrm>
              <a:off x="468261" y="6208771"/>
              <a:ext cx="534340" cy="274850"/>
              <a:chOff x="467677" y="5956094"/>
              <a:chExt cx="534340" cy="274850"/>
            </a:xfrm>
          </p:grpSpPr>
          <p:sp>
            <p:nvSpPr>
              <p:cNvPr id="24" name="Oval 23">
                <a:extLst>
                  <a:ext uri="{FF2B5EF4-FFF2-40B4-BE49-F238E27FC236}">
                    <a16:creationId xmlns:a16="http://schemas.microsoft.com/office/drawing/2014/main" id="{DC88B575-C64C-4272-9DC0-059DDE32039A}"/>
                  </a:ext>
                </a:extLst>
              </p:cNvPr>
              <p:cNvSpPr/>
              <p:nvPr/>
            </p:nvSpPr>
            <p:spPr bwMode="auto">
              <a:xfrm>
                <a:off x="467677" y="5956094"/>
                <a:ext cx="274850" cy="274850"/>
              </a:xfrm>
              <a:prstGeom prst="ellipse">
                <a:avLst/>
              </a:prstGeom>
              <a:solidFill>
                <a:schemeClr val="accent1"/>
              </a:solidFill>
              <a:ln w="28575">
                <a:solidFill>
                  <a:schemeClr val="bg1"/>
                </a:solidFill>
                <a:miter lim="800000"/>
                <a:headEnd/>
                <a:tailEnd/>
              </a:ln>
              <a:effectLst/>
            </p:spPr>
            <p:txBody>
              <a:bodyPr vert="horz" wrap="square" lIns="71990" tIns="71990" rIns="71990" bIns="71990" numCol="1" rtlCol="0" anchor="t" anchorCtr="0" compatLnSpc="1">
                <a:prstTxWarp prst="textNoShape">
                  <a:avLst/>
                </a:prstTxWarp>
                <a:noAutofit/>
              </a:bodyPr>
              <a:lstStyle/>
              <a:p>
                <a:pPr defTabSz="914201">
                  <a:spcBef>
                    <a:spcPts val="0"/>
                  </a:spcBef>
                  <a:spcAft>
                    <a:spcPts val="300"/>
                  </a:spcAft>
                  <a:defRPr/>
                </a:pPr>
                <a:endParaRPr lang="en-US" sz="1599" b="0" kern="0" dirty="0" err="1">
                  <a:solidFill>
                    <a:srgbClr val="FFFFFF"/>
                  </a:solidFill>
                  <a:latin typeface="Segoe UI Semilight"/>
                  <a:cs typeface="Segoe UI Semibold" panose="020B0702040204020203" pitchFamily="34" charset="0"/>
                </a:endParaRPr>
              </a:p>
            </p:txBody>
          </p:sp>
          <p:cxnSp>
            <p:nvCxnSpPr>
              <p:cNvPr id="25" name="Straight Connector 24">
                <a:extLst>
                  <a:ext uri="{FF2B5EF4-FFF2-40B4-BE49-F238E27FC236}">
                    <a16:creationId xmlns:a16="http://schemas.microsoft.com/office/drawing/2014/main" id="{4B6A1274-01DA-4527-AC49-7DC0E4D8788E}"/>
                  </a:ext>
                </a:extLst>
              </p:cNvPr>
              <p:cNvCxnSpPr>
                <a:cxnSpLocks/>
              </p:cNvCxnSpPr>
              <p:nvPr/>
            </p:nvCxnSpPr>
            <p:spPr>
              <a:xfrm>
                <a:off x="742527" y="6093519"/>
                <a:ext cx="259490" cy="0"/>
              </a:xfrm>
              <a:prstGeom prst="line">
                <a:avLst/>
              </a:prstGeom>
              <a:ln>
                <a:solidFill>
                  <a:schemeClr val="bg1"/>
                </a:solidFill>
                <a:headEnd type="none"/>
                <a:tailEnd type="oval"/>
              </a:ln>
            </p:spPr>
            <p:style>
              <a:lnRef idx="1">
                <a:schemeClr val="accent1"/>
              </a:lnRef>
              <a:fillRef idx="0">
                <a:schemeClr val="accent1"/>
              </a:fillRef>
              <a:effectRef idx="0">
                <a:schemeClr val="accent1"/>
              </a:effectRef>
              <a:fontRef idx="minor">
                <a:schemeClr val="tx1"/>
              </a:fontRef>
            </p:style>
          </p:cxnSp>
        </p:grpSp>
      </p:grpSp>
      <p:sp>
        <p:nvSpPr>
          <p:cNvPr id="38" name="Rectangle 11">
            <a:extLst>
              <a:ext uri="{FF2B5EF4-FFF2-40B4-BE49-F238E27FC236}">
                <a16:creationId xmlns:a16="http://schemas.microsoft.com/office/drawing/2014/main" id="{6FDEE56B-3EC2-4CB8-9DEB-F7DF12D90383}"/>
              </a:ext>
            </a:extLst>
          </p:cNvPr>
          <p:cNvSpPr/>
          <p:nvPr/>
        </p:nvSpPr>
        <p:spPr bwMode="auto">
          <a:xfrm rot="5400000">
            <a:off x="6152639" y="3373457"/>
            <a:ext cx="672319" cy="0"/>
          </a:xfrm>
          <a:custGeom>
            <a:avLst/>
            <a:gdLst>
              <a:gd name="connsiteX0" fmla="*/ 0 w 1183946"/>
              <a:gd name="connsiteY0" fmla="*/ 0 h 312008"/>
              <a:gd name="connsiteX1" fmla="*/ 1183946 w 1183946"/>
              <a:gd name="connsiteY1" fmla="*/ 0 h 312008"/>
              <a:gd name="connsiteX2" fmla="*/ 1183946 w 1183946"/>
              <a:gd name="connsiteY2" fmla="*/ 312008 h 312008"/>
              <a:gd name="connsiteX3" fmla="*/ 0 w 1183946"/>
              <a:gd name="connsiteY3" fmla="*/ 312008 h 312008"/>
              <a:gd name="connsiteX4" fmla="*/ 0 w 1183946"/>
              <a:gd name="connsiteY4" fmla="*/ 0 h 312008"/>
              <a:gd name="connsiteX0" fmla="*/ 1183946 w 1275386"/>
              <a:gd name="connsiteY0" fmla="*/ 312008 h 403448"/>
              <a:gd name="connsiteX1" fmla="*/ 0 w 1275386"/>
              <a:gd name="connsiteY1" fmla="*/ 312008 h 403448"/>
              <a:gd name="connsiteX2" fmla="*/ 0 w 1275386"/>
              <a:gd name="connsiteY2" fmla="*/ 0 h 403448"/>
              <a:gd name="connsiteX3" fmla="*/ 1183946 w 1275386"/>
              <a:gd name="connsiteY3" fmla="*/ 0 h 403448"/>
              <a:gd name="connsiteX4" fmla="*/ 1275386 w 1275386"/>
              <a:gd name="connsiteY4" fmla="*/ 403448 h 403448"/>
              <a:gd name="connsiteX0" fmla="*/ 1183946 w 1183946"/>
              <a:gd name="connsiteY0" fmla="*/ 312008 h 312008"/>
              <a:gd name="connsiteX1" fmla="*/ 0 w 1183946"/>
              <a:gd name="connsiteY1" fmla="*/ 312008 h 312008"/>
              <a:gd name="connsiteX2" fmla="*/ 0 w 1183946"/>
              <a:gd name="connsiteY2" fmla="*/ 0 h 312008"/>
              <a:gd name="connsiteX3" fmla="*/ 1183946 w 1183946"/>
              <a:gd name="connsiteY3" fmla="*/ 0 h 312008"/>
              <a:gd name="connsiteX0" fmla="*/ 0 w 1183946"/>
              <a:gd name="connsiteY0" fmla="*/ 312008 h 312008"/>
              <a:gd name="connsiteX1" fmla="*/ 0 w 1183946"/>
              <a:gd name="connsiteY1" fmla="*/ 0 h 312008"/>
              <a:gd name="connsiteX2" fmla="*/ 1183946 w 1183946"/>
              <a:gd name="connsiteY2" fmla="*/ 0 h 312008"/>
              <a:gd name="connsiteX0" fmla="*/ 0 w 1183946"/>
              <a:gd name="connsiteY0" fmla="*/ 0 h 0"/>
              <a:gd name="connsiteX1" fmla="*/ 1183946 w 1183946"/>
              <a:gd name="connsiteY1" fmla="*/ 0 h 0"/>
            </a:gdLst>
            <a:ahLst/>
            <a:cxnLst>
              <a:cxn ang="0">
                <a:pos x="connsiteX0" y="connsiteY0"/>
              </a:cxn>
              <a:cxn ang="0">
                <a:pos x="connsiteX1" y="connsiteY1"/>
              </a:cxn>
            </a:cxnLst>
            <a:rect l="l" t="t" r="r" b="b"/>
            <a:pathLst>
              <a:path w="1183946">
                <a:moveTo>
                  <a:pt x="0" y="0"/>
                </a:moveTo>
                <a:lnTo>
                  <a:pt x="1183946" y="0"/>
                </a:lnTo>
              </a:path>
            </a:pathLst>
          </a:custGeom>
          <a:noFill/>
          <a:ln w="6350">
            <a:solidFill>
              <a:schemeClr val="bg1">
                <a:lumMod val="95000"/>
              </a:schemeClr>
            </a:solidFill>
            <a:headEnd type="none" w="med" len="med"/>
            <a:tailEnd type="arrow"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a:lnSpc>
                <a:spcPct val="90000"/>
              </a:lnSpc>
              <a:defRPr/>
            </a:pPr>
            <a:endParaRPr lang="en-IN" sz="1765" b="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0" name="Rectangle 31">
            <a:extLst>
              <a:ext uri="{FF2B5EF4-FFF2-40B4-BE49-F238E27FC236}">
                <a16:creationId xmlns:a16="http://schemas.microsoft.com/office/drawing/2014/main" id="{1E64BB9F-92B4-442C-A740-8AD641152ABA}"/>
              </a:ext>
            </a:extLst>
          </p:cNvPr>
          <p:cNvSpPr/>
          <p:nvPr/>
        </p:nvSpPr>
        <p:spPr bwMode="auto">
          <a:xfrm rot="5400000" flipH="1">
            <a:off x="4808656" y="3045365"/>
            <a:ext cx="1721330" cy="394732"/>
          </a:xfrm>
          <a:custGeom>
            <a:avLst/>
            <a:gdLst>
              <a:gd name="connsiteX0" fmla="*/ 0 w 4419600"/>
              <a:gd name="connsiteY0" fmla="*/ 0 h 3030384"/>
              <a:gd name="connsiteX1" fmla="*/ 4419600 w 4419600"/>
              <a:gd name="connsiteY1" fmla="*/ 0 h 3030384"/>
              <a:gd name="connsiteX2" fmla="*/ 4419600 w 4419600"/>
              <a:gd name="connsiteY2" fmla="*/ 3030384 h 3030384"/>
              <a:gd name="connsiteX3" fmla="*/ 0 w 4419600"/>
              <a:gd name="connsiteY3" fmla="*/ 3030384 h 3030384"/>
              <a:gd name="connsiteX4" fmla="*/ 0 w 4419600"/>
              <a:gd name="connsiteY4" fmla="*/ 0 h 3030384"/>
              <a:gd name="connsiteX0" fmla="*/ 4419600 w 4511040"/>
              <a:gd name="connsiteY0" fmla="*/ 0 h 3030384"/>
              <a:gd name="connsiteX1" fmla="*/ 4419600 w 4511040"/>
              <a:gd name="connsiteY1" fmla="*/ 3030384 h 3030384"/>
              <a:gd name="connsiteX2" fmla="*/ 0 w 4511040"/>
              <a:gd name="connsiteY2" fmla="*/ 3030384 h 3030384"/>
              <a:gd name="connsiteX3" fmla="*/ 0 w 4511040"/>
              <a:gd name="connsiteY3" fmla="*/ 0 h 3030384"/>
              <a:gd name="connsiteX4" fmla="*/ 4511040 w 4511040"/>
              <a:gd name="connsiteY4" fmla="*/ 91440 h 3030384"/>
              <a:gd name="connsiteX0" fmla="*/ 4419600 w 4419600"/>
              <a:gd name="connsiteY0" fmla="*/ 0 h 3030384"/>
              <a:gd name="connsiteX1" fmla="*/ 4419600 w 4419600"/>
              <a:gd name="connsiteY1" fmla="*/ 3030384 h 3030384"/>
              <a:gd name="connsiteX2" fmla="*/ 0 w 4419600"/>
              <a:gd name="connsiteY2" fmla="*/ 3030384 h 3030384"/>
              <a:gd name="connsiteX3" fmla="*/ 0 w 4419600"/>
              <a:gd name="connsiteY3" fmla="*/ 0 h 3030384"/>
              <a:gd name="connsiteX0" fmla="*/ 4419600 w 4419600"/>
              <a:gd name="connsiteY0" fmla="*/ 3030384 h 3030384"/>
              <a:gd name="connsiteX1" fmla="*/ 0 w 4419600"/>
              <a:gd name="connsiteY1" fmla="*/ 3030384 h 3030384"/>
              <a:gd name="connsiteX2" fmla="*/ 0 w 4419600"/>
              <a:gd name="connsiteY2" fmla="*/ 0 h 3030384"/>
            </a:gdLst>
            <a:ahLst/>
            <a:cxnLst>
              <a:cxn ang="0">
                <a:pos x="connsiteX0" y="connsiteY0"/>
              </a:cxn>
              <a:cxn ang="0">
                <a:pos x="connsiteX1" y="connsiteY1"/>
              </a:cxn>
              <a:cxn ang="0">
                <a:pos x="connsiteX2" y="connsiteY2"/>
              </a:cxn>
            </a:cxnLst>
            <a:rect l="l" t="t" r="r" b="b"/>
            <a:pathLst>
              <a:path w="4419600" h="3030384">
                <a:moveTo>
                  <a:pt x="4419600" y="3030384"/>
                </a:moveTo>
                <a:lnTo>
                  <a:pt x="0" y="3030384"/>
                </a:lnTo>
                <a:lnTo>
                  <a:pt x="0" y="0"/>
                </a:lnTo>
              </a:path>
            </a:pathLst>
          </a:custGeom>
          <a:noFill/>
          <a:ln w="6350">
            <a:solidFill>
              <a:schemeClr val="bg1">
                <a:lumMod val="95000"/>
              </a:schemeClr>
            </a:solidFill>
            <a:headEnd type="none" w="med" len="med"/>
            <a:tailEnd type="arrow"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a:lnSpc>
                <a:spcPct val="90000"/>
              </a:lnSpc>
              <a:defRPr/>
            </a:pPr>
            <a:endParaRPr lang="en-IN" sz="1765" b="0" dirty="0" err="1">
              <a:gradFill>
                <a:gsLst>
                  <a:gs pos="0">
                    <a:srgbClr val="FFFFFF"/>
                  </a:gs>
                  <a:gs pos="100000">
                    <a:srgbClr val="FFFFFF"/>
                  </a:gs>
                </a:gsLst>
                <a:lin ang="5400000" scaled="0"/>
              </a:gradFill>
              <a:latin typeface="Segoe UI Semilight"/>
              <a:cs typeface="Segoe UI" pitchFamily="34" charset="0"/>
            </a:endParaRPr>
          </a:p>
        </p:txBody>
      </p:sp>
      <p:sp>
        <p:nvSpPr>
          <p:cNvPr id="2" name="Title 1">
            <a:extLst>
              <a:ext uri="{FF2B5EF4-FFF2-40B4-BE49-F238E27FC236}">
                <a16:creationId xmlns:a16="http://schemas.microsoft.com/office/drawing/2014/main" id="{9678AFA3-31DD-43D8-8CFE-C6A5BCC0D9C8}"/>
              </a:ext>
            </a:extLst>
          </p:cNvPr>
          <p:cNvSpPr>
            <a:spLocks noGrp="1"/>
          </p:cNvSpPr>
          <p:nvPr>
            <p:ph type="title"/>
          </p:nvPr>
        </p:nvSpPr>
        <p:spPr/>
        <p:txBody>
          <a:bodyPr/>
          <a:lstStyle/>
          <a:p>
            <a:r>
              <a:rPr lang="en-US"/>
              <a:t>Retail and Marketing Solution Architecture</a:t>
            </a:r>
            <a:endParaRPr lang="en-US" dirty="0"/>
          </a:p>
        </p:txBody>
      </p:sp>
      <p:sp>
        <p:nvSpPr>
          <p:cNvPr id="33" name="Rectangle 11">
            <a:extLst>
              <a:ext uri="{FF2B5EF4-FFF2-40B4-BE49-F238E27FC236}">
                <a16:creationId xmlns:a16="http://schemas.microsoft.com/office/drawing/2014/main" id="{D649AB49-73BF-4188-BBBC-83F1F6B86E59}"/>
              </a:ext>
            </a:extLst>
          </p:cNvPr>
          <p:cNvSpPr/>
          <p:nvPr/>
        </p:nvSpPr>
        <p:spPr bwMode="auto">
          <a:xfrm>
            <a:off x="3176554" y="2382065"/>
            <a:ext cx="870504" cy="0"/>
          </a:xfrm>
          <a:custGeom>
            <a:avLst/>
            <a:gdLst>
              <a:gd name="connsiteX0" fmla="*/ 0 w 1183946"/>
              <a:gd name="connsiteY0" fmla="*/ 0 h 312008"/>
              <a:gd name="connsiteX1" fmla="*/ 1183946 w 1183946"/>
              <a:gd name="connsiteY1" fmla="*/ 0 h 312008"/>
              <a:gd name="connsiteX2" fmla="*/ 1183946 w 1183946"/>
              <a:gd name="connsiteY2" fmla="*/ 312008 h 312008"/>
              <a:gd name="connsiteX3" fmla="*/ 0 w 1183946"/>
              <a:gd name="connsiteY3" fmla="*/ 312008 h 312008"/>
              <a:gd name="connsiteX4" fmla="*/ 0 w 1183946"/>
              <a:gd name="connsiteY4" fmla="*/ 0 h 312008"/>
              <a:gd name="connsiteX0" fmla="*/ 1183946 w 1275386"/>
              <a:gd name="connsiteY0" fmla="*/ 312008 h 403448"/>
              <a:gd name="connsiteX1" fmla="*/ 0 w 1275386"/>
              <a:gd name="connsiteY1" fmla="*/ 312008 h 403448"/>
              <a:gd name="connsiteX2" fmla="*/ 0 w 1275386"/>
              <a:gd name="connsiteY2" fmla="*/ 0 h 403448"/>
              <a:gd name="connsiteX3" fmla="*/ 1183946 w 1275386"/>
              <a:gd name="connsiteY3" fmla="*/ 0 h 403448"/>
              <a:gd name="connsiteX4" fmla="*/ 1275386 w 1275386"/>
              <a:gd name="connsiteY4" fmla="*/ 403448 h 403448"/>
              <a:gd name="connsiteX0" fmla="*/ 1183946 w 1183946"/>
              <a:gd name="connsiteY0" fmla="*/ 312008 h 312008"/>
              <a:gd name="connsiteX1" fmla="*/ 0 w 1183946"/>
              <a:gd name="connsiteY1" fmla="*/ 312008 h 312008"/>
              <a:gd name="connsiteX2" fmla="*/ 0 w 1183946"/>
              <a:gd name="connsiteY2" fmla="*/ 0 h 312008"/>
              <a:gd name="connsiteX3" fmla="*/ 1183946 w 1183946"/>
              <a:gd name="connsiteY3" fmla="*/ 0 h 312008"/>
              <a:gd name="connsiteX0" fmla="*/ 0 w 1183946"/>
              <a:gd name="connsiteY0" fmla="*/ 312008 h 312008"/>
              <a:gd name="connsiteX1" fmla="*/ 0 w 1183946"/>
              <a:gd name="connsiteY1" fmla="*/ 0 h 312008"/>
              <a:gd name="connsiteX2" fmla="*/ 1183946 w 1183946"/>
              <a:gd name="connsiteY2" fmla="*/ 0 h 312008"/>
              <a:gd name="connsiteX0" fmla="*/ 0 w 1183946"/>
              <a:gd name="connsiteY0" fmla="*/ 0 h 0"/>
              <a:gd name="connsiteX1" fmla="*/ 1183946 w 1183946"/>
              <a:gd name="connsiteY1" fmla="*/ 0 h 0"/>
            </a:gdLst>
            <a:ahLst/>
            <a:cxnLst>
              <a:cxn ang="0">
                <a:pos x="connsiteX0" y="connsiteY0"/>
              </a:cxn>
              <a:cxn ang="0">
                <a:pos x="connsiteX1" y="connsiteY1"/>
              </a:cxn>
            </a:cxnLst>
            <a:rect l="l" t="t" r="r" b="b"/>
            <a:pathLst>
              <a:path w="1183946">
                <a:moveTo>
                  <a:pt x="0" y="0"/>
                </a:moveTo>
                <a:lnTo>
                  <a:pt x="1183946" y="0"/>
                </a:lnTo>
              </a:path>
            </a:pathLst>
          </a:custGeom>
          <a:noFill/>
          <a:ln w="6350">
            <a:solidFill>
              <a:schemeClr val="bg1">
                <a:lumMod val="95000"/>
              </a:schemeClr>
            </a:solidFill>
            <a:headEnd type="none" w="med" len="med"/>
            <a:tailEnd type="arrow"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a:lnSpc>
                <a:spcPct val="90000"/>
              </a:lnSpc>
              <a:defRPr/>
            </a:pPr>
            <a:endParaRPr lang="en-IN" sz="1765" b="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34" name="Rectangle 11">
            <a:extLst>
              <a:ext uri="{FF2B5EF4-FFF2-40B4-BE49-F238E27FC236}">
                <a16:creationId xmlns:a16="http://schemas.microsoft.com/office/drawing/2014/main" id="{F231072B-9DFD-4D6A-8900-C01788ECC3FA}"/>
              </a:ext>
            </a:extLst>
          </p:cNvPr>
          <p:cNvSpPr/>
          <p:nvPr/>
        </p:nvSpPr>
        <p:spPr bwMode="auto">
          <a:xfrm>
            <a:off x="5024081" y="2382065"/>
            <a:ext cx="870504" cy="0"/>
          </a:xfrm>
          <a:custGeom>
            <a:avLst/>
            <a:gdLst>
              <a:gd name="connsiteX0" fmla="*/ 0 w 1183946"/>
              <a:gd name="connsiteY0" fmla="*/ 0 h 312008"/>
              <a:gd name="connsiteX1" fmla="*/ 1183946 w 1183946"/>
              <a:gd name="connsiteY1" fmla="*/ 0 h 312008"/>
              <a:gd name="connsiteX2" fmla="*/ 1183946 w 1183946"/>
              <a:gd name="connsiteY2" fmla="*/ 312008 h 312008"/>
              <a:gd name="connsiteX3" fmla="*/ 0 w 1183946"/>
              <a:gd name="connsiteY3" fmla="*/ 312008 h 312008"/>
              <a:gd name="connsiteX4" fmla="*/ 0 w 1183946"/>
              <a:gd name="connsiteY4" fmla="*/ 0 h 312008"/>
              <a:gd name="connsiteX0" fmla="*/ 1183946 w 1275386"/>
              <a:gd name="connsiteY0" fmla="*/ 312008 h 403448"/>
              <a:gd name="connsiteX1" fmla="*/ 0 w 1275386"/>
              <a:gd name="connsiteY1" fmla="*/ 312008 h 403448"/>
              <a:gd name="connsiteX2" fmla="*/ 0 w 1275386"/>
              <a:gd name="connsiteY2" fmla="*/ 0 h 403448"/>
              <a:gd name="connsiteX3" fmla="*/ 1183946 w 1275386"/>
              <a:gd name="connsiteY3" fmla="*/ 0 h 403448"/>
              <a:gd name="connsiteX4" fmla="*/ 1275386 w 1275386"/>
              <a:gd name="connsiteY4" fmla="*/ 403448 h 403448"/>
              <a:gd name="connsiteX0" fmla="*/ 1183946 w 1183946"/>
              <a:gd name="connsiteY0" fmla="*/ 312008 h 312008"/>
              <a:gd name="connsiteX1" fmla="*/ 0 w 1183946"/>
              <a:gd name="connsiteY1" fmla="*/ 312008 h 312008"/>
              <a:gd name="connsiteX2" fmla="*/ 0 w 1183946"/>
              <a:gd name="connsiteY2" fmla="*/ 0 h 312008"/>
              <a:gd name="connsiteX3" fmla="*/ 1183946 w 1183946"/>
              <a:gd name="connsiteY3" fmla="*/ 0 h 312008"/>
              <a:gd name="connsiteX0" fmla="*/ 0 w 1183946"/>
              <a:gd name="connsiteY0" fmla="*/ 312008 h 312008"/>
              <a:gd name="connsiteX1" fmla="*/ 0 w 1183946"/>
              <a:gd name="connsiteY1" fmla="*/ 0 h 312008"/>
              <a:gd name="connsiteX2" fmla="*/ 1183946 w 1183946"/>
              <a:gd name="connsiteY2" fmla="*/ 0 h 312008"/>
              <a:gd name="connsiteX0" fmla="*/ 0 w 1183946"/>
              <a:gd name="connsiteY0" fmla="*/ 0 h 0"/>
              <a:gd name="connsiteX1" fmla="*/ 1183946 w 1183946"/>
              <a:gd name="connsiteY1" fmla="*/ 0 h 0"/>
            </a:gdLst>
            <a:ahLst/>
            <a:cxnLst>
              <a:cxn ang="0">
                <a:pos x="connsiteX0" y="connsiteY0"/>
              </a:cxn>
              <a:cxn ang="0">
                <a:pos x="connsiteX1" y="connsiteY1"/>
              </a:cxn>
            </a:cxnLst>
            <a:rect l="l" t="t" r="r" b="b"/>
            <a:pathLst>
              <a:path w="1183946">
                <a:moveTo>
                  <a:pt x="0" y="0"/>
                </a:moveTo>
                <a:lnTo>
                  <a:pt x="1183946" y="0"/>
                </a:lnTo>
              </a:path>
            </a:pathLst>
          </a:custGeom>
          <a:noFill/>
          <a:ln w="6350">
            <a:solidFill>
              <a:schemeClr val="bg1">
                <a:lumMod val="95000"/>
              </a:schemeClr>
            </a:solidFill>
            <a:headEnd type="none" w="med" len="med"/>
            <a:tailEnd type="arrow"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a:lnSpc>
                <a:spcPct val="90000"/>
              </a:lnSpc>
              <a:defRPr/>
            </a:pPr>
            <a:endParaRPr lang="en-IN" sz="1765" b="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35" name="Rectangle 11">
            <a:extLst>
              <a:ext uri="{FF2B5EF4-FFF2-40B4-BE49-F238E27FC236}">
                <a16:creationId xmlns:a16="http://schemas.microsoft.com/office/drawing/2014/main" id="{02A10BE7-D5A9-44BB-A365-89EFC15AA4EA}"/>
              </a:ext>
            </a:extLst>
          </p:cNvPr>
          <p:cNvSpPr/>
          <p:nvPr/>
        </p:nvSpPr>
        <p:spPr bwMode="auto">
          <a:xfrm>
            <a:off x="6885407" y="2382065"/>
            <a:ext cx="870504" cy="0"/>
          </a:xfrm>
          <a:custGeom>
            <a:avLst/>
            <a:gdLst>
              <a:gd name="connsiteX0" fmla="*/ 0 w 1183946"/>
              <a:gd name="connsiteY0" fmla="*/ 0 h 312008"/>
              <a:gd name="connsiteX1" fmla="*/ 1183946 w 1183946"/>
              <a:gd name="connsiteY1" fmla="*/ 0 h 312008"/>
              <a:gd name="connsiteX2" fmla="*/ 1183946 w 1183946"/>
              <a:gd name="connsiteY2" fmla="*/ 312008 h 312008"/>
              <a:gd name="connsiteX3" fmla="*/ 0 w 1183946"/>
              <a:gd name="connsiteY3" fmla="*/ 312008 h 312008"/>
              <a:gd name="connsiteX4" fmla="*/ 0 w 1183946"/>
              <a:gd name="connsiteY4" fmla="*/ 0 h 312008"/>
              <a:gd name="connsiteX0" fmla="*/ 1183946 w 1275386"/>
              <a:gd name="connsiteY0" fmla="*/ 312008 h 403448"/>
              <a:gd name="connsiteX1" fmla="*/ 0 w 1275386"/>
              <a:gd name="connsiteY1" fmla="*/ 312008 h 403448"/>
              <a:gd name="connsiteX2" fmla="*/ 0 w 1275386"/>
              <a:gd name="connsiteY2" fmla="*/ 0 h 403448"/>
              <a:gd name="connsiteX3" fmla="*/ 1183946 w 1275386"/>
              <a:gd name="connsiteY3" fmla="*/ 0 h 403448"/>
              <a:gd name="connsiteX4" fmla="*/ 1275386 w 1275386"/>
              <a:gd name="connsiteY4" fmla="*/ 403448 h 403448"/>
              <a:gd name="connsiteX0" fmla="*/ 1183946 w 1183946"/>
              <a:gd name="connsiteY0" fmla="*/ 312008 h 312008"/>
              <a:gd name="connsiteX1" fmla="*/ 0 w 1183946"/>
              <a:gd name="connsiteY1" fmla="*/ 312008 h 312008"/>
              <a:gd name="connsiteX2" fmla="*/ 0 w 1183946"/>
              <a:gd name="connsiteY2" fmla="*/ 0 h 312008"/>
              <a:gd name="connsiteX3" fmla="*/ 1183946 w 1183946"/>
              <a:gd name="connsiteY3" fmla="*/ 0 h 312008"/>
              <a:gd name="connsiteX0" fmla="*/ 0 w 1183946"/>
              <a:gd name="connsiteY0" fmla="*/ 312008 h 312008"/>
              <a:gd name="connsiteX1" fmla="*/ 0 w 1183946"/>
              <a:gd name="connsiteY1" fmla="*/ 0 h 312008"/>
              <a:gd name="connsiteX2" fmla="*/ 1183946 w 1183946"/>
              <a:gd name="connsiteY2" fmla="*/ 0 h 312008"/>
              <a:gd name="connsiteX0" fmla="*/ 0 w 1183946"/>
              <a:gd name="connsiteY0" fmla="*/ 0 h 0"/>
              <a:gd name="connsiteX1" fmla="*/ 1183946 w 1183946"/>
              <a:gd name="connsiteY1" fmla="*/ 0 h 0"/>
            </a:gdLst>
            <a:ahLst/>
            <a:cxnLst>
              <a:cxn ang="0">
                <a:pos x="connsiteX0" y="connsiteY0"/>
              </a:cxn>
              <a:cxn ang="0">
                <a:pos x="connsiteX1" y="connsiteY1"/>
              </a:cxn>
            </a:cxnLst>
            <a:rect l="l" t="t" r="r" b="b"/>
            <a:pathLst>
              <a:path w="1183946">
                <a:moveTo>
                  <a:pt x="0" y="0"/>
                </a:moveTo>
                <a:lnTo>
                  <a:pt x="1183946" y="0"/>
                </a:lnTo>
              </a:path>
            </a:pathLst>
          </a:custGeom>
          <a:noFill/>
          <a:ln w="6350">
            <a:solidFill>
              <a:schemeClr val="bg1">
                <a:lumMod val="95000"/>
              </a:schemeClr>
            </a:solidFill>
            <a:headEnd type="none" w="med" len="med"/>
            <a:tailEnd type="arrow"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a:lnSpc>
                <a:spcPct val="90000"/>
              </a:lnSpc>
              <a:defRPr/>
            </a:pPr>
            <a:endParaRPr lang="en-IN" sz="1765" b="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43" name="Picture 42">
            <a:extLst>
              <a:ext uri="{FF2B5EF4-FFF2-40B4-BE49-F238E27FC236}">
                <a16:creationId xmlns:a16="http://schemas.microsoft.com/office/drawing/2014/main" id="{47455501-1FF3-4869-8D8E-6FBDFE014884}"/>
              </a:ext>
            </a:extLst>
          </p:cNvPr>
          <p:cNvPicPr>
            <a:picLocks noChangeAspect="1"/>
          </p:cNvPicPr>
          <p:nvPr/>
        </p:nvPicPr>
        <p:blipFill>
          <a:blip r:embed="rId7"/>
          <a:stretch>
            <a:fillRect/>
          </a:stretch>
        </p:blipFill>
        <p:spPr>
          <a:xfrm>
            <a:off x="2499257" y="2128803"/>
            <a:ext cx="614104" cy="506525"/>
          </a:xfrm>
          <a:prstGeom prst="rect">
            <a:avLst/>
          </a:prstGeom>
        </p:spPr>
      </p:pic>
      <p:pic>
        <p:nvPicPr>
          <p:cNvPr id="45" name="Picture 44">
            <a:extLst>
              <a:ext uri="{FF2B5EF4-FFF2-40B4-BE49-F238E27FC236}">
                <a16:creationId xmlns:a16="http://schemas.microsoft.com/office/drawing/2014/main" id="{4F744BF0-1331-47D6-8B2D-AABC4B52C910}"/>
              </a:ext>
            </a:extLst>
          </p:cNvPr>
          <p:cNvPicPr>
            <a:picLocks noChangeAspect="1"/>
          </p:cNvPicPr>
          <p:nvPr/>
        </p:nvPicPr>
        <p:blipFill>
          <a:blip r:embed="rId8"/>
          <a:stretch>
            <a:fillRect/>
          </a:stretch>
        </p:blipFill>
        <p:spPr>
          <a:xfrm>
            <a:off x="4053702" y="2046671"/>
            <a:ext cx="850637" cy="670788"/>
          </a:xfrm>
          <a:prstGeom prst="rect">
            <a:avLst/>
          </a:prstGeom>
        </p:spPr>
      </p:pic>
      <p:pic>
        <p:nvPicPr>
          <p:cNvPr id="47" name="Picture 46">
            <a:extLst>
              <a:ext uri="{FF2B5EF4-FFF2-40B4-BE49-F238E27FC236}">
                <a16:creationId xmlns:a16="http://schemas.microsoft.com/office/drawing/2014/main" id="{4295CE01-B7CE-4E41-9FBF-2AF5DF8AB931}"/>
              </a:ext>
            </a:extLst>
          </p:cNvPr>
          <p:cNvPicPr>
            <a:picLocks noChangeAspect="1"/>
          </p:cNvPicPr>
          <p:nvPr/>
        </p:nvPicPr>
        <p:blipFill>
          <a:blip r:embed="rId9"/>
          <a:stretch>
            <a:fillRect/>
          </a:stretch>
        </p:blipFill>
        <p:spPr>
          <a:xfrm>
            <a:off x="7874162" y="1983217"/>
            <a:ext cx="842639" cy="797696"/>
          </a:xfrm>
          <a:prstGeom prst="rect">
            <a:avLst/>
          </a:prstGeom>
        </p:spPr>
      </p:pic>
      <p:sp>
        <p:nvSpPr>
          <p:cNvPr id="48" name="TextBox 47">
            <a:extLst>
              <a:ext uri="{FF2B5EF4-FFF2-40B4-BE49-F238E27FC236}">
                <a16:creationId xmlns:a16="http://schemas.microsoft.com/office/drawing/2014/main" id="{03B2FF8C-58D6-4D78-9A32-8E6749631A45}"/>
              </a:ext>
            </a:extLst>
          </p:cNvPr>
          <p:cNvSpPr txBox="1"/>
          <p:nvPr/>
        </p:nvSpPr>
        <p:spPr>
          <a:xfrm>
            <a:off x="2385876" y="2718553"/>
            <a:ext cx="818575" cy="142565"/>
          </a:xfrm>
          <a:prstGeom prst="rect">
            <a:avLst/>
          </a:prstGeom>
          <a:noFill/>
        </p:spPr>
        <p:txBody>
          <a:bodyPr wrap="none" lIns="0" tIns="0" rIns="0" bIns="0" rtlCol="0">
            <a:noAutofit/>
          </a:bodyPr>
          <a:lstStyle/>
          <a:p>
            <a:pPr algn="ctr" defTabSz="685775" fontAlgn="auto">
              <a:lnSpc>
                <a:spcPct val="90000"/>
              </a:lnSpc>
              <a:spcBef>
                <a:spcPts val="0"/>
              </a:spcBef>
              <a:spcAft>
                <a:spcPts val="441"/>
              </a:spcAft>
              <a:defRPr/>
            </a:pPr>
            <a:r>
              <a:rPr lang="en-US" sz="1029" b="0" dirty="0">
                <a:solidFill>
                  <a:srgbClr val="FFFFFF"/>
                </a:solidFill>
                <a:latin typeface="Segoe UI Semilight"/>
                <a:cs typeface="+mn-cs"/>
              </a:rPr>
              <a:t>Browser</a:t>
            </a:r>
          </a:p>
        </p:txBody>
      </p:sp>
      <p:pic>
        <p:nvPicPr>
          <p:cNvPr id="52" name="Picture 51">
            <a:extLst>
              <a:ext uri="{FF2B5EF4-FFF2-40B4-BE49-F238E27FC236}">
                <a16:creationId xmlns:a16="http://schemas.microsoft.com/office/drawing/2014/main" id="{740E7BDD-FA38-4020-888C-4984640F514F}"/>
              </a:ext>
            </a:extLst>
          </p:cNvPr>
          <p:cNvPicPr>
            <a:picLocks noChangeAspect="1"/>
          </p:cNvPicPr>
          <p:nvPr/>
        </p:nvPicPr>
        <p:blipFill>
          <a:blip r:embed="rId10"/>
          <a:stretch>
            <a:fillRect/>
          </a:stretch>
        </p:blipFill>
        <p:spPr>
          <a:xfrm>
            <a:off x="5957778" y="1893571"/>
            <a:ext cx="971284" cy="728462"/>
          </a:xfrm>
          <a:prstGeom prst="rect">
            <a:avLst/>
          </a:prstGeom>
        </p:spPr>
      </p:pic>
      <p:pic>
        <p:nvPicPr>
          <p:cNvPr id="53" name="Picture 52">
            <a:extLst>
              <a:ext uri="{FF2B5EF4-FFF2-40B4-BE49-F238E27FC236}">
                <a16:creationId xmlns:a16="http://schemas.microsoft.com/office/drawing/2014/main" id="{3FEA9BD7-CF8F-4082-9D08-6109B9C984F2}"/>
              </a:ext>
            </a:extLst>
          </p:cNvPr>
          <p:cNvPicPr>
            <a:picLocks noChangeAspect="1"/>
          </p:cNvPicPr>
          <p:nvPr/>
        </p:nvPicPr>
        <p:blipFill>
          <a:blip r:embed="rId10"/>
          <a:stretch>
            <a:fillRect/>
          </a:stretch>
        </p:blipFill>
        <p:spPr>
          <a:xfrm>
            <a:off x="5957778" y="3631914"/>
            <a:ext cx="971284" cy="728462"/>
          </a:xfrm>
          <a:prstGeom prst="rect">
            <a:avLst/>
          </a:prstGeom>
        </p:spPr>
      </p:pic>
      <p:pic>
        <p:nvPicPr>
          <p:cNvPr id="54" name="Picture 53">
            <a:extLst>
              <a:ext uri="{FF2B5EF4-FFF2-40B4-BE49-F238E27FC236}">
                <a16:creationId xmlns:a16="http://schemas.microsoft.com/office/drawing/2014/main" id="{75138DE7-49F0-4588-B75E-785BF6CE3041}"/>
              </a:ext>
            </a:extLst>
          </p:cNvPr>
          <p:cNvPicPr>
            <a:picLocks noChangeAspect="1"/>
          </p:cNvPicPr>
          <p:nvPr/>
        </p:nvPicPr>
        <p:blipFill>
          <a:blip r:embed="rId11"/>
          <a:stretch>
            <a:fillRect/>
          </a:stretch>
        </p:blipFill>
        <p:spPr>
          <a:xfrm>
            <a:off x="4157215" y="3817987"/>
            <a:ext cx="537902" cy="470663"/>
          </a:xfrm>
          <a:prstGeom prst="rect">
            <a:avLst/>
          </a:prstGeom>
        </p:spPr>
      </p:pic>
      <p:sp>
        <p:nvSpPr>
          <p:cNvPr id="55" name="TextBox 54">
            <a:extLst>
              <a:ext uri="{FF2B5EF4-FFF2-40B4-BE49-F238E27FC236}">
                <a16:creationId xmlns:a16="http://schemas.microsoft.com/office/drawing/2014/main" id="{F20EDFE9-D9ED-4338-A1B0-235B58CADB48}"/>
              </a:ext>
            </a:extLst>
          </p:cNvPr>
          <p:cNvSpPr txBox="1"/>
          <p:nvPr/>
        </p:nvSpPr>
        <p:spPr>
          <a:xfrm>
            <a:off x="4069732" y="4368976"/>
            <a:ext cx="818575" cy="142565"/>
          </a:xfrm>
          <a:prstGeom prst="rect">
            <a:avLst/>
          </a:prstGeom>
          <a:noFill/>
        </p:spPr>
        <p:txBody>
          <a:bodyPr wrap="none" lIns="0" tIns="0" rIns="0" bIns="0" rtlCol="0">
            <a:noAutofit/>
          </a:bodyPr>
          <a:lstStyle/>
          <a:p>
            <a:pPr algn="ctr" defTabSz="685775" fontAlgn="auto">
              <a:lnSpc>
                <a:spcPct val="90000"/>
              </a:lnSpc>
              <a:spcBef>
                <a:spcPts val="0"/>
              </a:spcBef>
              <a:spcAft>
                <a:spcPts val="441"/>
              </a:spcAft>
              <a:defRPr/>
            </a:pPr>
            <a:r>
              <a:rPr lang="en-US" sz="1029" b="0" dirty="0">
                <a:solidFill>
                  <a:srgbClr val="FFFFFF"/>
                </a:solidFill>
                <a:latin typeface="Segoe UI Semilight"/>
                <a:cs typeface="+mn-cs"/>
              </a:rPr>
              <a:t>Azure Storage</a:t>
            </a:r>
            <a:br>
              <a:rPr lang="en-US" sz="1029" b="0" dirty="0">
                <a:solidFill>
                  <a:srgbClr val="FFFFFF"/>
                </a:solidFill>
                <a:latin typeface="Segoe UI Semilight"/>
                <a:cs typeface="+mn-cs"/>
              </a:rPr>
            </a:br>
            <a:r>
              <a:rPr lang="en-US" sz="1029" b="0" dirty="0">
                <a:solidFill>
                  <a:srgbClr val="FFFFFF"/>
                </a:solidFill>
                <a:latin typeface="Segoe UI Semilight"/>
                <a:cs typeface="+mn-cs"/>
              </a:rPr>
              <a:t>(Logs, static catalog content)</a:t>
            </a:r>
          </a:p>
        </p:txBody>
      </p:sp>
      <p:sp>
        <p:nvSpPr>
          <p:cNvPr id="56" name="Rectangle 11">
            <a:extLst>
              <a:ext uri="{FF2B5EF4-FFF2-40B4-BE49-F238E27FC236}">
                <a16:creationId xmlns:a16="http://schemas.microsoft.com/office/drawing/2014/main" id="{3FA4CC22-51B0-431B-AF47-9A1D68D4B205}"/>
              </a:ext>
            </a:extLst>
          </p:cNvPr>
          <p:cNvSpPr/>
          <p:nvPr/>
        </p:nvSpPr>
        <p:spPr bwMode="auto">
          <a:xfrm rot="5400000">
            <a:off x="4093838" y="3373457"/>
            <a:ext cx="672319" cy="0"/>
          </a:xfrm>
          <a:custGeom>
            <a:avLst/>
            <a:gdLst>
              <a:gd name="connsiteX0" fmla="*/ 0 w 1183946"/>
              <a:gd name="connsiteY0" fmla="*/ 0 h 312008"/>
              <a:gd name="connsiteX1" fmla="*/ 1183946 w 1183946"/>
              <a:gd name="connsiteY1" fmla="*/ 0 h 312008"/>
              <a:gd name="connsiteX2" fmla="*/ 1183946 w 1183946"/>
              <a:gd name="connsiteY2" fmla="*/ 312008 h 312008"/>
              <a:gd name="connsiteX3" fmla="*/ 0 w 1183946"/>
              <a:gd name="connsiteY3" fmla="*/ 312008 h 312008"/>
              <a:gd name="connsiteX4" fmla="*/ 0 w 1183946"/>
              <a:gd name="connsiteY4" fmla="*/ 0 h 312008"/>
              <a:gd name="connsiteX0" fmla="*/ 1183946 w 1275386"/>
              <a:gd name="connsiteY0" fmla="*/ 312008 h 403448"/>
              <a:gd name="connsiteX1" fmla="*/ 0 w 1275386"/>
              <a:gd name="connsiteY1" fmla="*/ 312008 h 403448"/>
              <a:gd name="connsiteX2" fmla="*/ 0 w 1275386"/>
              <a:gd name="connsiteY2" fmla="*/ 0 h 403448"/>
              <a:gd name="connsiteX3" fmla="*/ 1183946 w 1275386"/>
              <a:gd name="connsiteY3" fmla="*/ 0 h 403448"/>
              <a:gd name="connsiteX4" fmla="*/ 1275386 w 1275386"/>
              <a:gd name="connsiteY4" fmla="*/ 403448 h 403448"/>
              <a:gd name="connsiteX0" fmla="*/ 1183946 w 1183946"/>
              <a:gd name="connsiteY0" fmla="*/ 312008 h 312008"/>
              <a:gd name="connsiteX1" fmla="*/ 0 w 1183946"/>
              <a:gd name="connsiteY1" fmla="*/ 312008 h 312008"/>
              <a:gd name="connsiteX2" fmla="*/ 0 w 1183946"/>
              <a:gd name="connsiteY2" fmla="*/ 0 h 312008"/>
              <a:gd name="connsiteX3" fmla="*/ 1183946 w 1183946"/>
              <a:gd name="connsiteY3" fmla="*/ 0 h 312008"/>
              <a:gd name="connsiteX0" fmla="*/ 0 w 1183946"/>
              <a:gd name="connsiteY0" fmla="*/ 312008 h 312008"/>
              <a:gd name="connsiteX1" fmla="*/ 0 w 1183946"/>
              <a:gd name="connsiteY1" fmla="*/ 0 h 312008"/>
              <a:gd name="connsiteX2" fmla="*/ 1183946 w 1183946"/>
              <a:gd name="connsiteY2" fmla="*/ 0 h 312008"/>
              <a:gd name="connsiteX0" fmla="*/ 0 w 1183946"/>
              <a:gd name="connsiteY0" fmla="*/ 0 h 0"/>
              <a:gd name="connsiteX1" fmla="*/ 1183946 w 1183946"/>
              <a:gd name="connsiteY1" fmla="*/ 0 h 0"/>
            </a:gdLst>
            <a:ahLst/>
            <a:cxnLst>
              <a:cxn ang="0">
                <a:pos x="connsiteX0" y="connsiteY0"/>
              </a:cxn>
              <a:cxn ang="0">
                <a:pos x="connsiteX1" y="connsiteY1"/>
              </a:cxn>
            </a:cxnLst>
            <a:rect l="l" t="t" r="r" b="b"/>
            <a:pathLst>
              <a:path w="1183946">
                <a:moveTo>
                  <a:pt x="0" y="0"/>
                </a:moveTo>
                <a:lnTo>
                  <a:pt x="1183946" y="0"/>
                </a:lnTo>
              </a:path>
            </a:pathLst>
          </a:custGeom>
          <a:noFill/>
          <a:ln w="6350">
            <a:solidFill>
              <a:schemeClr val="bg1">
                <a:lumMod val="95000"/>
              </a:schemeClr>
            </a:solidFill>
            <a:headEnd type="none" w="med" len="med"/>
            <a:tailEnd type="arrow"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a:lnSpc>
                <a:spcPct val="90000"/>
              </a:lnSpc>
              <a:defRPr/>
            </a:pPr>
            <a:endParaRPr lang="en-IN" sz="1765" b="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Tree>
    <p:extLst>
      <p:ext uri="{BB962C8B-B14F-4D97-AF65-F5344CB8AC3E}">
        <p14:creationId xmlns:p14="http://schemas.microsoft.com/office/powerpoint/2010/main" val="38295708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3E852B4-7730-4D6C-94E7-CF223A0D8F32}"/>
              </a:ext>
            </a:extLst>
          </p:cNvPr>
          <p:cNvGraphicFramePr>
            <a:graphicFrameLocks noChangeAspect="1"/>
          </p:cNvGraphicFramePr>
          <p:nvPr>
            <p:custDataLst>
              <p:tags r:id="rId2"/>
            </p:custDataLst>
            <p:extLst/>
          </p:nvPr>
        </p:nvGraphicFramePr>
        <p:xfrm>
          <a:off x="1169" y="858783"/>
          <a:ext cx="1167" cy="1167"/>
        </p:xfrm>
        <a:graphic>
          <a:graphicData uri="http://schemas.openxmlformats.org/presentationml/2006/ole">
            <mc:AlternateContent xmlns:mc="http://schemas.openxmlformats.org/markup-compatibility/2006">
              <mc:Choice xmlns:v="urn:schemas-microsoft-com:vml" Requires="v">
                <p:oleObj spid="_x0000_s10242" name="think-cell Slide" r:id="rId5" imgW="425" imgH="424" progId="TCLayout.ActiveDocument.1">
                  <p:embed/>
                </p:oleObj>
              </mc:Choice>
              <mc:Fallback>
                <p:oleObj name="think-cell Slide" r:id="rId5" imgW="425" imgH="424" progId="TCLayout.ActiveDocument.1">
                  <p:embed/>
                  <p:pic>
                    <p:nvPicPr>
                      <p:cNvPr id="3" name="Object 2" hidden="1">
                        <a:extLst>
                          <a:ext uri="{FF2B5EF4-FFF2-40B4-BE49-F238E27FC236}">
                            <a16:creationId xmlns:a16="http://schemas.microsoft.com/office/drawing/2014/main" id="{F3E852B4-7730-4D6C-94E7-CF223A0D8F32}"/>
                          </a:ext>
                        </a:extLst>
                      </p:cNvPr>
                      <p:cNvPicPr/>
                      <p:nvPr/>
                    </p:nvPicPr>
                    <p:blipFill>
                      <a:blip r:embed="rId6"/>
                      <a:stretch>
                        <a:fillRect/>
                      </a:stretch>
                    </p:blipFill>
                    <p:spPr>
                      <a:xfrm>
                        <a:off x="1169" y="858783"/>
                        <a:ext cx="1167" cy="1167"/>
                      </a:xfrm>
                      <a:prstGeom prst="rect">
                        <a:avLst/>
                      </a:prstGeom>
                    </p:spPr>
                  </p:pic>
                </p:oleObj>
              </mc:Fallback>
            </mc:AlternateContent>
          </a:graphicData>
        </a:graphic>
      </p:graphicFrame>
      <p:sp>
        <p:nvSpPr>
          <p:cNvPr id="81" name="Rectangle 80">
            <a:extLst>
              <a:ext uri="{FF2B5EF4-FFF2-40B4-BE49-F238E27FC236}">
                <a16:creationId xmlns:a16="http://schemas.microsoft.com/office/drawing/2014/main" id="{247B1047-D663-4507-B47F-48512FEA2FE4}"/>
              </a:ext>
            </a:extLst>
          </p:cNvPr>
          <p:cNvSpPr/>
          <p:nvPr/>
        </p:nvSpPr>
        <p:spPr bwMode="auto">
          <a:xfrm>
            <a:off x="0" y="1748205"/>
            <a:ext cx="9149380" cy="4252181"/>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a:lnSpc>
                <a:spcPct val="90000"/>
              </a:lnSpc>
              <a:defRPr/>
            </a:pPr>
            <a:endParaRPr lang="en-US" sz="1765" b="0" dirty="0" err="1">
              <a:solidFill>
                <a:srgbClr val="FFFFFF"/>
              </a:solidFill>
              <a:latin typeface="Segoe UI Semilight"/>
              <a:ea typeface="Segoe UI" pitchFamily="34" charset="0"/>
              <a:cs typeface="Segoe UI" pitchFamily="34" charset="0"/>
            </a:endParaRPr>
          </a:p>
        </p:txBody>
      </p:sp>
      <p:sp>
        <p:nvSpPr>
          <p:cNvPr id="15" name="Rectangle 14">
            <a:extLst>
              <a:ext uri="{FF2B5EF4-FFF2-40B4-BE49-F238E27FC236}">
                <a16:creationId xmlns:a16="http://schemas.microsoft.com/office/drawing/2014/main" id="{6707AE8F-ADF5-4339-8984-D800E38552DF}"/>
              </a:ext>
            </a:extLst>
          </p:cNvPr>
          <p:cNvSpPr/>
          <p:nvPr/>
        </p:nvSpPr>
        <p:spPr>
          <a:xfrm>
            <a:off x="344293" y="4165619"/>
            <a:ext cx="3956886" cy="545021"/>
          </a:xfrm>
          <a:prstGeom prst="rect">
            <a:avLst/>
          </a:prstGeom>
        </p:spPr>
        <p:txBody>
          <a:bodyPr wrap="square" lIns="0">
            <a:spAutoFit/>
          </a:bodyPr>
          <a:lstStyle/>
          <a:p>
            <a:pPr defTabSz="699314" fontAlgn="auto">
              <a:spcBef>
                <a:spcPts val="0"/>
              </a:spcBef>
              <a:spcAft>
                <a:spcPts val="900"/>
              </a:spcAft>
              <a:buClr>
                <a:srgbClr val="FFFFFF"/>
              </a:buClr>
              <a:buSzPct val="100000"/>
              <a:defRPr/>
            </a:pPr>
            <a:r>
              <a:rPr lang="en-US" sz="1471" b="0" kern="0" dirty="0">
                <a:solidFill>
                  <a:srgbClr val="FFFFFF"/>
                </a:solidFill>
                <a:latin typeface="Segoe UI Semilight"/>
                <a:cs typeface="Segoe UI Semibold" panose="020B0702040204020203" pitchFamily="34" charset="0"/>
              </a:rPr>
              <a:t>Need for a DB that to seamlessly respond to massive scale and performance demands</a:t>
            </a:r>
          </a:p>
        </p:txBody>
      </p:sp>
      <p:grpSp>
        <p:nvGrpSpPr>
          <p:cNvPr id="19" name="Group 18">
            <a:extLst>
              <a:ext uri="{FF2B5EF4-FFF2-40B4-BE49-F238E27FC236}">
                <a16:creationId xmlns:a16="http://schemas.microsoft.com/office/drawing/2014/main" id="{3BA7A8F4-C400-4619-9CFD-B4E9B985FD05}"/>
              </a:ext>
            </a:extLst>
          </p:cNvPr>
          <p:cNvGrpSpPr/>
          <p:nvPr/>
        </p:nvGrpSpPr>
        <p:grpSpPr>
          <a:xfrm>
            <a:off x="344293" y="4691565"/>
            <a:ext cx="4059628" cy="318677"/>
            <a:chOff x="468261" y="6146141"/>
            <a:chExt cx="5521376" cy="433422"/>
          </a:xfrm>
        </p:grpSpPr>
        <p:sp>
          <p:nvSpPr>
            <p:cNvPr id="20" name="Rectangle 19">
              <a:extLst>
                <a:ext uri="{FF2B5EF4-FFF2-40B4-BE49-F238E27FC236}">
                  <a16:creationId xmlns:a16="http://schemas.microsoft.com/office/drawing/2014/main" id="{B3F3E91F-D024-4ADE-9D90-914C584EF9D3}"/>
                </a:ext>
              </a:extLst>
            </p:cNvPr>
            <p:cNvSpPr/>
            <p:nvPr/>
          </p:nvSpPr>
          <p:spPr>
            <a:xfrm>
              <a:off x="1201270" y="6146141"/>
              <a:ext cx="4788367" cy="433422"/>
            </a:xfrm>
            <a:prstGeom prst="rect">
              <a:avLst/>
            </a:prstGeom>
          </p:spPr>
          <p:txBody>
            <a:bodyPr wrap="square">
              <a:spAutoFit/>
            </a:bodyPr>
            <a:lstStyle/>
            <a:p>
              <a:pPr defTabSz="699314" fontAlgn="auto">
                <a:spcBef>
                  <a:spcPts val="0"/>
                </a:spcBef>
                <a:spcAft>
                  <a:spcPts val="900"/>
                </a:spcAft>
                <a:buClr>
                  <a:srgbClr val="FFFFFF"/>
                </a:buClr>
                <a:buSzPct val="100000"/>
                <a:defRPr/>
              </a:pPr>
              <a:r>
                <a:rPr lang="en-US" sz="1471" b="0" kern="0" dirty="0">
                  <a:solidFill>
                    <a:srgbClr val="FFFFFF"/>
                  </a:solidFill>
                  <a:latin typeface="Segoe UI Semilight"/>
                  <a:cs typeface="Segoe UI Semilight" panose="020B0402040204020203" pitchFamily="34" charset="0"/>
                </a:rPr>
                <a:t>Multi-user game play with low latency</a:t>
              </a:r>
            </a:p>
          </p:txBody>
        </p:sp>
        <p:grpSp>
          <p:nvGrpSpPr>
            <p:cNvPr id="21" name="Group 20">
              <a:extLst>
                <a:ext uri="{FF2B5EF4-FFF2-40B4-BE49-F238E27FC236}">
                  <a16:creationId xmlns:a16="http://schemas.microsoft.com/office/drawing/2014/main" id="{40BD657B-9CB7-4580-BE43-F5D1F3FA21E7}"/>
                </a:ext>
              </a:extLst>
            </p:cNvPr>
            <p:cNvGrpSpPr/>
            <p:nvPr/>
          </p:nvGrpSpPr>
          <p:grpSpPr>
            <a:xfrm>
              <a:off x="468261" y="6208771"/>
              <a:ext cx="534340" cy="274850"/>
              <a:chOff x="467677" y="5956094"/>
              <a:chExt cx="534340" cy="274850"/>
            </a:xfrm>
          </p:grpSpPr>
          <p:sp>
            <p:nvSpPr>
              <p:cNvPr id="22" name="Oval 21">
                <a:extLst>
                  <a:ext uri="{FF2B5EF4-FFF2-40B4-BE49-F238E27FC236}">
                    <a16:creationId xmlns:a16="http://schemas.microsoft.com/office/drawing/2014/main" id="{3EE2EBDF-FCA3-4D27-B461-F38D006A6EE1}"/>
                  </a:ext>
                </a:extLst>
              </p:cNvPr>
              <p:cNvSpPr/>
              <p:nvPr/>
            </p:nvSpPr>
            <p:spPr bwMode="auto">
              <a:xfrm>
                <a:off x="467677" y="5956094"/>
                <a:ext cx="274850" cy="274850"/>
              </a:xfrm>
              <a:prstGeom prst="ellipse">
                <a:avLst/>
              </a:prstGeom>
              <a:solidFill>
                <a:schemeClr val="accent1"/>
              </a:solidFill>
              <a:ln w="28575">
                <a:solidFill>
                  <a:schemeClr val="bg1"/>
                </a:solidFill>
                <a:miter lim="800000"/>
                <a:headEnd/>
                <a:tailEnd/>
              </a:ln>
              <a:effectLst/>
            </p:spPr>
            <p:txBody>
              <a:bodyPr vert="horz" wrap="square" lIns="71990" tIns="71990" rIns="71990" bIns="71990" numCol="1" rtlCol="0" anchor="t" anchorCtr="0" compatLnSpc="1">
                <a:prstTxWarp prst="textNoShape">
                  <a:avLst/>
                </a:prstTxWarp>
                <a:noAutofit/>
              </a:bodyPr>
              <a:lstStyle/>
              <a:p>
                <a:pPr defTabSz="914201">
                  <a:spcBef>
                    <a:spcPts val="0"/>
                  </a:spcBef>
                  <a:spcAft>
                    <a:spcPts val="300"/>
                  </a:spcAft>
                  <a:defRPr/>
                </a:pPr>
                <a:endParaRPr lang="en-US" sz="1599" b="0" kern="0" dirty="0" err="1">
                  <a:solidFill>
                    <a:srgbClr val="FFFFFF"/>
                  </a:solidFill>
                  <a:latin typeface="Segoe UI Semilight"/>
                  <a:cs typeface="Segoe UI Semibold" panose="020B0702040204020203" pitchFamily="34" charset="0"/>
                </a:endParaRPr>
              </a:p>
            </p:txBody>
          </p:sp>
          <p:cxnSp>
            <p:nvCxnSpPr>
              <p:cNvPr id="23" name="Straight Connector 22">
                <a:extLst>
                  <a:ext uri="{FF2B5EF4-FFF2-40B4-BE49-F238E27FC236}">
                    <a16:creationId xmlns:a16="http://schemas.microsoft.com/office/drawing/2014/main" id="{39784BF5-6F8D-4CAA-88AC-CC7598E7DCA9}"/>
                  </a:ext>
                </a:extLst>
              </p:cNvPr>
              <p:cNvCxnSpPr>
                <a:cxnSpLocks/>
              </p:cNvCxnSpPr>
              <p:nvPr/>
            </p:nvCxnSpPr>
            <p:spPr>
              <a:xfrm>
                <a:off x="742527" y="6093519"/>
                <a:ext cx="259490" cy="0"/>
              </a:xfrm>
              <a:prstGeom prst="line">
                <a:avLst/>
              </a:prstGeom>
              <a:ln>
                <a:solidFill>
                  <a:schemeClr val="bg1"/>
                </a:solidFill>
                <a:headEnd type="none"/>
                <a:tailEnd type="oval"/>
              </a:ln>
            </p:spPr>
            <p:style>
              <a:lnRef idx="1">
                <a:schemeClr val="accent1"/>
              </a:lnRef>
              <a:fillRef idx="0">
                <a:schemeClr val="accent1"/>
              </a:fillRef>
              <a:effectRef idx="0">
                <a:schemeClr val="accent1"/>
              </a:effectRef>
              <a:fontRef idx="minor">
                <a:schemeClr val="tx1"/>
              </a:fontRef>
            </p:style>
          </p:cxnSp>
        </p:grpSp>
      </p:grpSp>
      <p:grpSp>
        <p:nvGrpSpPr>
          <p:cNvPr id="5" name="Group 4">
            <a:extLst>
              <a:ext uri="{FF2B5EF4-FFF2-40B4-BE49-F238E27FC236}">
                <a16:creationId xmlns:a16="http://schemas.microsoft.com/office/drawing/2014/main" id="{9F61CFBA-7EF5-42C3-9BBF-05694499FAB1}"/>
              </a:ext>
            </a:extLst>
          </p:cNvPr>
          <p:cNvGrpSpPr/>
          <p:nvPr/>
        </p:nvGrpSpPr>
        <p:grpSpPr>
          <a:xfrm>
            <a:off x="344292" y="5095377"/>
            <a:ext cx="4283735" cy="318677"/>
            <a:chOff x="468261" y="5009062"/>
            <a:chExt cx="5826176" cy="433422"/>
          </a:xfrm>
        </p:grpSpPr>
        <p:sp>
          <p:nvSpPr>
            <p:cNvPr id="39" name="Rectangle 38">
              <a:extLst>
                <a:ext uri="{FF2B5EF4-FFF2-40B4-BE49-F238E27FC236}">
                  <a16:creationId xmlns:a16="http://schemas.microsoft.com/office/drawing/2014/main" id="{46724323-A7EB-4DEE-BEFC-DFE15B6ED247}"/>
                </a:ext>
              </a:extLst>
            </p:cNvPr>
            <p:cNvSpPr/>
            <p:nvPr/>
          </p:nvSpPr>
          <p:spPr>
            <a:xfrm>
              <a:off x="1201270" y="5009062"/>
              <a:ext cx="5093167" cy="433422"/>
            </a:xfrm>
            <a:prstGeom prst="rect">
              <a:avLst/>
            </a:prstGeom>
          </p:spPr>
          <p:txBody>
            <a:bodyPr wrap="square">
              <a:spAutoFit/>
            </a:bodyPr>
            <a:lstStyle/>
            <a:p>
              <a:pPr defTabSz="699314" fontAlgn="auto">
                <a:spcBef>
                  <a:spcPts val="0"/>
                </a:spcBef>
                <a:spcAft>
                  <a:spcPts val="900"/>
                </a:spcAft>
                <a:buClr>
                  <a:srgbClr val="FFFFFF"/>
                </a:buClr>
                <a:buSzPct val="100000"/>
                <a:defRPr/>
              </a:pPr>
              <a:r>
                <a:rPr lang="en-US" sz="1471" b="0" kern="0" dirty="0">
                  <a:solidFill>
                    <a:srgbClr val="FFFFFF"/>
                  </a:solidFill>
                  <a:latin typeface="Segoe UI Semilight"/>
                  <a:cs typeface="Segoe UI Semilight" panose="020B0402040204020203" pitchFamily="34" charset="0"/>
                </a:rPr>
                <a:t>Instant capacity scaling from launch onward</a:t>
              </a:r>
            </a:p>
          </p:txBody>
        </p:sp>
        <p:grpSp>
          <p:nvGrpSpPr>
            <p:cNvPr id="40" name="Group 39">
              <a:extLst>
                <a:ext uri="{FF2B5EF4-FFF2-40B4-BE49-F238E27FC236}">
                  <a16:creationId xmlns:a16="http://schemas.microsoft.com/office/drawing/2014/main" id="{566FCAA8-033E-4791-BD66-37DC1AD7E2F1}"/>
                </a:ext>
              </a:extLst>
            </p:cNvPr>
            <p:cNvGrpSpPr/>
            <p:nvPr/>
          </p:nvGrpSpPr>
          <p:grpSpPr>
            <a:xfrm>
              <a:off x="468261" y="5071692"/>
              <a:ext cx="534340" cy="274850"/>
              <a:chOff x="467677" y="5956094"/>
              <a:chExt cx="534340" cy="274850"/>
            </a:xfrm>
          </p:grpSpPr>
          <p:sp>
            <p:nvSpPr>
              <p:cNvPr id="41" name="Oval 40">
                <a:extLst>
                  <a:ext uri="{FF2B5EF4-FFF2-40B4-BE49-F238E27FC236}">
                    <a16:creationId xmlns:a16="http://schemas.microsoft.com/office/drawing/2014/main" id="{64058C2E-E545-4DC1-B6B6-4F41E7BAA2D6}"/>
                  </a:ext>
                </a:extLst>
              </p:cNvPr>
              <p:cNvSpPr/>
              <p:nvPr/>
            </p:nvSpPr>
            <p:spPr bwMode="auto">
              <a:xfrm>
                <a:off x="467677" y="5956094"/>
                <a:ext cx="274850" cy="274850"/>
              </a:xfrm>
              <a:prstGeom prst="ellipse">
                <a:avLst/>
              </a:prstGeom>
              <a:solidFill>
                <a:schemeClr val="accent1"/>
              </a:solidFill>
              <a:ln w="28575">
                <a:solidFill>
                  <a:schemeClr val="bg1"/>
                </a:solidFill>
                <a:miter lim="800000"/>
                <a:headEnd/>
                <a:tailEnd/>
              </a:ln>
              <a:effectLst/>
            </p:spPr>
            <p:txBody>
              <a:bodyPr vert="horz" wrap="square" lIns="71990" tIns="71990" rIns="71990" bIns="71990" numCol="1" rtlCol="0" anchor="t" anchorCtr="0" compatLnSpc="1">
                <a:prstTxWarp prst="textNoShape">
                  <a:avLst/>
                </a:prstTxWarp>
                <a:noAutofit/>
              </a:bodyPr>
              <a:lstStyle/>
              <a:p>
                <a:pPr defTabSz="914201">
                  <a:spcBef>
                    <a:spcPts val="0"/>
                  </a:spcBef>
                  <a:spcAft>
                    <a:spcPts val="300"/>
                  </a:spcAft>
                  <a:defRPr/>
                </a:pPr>
                <a:endParaRPr lang="en-US" sz="1599" b="0" kern="0" dirty="0" err="1">
                  <a:solidFill>
                    <a:srgbClr val="FFFFFF"/>
                  </a:solidFill>
                  <a:latin typeface="Segoe UI Semilight"/>
                  <a:cs typeface="Segoe UI Semibold" panose="020B0702040204020203" pitchFamily="34" charset="0"/>
                </a:endParaRPr>
              </a:p>
            </p:txBody>
          </p:sp>
          <p:cxnSp>
            <p:nvCxnSpPr>
              <p:cNvPr id="42" name="Straight Connector 41">
                <a:extLst>
                  <a:ext uri="{FF2B5EF4-FFF2-40B4-BE49-F238E27FC236}">
                    <a16:creationId xmlns:a16="http://schemas.microsoft.com/office/drawing/2014/main" id="{4D530101-C41C-40DE-B1C1-91E09CA24A01}"/>
                  </a:ext>
                </a:extLst>
              </p:cNvPr>
              <p:cNvCxnSpPr>
                <a:cxnSpLocks/>
              </p:cNvCxnSpPr>
              <p:nvPr/>
            </p:nvCxnSpPr>
            <p:spPr>
              <a:xfrm>
                <a:off x="742527" y="6093519"/>
                <a:ext cx="259490" cy="0"/>
              </a:xfrm>
              <a:prstGeom prst="line">
                <a:avLst/>
              </a:prstGeom>
              <a:ln>
                <a:solidFill>
                  <a:schemeClr val="bg1"/>
                </a:solidFill>
                <a:headEnd type="none"/>
                <a:tailEnd type="oval"/>
              </a:ln>
            </p:spPr>
            <p:style>
              <a:lnRef idx="1">
                <a:schemeClr val="accent1"/>
              </a:lnRef>
              <a:fillRef idx="0">
                <a:schemeClr val="accent1"/>
              </a:fillRef>
              <a:effectRef idx="0">
                <a:schemeClr val="accent1"/>
              </a:effectRef>
              <a:fontRef idx="minor">
                <a:schemeClr val="tx1"/>
              </a:fontRef>
            </p:style>
          </p:cxnSp>
        </p:grpSp>
      </p:grpSp>
      <p:grpSp>
        <p:nvGrpSpPr>
          <p:cNvPr id="4" name="Group 3">
            <a:extLst>
              <a:ext uri="{FF2B5EF4-FFF2-40B4-BE49-F238E27FC236}">
                <a16:creationId xmlns:a16="http://schemas.microsoft.com/office/drawing/2014/main" id="{61955E35-B6B7-4218-B137-B552C11DA3EE}"/>
              </a:ext>
            </a:extLst>
          </p:cNvPr>
          <p:cNvGrpSpPr/>
          <p:nvPr/>
        </p:nvGrpSpPr>
        <p:grpSpPr>
          <a:xfrm>
            <a:off x="344293" y="5499191"/>
            <a:ext cx="3779495" cy="318677"/>
            <a:chOff x="468261" y="6312870"/>
            <a:chExt cx="5140376" cy="433422"/>
          </a:xfrm>
        </p:grpSpPr>
        <p:sp>
          <p:nvSpPr>
            <p:cNvPr id="44" name="Rectangle 43">
              <a:extLst>
                <a:ext uri="{FF2B5EF4-FFF2-40B4-BE49-F238E27FC236}">
                  <a16:creationId xmlns:a16="http://schemas.microsoft.com/office/drawing/2014/main" id="{B5E7F5DC-EA60-40C8-BFDE-25D5896606AB}"/>
                </a:ext>
              </a:extLst>
            </p:cNvPr>
            <p:cNvSpPr/>
            <p:nvPr/>
          </p:nvSpPr>
          <p:spPr>
            <a:xfrm>
              <a:off x="1201270" y="6312870"/>
              <a:ext cx="4407367" cy="433422"/>
            </a:xfrm>
            <a:prstGeom prst="rect">
              <a:avLst/>
            </a:prstGeom>
          </p:spPr>
          <p:txBody>
            <a:bodyPr wrap="square">
              <a:spAutoFit/>
            </a:bodyPr>
            <a:lstStyle/>
            <a:p>
              <a:pPr defTabSz="699314" fontAlgn="auto">
                <a:spcBef>
                  <a:spcPts val="0"/>
                </a:spcBef>
                <a:spcAft>
                  <a:spcPts val="900"/>
                </a:spcAft>
                <a:buClr>
                  <a:srgbClr val="FFFFFF"/>
                </a:buClr>
                <a:buSzPct val="100000"/>
                <a:defRPr/>
              </a:pPr>
              <a:r>
                <a:rPr lang="en-US" sz="1471" b="0" kern="0" dirty="0">
                  <a:solidFill>
                    <a:srgbClr val="FFFFFF"/>
                  </a:solidFill>
                  <a:latin typeface="Segoe UI Semilight"/>
                  <a:cs typeface="Segoe UI Semilight" panose="020B0402040204020203" pitchFamily="34" charset="0"/>
                </a:rPr>
                <a:t>Uninterrupted global user experience </a:t>
              </a:r>
            </a:p>
          </p:txBody>
        </p:sp>
        <p:grpSp>
          <p:nvGrpSpPr>
            <p:cNvPr id="45" name="Group 44">
              <a:extLst>
                <a:ext uri="{FF2B5EF4-FFF2-40B4-BE49-F238E27FC236}">
                  <a16:creationId xmlns:a16="http://schemas.microsoft.com/office/drawing/2014/main" id="{272D2219-DEC9-49FD-9279-5A6AE266D119}"/>
                </a:ext>
              </a:extLst>
            </p:cNvPr>
            <p:cNvGrpSpPr/>
            <p:nvPr/>
          </p:nvGrpSpPr>
          <p:grpSpPr>
            <a:xfrm>
              <a:off x="468261" y="6375500"/>
              <a:ext cx="534340" cy="274850"/>
              <a:chOff x="467677" y="5956094"/>
              <a:chExt cx="534340" cy="274850"/>
            </a:xfrm>
          </p:grpSpPr>
          <p:sp>
            <p:nvSpPr>
              <p:cNvPr id="46" name="Oval 45">
                <a:extLst>
                  <a:ext uri="{FF2B5EF4-FFF2-40B4-BE49-F238E27FC236}">
                    <a16:creationId xmlns:a16="http://schemas.microsoft.com/office/drawing/2014/main" id="{24F555DF-D604-49FD-9BA8-C43EC4E4AF4B}"/>
                  </a:ext>
                </a:extLst>
              </p:cNvPr>
              <p:cNvSpPr/>
              <p:nvPr/>
            </p:nvSpPr>
            <p:spPr bwMode="auto">
              <a:xfrm>
                <a:off x="467677" y="5956094"/>
                <a:ext cx="274850" cy="274850"/>
              </a:xfrm>
              <a:prstGeom prst="ellipse">
                <a:avLst/>
              </a:prstGeom>
              <a:solidFill>
                <a:schemeClr val="accent1"/>
              </a:solidFill>
              <a:ln w="28575">
                <a:solidFill>
                  <a:schemeClr val="bg1"/>
                </a:solidFill>
                <a:miter lim="800000"/>
                <a:headEnd/>
                <a:tailEnd/>
              </a:ln>
              <a:effectLst/>
            </p:spPr>
            <p:txBody>
              <a:bodyPr vert="horz" wrap="square" lIns="71990" tIns="71990" rIns="71990" bIns="71990" numCol="1" rtlCol="0" anchor="t" anchorCtr="0" compatLnSpc="1">
                <a:prstTxWarp prst="textNoShape">
                  <a:avLst/>
                </a:prstTxWarp>
                <a:noAutofit/>
              </a:bodyPr>
              <a:lstStyle/>
              <a:p>
                <a:pPr defTabSz="914201">
                  <a:spcBef>
                    <a:spcPts val="0"/>
                  </a:spcBef>
                  <a:spcAft>
                    <a:spcPts val="300"/>
                  </a:spcAft>
                  <a:defRPr/>
                </a:pPr>
                <a:endParaRPr lang="en-US" sz="1599" b="0" kern="0" dirty="0" err="1">
                  <a:solidFill>
                    <a:srgbClr val="FFFFFF"/>
                  </a:solidFill>
                  <a:latin typeface="Segoe UI Semilight"/>
                  <a:cs typeface="Segoe UI Semibold" panose="020B0702040204020203" pitchFamily="34" charset="0"/>
                </a:endParaRPr>
              </a:p>
            </p:txBody>
          </p:sp>
          <p:cxnSp>
            <p:nvCxnSpPr>
              <p:cNvPr id="47" name="Straight Connector 46">
                <a:extLst>
                  <a:ext uri="{FF2B5EF4-FFF2-40B4-BE49-F238E27FC236}">
                    <a16:creationId xmlns:a16="http://schemas.microsoft.com/office/drawing/2014/main" id="{3225FA4D-9EEF-48D8-8B23-E71AC66F35A9}"/>
                  </a:ext>
                </a:extLst>
              </p:cNvPr>
              <p:cNvCxnSpPr>
                <a:cxnSpLocks/>
              </p:cNvCxnSpPr>
              <p:nvPr/>
            </p:nvCxnSpPr>
            <p:spPr>
              <a:xfrm>
                <a:off x="742527" y="6093519"/>
                <a:ext cx="259490" cy="0"/>
              </a:xfrm>
              <a:prstGeom prst="line">
                <a:avLst/>
              </a:prstGeom>
              <a:ln>
                <a:solidFill>
                  <a:schemeClr val="bg1"/>
                </a:solidFill>
                <a:headEnd type="none"/>
                <a:tailEnd type="oval"/>
              </a:ln>
            </p:spPr>
            <p:style>
              <a:lnRef idx="1">
                <a:schemeClr val="accent1"/>
              </a:lnRef>
              <a:fillRef idx="0">
                <a:schemeClr val="accent1"/>
              </a:fillRef>
              <a:effectRef idx="0">
                <a:schemeClr val="accent1"/>
              </a:effectRef>
              <a:fontRef idx="minor">
                <a:schemeClr val="tx1"/>
              </a:fontRef>
            </p:style>
          </p:cxnSp>
        </p:grpSp>
      </p:grpSp>
      <p:sp>
        <p:nvSpPr>
          <p:cNvPr id="6" name="Title 5">
            <a:extLst>
              <a:ext uri="{FF2B5EF4-FFF2-40B4-BE49-F238E27FC236}">
                <a16:creationId xmlns:a16="http://schemas.microsoft.com/office/drawing/2014/main" id="{46130798-5494-4E53-901A-CE43EF6CACE1}"/>
              </a:ext>
            </a:extLst>
          </p:cNvPr>
          <p:cNvSpPr>
            <a:spLocks noGrp="1"/>
          </p:cNvSpPr>
          <p:nvPr>
            <p:ph type="title"/>
          </p:nvPr>
        </p:nvSpPr>
        <p:spPr/>
        <p:txBody>
          <a:bodyPr/>
          <a:lstStyle/>
          <a:p>
            <a:r>
              <a:rPr lang="en-US"/>
              <a:t>Gaming</a:t>
            </a:r>
            <a:endParaRPr lang="en-US" dirty="0"/>
          </a:p>
        </p:txBody>
      </p:sp>
      <p:pic>
        <p:nvPicPr>
          <p:cNvPr id="48" name="Picture 47">
            <a:extLst>
              <a:ext uri="{FF2B5EF4-FFF2-40B4-BE49-F238E27FC236}">
                <a16:creationId xmlns:a16="http://schemas.microsoft.com/office/drawing/2014/main" id="{104B1F97-DDB9-4DA1-9C72-8EE4BC0D4D3D}"/>
              </a:ext>
            </a:extLst>
          </p:cNvPr>
          <p:cNvPicPr>
            <a:picLocks noChangeAspect="1"/>
          </p:cNvPicPr>
          <p:nvPr/>
        </p:nvPicPr>
        <p:blipFill>
          <a:blip r:embed="rId7"/>
          <a:stretch>
            <a:fillRect/>
          </a:stretch>
        </p:blipFill>
        <p:spPr>
          <a:xfrm>
            <a:off x="1314994" y="3171398"/>
            <a:ext cx="244928" cy="408210"/>
          </a:xfrm>
          <a:prstGeom prst="rect">
            <a:avLst/>
          </a:prstGeom>
        </p:spPr>
      </p:pic>
      <p:pic>
        <p:nvPicPr>
          <p:cNvPr id="50" name="Picture 49">
            <a:extLst>
              <a:ext uri="{FF2B5EF4-FFF2-40B4-BE49-F238E27FC236}">
                <a16:creationId xmlns:a16="http://schemas.microsoft.com/office/drawing/2014/main" id="{02451053-A0E6-47CC-AE59-9D42895F68BF}"/>
              </a:ext>
            </a:extLst>
          </p:cNvPr>
          <p:cNvPicPr>
            <a:picLocks noChangeAspect="1"/>
          </p:cNvPicPr>
          <p:nvPr/>
        </p:nvPicPr>
        <p:blipFill>
          <a:blip r:embed="rId8"/>
          <a:stretch>
            <a:fillRect/>
          </a:stretch>
        </p:blipFill>
        <p:spPr>
          <a:xfrm>
            <a:off x="2565174" y="3165927"/>
            <a:ext cx="460049" cy="419154"/>
          </a:xfrm>
          <a:prstGeom prst="rect">
            <a:avLst/>
          </a:prstGeom>
        </p:spPr>
      </p:pic>
      <p:pic>
        <p:nvPicPr>
          <p:cNvPr id="52" name="Picture 51">
            <a:extLst>
              <a:ext uri="{FF2B5EF4-FFF2-40B4-BE49-F238E27FC236}">
                <a16:creationId xmlns:a16="http://schemas.microsoft.com/office/drawing/2014/main" id="{03D910EB-2FA7-4BB7-9BD1-920973425BAB}"/>
              </a:ext>
            </a:extLst>
          </p:cNvPr>
          <p:cNvPicPr>
            <a:picLocks noChangeAspect="1"/>
          </p:cNvPicPr>
          <p:nvPr/>
        </p:nvPicPr>
        <p:blipFill>
          <a:blip r:embed="rId9"/>
          <a:stretch>
            <a:fillRect/>
          </a:stretch>
        </p:blipFill>
        <p:spPr>
          <a:xfrm>
            <a:off x="4275401" y="3118631"/>
            <a:ext cx="603093" cy="513744"/>
          </a:xfrm>
          <a:prstGeom prst="rect">
            <a:avLst/>
          </a:prstGeom>
        </p:spPr>
      </p:pic>
      <p:pic>
        <p:nvPicPr>
          <p:cNvPr id="54" name="Picture 53">
            <a:extLst>
              <a:ext uri="{FF2B5EF4-FFF2-40B4-BE49-F238E27FC236}">
                <a16:creationId xmlns:a16="http://schemas.microsoft.com/office/drawing/2014/main" id="{478EC5F1-028F-4311-AF4D-F68C1617F320}"/>
              </a:ext>
            </a:extLst>
          </p:cNvPr>
          <p:cNvPicPr>
            <a:picLocks noChangeAspect="1"/>
          </p:cNvPicPr>
          <p:nvPr/>
        </p:nvPicPr>
        <p:blipFill>
          <a:blip r:embed="rId10"/>
          <a:stretch>
            <a:fillRect/>
          </a:stretch>
        </p:blipFill>
        <p:spPr>
          <a:xfrm>
            <a:off x="5941278" y="2983312"/>
            <a:ext cx="798811" cy="601769"/>
          </a:xfrm>
          <a:prstGeom prst="rect">
            <a:avLst/>
          </a:prstGeom>
        </p:spPr>
      </p:pic>
      <p:pic>
        <p:nvPicPr>
          <p:cNvPr id="56" name="Picture 55">
            <a:extLst>
              <a:ext uri="{FF2B5EF4-FFF2-40B4-BE49-F238E27FC236}">
                <a16:creationId xmlns:a16="http://schemas.microsoft.com/office/drawing/2014/main" id="{825C000C-46A0-44F8-BEE2-D3FBE3D849B5}"/>
              </a:ext>
            </a:extLst>
          </p:cNvPr>
          <p:cNvPicPr>
            <a:picLocks noChangeAspect="1"/>
          </p:cNvPicPr>
          <p:nvPr/>
        </p:nvPicPr>
        <p:blipFill>
          <a:blip r:embed="rId11"/>
          <a:stretch>
            <a:fillRect/>
          </a:stretch>
        </p:blipFill>
        <p:spPr>
          <a:xfrm>
            <a:off x="6099687" y="4714768"/>
            <a:ext cx="523643" cy="448201"/>
          </a:xfrm>
          <a:prstGeom prst="rect">
            <a:avLst/>
          </a:prstGeom>
        </p:spPr>
      </p:pic>
      <p:pic>
        <p:nvPicPr>
          <p:cNvPr id="58" name="Picture 57">
            <a:extLst>
              <a:ext uri="{FF2B5EF4-FFF2-40B4-BE49-F238E27FC236}">
                <a16:creationId xmlns:a16="http://schemas.microsoft.com/office/drawing/2014/main" id="{6283B5E6-0DEC-4F4E-9204-19F9C4C0E5AA}"/>
              </a:ext>
            </a:extLst>
          </p:cNvPr>
          <p:cNvPicPr>
            <a:picLocks noChangeAspect="1"/>
          </p:cNvPicPr>
          <p:nvPr/>
        </p:nvPicPr>
        <p:blipFill>
          <a:blip r:embed="rId12"/>
          <a:stretch>
            <a:fillRect/>
          </a:stretch>
        </p:blipFill>
        <p:spPr>
          <a:xfrm>
            <a:off x="5913685" y="1865936"/>
            <a:ext cx="849748" cy="474010"/>
          </a:xfrm>
          <a:prstGeom prst="rect">
            <a:avLst/>
          </a:prstGeom>
        </p:spPr>
      </p:pic>
      <p:sp>
        <p:nvSpPr>
          <p:cNvPr id="61" name="TextBox 60">
            <a:extLst>
              <a:ext uri="{FF2B5EF4-FFF2-40B4-BE49-F238E27FC236}">
                <a16:creationId xmlns:a16="http://schemas.microsoft.com/office/drawing/2014/main" id="{CB79DA0B-FD81-40F9-AA09-F563C1CE008D}"/>
              </a:ext>
            </a:extLst>
          </p:cNvPr>
          <p:cNvSpPr txBox="1"/>
          <p:nvPr/>
        </p:nvSpPr>
        <p:spPr>
          <a:xfrm>
            <a:off x="7731311" y="2405743"/>
            <a:ext cx="818575" cy="142565"/>
          </a:xfrm>
          <a:prstGeom prst="rect">
            <a:avLst/>
          </a:prstGeom>
          <a:noFill/>
        </p:spPr>
        <p:txBody>
          <a:bodyPr wrap="none" lIns="0" tIns="0" rIns="0" bIns="0" rtlCol="0">
            <a:noAutofit/>
          </a:bodyPr>
          <a:lstStyle/>
          <a:p>
            <a:pPr algn="ctr" defTabSz="685775" fontAlgn="auto">
              <a:lnSpc>
                <a:spcPct val="90000"/>
              </a:lnSpc>
              <a:spcBef>
                <a:spcPts val="0"/>
              </a:spcBef>
              <a:spcAft>
                <a:spcPts val="441"/>
              </a:spcAft>
              <a:defRPr/>
            </a:pPr>
            <a:r>
              <a:rPr lang="en-US" sz="1029" b="0" dirty="0">
                <a:solidFill>
                  <a:srgbClr val="FFFFFF"/>
                </a:solidFill>
                <a:latin typeface="Segoe UI Semilight"/>
                <a:cs typeface="+mn-cs"/>
              </a:rPr>
              <a:t>Azure Storage</a:t>
            </a:r>
            <a:br>
              <a:rPr lang="en-US" sz="1029" b="0" dirty="0">
                <a:solidFill>
                  <a:srgbClr val="FFFFFF"/>
                </a:solidFill>
                <a:latin typeface="Segoe UI Semilight"/>
                <a:cs typeface="+mn-cs"/>
              </a:rPr>
            </a:br>
            <a:r>
              <a:rPr lang="en-US" sz="1029" b="0" dirty="0">
                <a:solidFill>
                  <a:srgbClr val="FFFFFF"/>
                </a:solidFill>
                <a:latin typeface="Segoe UI Semilight"/>
                <a:cs typeface="+mn-cs"/>
              </a:rPr>
              <a:t>(Game files)</a:t>
            </a:r>
          </a:p>
        </p:txBody>
      </p:sp>
      <p:pic>
        <p:nvPicPr>
          <p:cNvPr id="62" name="Picture 61">
            <a:extLst>
              <a:ext uri="{FF2B5EF4-FFF2-40B4-BE49-F238E27FC236}">
                <a16:creationId xmlns:a16="http://schemas.microsoft.com/office/drawing/2014/main" id="{9365ED42-34F4-48DB-8F14-9272860A160F}"/>
              </a:ext>
            </a:extLst>
          </p:cNvPr>
          <p:cNvPicPr>
            <a:picLocks noChangeAspect="1"/>
          </p:cNvPicPr>
          <p:nvPr/>
        </p:nvPicPr>
        <p:blipFill>
          <a:blip r:embed="rId13"/>
          <a:stretch>
            <a:fillRect/>
          </a:stretch>
        </p:blipFill>
        <p:spPr>
          <a:xfrm>
            <a:off x="7831410" y="1874447"/>
            <a:ext cx="618376" cy="498304"/>
          </a:xfrm>
          <a:prstGeom prst="rect">
            <a:avLst/>
          </a:prstGeom>
        </p:spPr>
      </p:pic>
      <p:sp>
        <p:nvSpPr>
          <p:cNvPr id="63" name="TextBox 62">
            <a:extLst>
              <a:ext uri="{FF2B5EF4-FFF2-40B4-BE49-F238E27FC236}">
                <a16:creationId xmlns:a16="http://schemas.microsoft.com/office/drawing/2014/main" id="{309872CC-6E41-4AB2-B981-60F065016F7B}"/>
              </a:ext>
            </a:extLst>
          </p:cNvPr>
          <p:cNvSpPr txBox="1"/>
          <p:nvPr/>
        </p:nvSpPr>
        <p:spPr>
          <a:xfrm>
            <a:off x="7695018" y="3682156"/>
            <a:ext cx="818575" cy="142565"/>
          </a:xfrm>
          <a:prstGeom prst="rect">
            <a:avLst/>
          </a:prstGeom>
          <a:noFill/>
        </p:spPr>
        <p:txBody>
          <a:bodyPr wrap="none" lIns="0" tIns="0" rIns="0" bIns="0" rtlCol="0">
            <a:noAutofit/>
          </a:bodyPr>
          <a:lstStyle/>
          <a:p>
            <a:pPr algn="ctr" defTabSz="685775" fontAlgn="auto">
              <a:lnSpc>
                <a:spcPct val="90000"/>
              </a:lnSpc>
              <a:spcBef>
                <a:spcPts val="0"/>
              </a:spcBef>
              <a:spcAft>
                <a:spcPts val="441"/>
              </a:spcAft>
              <a:defRPr/>
            </a:pPr>
            <a:r>
              <a:rPr lang="en-US" sz="1029" b="0" dirty="0">
                <a:solidFill>
                  <a:srgbClr val="FFFFFF"/>
                </a:solidFill>
                <a:latin typeface="Segoe UI Semilight"/>
                <a:cs typeface="+mn-cs"/>
              </a:rPr>
              <a:t>Apache HDInsight</a:t>
            </a:r>
            <a:br>
              <a:rPr lang="en-US" sz="1029" b="0" dirty="0">
                <a:solidFill>
                  <a:srgbClr val="FFFFFF"/>
                </a:solidFill>
                <a:latin typeface="Segoe UI Semilight"/>
                <a:cs typeface="+mn-cs"/>
              </a:rPr>
            </a:br>
            <a:r>
              <a:rPr lang="en-US" sz="1029" b="0" dirty="0">
                <a:solidFill>
                  <a:srgbClr val="FFFFFF"/>
                </a:solidFill>
                <a:latin typeface="Segoe UI Semilight"/>
                <a:cs typeface="+mn-cs"/>
              </a:rPr>
              <a:t>(Game analytics)</a:t>
            </a:r>
          </a:p>
        </p:txBody>
      </p:sp>
      <p:pic>
        <p:nvPicPr>
          <p:cNvPr id="64" name="Graphic 63">
            <a:extLst>
              <a:ext uri="{FF2B5EF4-FFF2-40B4-BE49-F238E27FC236}">
                <a16:creationId xmlns:a16="http://schemas.microsoft.com/office/drawing/2014/main" id="{CA02B29F-90C3-4271-B4AE-E582EC662999}"/>
              </a:ext>
            </a:extLst>
          </p:cNvPr>
          <p:cNvPicPr>
            <a:picLocks noChangeAspect="1"/>
          </p:cNvPicPr>
          <p:nvPr/>
        </p:nvPicPr>
        <p:blipFill rotWithShape="1">
          <a:blip r:embed="rId14">
            <a:extLst>
              <a:ext uri="{96DAC541-7B7A-43D3-8B79-37D633B846F1}">
                <asvg:svgBlip xmlns:asvg="http://schemas.microsoft.com/office/drawing/2016/SVG/main" r:embed="rId15"/>
              </a:ext>
            </a:extLst>
          </a:blip>
          <a:srcRect l="52443" r="33185" b="80206"/>
          <a:stretch/>
        </p:blipFill>
        <p:spPr>
          <a:xfrm>
            <a:off x="7823213" y="3143896"/>
            <a:ext cx="562186" cy="463217"/>
          </a:xfrm>
          <a:prstGeom prst="rect">
            <a:avLst/>
          </a:prstGeom>
        </p:spPr>
      </p:pic>
      <p:pic>
        <p:nvPicPr>
          <p:cNvPr id="60" name="Picture 59">
            <a:extLst>
              <a:ext uri="{FF2B5EF4-FFF2-40B4-BE49-F238E27FC236}">
                <a16:creationId xmlns:a16="http://schemas.microsoft.com/office/drawing/2014/main" id="{DCF5A6E6-F7F8-4A8F-894B-FF9F52BC3FBB}"/>
              </a:ext>
            </a:extLst>
          </p:cNvPr>
          <p:cNvPicPr>
            <a:picLocks noChangeAspect="1"/>
          </p:cNvPicPr>
          <p:nvPr/>
        </p:nvPicPr>
        <p:blipFill>
          <a:blip r:embed="rId16"/>
          <a:stretch>
            <a:fillRect/>
          </a:stretch>
        </p:blipFill>
        <p:spPr>
          <a:xfrm>
            <a:off x="7976953" y="4762905"/>
            <a:ext cx="430036" cy="430036"/>
          </a:xfrm>
          <a:prstGeom prst="rect">
            <a:avLst/>
          </a:prstGeom>
        </p:spPr>
      </p:pic>
      <p:sp>
        <p:nvSpPr>
          <p:cNvPr id="66" name="TextBox 65">
            <a:extLst>
              <a:ext uri="{FF2B5EF4-FFF2-40B4-BE49-F238E27FC236}">
                <a16:creationId xmlns:a16="http://schemas.microsoft.com/office/drawing/2014/main" id="{615F8F88-8B2F-4E2D-AB5C-2190B09F9F35}"/>
              </a:ext>
            </a:extLst>
          </p:cNvPr>
          <p:cNvSpPr txBox="1"/>
          <p:nvPr/>
        </p:nvSpPr>
        <p:spPr>
          <a:xfrm>
            <a:off x="5931396" y="2407522"/>
            <a:ext cx="818575" cy="142565"/>
          </a:xfrm>
          <a:prstGeom prst="rect">
            <a:avLst/>
          </a:prstGeom>
          <a:noFill/>
        </p:spPr>
        <p:txBody>
          <a:bodyPr wrap="none" lIns="0" tIns="0" rIns="0" bIns="0" rtlCol="0">
            <a:noAutofit/>
          </a:bodyPr>
          <a:lstStyle/>
          <a:p>
            <a:pPr algn="ctr" defTabSz="685775" fontAlgn="auto">
              <a:lnSpc>
                <a:spcPct val="90000"/>
              </a:lnSpc>
              <a:spcBef>
                <a:spcPts val="0"/>
              </a:spcBef>
              <a:spcAft>
                <a:spcPts val="441"/>
              </a:spcAft>
              <a:defRPr/>
            </a:pPr>
            <a:r>
              <a:rPr lang="en-US" sz="1029" b="0" dirty="0">
                <a:solidFill>
                  <a:srgbClr val="FFFFFF"/>
                </a:solidFill>
                <a:latin typeface="Segoe UI Semilight"/>
                <a:cs typeface="+mn-cs"/>
              </a:rPr>
              <a:t>Azure CDN</a:t>
            </a:r>
          </a:p>
        </p:txBody>
      </p:sp>
      <p:sp>
        <p:nvSpPr>
          <p:cNvPr id="67" name="TextBox 66">
            <a:extLst>
              <a:ext uri="{FF2B5EF4-FFF2-40B4-BE49-F238E27FC236}">
                <a16:creationId xmlns:a16="http://schemas.microsoft.com/office/drawing/2014/main" id="{F5894ADB-741A-44AE-88F1-024A00196CBA}"/>
              </a:ext>
            </a:extLst>
          </p:cNvPr>
          <p:cNvSpPr txBox="1"/>
          <p:nvPr/>
        </p:nvSpPr>
        <p:spPr>
          <a:xfrm>
            <a:off x="5944858" y="3682156"/>
            <a:ext cx="818575" cy="142565"/>
          </a:xfrm>
          <a:prstGeom prst="rect">
            <a:avLst/>
          </a:prstGeom>
          <a:noFill/>
        </p:spPr>
        <p:txBody>
          <a:bodyPr wrap="none" lIns="0" tIns="0" rIns="0" bIns="0" rtlCol="0">
            <a:noAutofit/>
          </a:bodyPr>
          <a:lstStyle/>
          <a:p>
            <a:pPr algn="ctr" defTabSz="685775" fontAlgn="auto">
              <a:lnSpc>
                <a:spcPct val="90000"/>
              </a:lnSpc>
              <a:spcBef>
                <a:spcPts val="0"/>
              </a:spcBef>
              <a:spcAft>
                <a:spcPts val="441"/>
              </a:spcAft>
              <a:defRPr/>
            </a:pPr>
            <a:r>
              <a:rPr lang="en-US" sz="1029" b="0" dirty="0">
                <a:solidFill>
                  <a:srgbClr val="FFFFFF"/>
                </a:solidFill>
                <a:latin typeface="Segoe UI Semilight"/>
                <a:cs typeface="+mn-cs"/>
              </a:rPr>
              <a:t>Azure Cosmos DB</a:t>
            </a:r>
            <a:br>
              <a:rPr lang="en-US" sz="1029" b="0" dirty="0">
                <a:solidFill>
                  <a:srgbClr val="FFFFFF"/>
                </a:solidFill>
                <a:latin typeface="Segoe UI Semilight"/>
                <a:cs typeface="+mn-cs"/>
              </a:rPr>
            </a:br>
            <a:r>
              <a:rPr lang="en-US" sz="1029" b="0" dirty="0">
                <a:solidFill>
                  <a:srgbClr val="FFFFFF"/>
                </a:solidFill>
                <a:latin typeface="Segoe UI Semilight"/>
                <a:cs typeface="+mn-cs"/>
              </a:rPr>
              <a:t>(Game database)</a:t>
            </a:r>
          </a:p>
        </p:txBody>
      </p:sp>
      <p:sp>
        <p:nvSpPr>
          <p:cNvPr id="68" name="TextBox 67">
            <a:extLst>
              <a:ext uri="{FF2B5EF4-FFF2-40B4-BE49-F238E27FC236}">
                <a16:creationId xmlns:a16="http://schemas.microsoft.com/office/drawing/2014/main" id="{6CAEE2E9-57D1-4CE0-8A28-73CFB0FBA8C7}"/>
              </a:ext>
            </a:extLst>
          </p:cNvPr>
          <p:cNvSpPr txBox="1"/>
          <p:nvPr/>
        </p:nvSpPr>
        <p:spPr>
          <a:xfrm>
            <a:off x="4179930" y="3682156"/>
            <a:ext cx="818575" cy="142565"/>
          </a:xfrm>
          <a:prstGeom prst="rect">
            <a:avLst/>
          </a:prstGeom>
          <a:noFill/>
        </p:spPr>
        <p:txBody>
          <a:bodyPr wrap="none" lIns="0" tIns="0" rIns="0" bIns="0" rtlCol="0">
            <a:noAutofit/>
          </a:bodyPr>
          <a:lstStyle/>
          <a:p>
            <a:pPr algn="ctr" defTabSz="685775" fontAlgn="auto">
              <a:lnSpc>
                <a:spcPct val="90000"/>
              </a:lnSpc>
              <a:spcBef>
                <a:spcPts val="0"/>
              </a:spcBef>
              <a:spcAft>
                <a:spcPts val="441"/>
              </a:spcAft>
              <a:defRPr/>
            </a:pPr>
            <a:r>
              <a:rPr lang="en-US" sz="1029" b="0" dirty="0">
                <a:solidFill>
                  <a:srgbClr val="FFFFFF"/>
                </a:solidFill>
                <a:latin typeface="Segoe UI Semilight"/>
                <a:cs typeface="+mn-cs"/>
              </a:rPr>
              <a:t>Azure API Apps</a:t>
            </a:r>
            <a:br>
              <a:rPr lang="en-US" sz="1029" b="0" dirty="0">
                <a:solidFill>
                  <a:srgbClr val="FFFFFF"/>
                </a:solidFill>
                <a:latin typeface="Segoe UI Semilight"/>
                <a:cs typeface="+mn-cs"/>
              </a:rPr>
            </a:br>
            <a:r>
              <a:rPr lang="en-US" sz="1029" b="0" dirty="0">
                <a:solidFill>
                  <a:srgbClr val="FFFFFF"/>
                </a:solidFill>
                <a:latin typeface="Segoe UI Semilight"/>
                <a:cs typeface="+mn-cs"/>
              </a:rPr>
              <a:t>(Game backend)</a:t>
            </a:r>
          </a:p>
        </p:txBody>
      </p:sp>
      <p:sp>
        <p:nvSpPr>
          <p:cNvPr id="71" name="Rectangle 11">
            <a:extLst>
              <a:ext uri="{FF2B5EF4-FFF2-40B4-BE49-F238E27FC236}">
                <a16:creationId xmlns:a16="http://schemas.microsoft.com/office/drawing/2014/main" id="{BCFACA4A-3166-448E-B9BD-593E4BDAA3E4}"/>
              </a:ext>
            </a:extLst>
          </p:cNvPr>
          <p:cNvSpPr/>
          <p:nvPr/>
        </p:nvSpPr>
        <p:spPr bwMode="auto">
          <a:xfrm>
            <a:off x="1714646" y="3382111"/>
            <a:ext cx="672319" cy="0"/>
          </a:xfrm>
          <a:custGeom>
            <a:avLst/>
            <a:gdLst>
              <a:gd name="connsiteX0" fmla="*/ 0 w 1183946"/>
              <a:gd name="connsiteY0" fmla="*/ 0 h 312008"/>
              <a:gd name="connsiteX1" fmla="*/ 1183946 w 1183946"/>
              <a:gd name="connsiteY1" fmla="*/ 0 h 312008"/>
              <a:gd name="connsiteX2" fmla="*/ 1183946 w 1183946"/>
              <a:gd name="connsiteY2" fmla="*/ 312008 h 312008"/>
              <a:gd name="connsiteX3" fmla="*/ 0 w 1183946"/>
              <a:gd name="connsiteY3" fmla="*/ 312008 h 312008"/>
              <a:gd name="connsiteX4" fmla="*/ 0 w 1183946"/>
              <a:gd name="connsiteY4" fmla="*/ 0 h 312008"/>
              <a:gd name="connsiteX0" fmla="*/ 1183946 w 1275386"/>
              <a:gd name="connsiteY0" fmla="*/ 312008 h 403448"/>
              <a:gd name="connsiteX1" fmla="*/ 0 w 1275386"/>
              <a:gd name="connsiteY1" fmla="*/ 312008 h 403448"/>
              <a:gd name="connsiteX2" fmla="*/ 0 w 1275386"/>
              <a:gd name="connsiteY2" fmla="*/ 0 h 403448"/>
              <a:gd name="connsiteX3" fmla="*/ 1183946 w 1275386"/>
              <a:gd name="connsiteY3" fmla="*/ 0 h 403448"/>
              <a:gd name="connsiteX4" fmla="*/ 1275386 w 1275386"/>
              <a:gd name="connsiteY4" fmla="*/ 403448 h 403448"/>
              <a:gd name="connsiteX0" fmla="*/ 1183946 w 1183946"/>
              <a:gd name="connsiteY0" fmla="*/ 312008 h 312008"/>
              <a:gd name="connsiteX1" fmla="*/ 0 w 1183946"/>
              <a:gd name="connsiteY1" fmla="*/ 312008 h 312008"/>
              <a:gd name="connsiteX2" fmla="*/ 0 w 1183946"/>
              <a:gd name="connsiteY2" fmla="*/ 0 h 312008"/>
              <a:gd name="connsiteX3" fmla="*/ 1183946 w 1183946"/>
              <a:gd name="connsiteY3" fmla="*/ 0 h 312008"/>
              <a:gd name="connsiteX0" fmla="*/ 0 w 1183946"/>
              <a:gd name="connsiteY0" fmla="*/ 312008 h 312008"/>
              <a:gd name="connsiteX1" fmla="*/ 0 w 1183946"/>
              <a:gd name="connsiteY1" fmla="*/ 0 h 312008"/>
              <a:gd name="connsiteX2" fmla="*/ 1183946 w 1183946"/>
              <a:gd name="connsiteY2" fmla="*/ 0 h 312008"/>
              <a:gd name="connsiteX0" fmla="*/ 0 w 1183946"/>
              <a:gd name="connsiteY0" fmla="*/ 0 h 0"/>
              <a:gd name="connsiteX1" fmla="*/ 1183946 w 1183946"/>
              <a:gd name="connsiteY1" fmla="*/ 0 h 0"/>
            </a:gdLst>
            <a:ahLst/>
            <a:cxnLst>
              <a:cxn ang="0">
                <a:pos x="connsiteX0" y="connsiteY0"/>
              </a:cxn>
              <a:cxn ang="0">
                <a:pos x="connsiteX1" y="connsiteY1"/>
              </a:cxn>
            </a:cxnLst>
            <a:rect l="l" t="t" r="r" b="b"/>
            <a:pathLst>
              <a:path w="1183946">
                <a:moveTo>
                  <a:pt x="0" y="0"/>
                </a:moveTo>
                <a:lnTo>
                  <a:pt x="1183946" y="0"/>
                </a:lnTo>
              </a:path>
            </a:pathLst>
          </a:custGeom>
          <a:noFill/>
          <a:ln w="6350">
            <a:solidFill>
              <a:schemeClr val="bg1">
                <a:lumMod val="95000"/>
              </a:schemeClr>
            </a:solidFill>
            <a:headEnd type="none" w="med" len="med"/>
            <a:tailEnd type="arrow"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a:lnSpc>
                <a:spcPct val="90000"/>
              </a:lnSpc>
              <a:defRPr/>
            </a:pPr>
            <a:endParaRPr lang="en-IN" sz="1765" b="0" dirty="0" err="1">
              <a:solidFill>
                <a:srgbClr val="FFFFFF"/>
              </a:solidFill>
              <a:latin typeface="Segoe UI Semilight"/>
              <a:ea typeface="Segoe UI" pitchFamily="34" charset="0"/>
              <a:cs typeface="Segoe UI" pitchFamily="34" charset="0"/>
            </a:endParaRPr>
          </a:p>
        </p:txBody>
      </p:sp>
      <p:sp>
        <p:nvSpPr>
          <p:cNvPr id="72" name="Rectangle 11">
            <a:extLst>
              <a:ext uri="{FF2B5EF4-FFF2-40B4-BE49-F238E27FC236}">
                <a16:creationId xmlns:a16="http://schemas.microsoft.com/office/drawing/2014/main" id="{DF18355E-D99D-4EF0-93A9-D79BEA3B41EB}"/>
              </a:ext>
            </a:extLst>
          </p:cNvPr>
          <p:cNvSpPr/>
          <p:nvPr/>
        </p:nvSpPr>
        <p:spPr bwMode="auto">
          <a:xfrm>
            <a:off x="3339416" y="3382111"/>
            <a:ext cx="672319" cy="0"/>
          </a:xfrm>
          <a:custGeom>
            <a:avLst/>
            <a:gdLst>
              <a:gd name="connsiteX0" fmla="*/ 0 w 1183946"/>
              <a:gd name="connsiteY0" fmla="*/ 0 h 312008"/>
              <a:gd name="connsiteX1" fmla="*/ 1183946 w 1183946"/>
              <a:gd name="connsiteY1" fmla="*/ 0 h 312008"/>
              <a:gd name="connsiteX2" fmla="*/ 1183946 w 1183946"/>
              <a:gd name="connsiteY2" fmla="*/ 312008 h 312008"/>
              <a:gd name="connsiteX3" fmla="*/ 0 w 1183946"/>
              <a:gd name="connsiteY3" fmla="*/ 312008 h 312008"/>
              <a:gd name="connsiteX4" fmla="*/ 0 w 1183946"/>
              <a:gd name="connsiteY4" fmla="*/ 0 h 312008"/>
              <a:gd name="connsiteX0" fmla="*/ 1183946 w 1275386"/>
              <a:gd name="connsiteY0" fmla="*/ 312008 h 403448"/>
              <a:gd name="connsiteX1" fmla="*/ 0 w 1275386"/>
              <a:gd name="connsiteY1" fmla="*/ 312008 h 403448"/>
              <a:gd name="connsiteX2" fmla="*/ 0 w 1275386"/>
              <a:gd name="connsiteY2" fmla="*/ 0 h 403448"/>
              <a:gd name="connsiteX3" fmla="*/ 1183946 w 1275386"/>
              <a:gd name="connsiteY3" fmla="*/ 0 h 403448"/>
              <a:gd name="connsiteX4" fmla="*/ 1275386 w 1275386"/>
              <a:gd name="connsiteY4" fmla="*/ 403448 h 403448"/>
              <a:gd name="connsiteX0" fmla="*/ 1183946 w 1183946"/>
              <a:gd name="connsiteY0" fmla="*/ 312008 h 312008"/>
              <a:gd name="connsiteX1" fmla="*/ 0 w 1183946"/>
              <a:gd name="connsiteY1" fmla="*/ 312008 h 312008"/>
              <a:gd name="connsiteX2" fmla="*/ 0 w 1183946"/>
              <a:gd name="connsiteY2" fmla="*/ 0 h 312008"/>
              <a:gd name="connsiteX3" fmla="*/ 1183946 w 1183946"/>
              <a:gd name="connsiteY3" fmla="*/ 0 h 312008"/>
              <a:gd name="connsiteX0" fmla="*/ 0 w 1183946"/>
              <a:gd name="connsiteY0" fmla="*/ 312008 h 312008"/>
              <a:gd name="connsiteX1" fmla="*/ 0 w 1183946"/>
              <a:gd name="connsiteY1" fmla="*/ 0 h 312008"/>
              <a:gd name="connsiteX2" fmla="*/ 1183946 w 1183946"/>
              <a:gd name="connsiteY2" fmla="*/ 0 h 312008"/>
              <a:gd name="connsiteX0" fmla="*/ 0 w 1183946"/>
              <a:gd name="connsiteY0" fmla="*/ 0 h 0"/>
              <a:gd name="connsiteX1" fmla="*/ 1183946 w 1183946"/>
              <a:gd name="connsiteY1" fmla="*/ 0 h 0"/>
            </a:gdLst>
            <a:ahLst/>
            <a:cxnLst>
              <a:cxn ang="0">
                <a:pos x="connsiteX0" y="connsiteY0"/>
              </a:cxn>
              <a:cxn ang="0">
                <a:pos x="connsiteX1" y="connsiteY1"/>
              </a:cxn>
            </a:cxnLst>
            <a:rect l="l" t="t" r="r" b="b"/>
            <a:pathLst>
              <a:path w="1183946">
                <a:moveTo>
                  <a:pt x="0" y="0"/>
                </a:moveTo>
                <a:lnTo>
                  <a:pt x="1183946" y="0"/>
                </a:lnTo>
              </a:path>
            </a:pathLst>
          </a:custGeom>
          <a:noFill/>
          <a:ln w="6350">
            <a:solidFill>
              <a:schemeClr val="bg1">
                <a:lumMod val="95000"/>
              </a:schemeClr>
            </a:solidFill>
            <a:headEnd type="none" w="med" len="med"/>
            <a:tailEnd type="arrow"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a:lnSpc>
                <a:spcPct val="90000"/>
              </a:lnSpc>
              <a:defRPr/>
            </a:pPr>
            <a:endParaRPr lang="en-IN" sz="1765" b="0" dirty="0" err="1">
              <a:solidFill>
                <a:srgbClr val="FFFFFF"/>
              </a:solidFill>
              <a:latin typeface="Segoe UI Semilight"/>
              <a:ea typeface="Segoe UI" pitchFamily="34" charset="0"/>
              <a:cs typeface="Segoe UI" pitchFamily="34" charset="0"/>
            </a:endParaRPr>
          </a:p>
        </p:txBody>
      </p:sp>
      <p:sp>
        <p:nvSpPr>
          <p:cNvPr id="73" name="Rectangle 11">
            <a:extLst>
              <a:ext uri="{FF2B5EF4-FFF2-40B4-BE49-F238E27FC236}">
                <a16:creationId xmlns:a16="http://schemas.microsoft.com/office/drawing/2014/main" id="{DA59DD06-20E7-49B7-ACB8-7857338E4F62}"/>
              </a:ext>
            </a:extLst>
          </p:cNvPr>
          <p:cNvSpPr/>
          <p:nvPr/>
        </p:nvSpPr>
        <p:spPr bwMode="auto">
          <a:xfrm>
            <a:off x="5188293" y="3382111"/>
            <a:ext cx="672319" cy="0"/>
          </a:xfrm>
          <a:custGeom>
            <a:avLst/>
            <a:gdLst>
              <a:gd name="connsiteX0" fmla="*/ 0 w 1183946"/>
              <a:gd name="connsiteY0" fmla="*/ 0 h 312008"/>
              <a:gd name="connsiteX1" fmla="*/ 1183946 w 1183946"/>
              <a:gd name="connsiteY1" fmla="*/ 0 h 312008"/>
              <a:gd name="connsiteX2" fmla="*/ 1183946 w 1183946"/>
              <a:gd name="connsiteY2" fmla="*/ 312008 h 312008"/>
              <a:gd name="connsiteX3" fmla="*/ 0 w 1183946"/>
              <a:gd name="connsiteY3" fmla="*/ 312008 h 312008"/>
              <a:gd name="connsiteX4" fmla="*/ 0 w 1183946"/>
              <a:gd name="connsiteY4" fmla="*/ 0 h 312008"/>
              <a:gd name="connsiteX0" fmla="*/ 1183946 w 1275386"/>
              <a:gd name="connsiteY0" fmla="*/ 312008 h 403448"/>
              <a:gd name="connsiteX1" fmla="*/ 0 w 1275386"/>
              <a:gd name="connsiteY1" fmla="*/ 312008 h 403448"/>
              <a:gd name="connsiteX2" fmla="*/ 0 w 1275386"/>
              <a:gd name="connsiteY2" fmla="*/ 0 h 403448"/>
              <a:gd name="connsiteX3" fmla="*/ 1183946 w 1275386"/>
              <a:gd name="connsiteY3" fmla="*/ 0 h 403448"/>
              <a:gd name="connsiteX4" fmla="*/ 1275386 w 1275386"/>
              <a:gd name="connsiteY4" fmla="*/ 403448 h 403448"/>
              <a:gd name="connsiteX0" fmla="*/ 1183946 w 1183946"/>
              <a:gd name="connsiteY0" fmla="*/ 312008 h 312008"/>
              <a:gd name="connsiteX1" fmla="*/ 0 w 1183946"/>
              <a:gd name="connsiteY1" fmla="*/ 312008 h 312008"/>
              <a:gd name="connsiteX2" fmla="*/ 0 w 1183946"/>
              <a:gd name="connsiteY2" fmla="*/ 0 h 312008"/>
              <a:gd name="connsiteX3" fmla="*/ 1183946 w 1183946"/>
              <a:gd name="connsiteY3" fmla="*/ 0 h 312008"/>
              <a:gd name="connsiteX0" fmla="*/ 0 w 1183946"/>
              <a:gd name="connsiteY0" fmla="*/ 312008 h 312008"/>
              <a:gd name="connsiteX1" fmla="*/ 0 w 1183946"/>
              <a:gd name="connsiteY1" fmla="*/ 0 h 312008"/>
              <a:gd name="connsiteX2" fmla="*/ 1183946 w 1183946"/>
              <a:gd name="connsiteY2" fmla="*/ 0 h 312008"/>
              <a:gd name="connsiteX0" fmla="*/ 0 w 1183946"/>
              <a:gd name="connsiteY0" fmla="*/ 0 h 0"/>
              <a:gd name="connsiteX1" fmla="*/ 1183946 w 1183946"/>
              <a:gd name="connsiteY1" fmla="*/ 0 h 0"/>
            </a:gdLst>
            <a:ahLst/>
            <a:cxnLst>
              <a:cxn ang="0">
                <a:pos x="connsiteX0" y="connsiteY0"/>
              </a:cxn>
              <a:cxn ang="0">
                <a:pos x="connsiteX1" y="connsiteY1"/>
              </a:cxn>
            </a:cxnLst>
            <a:rect l="l" t="t" r="r" b="b"/>
            <a:pathLst>
              <a:path w="1183946">
                <a:moveTo>
                  <a:pt x="0" y="0"/>
                </a:moveTo>
                <a:lnTo>
                  <a:pt x="1183946" y="0"/>
                </a:lnTo>
              </a:path>
            </a:pathLst>
          </a:custGeom>
          <a:noFill/>
          <a:ln w="6350">
            <a:solidFill>
              <a:schemeClr val="bg1">
                <a:lumMod val="95000"/>
              </a:schemeClr>
            </a:solidFill>
            <a:headEnd type="none" w="med" len="med"/>
            <a:tailEnd type="arrow"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a:lnSpc>
                <a:spcPct val="90000"/>
              </a:lnSpc>
              <a:defRPr/>
            </a:pPr>
            <a:endParaRPr lang="en-IN" sz="1765" b="0" dirty="0" err="1">
              <a:solidFill>
                <a:srgbClr val="FFFFFF"/>
              </a:solidFill>
              <a:latin typeface="Segoe UI Semilight"/>
              <a:ea typeface="Segoe UI" pitchFamily="34" charset="0"/>
              <a:cs typeface="Segoe UI" pitchFamily="34" charset="0"/>
            </a:endParaRPr>
          </a:p>
        </p:txBody>
      </p:sp>
      <p:sp>
        <p:nvSpPr>
          <p:cNvPr id="74" name="Rectangle 11">
            <a:extLst>
              <a:ext uri="{FF2B5EF4-FFF2-40B4-BE49-F238E27FC236}">
                <a16:creationId xmlns:a16="http://schemas.microsoft.com/office/drawing/2014/main" id="{2EF63433-0BD4-472D-A740-A702C8E4772F}"/>
              </a:ext>
            </a:extLst>
          </p:cNvPr>
          <p:cNvSpPr/>
          <p:nvPr/>
        </p:nvSpPr>
        <p:spPr bwMode="auto">
          <a:xfrm>
            <a:off x="6968475" y="3382111"/>
            <a:ext cx="672319" cy="0"/>
          </a:xfrm>
          <a:custGeom>
            <a:avLst/>
            <a:gdLst>
              <a:gd name="connsiteX0" fmla="*/ 0 w 1183946"/>
              <a:gd name="connsiteY0" fmla="*/ 0 h 312008"/>
              <a:gd name="connsiteX1" fmla="*/ 1183946 w 1183946"/>
              <a:gd name="connsiteY1" fmla="*/ 0 h 312008"/>
              <a:gd name="connsiteX2" fmla="*/ 1183946 w 1183946"/>
              <a:gd name="connsiteY2" fmla="*/ 312008 h 312008"/>
              <a:gd name="connsiteX3" fmla="*/ 0 w 1183946"/>
              <a:gd name="connsiteY3" fmla="*/ 312008 h 312008"/>
              <a:gd name="connsiteX4" fmla="*/ 0 w 1183946"/>
              <a:gd name="connsiteY4" fmla="*/ 0 h 312008"/>
              <a:gd name="connsiteX0" fmla="*/ 1183946 w 1275386"/>
              <a:gd name="connsiteY0" fmla="*/ 312008 h 403448"/>
              <a:gd name="connsiteX1" fmla="*/ 0 w 1275386"/>
              <a:gd name="connsiteY1" fmla="*/ 312008 h 403448"/>
              <a:gd name="connsiteX2" fmla="*/ 0 w 1275386"/>
              <a:gd name="connsiteY2" fmla="*/ 0 h 403448"/>
              <a:gd name="connsiteX3" fmla="*/ 1183946 w 1275386"/>
              <a:gd name="connsiteY3" fmla="*/ 0 h 403448"/>
              <a:gd name="connsiteX4" fmla="*/ 1275386 w 1275386"/>
              <a:gd name="connsiteY4" fmla="*/ 403448 h 403448"/>
              <a:gd name="connsiteX0" fmla="*/ 1183946 w 1183946"/>
              <a:gd name="connsiteY0" fmla="*/ 312008 h 312008"/>
              <a:gd name="connsiteX1" fmla="*/ 0 w 1183946"/>
              <a:gd name="connsiteY1" fmla="*/ 312008 h 312008"/>
              <a:gd name="connsiteX2" fmla="*/ 0 w 1183946"/>
              <a:gd name="connsiteY2" fmla="*/ 0 h 312008"/>
              <a:gd name="connsiteX3" fmla="*/ 1183946 w 1183946"/>
              <a:gd name="connsiteY3" fmla="*/ 0 h 312008"/>
              <a:gd name="connsiteX0" fmla="*/ 0 w 1183946"/>
              <a:gd name="connsiteY0" fmla="*/ 312008 h 312008"/>
              <a:gd name="connsiteX1" fmla="*/ 0 w 1183946"/>
              <a:gd name="connsiteY1" fmla="*/ 0 h 312008"/>
              <a:gd name="connsiteX2" fmla="*/ 1183946 w 1183946"/>
              <a:gd name="connsiteY2" fmla="*/ 0 h 312008"/>
              <a:gd name="connsiteX0" fmla="*/ 0 w 1183946"/>
              <a:gd name="connsiteY0" fmla="*/ 0 h 0"/>
              <a:gd name="connsiteX1" fmla="*/ 1183946 w 1183946"/>
              <a:gd name="connsiteY1" fmla="*/ 0 h 0"/>
            </a:gdLst>
            <a:ahLst/>
            <a:cxnLst>
              <a:cxn ang="0">
                <a:pos x="connsiteX0" y="connsiteY0"/>
              </a:cxn>
              <a:cxn ang="0">
                <a:pos x="connsiteX1" y="connsiteY1"/>
              </a:cxn>
            </a:cxnLst>
            <a:rect l="l" t="t" r="r" b="b"/>
            <a:pathLst>
              <a:path w="1183946">
                <a:moveTo>
                  <a:pt x="0" y="0"/>
                </a:moveTo>
                <a:lnTo>
                  <a:pt x="1183946" y="0"/>
                </a:lnTo>
              </a:path>
            </a:pathLst>
          </a:custGeom>
          <a:noFill/>
          <a:ln w="6350">
            <a:solidFill>
              <a:schemeClr val="bg1">
                <a:lumMod val="95000"/>
              </a:schemeClr>
            </a:solidFill>
            <a:headEnd type="none" w="med" len="med"/>
            <a:tailEnd type="arrow"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a:lnSpc>
                <a:spcPct val="90000"/>
              </a:lnSpc>
              <a:defRPr/>
            </a:pPr>
            <a:endParaRPr lang="en-IN" sz="1765" b="0" dirty="0" err="1">
              <a:solidFill>
                <a:srgbClr val="FFFFFF"/>
              </a:solidFill>
              <a:latin typeface="Segoe UI Semilight"/>
              <a:ea typeface="Segoe UI" pitchFamily="34" charset="0"/>
              <a:cs typeface="Segoe UI" pitchFamily="34" charset="0"/>
            </a:endParaRPr>
          </a:p>
        </p:txBody>
      </p:sp>
      <p:sp>
        <p:nvSpPr>
          <p:cNvPr id="75" name="Rectangle 11">
            <a:extLst>
              <a:ext uri="{FF2B5EF4-FFF2-40B4-BE49-F238E27FC236}">
                <a16:creationId xmlns:a16="http://schemas.microsoft.com/office/drawing/2014/main" id="{4542B120-5763-4BB4-A97B-AC22DCB69B8F}"/>
              </a:ext>
            </a:extLst>
          </p:cNvPr>
          <p:cNvSpPr/>
          <p:nvPr/>
        </p:nvSpPr>
        <p:spPr bwMode="auto">
          <a:xfrm>
            <a:off x="6968475" y="4956527"/>
            <a:ext cx="672319" cy="0"/>
          </a:xfrm>
          <a:custGeom>
            <a:avLst/>
            <a:gdLst>
              <a:gd name="connsiteX0" fmla="*/ 0 w 1183946"/>
              <a:gd name="connsiteY0" fmla="*/ 0 h 312008"/>
              <a:gd name="connsiteX1" fmla="*/ 1183946 w 1183946"/>
              <a:gd name="connsiteY1" fmla="*/ 0 h 312008"/>
              <a:gd name="connsiteX2" fmla="*/ 1183946 w 1183946"/>
              <a:gd name="connsiteY2" fmla="*/ 312008 h 312008"/>
              <a:gd name="connsiteX3" fmla="*/ 0 w 1183946"/>
              <a:gd name="connsiteY3" fmla="*/ 312008 h 312008"/>
              <a:gd name="connsiteX4" fmla="*/ 0 w 1183946"/>
              <a:gd name="connsiteY4" fmla="*/ 0 h 312008"/>
              <a:gd name="connsiteX0" fmla="*/ 1183946 w 1275386"/>
              <a:gd name="connsiteY0" fmla="*/ 312008 h 403448"/>
              <a:gd name="connsiteX1" fmla="*/ 0 w 1275386"/>
              <a:gd name="connsiteY1" fmla="*/ 312008 h 403448"/>
              <a:gd name="connsiteX2" fmla="*/ 0 w 1275386"/>
              <a:gd name="connsiteY2" fmla="*/ 0 h 403448"/>
              <a:gd name="connsiteX3" fmla="*/ 1183946 w 1275386"/>
              <a:gd name="connsiteY3" fmla="*/ 0 h 403448"/>
              <a:gd name="connsiteX4" fmla="*/ 1275386 w 1275386"/>
              <a:gd name="connsiteY4" fmla="*/ 403448 h 403448"/>
              <a:gd name="connsiteX0" fmla="*/ 1183946 w 1183946"/>
              <a:gd name="connsiteY0" fmla="*/ 312008 h 312008"/>
              <a:gd name="connsiteX1" fmla="*/ 0 w 1183946"/>
              <a:gd name="connsiteY1" fmla="*/ 312008 h 312008"/>
              <a:gd name="connsiteX2" fmla="*/ 0 w 1183946"/>
              <a:gd name="connsiteY2" fmla="*/ 0 h 312008"/>
              <a:gd name="connsiteX3" fmla="*/ 1183946 w 1183946"/>
              <a:gd name="connsiteY3" fmla="*/ 0 h 312008"/>
              <a:gd name="connsiteX0" fmla="*/ 0 w 1183946"/>
              <a:gd name="connsiteY0" fmla="*/ 312008 h 312008"/>
              <a:gd name="connsiteX1" fmla="*/ 0 w 1183946"/>
              <a:gd name="connsiteY1" fmla="*/ 0 h 312008"/>
              <a:gd name="connsiteX2" fmla="*/ 1183946 w 1183946"/>
              <a:gd name="connsiteY2" fmla="*/ 0 h 312008"/>
              <a:gd name="connsiteX0" fmla="*/ 0 w 1183946"/>
              <a:gd name="connsiteY0" fmla="*/ 0 h 0"/>
              <a:gd name="connsiteX1" fmla="*/ 1183946 w 1183946"/>
              <a:gd name="connsiteY1" fmla="*/ 0 h 0"/>
            </a:gdLst>
            <a:ahLst/>
            <a:cxnLst>
              <a:cxn ang="0">
                <a:pos x="connsiteX0" y="connsiteY0"/>
              </a:cxn>
              <a:cxn ang="0">
                <a:pos x="connsiteX1" y="connsiteY1"/>
              </a:cxn>
            </a:cxnLst>
            <a:rect l="l" t="t" r="r" b="b"/>
            <a:pathLst>
              <a:path w="1183946">
                <a:moveTo>
                  <a:pt x="0" y="0"/>
                </a:moveTo>
                <a:lnTo>
                  <a:pt x="1183946" y="0"/>
                </a:lnTo>
              </a:path>
            </a:pathLst>
          </a:custGeom>
          <a:noFill/>
          <a:ln w="6350">
            <a:solidFill>
              <a:schemeClr val="bg1">
                <a:lumMod val="95000"/>
              </a:schemeClr>
            </a:solidFill>
            <a:headEnd type="none" w="med" len="med"/>
            <a:tailEnd type="arrow"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a:lnSpc>
                <a:spcPct val="90000"/>
              </a:lnSpc>
              <a:defRPr/>
            </a:pPr>
            <a:endParaRPr lang="en-IN" sz="1765" b="0" dirty="0" err="1">
              <a:solidFill>
                <a:srgbClr val="FFFFFF"/>
              </a:solidFill>
              <a:latin typeface="Segoe UI Semilight"/>
              <a:ea typeface="Segoe UI" pitchFamily="34" charset="0"/>
              <a:cs typeface="Segoe UI" pitchFamily="34" charset="0"/>
            </a:endParaRPr>
          </a:p>
        </p:txBody>
      </p:sp>
      <p:sp>
        <p:nvSpPr>
          <p:cNvPr id="76" name="Rectangle 11">
            <a:extLst>
              <a:ext uri="{FF2B5EF4-FFF2-40B4-BE49-F238E27FC236}">
                <a16:creationId xmlns:a16="http://schemas.microsoft.com/office/drawing/2014/main" id="{4262CCD7-F297-4B96-9064-4C44665DF42A}"/>
              </a:ext>
            </a:extLst>
          </p:cNvPr>
          <p:cNvSpPr/>
          <p:nvPr/>
        </p:nvSpPr>
        <p:spPr bwMode="auto">
          <a:xfrm flipH="1">
            <a:off x="6968475" y="2139598"/>
            <a:ext cx="672319" cy="0"/>
          </a:xfrm>
          <a:custGeom>
            <a:avLst/>
            <a:gdLst>
              <a:gd name="connsiteX0" fmla="*/ 0 w 1183946"/>
              <a:gd name="connsiteY0" fmla="*/ 0 h 312008"/>
              <a:gd name="connsiteX1" fmla="*/ 1183946 w 1183946"/>
              <a:gd name="connsiteY1" fmla="*/ 0 h 312008"/>
              <a:gd name="connsiteX2" fmla="*/ 1183946 w 1183946"/>
              <a:gd name="connsiteY2" fmla="*/ 312008 h 312008"/>
              <a:gd name="connsiteX3" fmla="*/ 0 w 1183946"/>
              <a:gd name="connsiteY3" fmla="*/ 312008 h 312008"/>
              <a:gd name="connsiteX4" fmla="*/ 0 w 1183946"/>
              <a:gd name="connsiteY4" fmla="*/ 0 h 312008"/>
              <a:gd name="connsiteX0" fmla="*/ 1183946 w 1275386"/>
              <a:gd name="connsiteY0" fmla="*/ 312008 h 403448"/>
              <a:gd name="connsiteX1" fmla="*/ 0 w 1275386"/>
              <a:gd name="connsiteY1" fmla="*/ 312008 h 403448"/>
              <a:gd name="connsiteX2" fmla="*/ 0 w 1275386"/>
              <a:gd name="connsiteY2" fmla="*/ 0 h 403448"/>
              <a:gd name="connsiteX3" fmla="*/ 1183946 w 1275386"/>
              <a:gd name="connsiteY3" fmla="*/ 0 h 403448"/>
              <a:gd name="connsiteX4" fmla="*/ 1275386 w 1275386"/>
              <a:gd name="connsiteY4" fmla="*/ 403448 h 403448"/>
              <a:gd name="connsiteX0" fmla="*/ 1183946 w 1183946"/>
              <a:gd name="connsiteY0" fmla="*/ 312008 h 312008"/>
              <a:gd name="connsiteX1" fmla="*/ 0 w 1183946"/>
              <a:gd name="connsiteY1" fmla="*/ 312008 h 312008"/>
              <a:gd name="connsiteX2" fmla="*/ 0 w 1183946"/>
              <a:gd name="connsiteY2" fmla="*/ 0 h 312008"/>
              <a:gd name="connsiteX3" fmla="*/ 1183946 w 1183946"/>
              <a:gd name="connsiteY3" fmla="*/ 0 h 312008"/>
              <a:gd name="connsiteX0" fmla="*/ 0 w 1183946"/>
              <a:gd name="connsiteY0" fmla="*/ 312008 h 312008"/>
              <a:gd name="connsiteX1" fmla="*/ 0 w 1183946"/>
              <a:gd name="connsiteY1" fmla="*/ 0 h 312008"/>
              <a:gd name="connsiteX2" fmla="*/ 1183946 w 1183946"/>
              <a:gd name="connsiteY2" fmla="*/ 0 h 312008"/>
              <a:gd name="connsiteX0" fmla="*/ 0 w 1183946"/>
              <a:gd name="connsiteY0" fmla="*/ 0 h 0"/>
              <a:gd name="connsiteX1" fmla="*/ 1183946 w 1183946"/>
              <a:gd name="connsiteY1" fmla="*/ 0 h 0"/>
            </a:gdLst>
            <a:ahLst/>
            <a:cxnLst>
              <a:cxn ang="0">
                <a:pos x="connsiteX0" y="connsiteY0"/>
              </a:cxn>
              <a:cxn ang="0">
                <a:pos x="connsiteX1" y="connsiteY1"/>
              </a:cxn>
            </a:cxnLst>
            <a:rect l="l" t="t" r="r" b="b"/>
            <a:pathLst>
              <a:path w="1183946">
                <a:moveTo>
                  <a:pt x="0" y="0"/>
                </a:moveTo>
                <a:lnTo>
                  <a:pt x="1183946" y="0"/>
                </a:lnTo>
              </a:path>
            </a:pathLst>
          </a:custGeom>
          <a:noFill/>
          <a:ln w="6350">
            <a:solidFill>
              <a:schemeClr val="bg1">
                <a:lumMod val="95000"/>
              </a:schemeClr>
            </a:solidFill>
            <a:headEnd type="none" w="med" len="med"/>
            <a:tailEnd type="arrow"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a:lnSpc>
                <a:spcPct val="90000"/>
              </a:lnSpc>
              <a:defRPr/>
            </a:pPr>
            <a:endParaRPr lang="en-IN" sz="1765" b="0" dirty="0" err="1">
              <a:solidFill>
                <a:srgbClr val="FFFFFF"/>
              </a:solidFill>
              <a:latin typeface="Segoe UI Semilight"/>
              <a:ea typeface="Segoe UI" pitchFamily="34" charset="0"/>
              <a:cs typeface="Segoe UI" pitchFamily="34" charset="0"/>
            </a:endParaRPr>
          </a:p>
        </p:txBody>
      </p:sp>
      <p:sp>
        <p:nvSpPr>
          <p:cNvPr id="77" name="Rectangle 11">
            <a:extLst>
              <a:ext uri="{FF2B5EF4-FFF2-40B4-BE49-F238E27FC236}">
                <a16:creationId xmlns:a16="http://schemas.microsoft.com/office/drawing/2014/main" id="{4629BC51-430C-4506-A863-07A73CB75257}"/>
              </a:ext>
            </a:extLst>
          </p:cNvPr>
          <p:cNvSpPr/>
          <p:nvPr/>
        </p:nvSpPr>
        <p:spPr bwMode="auto">
          <a:xfrm rot="5400000">
            <a:off x="6162382" y="4337627"/>
            <a:ext cx="403391" cy="0"/>
          </a:xfrm>
          <a:custGeom>
            <a:avLst/>
            <a:gdLst>
              <a:gd name="connsiteX0" fmla="*/ 0 w 1183946"/>
              <a:gd name="connsiteY0" fmla="*/ 0 h 312008"/>
              <a:gd name="connsiteX1" fmla="*/ 1183946 w 1183946"/>
              <a:gd name="connsiteY1" fmla="*/ 0 h 312008"/>
              <a:gd name="connsiteX2" fmla="*/ 1183946 w 1183946"/>
              <a:gd name="connsiteY2" fmla="*/ 312008 h 312008"/>
              <a:gd name="connsiteX3" fmla="*/ 0 w 1183946"/>
              <a:gd name="connsiteY3" fmla="*/ 312008 h 312008"/>
              <a:gd name="connsiteX4" fmla="*/ 0 w 1183946"/>
              <a:gd name="connsiteY4" fmla="*/ 0 h 312008"/>
              <a:gd name="connsiteX0" fmla="*/ 1183946 w 1275386"/>
              <a:gd name="connsiteY0" fmla="*/ 312008 h 403448"/>
              <a:gd name="connsiteX1" fmla="*/ 0 w 1275386"/>
              <a:gd name="connsiteY1" fmla="*/ 312008 h 403448"/>
              <a:gd name="connsiteX2" fmla="*/ 0 w 1275386"/>
              <a:gd name="connsiteY2" fmla="*/ 0 h 403448"/>
              <a:gd name="connsiteX3" fmla="*/ 1183946 w 1275386"/>
              <a:gd name="connsiteY3" fmla="*/ 0 h 403448"/>
              <a:gd name="connsiteX4" fmla="*/ 1275386 w 1275386"/>
              <a:gd name="connsiteY4" fmla="*/ 403448 h 403448"/>
              <a:gd name="connsiteX0" fmla="*/ 1183946 w 1183946"/>
              <a:gd name="connsiteY0" fmla="*/ 312008 h 312008"/>
              <a:gd name="connsiteX1" fmla="*/ 0 w 1183946"/>
              <a:gd name="connsiteY1" fmla="*/ 312008 h 312008"/>
              <a:gd name="connsiteX2" fmla="*/ 0 w 1183946"/>
              <a:gd name="connsiteY2" fmla="*/ 0 h 312008"/>
              <a:gd name="connsiteX3" fmla="*/ 1183946 w 1183946"/>
              <a:gd name="connsiteY3" fmla="*/ 0 h 312008"/>
              <a:gd name="connsiteX0" fmla="*/ 0 w 1183946"/>
              <a:gd name="connsiteY0" fmla="*/ 312008 h 312008"/>
              <a:gd name="connsiteX1" fmla="*/ 0 w 1183946"/>
              <a:gd name="connsiteY1" fmla="*/ 0 h 312008"/>
              <a:gd name="connsiteX2" fmla="*/ 1183946 w 1183946"/>
              <a:gd name="connsiteY2" fmla="*/ 0 h 312008"/>
              <a:gd name="connsiteX0" fmla="*/ 0 w 1183946"/>
              <a:gd name="connsiteY0" fmla="*/ 0 h 0"/>
              <a:gd name="connsiteX1" fmla="*/ 1183946 w 1183946"/>
              <a:gd name="connsiteY1" fmla="*/ 0 h 0"/>
            </a:gdLst>
            <a:ahLst/>
            <a:cxnLst>
              <a:cxn ang="0">
                <a:pos x="connsiteX0" y="connsiteY0"/>
              </a:cxn>
              <a:cxn ang="0">
                <a:pos x="connsiteX1" y="connsiteY1"/>
              </a:cxn>
            </a:cxnLst>
            <a:rect l="l" t="t" r="r" b="b"/>
            <a:pathLst>
              <a:path w="1183946">
                <a:moveTo>
                  <a:pt x="0" y="0"/>
                </a:moveTo>
                <a:lnTo>
                  <a:pt x="1183946" y="0"/>
                </a:lnTo>
              </a:path>
            </a:pathLst>
          </a:custGeom>
          <a:noFill/>
          <a:ln w="6350">
            <a:solidFill>
              <a:schemeClr val="bg1">
                <a:lumMod val="95000"/>
              </a:schemeClr>
            </a:solidFill>
            <a:headEnd type="none" w="med" len="med"/>
            <a:tailEnd type="arrow"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a:lnSpc>
                <a:spcPct val="90000"/>
              </a:lnSpc>
              <a:defRPr/>
            </a:pPr>
            <a:endParaRPr lang="en-IN" sz="1765" b="0" dirty="0" err="1">
              <a:solidFill>
                <a:srgbClr val="FFFFFF"/>
              </a:solidFill>
              <a:latin typeface="Segoe UI Semilight"/>
              <a:ea typeface="Segoe UI" pitchFamily="34" charset="0"/>
              <a:cs typeface="Segoe UI" pitchFamily="34" charset="0"/>
            </a:endParaRPr>
          </a:p>
        </p:txBody>
      </p:sp>
      <p:sp>
        <p:nvSpPr>
          <p:cNvPr id="78" name="Rectangle 31">
            <a:extLst>
              <a:ext uri="{FF2B5EF4-FFF2-40B4-BE49-F238E27FC236}">
                <a16:creationId xmlns:a16="http://schemas.microsoft.com/office/drawing/2014/main" id="{266ED91A-6B30-4A5F-9AD5-4DBCE8497E3B}"/>
              </a:ext>
            </a:extLst>
          </p:cNvPr>
          <p:cNvSpPr/>
          <p:nvPr/>
        </p:nvSpPr>
        <p:spPr bwMode="auto">
          <a:xfrm rot="16200000" flipH="1" flipV="1">
            <a:off x="4825501" y="1942128"/>
            <a:ext cx="843713" cy="1238660"/>
          </a:xfrm>
          <a:custGeom>
            <a:avLst/>
            <a:gdLst>
              <a:gd name="connsiteX0" fmla="*/ 0 w 4419600"/>
              <a:gd name="connsiteY0" fmla="*/ 0 h 3030384"/>
              <a:gd name="connsiteX1" fmla="*/ 4419600 w 4419600"/>
              <a:gd name="connsiteY1" fmla="*/ 0 h 3030384"/>
              <a:gd name="connsiteX2" fmla="*/ 4419600 w 4419600"/>
              <a:gd name="connsiteY2" fmla="*/ 3030384 h 3030384"/>
              <a:gd name="connsiteX3" fmla="*/ 0 w 4419600"/>
              <a:gd name="connsiteY3" fmla="*/ 3030384 h 3030384"/>
              <a:gd name="connsiteX4" fmla="*/ 0 w 4419600"/>
              <a:gd name="connsiteY4" fmla="*/ 0 h 3030384"/>
              <a:gd name="connsiteX0" fmla="*/ 4419600 w 4511040"/>
              <a:gd name="connsiteY0" fmla="*/ 0 h 3030384"/>
              <a:gd name="connsiteX1" fmla="*/ 4419600 w 4511040"/>
              <a:gd name="connsiteY1" fmla="*/ 3030384 h 3030384"/>
              <a:gd name="connsiteX2" fmla="*/ 0 w 4511040"/>
              <a:gd name="connsiteY2" fmla="*/ 3030384 h 3030384"/>
              <a:gd name="connsiteX3" fmla="*/ 0 w 4511040"/>
              <a:gd name="connsiteY3" fmla="*/ 0 h 3030384"/>
              <a:gd name="connsiteX4" fmla="*/ 4511040 w 4511040"/>
              <a:gd name="connsiteY4" fmla="*/ 91440 h 3030384"/>
              <a:gd name="connsiteX0" fmla="*/ 4419600 w 4419600"/>
              <a:gd name="connsiteY0" fmla="*/ 0 h 3030384"/>
              <a:gd name="connsiteX1" fmla="*/ 4419600 w 4419600"/>
              <a:gd name="connsiteY1" fmla="*/ 3030384 h 3030384"/>
              <a:gd name="connsiteX2" fmla="*/ 0 w 4419600"/>
              <a:gd name="connsiteY2" fmla="*/ 3030384 h 3030384"/>
              <a:gd name="connsiteX3" fmla="*/ 0 w 4419600"/>
              <a:gd name="connsiteY3" fmla="*/ 0 h 3030384"/>
              <a:gd name="connsiteX0" fmla="*/ 4419600 w 4419600"/>
              <a:gd name="connsiteY0" fmla="*/ 3030384 h 3030384"/>
              <a:gd name="connsiteX1" fmla="*/ 0 w 4419600"/>
              <a:gd name="connsiteY1" fmla="*/ 3030384 h 3030384"/>
              <a:gd name="connsiteX2" fmla="*/ 0 w 4419600"/>
              <a:gd name="connsiteY2" fmla="*/ 0 h 3030384"/>
            </a:gdLst>
            <a:ahLst/>
            <a:cxnLst>
              <a:cxn ang="0">
                <a:pos x="connsiteX0" y="connsiteY0"/>
              </a:cxn>
              <a:cxn ang="0">
                <a:pos x="connsiteX1" y="connsiteY1"/>
              </a:cxn>
              <a:cxn ang="0">
                <a:pos x="connsiteX2" y="connsiteY2"/>
              </a:cxn>
            </a:cxnLst>
            <a:rect l="l" t="t" r="r" b="b"/>
            <a:pathLst>
              <a:path w="4419600" h="3030384">
                <a:moveTo>
                  <a:pt x="4419600" y="3030384"/>
                </a:moveTo>
                <a:lnTo>
                  <a:pt x="0" y="3030384"/>
                </a:lnTo>
                <a:lnTo>
                  <a:pt x="0" y="0"/>
                </a:lnTo>
              </a:path>
            </a:pathLst>
          </a:custGeom>
          <a:noFill/>
          <a:ln w="6350">
            <a:solidFill>
              <a:schemeClr val="bg1">
                <a:lumMod val="95000"/>
              </a:schemeClr>
            </a:solidFill>
            <a:headEnd type="none" w="med" len="med"/>
            <a:tailEnd type="arrow"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a:lnSpc>
                <a:spcPct val="90000"/>
              </a:lnSpc>
              <a:defRPr/>
            </a:pPr>
            <a:endParaRPr lang="en-IN" sz="1765" b="0" dirty="0" err="1">
              <a:solidFill>
                <a:srgbClr val="FFFFFF"/>
              </a:solidFill>
              <a:latin typeface="Segoe UI Semilight"/>
              <a:cs typeface="Segoe UI" pitchFamily="34" charset="0"/>
            </a:endParaRPr>
          </a:p>
        </p:txBody>
      </p:sp>
      <p:sp>
        <p:nvSpPr>
          <p:cNvPr id="79" name="TextBox 78">
            <a:extLst>
              <a:ext uri="{FF2B5EF4-FFF2-40B4-BE49-F238E27FC236}">
                <a16:creationId xmlns:a16="http://schemas.microsoft.com/office/drawing/2014/main" id="{B3AEF6F3-F007-40F9-97C0-E4E6A3A86C24}"/>
              </a:ext>
            </a:extLst>
          </p:cNvPr>
          <p:cNvSpPr txBox="1"/>
          <p:nvPr/>
        </p:nvSpPr>
        <p:spPr>
          <a:xfrm>
            <a:off x="5944858" y="5247365"/>
            <a:ext cx="818575" cy="142565"/>
          </a:xfrm>
          <a:prstGeom prst="rect">
            <a:avLst/>
          </a:prstGeom>
          <a:noFill/>
        </p:spPr>
        <p:txBody>
          <a:bodyPr wrap="none" lIns="0" tIns="0" rIns="0" bIns="0" rtlCol="0">
            <a:noAutofit/>
          </a:bodyPr>
          <a:lstStyle/>
          <a:p>
            <a:pPr algn="ctr" defTabSz="685775" fontAlgn="auto">
              <a:lnSpc>
                <a:spcPct val="90000"/>
              </a:lnSpc>
              <a:spcBef>
                <a:spcPts val="0"/>
              </a:spcBef>
              <a:spcAft>
                <a:spcPts val="441"/>
              </a:spcAft>
              <a:defRPr/>
            </a:pPr>
            <a:r>
              <a:rPr lang="en-US" sz="1029" b="0" dirty="0">
                <a:solidFill>
                  <a:srgbClr val="FFFFFF"/>
                </a:solidFill>
                <a:latin typeface="Segoe UI Semilight"/>
                <a:cs typeface="+mn-cs"/>
              </a:rPr>
              <a:t>Azure Functions</a:t>
            </a:r>
          </a:p>
        </p:txBody>
      </p:sp>
      <p:sp>
        <p:nvSpPr>
          <p:cNvPr id="80" name="TextBox 79">
            <a:extLst>
              <a:ext uri="{FF2B5EF4-FFF2-40B4-BE49-F238E27FC236}">
                <a16:creationId xmlns:a16="http://schemas.microsoft.com/office/drawing/2014/main" id="{58E97953-CDA5-4F5B-B9F8-9902A04B7428}"/>
              </a:ext>
            </a:extLst>
          </p:cNvPr>
          <p:cNvSpPr txBox="1"/>
          <p:nvPr/>
        </p:nvSpPr>
        <p:spPr>
          <a:xfrm>
            <a:off x="7731311" y="5247365"/>
            <a:ext cx="818575" cy="142565"/>
          </a:xfrm>
          <a:prstGeom prst="rect">
            <a:avLst/>
          </a:prstGeom>
          <a:noFill/>
        </p:spPr>
        <p:txBody>
          <a:bodyPr wrap="none" lIns="0" tIns="0" rIns="0" bIns="0" rtlCol="0">
            <a:noAutofit/>
          </a:bodyPr>
          <a:lstStyle/>
          <a:p>
            <a:pPr algn="ctr" defTabSz="685775" fontAlgn="auto">
              <a:lnSpc>
                <a:spcPct val="90000"/>
              </a:lnSpc>
              <a:spcBef>
                <a:spcPts val="0"/>
              </a:spcBef>
              <a:spcAft>
                <a:spcPts val="441"/>
              </a:spcAft>
              <a:defRPr/>
            </a:pPr>
            <a:r>
              <a:rPr lang="en-US" sz="1029" b="0" dirty="0">
                <a:solidFill>
                  <a:srgbClr val="FFFFFF"/>
                </a:solidFill>
                <a:latin typeface="Segoe UI Semilight"/>
                <a:cs typeface="+mn-cs"/>
              </a:rPr>
              <a:t>Azure Notification Hub</a:t>
            </a:r>
            <a:br>
              <a:rPr lang="en-US" sz="1029" b="0" dirty="0">
                <a:solidFill>
                  <a:srgbClr val="FFFFFF"/>
                </a:solidFill>
                <a:latin typeface="Segoe UI Semilight"/>
                <a:cs typeface="+mn-cs"/>
              </a:rPr>
            </a:br>
            <a:r>
              <a:rPr lang="en-US" sz="1029" b="0" dirty="0">
                <a:solidFill>
                  <a:srgbClr val="FFFFFF"/>
                </a:solidFill>
                <a:latin typeface="Segoe UI Semilight"/>
                <a:cs typeface="+mn-cs"/>
              </a:rPr>
              <a:t>(Push notifications)</a:t>
            </a:r>
          </a:p>
        </p:txBody>
      </p:sp>
    </p:spTree>
    <p:extLst>
      <p:ext uri="{BB962C8B-B14F-4D97-AF65-F5344CB8AC3E}">
        <p14:creationId xmlns:p14="http://schemas.microsoft.com/office/powerpoint/2010/main" val="20565294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9597EB-FC36-41FE-A120-E5694647B8CA}"/>
              </a:ext>
            </a:extLst>
          </p:cNvPr>
          <p:cNvSpPr>
            <a:spLocks noGrp="1"/>
          </p:cNvSpPr>
          <p:nvPr>
            <p:ph type="title"/>
          </p:nvPr>
        </p:nvSpPr>
        <p:spPr/>
        <p:txBody>
          <a:bodyPr/>
          <a:lstStyle/>
          <a:p>
            <a:r>
              <a:rPr lang="en-US" dirty="0"/>
              <a:t>Scenarios</a:t>
            </a:r>
          </a:p>
        </p:txBody>
      </p:sp>
      <p:sp>
        <p:nvSpPr>
          <p:cNvPr id="3" name="Content Placeholder 2">
            <a:extLst>
              <a:ext uri="{FF2B5EF4-FFF2-40B4-BE49-F238E27FC236}">
                <a16:creationId xmlns:a16="http://schemas.microsoft.com/office/drawing/2014/main" id="{75A647B0-2E0F-460C-AF35-D836C72243C3}"/>
              </a:ext>
            </a:extLst>
          </p:cNvPr>
          <p:cNvSpPr>
            <a:spLocks noGrp="1"/>
          </p:cNvSpPr>
          <p:nvPr>
            <p:ph idx="1"/>
          </p:nvPr>
        </p:nvSpPr>
        <p:spPr>
          <a:xfrm>
            <a:off x="629210" y="2226639"/>
            <a:ext cx="4196522" cy="3373753"/>
          </a:xfrm>
        </p:spPr>
        <p:txBody>
          <a:bodyPr>
            <a:normAutofit fontScale="77500" lnSpcReduction="20000"/>
          </a:bodyPr>
          <a:lstStyle/>
          <a:p>
            <a:r>
              <a:rPr lang="en-US" dirty="0"/>
              <a:t>Horizontal </a:t>
            </a:r>
          </a:p>
          <a:p>
            <a:pPr lvl="1"/>
            <a:r>
              <a:rPr lang="en-US" dirty="0" err="1"/>
              <a:t>Serverless</a:t>
            </a:r>
            <a:r>
              <a:rPr lang="en-US" dirty="0"/>
              <a:t>, Real time</a:t>
            </a:r>
          </a:p>
          <a:p>
            <a:pPr lvl="1"/>
            <a:r>
              <a:rPr lang="en-US" dirty="0"/>
              <a:t>Time Series, Audit log</a:t>
            </a:r>
          </a:p>
          <a:p>
            <a:pPr lvl="1"/>
            <a:r>
              <a:rPr lang="en-US" dirty="0"/>
              <a:t>Social Signals  </a:t>
            </a:r>
          </a:p>
          <a:p>
            <a:pPr lvl="1"/>
            <a:r>
              <a:rPr lang="en-US" dirty="0"/>
              <a:t>Mobile notification/logging</a:t>
            </a:r>
          </a:p>
          <a:p>
            <a:pPr lvl="1"/>
            <a:r>
              <a:rPr lang="en-US" dirty="0"/>
              <a:t>Fraud Detection – WITH SPARK or other Analytics </a:t>
            </a:r>
          </a:p>
          <a:p>
            <a:pPr lvl="1"/>
            <a:r>
              <a:rPr lang="en-US" dirty="0"/>
              <a:t>Personalization/Recommendation store</a:t>
            </a:r>
          </a:p>
          <a:p>
            <a:pPr lvl="1"/>
            <a:r>
              <a:rPr lang="en-US" dirty="0"/>
              <a:t>Content Metadata</a:t>
            </a:r>
          </a:p>
          <a:p>
            <a:pPr lvl="1"/>
            <a:r>
              <a:rPr lang="en-US" dirty="0"/>
              <a:t>C360 </a:t>
            </a:r>
          </a:p>
          <a:p>
            <a:pPr lvl="1"/>
            <a:r>
              <a:rPr lang="en-US" dirty="0"/>
              <a:t>User profile store</a:t>
            </a:r>
          </a:p>
          <a:p>
            <a:pPr lvl="2"/>
            <a:r>
              <a:rPr lang="en-US" dirty="0"/>
              <a:t>Customer Registration</a:t>
            </a:r>
          </a:p>
          <a:p>
            <a:r>
              <a:rPr lang="en-US" dirty="0"/>
              <a:t>Security </a:t>
            </a:r>
          </a:p>
          <a:p>
            <a:pPr lvl="1"/>
            <a:r>
              <a:rPr lang="en-US" dirty="0"/>
              <a:t>Audit log</a:t>
            </a:r>
          </a:p>
          <a:p>
            <a:pPr lvl="1"/>
            <a:r>
              <a:rPr lang="en-US" dirty="0"/>
              <a:t>SOA request logging</a:t>
            </a:r>
          </a:p>
          <a:p>
            <a:pPr lvl="1"/>
            <a:r>
              <a:rPr lang="en-US" dirty="0"/>
              <a:t>NW request logging</a:t>
            </a:r>
          </a:p>
        </p:txBody>
      </p:sp>
      <p:sp>
        <p:nvSpPr>
          <p:cNvPr id="4" name="Content Placeholder 2">
            <a:extLst>
              <a:ext uri="{FF2B5EF4-FFF2-40B4-BE49-F238E27FC236}">
                <a16:creationId xmlns:a16="http://schemas.microsoft.com/office/drawing/2014/main" id="{29807171-E23D-4050-9E1A-5276A47DD0C8}"/>
              </a:ext>
            </a:extLst>
          </p:cNvPr>
          <p:cNvSpPr txBox="1">
            <a:spLocks/>
          </p:cNvSpPr>
          <p:nvPr/>
        </p:nvSpPr>
        <p:spPr>
          <a:xfrm>
            <a:off x="4771997" y="2137356"/>
            <a:ext cx="4371355" cy="3373753"/>
          </a:xfrm>
          <a:prstGeom prst="rect">
            <a:avLst/>
          </a:prstGeom>
        </p:spPr>
        <p:txBody>
          <a:bodyPr vert="horz" lIns="68570" tIns="34285" rIns="68570" bIns="34285" rtlCol="0">
            <a:normAutofit fontScale="550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1417" indent="-171417" defTabSz="685669" fontAlgn="auto">
              <a:spcBef>
                <a:spcPts val="750"/>
              </a:spcBef>
              <a:spcAft>
                <a:spcPts val="0"/>
              </a:spcAft>
            </a:pPr>
            <a:r>
              <a:rPr lang="en-US" sz="2100" b="0" dirty="0">
                <a:solidFill>
                  <a:prstClr val="black"/>
                </a:solidFill>
                <a:latin typeface="Calibri" panose="020F0502020204030204"/>
              </a:rPr>
              <a:t>Ecommerce/Retail</a:t>
            </a:r>
          </a:p>
          <a:p>
            <a:pPr marL="514251" lvl="1" indent="-171417" defTabSz="685669" fontAlgn="auto">
              <a:spcBef>
                <a:spcPts val="375"/>
              </a:spcBef>
              <a:spcAft>
                <a:spcPts val="0"/>
              </a:spcAft>
            </a:pPr>
            <a:r>
              <a:rPr lang="en-US" sz="1800" b="0" dirty="0">
                <a:solidFill>
                  <a:prstClr val="black"/>
                </a:solidFill>
                <a:latin typeface="Calibri" panose="020F0502020204030204"/>
              </a:rPr>
              <a:t>Order payment management logging</a:t>
            </a:r>
          </a:p>
          <a:p>
            <a:pPr marL="514251" lvl="1" indent="-171417" defTabSz="685669" fontAlgn="auto">
              <a:spcBef>
                <a:spcPts val="375"/>
              </a:spcBef>
              <a:spcAft>
                <a:spcPts val="0"/>
              </a:spcAft>
            </a:pPr>
            <a:r>
              <a:rPr lang="en-US" sz="1800" b="0" dirty="0">
                <a:solidFill>
                  <a:prstClr val="black"/>
                </a:solidFill>
                <a:latin typeface="Calibri" panose="020F0502020204030204"/>
              </a:rPr>
              <a:t>C360</a:t>
            </a:r>
          </a:p>
          <a:p>
            <a:pPr marL="514251" lvl="1" indent="-171417" defTabSz="685669" fontAlgn="auto">
              <a:spcBef>
                <a:spcPts val="375"/>
              </a:spcBef>
              <a:spcAft>
                <a:spcPts val="0"/>
              </a:spcAft>
            </a:pPr>
            <a:r>
              <a:rPr lang="en-US" sz="1800" b="0" dirty="0">
                <a:solidFill>
                  <a:prstClr val="black"/>
                </a:solidFill>
                <a:latin typeface="Calibri" panose="020F0502020204030204"/>
              </a:rPr>
              <a:t>Shipment logging</a:t>
            </a:r>
          </a:p>
          <a:p>
            <a:pPr marL="514251" lvl="1" indent="-171417" defTabSz="685669" fontAlgn="auto">
              <a:spcBef>
                <a:spcPts val="375"/>
              </a:spcBef>
              <a:spcAft>
                <a:spcPts val="0"/>
              </a:spcAft>
            </a:pPr>
            <a:r>
              <a:rPr lang="en-US" sz="1800" b="0" dirty="0">
                <a:solidFill>
                  <a:prstClr val="black"/>
                </a:solidFill>
                <a:latin typeface="Calibri" panose="020F0502020204030204"/>
              </a:rPr>
              <a:t>Supply chain </a:t>
            </a:r>
          </a:p>
          <a:p>
            <a:pPr marL="514251" lvl="1" indent="-171417" defTabSz="685669" fontAlgn="auto">
              <a:spcBef>
                <a:spcPts val="375"/>
              </a:spcBef>
              <a:spcAft>
                <a:spcPts val="0"/>
              </a:spcAft>
            </a:pPr>
            <a:r>
              <a:rPr lang="en-US" sz="1800" b="0" dirty="0">
                <a:solidFill>
                  <a:prstClr val="black"/>
                </a:solidFill>
                <a:latin typeface="Calibri" panose="020F0502020204030204"/>
              </a:rPr>
              <a:t>Catalogs</a:t>
            </a:r>
          </a:p>
          <a:p>
            <a:pPr marL="514251" lvl="1" indent="-171417" defTabSz="685669" fontAlgn="auto">
              <a:spcBef>
                <a:spcPts val="375"/>
              </a:spcBef>
              <a:spcAft>
                <a:spcPts val="0"/>
              </a:spcAft>
            </a:pPr>
            <a:r>
              <a:rPr lang="en-US" sz="1800" b="0" dirty="0">
                <a:solidFill>
                  <a:prstClr val="black"/>
                </a:solidFill>
                <a:latin typeface="Calibri" panose="020F0502020204030204"/>
              </a:rPr>
              <a:t>Inventory </a:t>
            </a:r>
          </a:p>
          <a:p>
            <a:pPr marL="514251" lvl="1" indent="-171417" defTabSz="685669" fontAlgn="auto">
              <a:spcBef>
                <a:spcPts val="375"/>
              </a:spcBef>
              <a:spcAft>
                <a:spcPts val="0"/>
              </a:spcAft>
            </a:pPr>
            <a:r>
              <a:rPr lang="en-US" sz="1800" b="0" dirty="0">
                <a:solidFill>
                  <a:prstClr val="black"/>
                </a:solidFill>
                <a:latin typeface="Calibri" panose="020F0502020204030204"/>
              </a:rPr>
              <a:t>User profile store</a:t>
            </a:r>
          </a:p>
          <a:p>
            <a:pPr marL="857086" lvl="2" indent="-171417" defTabSz="685669" fontAlgn="auto">
              <a:spcBef>
                <a:spcPts val="375"/>
              </a:spcBef>
              <a:spcAft>
                <a:spcPts val="0"/>
              </a:spcAft>
            </a:pPr>
            <a:r>
              <a:rPr lang="en-US" sz="1500" b="0" dirty="0">
                <a:solidFill>
                  <a:prstClr val="black"/>
                </a:solidFill>
                <a:latin typeface="Calibri" panose="020F0502020204030204"/>
              </a:rPr>
              <a:t>Customer Registration</a:t>
            </a:r>
          </a:p>
          <a:p>
            <a:pPr marL="514251" lvl="1" indent="-171417" defTabSz="685669" fontAlgn="auto">
              <a:spcBef>
                <a:spcPts val="375"/>
              </a:spcBef>
              <a:spcAft>
                <a:spcPts val="0"/>
              </a:spcAft>
            </a:pPr>
            <a:endParaRPr lang="en-US" sz="1800" b="0" dirty="0">
              <a:solidFill>
                <a:prstClr val="black"/>
              </a:solidFill>
              <a:latin typeface="Calibri" panose="020F0502020204030204"/>
            </a:endParaRPr>
          </a:p>
          <a:p>
            <a:pPr marL="171417" indent="-171417" defTabSz="685669" fontAlgn="auto">
              <a:spcBef>
                <a:spcPts val="750"/>
              </a:spcBef>
              <a:spcAft>
                <a:spcPts val="0"/>
              </a:spcAft>
            </a:pPr>
            <a:r>
              <a:rPr lang="en-US" sz="2100" b="0" dirty="0">
                <a:solidFill>
                  <a:prstClr val="black"/>
                </a:solidFill>
                <a:latin typeface="Calibri" panose="020F0502020204030204"/>
              </a:rPr>
              <a:t>Messaging/Chat Channel</a:t>
            </a:r>
          </a:p>
          <a:p>
            <a:pPr marL="514251" lvl="1" indent="-171417" defTabSz="685669" fontAlgn="auto">
              <a:spcBef>
                <a:spcPts val="375"/>
              </a:spcBef>
              <a:spcAft>
                <a:spcPts val="0"/>
              </a:spcAft>
            </a:pPr>
            <a:r>
              <a:rPr lang="en-US" sz="1800" b="0" dirty="0">
                <a:solidFill>
                  <a:prstClr val="black"/>
                </a:solidFill>
                <a:latin typeface="Calibri" panose="020F0502020204030204"/>
              </a:rPr>
              <a:t>Inbox</a:t>
            </a:r>
          </a:p>
          <a:p>
            <a:pPr marL="171417" indent="-171417" defTabSz="685669" fontAlgn="auto">
              <a:spcBef>
                <a:spcPts val="750"/>
              </a:spcBef>
              <a:spcAft>
                <a:spcPts val="0"/>
              </a:spcAft>
            </a:pPr>
            <a:r>
              <a:rPr lang="en-US" sz="2100" b="0" dirty="0">
                <a:solidFill>
                  <a:prstClr val="black"/>
                </a:solidFill>
                <a:latin typeface="Calibri" panose="020F0502020204030204"/>
              </a:rPr>
              <a:t>Energy/Manufacturing/</a:t>
            </a:r>
            <a:r>
              <a:rPr lang="en-US" sz="2100" b="0" dirty="0" err="1">
                <a:solidFill>
                  <a:prstClr val="black"/>
                </a:solidFill>
                <a:latin typeface="Calibri" panose="020F0502020204030204"/>
              </a:rPr>
              <a:t>Iot</a:t>
            </a:r>
            <a:endParaRPr lang="en-US" sz="2100" b="0" dirty="0">
              <a:solidFill>
                <a:prstClr val="black"/>
              </a:solidFill>
              <a:latin typeface="Calibri" panose="020F0502020204030204"/>
            </a:endParaRPr>
          </a:p>
          <a:p>
            <a:pPr marL="514251" lvl="1" indent="-171417" defTabSz="685669" fontAlgn="auto">
              <a:spcBef>
                <a:spcPts val="375"/>
              </a:spcBef>
              <a:spcAft>
                <a:spcPts val="0"/>
              </a:spcAft>
            </a:pPr>
            <a:r>
              <a:rPr lang="en-US" sz="1800" b="0" dirty="0">
                <a:solidFill>
                  <a:prstClr val="black"/>
                </a:solidFill>
                <a:latin typeface="Calibri" panose="020F0502020204030204"/>
              </a:rPr>
              <a:t>Energy meters measurements</a:t>
            </a:r>
          </a:p>
          <a:p>
            <a:pPr marL="514251" lvl="1" indent="-171417" defTabSz="685669" fontAlgn="auto">
              <a:spcBef>
                <a:spcPts val="375"/>
              </a:spcBef>
              <a:spcAft>
                <a:spcPts val="0"/>
              </a:spcAft>
            </a:pPr>
            <a:r>
              <a:rPr lang="en-US" sz="1800" b="0" dirty="0">
                <a:solidFill>
                  <a:prstClr val="black"/>
                </a:solidFill>
                <a:latin typeface="Calibri" panose="020F0502020204030204"/>
              </a:rPr>
              <a:t>Readings/gauges measurements</a:t>
            </a:r>
          </a:p>
          <a:p>
            <a:pPr marL="514251" lvl="1" indent="-171417" defTabSz="685669" fontAlgn="auto">
              <a:spcBef>
                <a:spcPts val="375"/>
              </a:spcBef>
              <a:spcAft>
                <a:spcPts val="0"/>
              </a:spcAft>
            </a:pPr>
            <a:r>
              <a:rPr lang="en-US" sz="1800" b="0">
                <a:solidFill>
                  <a:prstClr val="black"/>
                </a:solidFill>
                <a:latin typeface="Calibri" panose="020F0502020204030204"/>
              </a:rPr>
              <a:t>C360 </a:t>
            </a:r>
            <a:endParaRPr lang="en-US" sz="1800" b="0" dirty="0">
              <a:solidFill>
                <a:prstClr val="black"/>
              </a:solidFill>
              <a:latin typeface="Calibri" panose="020F0502020204030204"/>
            </a:endParaRPr>
          </a:p>
          <a:p>
            <a:pPr marL="171417" indent="-171417" defTabSz="685669" fontAlgn="auto">
              <a:spcBef>
                <a:spcPts val="750"/>
              </a:spcBef>
              <a:spcAft>
                <a:spcPts val="0"/>
              </a:spcAft>
            </a:pPr>
            <a:r>
              <a:rPr lang="en-US" sz="2100" b="0" dirty="0">
                <a:solidFill>
                  <a:prstClr val="black"/>
                </a:solidFill>
                <a:latin typeface="Calibri" panose="020F0502020204030204"/>
              </a:rPr>
              <a:t>Telecom – </a:t>
            </a:r>
          </a:p>
          <a:p>
            <a:pPr marL="514251" lvl="1" indent="-171417" defTabSz="685669" fontAlgn="auto">
              <a:spcBef>
                <a:spcPts val="375"/>
              </a:spcBef>
              <a:spcAft>
                <a:spcPts val="0"/>
              </a:spcAft>
            </a:pPr>
            <a:r>
              <a:rPr lang="en-US" sz="1800" b="0" dirty="0">
                <a:solidFill>
                  <a:prstClr val="black"/>
                </a:solidFill>
                <a:latin typeface="Calibri" panose="020F0502020204030204"/>
              </a:rPr>
              <a:t>User profile management</a:t>
            </a:r>
          </a:p>
          <a:p>
            <a:pPr marL="514251" lvl="1" indent="-171417" defTabSz="685669" fontAlgn="auto">
              <a:spcBef>
                <a:spcPts val="375"/>
              </a:spcBef>
              <a:spcAft>
                <a:spcPts val="0"/>
              </a:spcAft>
            </a:pPr>
            <a:r>
              <a:rPr lang="en-US" sz="1800" b="0" dirty="0">
                <a:solidFill>
                  <a:prstClr val="black"/>
                </a:solidFill>
                <a:latin typeface="Calibri" panose="020F0502020204030204"/>
              </a:rPr>
              <a:t>C360 </a:t>
            </a:r>
          </a:p>
          <a:p>
            <a:pPr marL="171417" indent="-171417" defTabSz="685669" fontAlgn="auto">
              <a:spcBef>
                <a:spcPts val="750"/>
              </a:spcBef>
              <a:spcAft>
                <a:spcPts val="0"/>
              </a:spcAft>
            </a:pPr>
            <a:endParaRPr lang="en-US" sz="2100" b="0" dirty="0">
              <a:solidFill>
                <a:prstClr val="black"/>
              </a:solidFill>
              <a:latin typeface="Calibri" panose="020F0502020204030204"/>
            </a:endParaRPr>
          </a:p>
        </p:txBody>
      </p:sp>
    </p:spTree>
    <p:extLst>
      <p:ext uri="{BB962C8B-B14F-4D97-AF65-F5344CB8AC3E}">
        <p14:creationId xmlns:p14="http://schemas.microsoft.com/office/powerpoint/2010/main" val="300666073"/>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061720-41DE-4ED9-AD52-BD2FA3161DB2}"/>
              </a:ext>
            </a:extLst>
          </p:cNvPr>
          <p:cNvSpPr>
            <a:spLocks noGrp="1"/>
          </p:cNvSpPr>
          <p:nvPr>
            <p:ph type="title"/>
          </p:nvPr>
        </p:nvSpPr>
        <p:spPr/>
        <p:txBody>
          <a:bodyPr/>
          <a:lstStyle/>
          <a:p>
            <a:r>
              <a:rPr lang="en-US" dirty="0"/>
              <a:t>Concepts</a:t>
            </a:r>
          </a:p>
        </p:txBody>
      </p:sp>
      <p:sp>
        <p:nvSpPr>
          <p:cNvPr id="6" name="Arrow: Bent 5">
            <a:extLst>
              <a:ext uri="{FF2B5EF4-FFF2-40B4-BE49-F238E27FC236}">
                <a16:creationId xmlns:a16="http://schemas.microsoft.com/office/drawing/2014/main" id="{CFF4BF00-CB66-4F3F-942B-16B62A6B0D58}"/>
              </a:ext>
            </a:extLst>
          </p:cNvPr>
          <p:cNvSpPr/>
          <p:nvPr/>
        </p:nvSpPr>
        <p:spPr bwMode="auto">
          <a:xfrm flipH="1">
            <a:off x="10169" y="1748204"/>
            <a:ext cx="325990" cy="3899681"/>
          </a:xfrm>
          <a:prstGeom prst="bentArrow">
            <a:avLst>
              <a:gd name="adj1" fmla="val 25000"/>
              <a:gd name="adj2" fmla="val 0"/>
              <a:gd name="adj3" fmla="val 0"/>
              <a:gd name="adj4" fmla="val 0"/>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41" tIns="109713" rIns="137141" bIns="109713"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699220">
              <a:defRPr/>
            </a:pPr>
            <a:endParaRPr lang="en-US" sz="2059" b="0" err="1">
              <a:solidFill>
                <a:srgbClr val="353535"/>
              </a:solidFill>
              <a:latin typeface="Segoe UI Semilight"/>
              <a:ea typeface="Segoe UI" pitchFamily="34" charset="0"/>
              <a:cs typeface="Segoe UI" pitchFamily="34" charset="0"/>
            </a:endParaRPr>
          </a:p>
        </p:txBody>
      </p:sp>
      <p:grpSp>
        <p:nvGrpSpPr>
          <p:cNvPr id="45" name="Group 44">
            <a:extLst>
              <a:ext uri="{FF2B5EF4-FFF2-40B4-BE49-F238E27FC236}">
                <a16:creationId xmlns:a16="http://schemas.microsoft.com/office/drawing/2014/main" id="{363390BE-5699-4458-8660-DE6C31B04119}"/>
              </a:ext>
            </a:extLst>
          </p:cNvPr>
          <p:cNvGrpSpPr/>
          <p:nvPr/>
        </p:nvGrpSpPr>
        <p:grpSpPr>
          <a:xfrm>
            <a:off x="291165" y="1763378"/>
            <a:ext cx="8516677" cy="222402"/>
            <a:chOff x="396003" y="1231900"/>
            <a:chExt cx="11583272" cy="302482"/>
          </a:xfrm>
        </p:grpSpPr>
        <p:sp>
          <p:nvSpPr>
            <p:cNvPr id="5" name="Rectangle 4">
              <a:extLst>
                <a:ext uri="{FF2B5EF4-FFF2-40B4-BE49-F238E27FC236}">
                  <a16:creationId xmlns:a16="http://schemas.microsoft.com/office/drawing/2014/main" id="{2BF7DDD6-4AD0-47A9-A2C0-9D875798541E}"/>
                </a:ext>
              </a:extLst>
            </p:cNvPr>
            <p:cNvSpPr/>
            <p:nvPr/>
          </p:nvSpPr>
          <p:spPr>
            <a:xfrm>
              <a:off x="718008" y="1231900"/>
              <a:ext cx="11261267" cy="302482"/>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defTabSz="685775" fontAlgn="auto">
                <a:spcBef>
                  <a:spcPts val="441"/>
                </a:spcBef>
                <a:spcAft>
                  <a:spcPts val="0"/>
                </a:spcAft>
                <a:defRPr/>
              </a:pPr>
              <a:r>
                <a:rPr lang="en-US" sz="1176" b="0" dirty="0">
                  <a:solidFill>
                    <a:srgbClr val="353535"/>
                  </a:solidFill>
                  <a:latin typeface="Segoe UI Semilight"/>
                </a:rPr>
                <a:t>A </a:t>
              </a:r>
              <a:r>
                <a:rPr lang="en-US" sz="1176" b="0" dirty="0">
                  <a:solidFill>
                    <a:srgbClr val="353535"/>
                  </a:solidFill>
                  <a:latin typeface="Segoe UI Semilight"/>
                  <a:hlinkClick r:id="rId3"/>
                </a:rPr>
                <a:t>technical overview </a:t>
              </a:r>
              <a:r>
                <a:rPr lang="en-US" sz="1176" b="0" dirty="0">
                  <a:solidFill>
                    <a:srgbClr val="353535"/>
                  </a:solidFill>
                  <a:latin typeface="Segoe UI Semilight"/>
                </a:rPr>
                <a:t>of Cosmos DB</a:t>
              </a:r>
            </a:p>
          </p:txBody>
        </p:sp>
        <p:sp>
          <p:nvSpPr>
            <p:cNvPr id="7" name="Oval 6">
              <a:extLst>
                <a:ext uri="{FF2B5EF4-FFF2-40B4-BE49-F238E27FC236}">
                  <a16:creationId xmlns:a16="http://schemas.microsoft.com/office/drawing/2014/main" id="{28EB700A-3E4F-4469-A8D5-4CD7F380573A}"/>
                </a:ext>
              </a:extLst>
            </p:cNvPr>
            <p:cNvSpPr/>
            <p:nvPr/>
          </p:nvSpPr>
          <p:spPr bwMode="auto">
            <a:xfrm>
              <a:off x="396003" y="1316976"/>
              <a:ext cx="132331" cy="13233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41" tIns="109713" rIns="137141" bIns="109713"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699220">
                <a:defRPr/>
              </a:pPr>
              <a:endParaRPr lang="en-US" sz="1176" b="0" err="1">
                <a:solidFill>
                  <a:srgbClr val="353535"/>
                </a:solidFill>
                <a:latin typeface="Segoe UI Semilight"/>
                <a:ea typeface="Segoe UI" pitchFamily="34" charset="0"/>
                <a:cs typeface="Segoe UI" pitchFamily="34" charset="0"/>
              </a:endParaRPr>
            </a:p>
          </p:txBody>
        </p:sp>
      </p:grpSp>
      <p:grpSp>
        <p:nvGrpSpPr>
          <p:cNvPr id="46" name="Group 45">
            <a:extLst>
              <a:ext uri="{FF2B5EF4-FFF2-40B4-BE49-F238E27FC236}">
                <a16:creationId xmlns:a16="http://schemas.microsoft.com/office/drawing/2014/main" id="{D0B36C59-FC31-4887-B2CC-AEEB743C175D}"/>
              </a:ext>
            </a:extLst>
          </p:cNvPr>
          <p:cNvGrpSpPr/>
          <p:nvPr/>
        </p:nvGrpSpPr>
        <p:grpSpPr>
          <a:xfrm>
            <a:off x="291165" y="2097854"/>
            <a:ext cx="8516677" cy="191669"/>
            <a:chOff x="396003" y="1693267"/>
            <a:chExt cx="11583272" cy="260683"/>
          </a:xfrm>
        </p:grpSpPr>
        <p:sp>
          <p:nvSpPr>
            <p:cNvPr id="8" name="Oval 7">
              <a:extLst>
                <a:ext uri="{FF2B5EF4-FFF2-40B4-BE49-F238E27FC236}">
                  <a16:creationId xmlns:a16="http://schemas.microsoft.com/office/drawing/2014/main" id="{841CB205-5794-45AE-92B7-FBA83E2144F2}"/>
                </a:ext>
              </a:extLst>
            </p:cNvPr>
            <p:cNvSpPr/>
            <p:nvPr/>
          </p:nvSpPr>
          <p:spPr bwMode="auto">
            <a:xfrm>
              <a:off x="396003" y="1757443"/>
              <a:ext cx="132331" cy="13233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41" tIns="109713" rIns="137141" bIns="109713"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699220">
                <a:defRPr/>
              </a:pPr>
              <a:endParaRPr lang="en-US" sz="1176" b="0" err="1">
                <a:solidFill>
                  <a:srgbClr val="353535"/>
                </a:solidFill>
                <a:latin typeface="Segoe UI Semilight"/>
                <a:ea typeface="Segoe UI" pitchFamily="34" charset="0"/>
                <a:cs typeface="Segoe UI" pitchFamily="34" charset="0"/>
              </a:endParaRPr>
            </a:p>
          </p:txBody>
        </p:sp>
        <p:sp>
          <p:nvSpPr>
            <p:cNvPr id="11" name="Rectangle 10">
              <a:extLst>
                <a:ext uri="{FF2B5EF4-FFF2-40B4-BE49-F238E27FC236}">
                  <a16:creationId xmlns:a16="http://schemas.microsoft.com/office/drawing/2014/main" id="{5FDC63BD-AD1B-4FC3-A32D-5B8A43F414AC}"/>
                </a:ext>
              </a:extLst>
            </p:cNvPr>
            <p:cNvSpPr/>
            <p:nvPr/>
          </p:nvSpPr>
          <p:spPr>
            <a:xfrm>
              <a:off x="718008" y="1693267"/>
              <a:ext cx="11261267" cy="260683"/>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defTabSz="685775" fontAlgn="auto">
                <a:spcBef>
                  <a:spcPts val="441"/>
                </a:spcBef>
                <a:spcAft>
                  <a:spcPts val="0"/>
                </a:spcAft>
                <a:defRPr/>
              </a:pPr>
              <a:r>
                <a:rPr lang="en-US" sz="1176" b="0" dirty="0">
                  <a:solidFill>
                    <a:srgbClr val="353535"/>
                  </a:solidFill>
                  <a:latin typeface="Segoe UI Semilight"/>
                  <a:hlinkClick r:id="rId4"/>
                </a:rPr>
                <a:t>Global distribution with Azure Cosmos DB. </a:t>
              </a:r>
              <a:endParaRPr lang="en-US" sz="1176" b="0" dirty="0">
                <a:solidFill>
                  <a:srgbClr val="353535"/>
                </a:solidFill>
                <a:latin typeface="Segoe UI Semilight"/>
              </a:endParaRPr>
            </a:p>
          </p:txBody>
        </p:sp>
      </p:grpSp>
      <p:grpSp>
        <p:nvGrpSpPr>
          <p:cNvPr id="28" name="Group 27">
            <a:extLst>
              <a:ext uri="{FF2B5EF4-FFF2-40B4-BE49-F238E27FC236}">
                <a16:creationId xmlns:a16="http://schemas.microsoft.com/office/drawing/2014/main" id="{CDFE1CF3-2C21-4A42-BE48-FF910F8BB437}"/>
              </a:ext>
            </a:extLst>
          </p:cNvPr>
          <p:cNvGrpSpPr/>
          <p:nvPr/>
        </p:nvGrpSpPr>
        <p:grpSpPr>
          <a:xfrm>
            <a:off x="291165" y="2401596"/>
            <a:ext cx="8516677" cy="199367"/>
            <a:chOff x="396003" y="2557907"/>
            <a:chExt cx="11583272" cy="271152"/>
          </a:xfrm>
        </p:grpSpPr>
        <p:sp>
          <p:nvSpPr>
            <p:cNvPr id="9" name="Oval 8">
              <a:extLst>
                <a:ext uri="{FF2B5EF4-FFF2-40B4-BE49-F238E27FC236}">
                  <a16:creationId xmlns:a16="http://schemas.microsoft.com/office/drawing/2014/main" id="{B72C8F3D-FED0-4E82-889E-40ACE6A59650}"/>
                </a:ext>
              </a:extLst>
            </p:cNvPr>
            <p:cNvSpPr/>
            <p:nvPr/>
          </p:nvSpPr>
          <p:spPr bwMode="auto">
            <a:xfrm>
              <a:off x="396003" y="2627318"/>
              <a:ext cx="132331" cy="13233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41" tIns="109713" rIns="137141" bIns="109713"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699220">
                <a:defRPr/>
              </a:pPr>
              <a:endParaRPr lang="en-US" sz="1176" b="0" err="1">
                <a:solidFill>
                  <a:srgbClr val="353535"/>
                </a:solidFill>
                <a:latin typeface="Segoe UI Semilight"/>
                <a:ea typeface="Segoe UI" pitchFamily="34" charset="0"/>
                <a:cs typeface="Segoe UI" pitchFamily="34" charset="0"/>
              </a:endParaRPr>
            </a:p>
          </p:txBody>
        </p:sp>
        <p:sp>
          <p:nvSpPr>
            <p:cNvPr id="12" name="Rectangle 11">
              <a:extLst>
                <a:ext uri="{FF2B5EF4-FFF2-40B4-BE49-F238E27FC236}">
                  <a16:creationId xmlns:a16="http://schemas.microsoft.com/office/drawing/2014/main" id="{EB561302-A75F-4837-BBFC-669873B1B0DB}"/>
                </a:ext>
              </a:extLst>
            </p:cNvPr>
            <p:cNvSpPr/>
            <p:nvPr/>
          </p:nvSpPr>
          <p:spPr>
            <a:xfrm>
              <a:off x="718008" y="2557907"/>
              <a:ext cx="11261267" cy="271152"/>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defTabSz="685775" fontAlgn="auto">
                <a:spcBef>
                  <a:spcPts val="0"/>
                </a:spcBef>
                <a:spcAft>
                  <a:spcPts val="0"/>
                </a:spcAft>
                <a:defRPr/>
              </a:pPr>
              <a:r>
                <a:rPr lang="en-US" sz="1176" b="0" dirty="0">
                  <a:solidFill>
                    <a:srgbClr val="353535"/>
                  </a:solidFill>
                  <a:latin typeface="Segoe UI Semilight"/>
                  <a:hlinkClick r:id="rId5"/>
                </a:rPr>
                <a:t>Automatic regional failover for business continuity in Azure Cosmos DB</a:t>
              </a:r>
              <a:endParaRPr lang="en-US" sz="1176" b="0" dirty="0">
                <a:solidFill>
                  <a:srgbClr val="353535"/>
                </a:solidFill>
                <a:latin typeface="Segoe UI Semilight"/>
              </a:endParaRPr>
            </a:p>
          </p:txBody>
        </p:sp>
      </p:grpSp>
      <p:grpSp>
        <p:nvGrpSpPr>
          <p:cNvPr id="29" name="Group 28">
            <a:extLst>
              <a:ext uri="{FF2B5EF4-FFF2-40B4-BE49-F238E27FC236}">
                <a16:creationId xmlns:a16="http://schemas.microsoft.com/office/drawing/2014/main" id="{2FE9DD5F-1F3C-4A80-B52D-A75529F55757}"/>
              </a:ext>
            </a:extLst>
          </p:cNvPr>
          <p:cNvGrpSpPr/>
          <p:nvPr/>
        </p:nvGrpSpPr>
        <p:grpSpPr>
          <a:xfrm>
            <a:off x="291165" y="2713036"/>
            <a:ext cx="8516677" cy="168746"/>
            <a:chOff x="396003" y="2835742"/>
            <a:chExt cx="11583272" cy="229506"/>
          </a:xfrm>
        </p:grpSpPr>
        <p:sp>
          <p:nvSpPr>
            <p:cNvPr id="10" name="Oval 9">
              <a:extLst>
                <a:ext uri="{FF2B5EF4-FFF2-40B4-BE49-F238E27FC236}">
                  <a16:creationId xmlns:a16="http://schemas.microsoft.com/office/drawing/2014/main" id="{6FAD4DF1-A4CB-4FB3-9E2A-7F1FCC23DC55}"/>
                </a:ext>
              </a:extLst>
            </p:cNvPr>
            <p:cNvSpPr/>
            <p:nvPr/>
          </p:nvSpPr>
          <p:spPr bwMode="auto">
            <a:xfrm>
              <a:off x="396003" y="2884330"/>
              <a:ext cx="132331" cy="13233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41" tIns="109713" rIns="137141" bIns="109713"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699220">
                <a:defRPr/>
              </a:pPr>
              <a:endParaRPr lang="en-US" sz="1176" b="0" err="1">
                <a:solidFill>
                  <a:srgbClr val="353535"/>
                </a:solidFill>
                <a:latin typeface="Segoe UI Semilight"/>
                <a:ea typeface="Segoe UI" pitchFamily="34" charset="0"/>
                <a:cs typeface="Segoe UI" pitchFamily="34" charset="0"/>
              </a:endParaRPr>
            </a:p>
          </p:txBody>
        </p:sp>
        <p:sp>
          <p:nvSpPr>
            <p:cNvPr id="13" name="Rectangle 12">
              <a:extLst>
                <a:ext uri="{FF2B5EF4-FFF2-40B4-BE49-F238E27FC236}">
                  <a16:creationId xmlns:a16="http://schemas.microsoft.com/office/drawing/2014/main" id="{6839C146-0AD1-4D76-87E0-43AE3F293487}"/>
                </a:ext>
              </a:extLst>
            </p:cNvPr>
            <p:cNvSpPr/>
            <p:nvPr/>
          </p:nvSpPr>
          <p:spPr>
            <a:xfrm>
              <a:off x="718008" y="2835742"/>
              <a:ext cx="11261267" cy="229506"/>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defTabSz="685775" fontAlgn="auto">
                <a:spcBef>
                  <a:spcPts val="0"/>
                </a:spcBef>
                <a:spcAft>
                  <a:spcPts val="0"/>
                </a:spcAft>
                <a:defRPr/>
              </a:pPr>
              <a:r>
                <a:rPr lang="en-US" sz="1176" b="0" dirty="0">
                  <a:solidFill>
                    <a:srgbClr val="353535"/>
                  </a:solidFill>
                  <a:latin typeface="Segoe UI Semilight"/>
                  <a:hlinkClick r:id="rId6"/>
                </a:rPr>
                <a:t>How to partition and scale in Azure Cosmos DB </a:t>
              </a:r>
              <a:endParaRPr lang="en-US" sz="1176" b="0" dirty="0">
                <a:solidFill>
                  <a:srgbClr val="353535"/>
                </a:solidFill>
                <a:latin typeface="Segoe UI Semilight"/>
              </a:endParaRPr>
            </a:p>
          </p:txBody>
        </p:sp>
      </p:grpSp>
      <p:grpSp>
        <p:nvGrpSpPr>
          <p:cNvPr id="30" name="Group 29">
            <a:extLst>
              <a:ext uri="{FF2B5EF4-FFF2-40B4-BE49-F238E27FC236}">
                <a16:creationId xmlns:a16="http://schemas.microsoft.com/office/drawing/2014/main" id="{AD124B3A-68D4-43E5-AE91-8A8DFCEEE65A}"/>
              </a:ext>
            </a:extLst>
          </p:cNvPr>
          <p:cNvGrpSpPr/>
          <p:nvPr/>
        </p:nvGrpSpPr>
        <p:grpSpPr>
          <a:xfrm>
            <a:off x="291165" y="2993855"/>
            <a:ext cx="8516677" cy="198150"/>
            <a:chOff x="396003" y="3968045"/>
            <a:chExt cx="11583272" cy="269498"/>
          </a:xfrm>
        </p:grpSpPr>
        <p:sp>
          <p:nvSpPr>
            <p:cNvPr id="14" name="Rectangle 13">
              <a:extLst>
                <a:ext uri="{FF2B5EF4-FFF2-40B4-BE49-F238E27FC236}">
                  <a16:creationId xmlns:a16="http://schemas.microsoft.com/office/drawing/2014/main" id="{243129BC-F2DD-4E7C-8367-0D46558C3BD4}"/>
                </a:ext>
              </a:extLst>
            </p:cNvPr>
            <p:cNvSpPr/>
            <p:nvPr/>
          </p:nvSpPr>
          <p:spPr>
            <a:xfrm>
              <a:off x="718008" y="3968045"/>
              <a:ext cx="11261267" cy="269498"/>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defTabSz="685775" fontAlgn="auto">
                <a:spcBef>
                  <a:spcPts val="0"/>
                </a:spcBef>
                <a:spcAft>
                  <a:spcPts val="0"/>
                </a:spcAft>
                <a:defRPr/>
              </a:pPr>
              <a:r>
                <a:rPr lang="en-US" sz="1176" b="0" dirty="0">
                  <a:solidFill>
                    <a:srgbClr val="353535"/>
                  </a:solidFill>
                  <a:latin typeface="Segoe UI Semilight"/>
                  <a:hlinkClick r:id="rId7"/>
                </a:rPr>
                <a:t>Tunable data consistency levels in Azure Cosmos DB</a:t>
              </a:r>
              <a:endParaRPr lang="en-US" sz="1176" b="0" dirty="0">
                <a:solidFill>
                  <a:srgbClr val="353535"/>
                </a:solidFill>
                <a:latin typeface="Segoe UI Semilight"/>
              </a:endParaRPr>
            </a:p>
          </p:txBody>
        </p:sp>
        <p:sp>
          <p:nvSpPr>
            <p:cNvPr id="20" name="Oval 19">
              <a:extLst>
                <a:ext uri="{FF2B5EF4-FFF2-40B4-BE49-F238E27FC236}">
                  <a16:creationId xmlns:a16="http://schemas.microsoft.com/office/drawing/2014/main" id="{E53498E7-89F0-4AC6-9FEB-FC9B789547CA}"/>
                </a:ext>
              </a:extLst>
            </p:cNvPr>
            <p:cNvSpPr/>
            <p:nvPr/>
          </p:nvSpPr>
          <p:spPr bwMode="auto">
            <a:xfrm>
              <a:off x="396003" y="4036629"/>
              <a:ext cx="132331" cy="13233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41" tIns="109713" rIns="137141" bIns="109713"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699220">
                <a:defRPr/>
              </a:pPr>
              <a:endParaRPr lang="en-US" sz="1176" b="0" err="1">
                <a:solidFill>
                  <a:srgbClr val="353535"/>
                </a:solidFill>
                <a:latin typeface="Segoe UI Semilight"/>
                <a:ea typeface="Segoe UI" pitchFamily="34" charset="0"/>
                <a:cs typeface="Segoe UI" pitchFamily="34" charset="0"/>
              </a:endParaRPr>
            </a:p>
          </p:txBody>
        </p:sp>
      </p:grpSp>
      <p:grpSp>
        <p:nvGrpSpPr>
          <p:cNvPr id="31" name="Group 30">
            <a:extLst>
              <a:ext uri="{FF2B5EF4-FFF2-40B4-BE49-F238E27FC236}">
                <a16:creationId xmlns:a16="http://schemas.microsoft.com/office/drawing/2014/main" id="{DD58E75E-850E-45E9-9EBC-8EEA8B3CB7B8}"/>
              </a:ext>
            </a:extLst>
          </p:cNvPr>
          <p:cNvGrpSpPr/>
          <p:nvPr/>
        </p:nvGrpSpPr>
        <p:grpSpPr>
          <a:xfrm>
            <a:off x="291165" y="3304080"/>
            <a:ext cx="8516677" cy="186737"/>
            <a:chOff x="396003" y="4439878"/>
            <a:chExt cx="11583272" cy="253975"/>
          </a:xfrm>
        </p:grpSpPr>
        <p:sp>
          <p:nvSpPr>
            <p:cNvPr id="15" name="Rectangle 14">
              <a:extLst>
                <a:ext uri="{FF2B5EF4-FFF2-40B4-BE49-F238E27FC236}">
                  <a16:creationId xmlns:a16="http://schemas.microsoft.com/office/drawing/2014/main" id="{D5ED361E-1964-40BA-8922-066051D0CD92}"/>
                </a:ext>
              </a:extLst>
            </p:cNvPr>
            <p:cNvSpPr/>
            <p:nvPr/>
          </p:nvSpPr>
          <p:spPr>
            <a:xfrm>
              <a:off x="718008" y="4439878"/>
              <a:ext cx="11261267" cy="253975"/>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defTabSz="685775" fontAlgn="auto">
                <a:spcBef>
                  <a:spcPts val="0"/>
                </a:spcBef>
                <a:spcAft>
                  <a:spcPts val="0"/>
                </a:spcAft>
                <a:defRPr/>
              </a:pPr>
              <a:r>
                <a:rPr lang="en-US" sz="1176" b="0" dirty="0">
                  <a:solidFill>
                    <a:srgbClr val="353535"/>
                  </a:solidFill>
                  <a:latin typeface="Segoe UI Semilight"/>
                  <a:hlinkClick r:id="rId8"/>
                </a:rPr>
                <a:t>Performance and scale testing with Azure Cosmos DB</a:t>
              </a:r>
              <a:endParaRPr lang="en-US" sz="1176" b="0" dirty="0">
                <a:solidFill>
                  <a:srgbClr val="353535"/>
                </a:solidFill>
                <a:latin typeface="Segoe UI Semilight"/>
              </a:endParaRPr>
            </a:p>
          </p:txBody>
        </p:sp>
        <p:sp>
          <p:nvSpPr>
            <p:cNvPr id="21" name="Oval 20">
              <a:extLst>
                <a:ext uri="{FF2B5EF4-FFF2-40B4-BE49-F238E27FC236}">
                  <a16:creationId xmlns:a16="http://schemas.microsoft.com/office/drawing/2014/main" id="{536EC908-8ED4-416A-9BE9-DBC360AA6B90}"/>
                </a:ext>
              </a:extLst>
            </p:cNvPr>
            <p:cNvSpPr/>
            <p:nvPr/>
          </p:nvSpPr>
          <p:spPr bwMode="auto">
            <a:xfrm>
              <a:off x="396003" y="4500700"/>
              <a:ext cx="132331" cy="13233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41" tIns="109713" rIns="137141" bIns="109713"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699220">
                <a:defRPr/>
              </a:pPr>
              <a:endParaRPr lang="en-US" sz="1176" b="0" err="1">
                <a:solidFill>
                  <a:srgbClr val="353535"/>
                </a:solidFill>
                <a:latin typeface="Segoe UI Semilight"/>
                <a:ea typeface="Segoe UI" pitchFamily="34" charset="0"/>
                <a:cs typeface="Segoe UI" pitchFamily="34" charset="0"/>
              </a:endParaRPr>
            </a:p>
          </p:txBody>
        </p:sp>
      </p:grpSp>
      <p:grpSp>
        <p:nvGrpSpPr>
          <p:cNvPr id="32" name="Group 31">
            <a:extLst>
              <a:ext uri="{FF2B5EF4-FFF2-40B4-BE49-F238E27FC236}">
                <a16:creationId xmlns:a16="http://schemas.microsoft.com/office/drawing/2014/main" id="{042E744A-94DD-413F-9D43-2C111AE94812}"/>
              </a:ext>
            </a:extLst>
          </p:cNvPr>
          <p:cNvGrpSpPr/>
          <p:nvPr/>
        </p:nvGrpSpPr>
        <p:grpSpPr>
          <a:xfrm>
            <a:off x="291165" y="3602891"/>
            <a:ext cx="8516677" cy="197208"/>
            <a:chOff x="396003" y="4896829"/>
            <a:chExt cx="11583272" cy="268217"/>
          </a:xfrm>
        </p:grpSpPr>
        <p:sp>
          <p:nvSpPr>
            <p:cNvPr id="16" name="Rectangle 15">
              <a:extLst>
                <a:ext uri="{FF2B5EF4-FFF2-40B4-BE49-F238E27FC236}">
                  <a16:creationId xmlns:a16="http://schemas.microsoft.com/office/drawing/2014/main" id="{78AD51CE-C2F0-4C72-97DD-52F649DFAF6D}"/>
                </a:ext>
              </a:extLst>
            </p:cNvPr>
            <p:cNvSpPr/>
            <p:nvPr/>
          </p:nvSpPr>
          <p:spPr>
            <a:xfrm>
              <a:off x="718008" y="4896829"/>
              <a:ext cx="11261267" cy="268217"/>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defTabSz="685775" fontAlgn="auto">
                <a:spcBef>
                  <a:spcPts val="0"/>
                </a:spcBef>
                <a:spcAft>
                  <a:spcPts val="0"/>
                </a:spcAft>
                <a:defRPr/>
              </a:pPr>
              <a:r>
                <a:rPr lang="en-US" sz="1176" b="0" dirty="0">
                  <a:solidFill>
                    <a:srgbClr val="353535"/>
                  </a:solidFill>
                  <a:latin typeface="Segoe UI Semilight"/>
                  <a:hlinkClick r:id="rId9"/>
                </a:rPr>
                <a:t>Schema-agnostic indexing in Cosmos DB </a:t>
              </a:r>
              <a:r>
                <a:rPr lang="en-US" sz="1176" b="0" dirty="0">
                  <a:solidFill>
                    <a:srgbClr val="353535"/>
                  </a:solidFill>
                  <a:latin typeface="Segoe UI Semilight"/>
                </a:rPr>
                <a:t>(VLDB paper on how we do indexing in Cosmos DB)</a:t>
              </a:r>
            </a:p>
          </p:txBody>
        </p:sp>
        <p:sp>
          <p:nvSpPr>
            <p:cNvPr id="22" name="Oval 21">
              <a:extLst>
                <a:ext uri="{FF2B5EF4-FFF2-40B4-BE49-F238E27FC236}">
                  <a16:creationId xmlns:a16="http://schemas.microsoft.com/office/drawing/2014/main" id="{5BD889D6-D6F1-4D4C-80FF-86E25052BB55}"/>
                </a:ext>
              </a:extLst>
            </p:cNvPr>
            <p:cNvSpPr/>
            <p:nvPr/>
          </p:nvSpPr>
          <p:spPr bwMode="auto">
            <a:xfrm>
              <a:off x="396003" y="4964772"/>
              <a:ext cx="132331" cy="13233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41" tIns="109713" rIns="137141" bIns="109713"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699220">
                <a:defRPr/>
              </a:pPr>
              <a:endParaRPr lang="en-US" sz="1176" b="0" err="1">
                <a:solidFill>
                  <a:srgbClr val="353535"/>
                </a:solidFill>
                <a:latin typeface="Segoe UI Semilight"/>
                <a:ea typeface="Segoe UI" pitchFamily="34" charset="0"/>
                <a:cs typeface="Segoe UI" pitchFamily="34" charset="0"/>
              </a:endParaRPr>
            </a:p>
          </p:txBody>
        </p:sp>
      </p:grpSp>
      <p:grpSp>
        <p:nvGrpSpPr>
          <p:cNvPr id="33" name="Group 32">
            <a:extLst>
              <a:ext uri="{FF2B5EF4-FFF2-40B4-BE49-F238E27FC236}">
                <a16:creationId xmlns:a16="http://schemas.microsoft.com/office/drawing/2014/main" id="{07FC2CB2-C600-432A-AE4A-1B5DCF2FFDDB}"/>
              </a:ext>
            </a:extLst>
          </p:cNvPr>
          <p:cNvGrpSpPr/>
          <p:nvPr/>
        </p:nvGrpSpPr>
        <p:grpSpPr>
          <a:xfrm>
            <a:off x="291165" y="3912172"/>
            <a:ext cx="8516677" cy="155006"/>
            <a:chOff x="396003" y="5389601"/>
            <a:chExt cx="11583272" cy="210818"/>
          </a:xfrm>
        </p:grpSpPr>
        <p:sp>
          <p:nvSpPr>
            <p:cNvPr id="17" name="Rectangle 16">
              <a:extLst>
                <a:ext uri="{FF2B5EF4-FFF2-40B4-BE49-F238E27FC236}">
                  <a16:creationId xmlns:a16="http://schemas.microsoft.com/office/drawing/2014/main" id="{57B7E030-159B-407E-8FD3-C53F63E22346}"/>
                </a:ext>
              </a:extLst>
            </p:cNvPr>
            <p:cNvSpPr/>
            <p:nvPr/>
          </p:nvSpPr>
          <p:spPr>
            <a:xfrm>
              <a:off x="718008" y="5389601"/>
              <a:ext cx="11261267" cy="210818"/>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defTabSz="685775" fontAlgn="auto">
                <a:spcBef>
                  <a:spcPts val="0"/>
                </a:spcBef>
                <a:spcAft>
                  <a:spcPts val="0"/>
                </a:spcAft>
                <a:defRPr/>
              </a:pPr>
              <a:r>
                <a:rPr lang="en-US" sz="1176" b="0" dirty="0">
                  <a:solidFill>
                    <a:srgbClr val="353535"/>
                  </a:solidFill>
                  <a:latin typeface="Segoe UI Semilight"/>
                  <a:hlinkClick r:id="rId10"/>
                </a:rPr>
                <a:t>How does Azure Cosmos DB index data </a:t>
              </a:r>
              <a:endParaRPr lang="en-US" sz="1176" b="0" dirty="0">
                <a:solidFill>
                  <a:srgbClr val="353535"/>
                </a:solidFill>
                <a:latin typeface="Segoe UI Semilight"/>
              </a:endParaRPr>
            </a:p>
          </p:txBody>
        </p:sp>
        <p:sp>
          <p:nvSpPr>
            <p:cNvPr id="23" name="Oval 22">
              <a:extLst>
                <a:ext uri="{FF2B5EF4-FFF2-40B4-BE49-F238E27FC236}">
                  <a16:creationId xmlns:a16="http://schemas.microsoft.com/office/drawing/2014/main" id="{FFD01596-AB7F-4749-A9D5-FD9AD5ECD6E7}"/>
                </a:ext>
              </a:extLst>
            </p:cNvPr>
            <p:cNvSpPr/>
            <p:nvPr/>
          </p:nvSpPr>
          <p:spPr bwMode="auto">
            <a:xfrm>
              <a:off x="396003" y="5428845"/>
              <a:ext cx="132331" cy="13233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41" tIns="109713" rIns="137141" bIns="109713"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699220">
                <a:defRPr/>
              </a:pPr>
              <a:endParaRPr lang="en-US" sz="1176" b="0" err="1">
                <a:solidFill>
                  <a:srgbClr val="353535"/>
                </a:solidFill>
                <a:latin typeface="Segoe UI Semilight"/>
                <a:ea typeface="Segoe UI" pitchFamily="34" charset="0"/>
                <a:cs typeface="Segoe UI" pitchFamily="34" charset="0"/>
              </a:endParaRPr>
            </a:p>
          </p:txBody>
        </p:sp>
      </p:grpSp>
      <p:grpSp>
        <p:nvGrpSpPr>
          <p:cNvPr id="34" name="Group 33">
            <a:extLst>
              <a:ext uri="{FF2B5EF4-FFF2-40B4-BE49-F238E27FC236}">
                <a16:creationId xmlns:a16="http://schemas.microsoft.com/office/drawing/2014/main" id="{32BACDB1-5D48-4E30-95E7-F88F352C42E1}"/>
              </a:ext>
            </a:extLst>
          </p:cNvPr>
          <p:cNvGrpSpPr/>
          <p:nvPr/>
        </p:nvGrpSpPr>
        <p:grpSpPr>
          <a:xfrm>
            <a:off x="291165" y="4179252"/>
            <a:ext cx="8516677" cy="201965"/>
            <a:chOff x="396003" y="5821738"/>
            <a:chExt cx="11583272" cy="274687"/>
          </a:xfrm>
        </p:grpSpPr>
        <p:sp>
          <p:nvSpPr>
            <p:cNvPr id="18" name="Rectangle 17">
              <a:extLst>
                <a:ext uri="{FF2B5EF4-FFF2-40B4-BE49-F238E27FC236}">
                  <a16:creationId xmlns:a16="http://schemas.microsoft.com/office/drawing/2014/main" id="{6D5187C3-37DD-42FE-A110-CFBAE4508C0A}"/>
                </a:ext>
              </a:extLst>
            </p:cNvPr>
            <p:cNvSpPr/>
            <p:nvPr/>
          </p:nvSpPr>
          <p:spPr>
            <a:xfrm>
              <a:off x="718008" y="5821738"/>
              <a:ext cx="11261267" cy="274687"/>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defTabSz="685775" fontAlgn="auto">
                <a:spcBef>
                  <a:spcPts val="0"/>
                </a:spcBef>
                <a:spcAft>
                  <a:spcPts val="0"/>
                </a:spcAft>
                <a:defRPr/>
              </a:pPr>
              <a:r>
                <a:rPr lang="en-US" sz="1176" b="0" dirty="0">
                  <a:solidFill>
                    <a:srgbClr val="353535"/>
                  </a:solidFill>
                  <a:latin typeface="Segoe UI Semilight"/>
                  <a:hlinkClick r:id="rId11"/>
                </a:rPr>
                <a:t>Request Units in Azure Cosmos DB</a:t>
              </a:r>
              <a:endParaRPr lang="en-US" sz="1176" b="0" dirty="0">
                <a:solidFill>
                  <a:srgbClr val="353535"/>
                </a:solidFill>
                <a:latin typeface="Segoe UI Semilight"/>
              </a:endParaRPr>
            </a:p>
          </p:txBody>
        </p:sp>
        <p:sp>
          <p:nvSpPr>
            <p:cNvPr id="24" name="Oval 23">
              <a:extLst>
                <a:ext uri="{FF2B5EF4-FFF2-40B4-BE49-F238E27FC236}">
                  <a16:creationId xmlns:a16="http://schemas.microsoft.com/office/drawing/2014/main" id="{4B7175A1-EFA5-41B9-AD83-CC0C9175BCED}"/>
                </a:ext>
              </a:extLst>
            </p:cNvPr>
            <p:cNvSpPr/>
            <p:nvPr/>
          </p:nvSpPr>
          <p:spPr bwMode="auto">
            <a:xfrm>
              <a:off x="396003" y="5892916"/>
              <a:ext cx="132331" cy="13233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41" tIns="109713" rIns="137141" bIns="109713"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699220">
                <a:defRPr/>
              </a:pPr>
              <a:endParaRPr lang="en-US" sz="1176" b="0" err="1">
                <a:solidFill>
                  <a:srgbClr val="353535"/>
                </a:solidFill>
                <a:latin typeface="Segoe UI Semilight"/>
                <a:ea typeface="Segoe UI" pitchFamily="34" charset="0"/>
                <a:cs typeface="Segoe UI" pitchFamily="34" charset="0"/>
              </a:endParaRPr>
            </a:p>
          </p:txBody>
        </p:sp>
      </p:grpSp>
      <p:grpSp>
        <p:nvGrpSpPr>
          <p:cNvPr id="35" name="Group 34">
            <a:extLst>
              <a:ext uri="{FF2B5EF4-FFF2-40B4-BE49-F238E27FC236}">
                <a16:creationId xmlns:a16="http://schemas.microsoft.com/office/drawing/2014/main" id="{B257051C-EAA7-40AF-B156-4C6C23BF6DB2}"/>
              </a:ext>
            </a:extLst>
          </p:cNvPr>
          <p:cNvGrpSpPr/>
          <p:nvPr/>
        </p:nvGrpSpPr>
        <p:grpSpPr>
          <a:xfrm>
            <a:off x="291165" y="4493290"/>
            <a:ext cx="8516677" cy="192402"/>
            <a:chOff x="396003" y="6292311"/>
            <a:chExt cx="11583272" cy="261680"/>
          </a:xfrm>
        </p:grpSpPr>
        <p:sp>
          <p:nvSpPr>
            <p:cNvPr id="19" name="Rectangle 18">
              <a:extLst>
                <a:ext uri="{FF2B5EF4-FFF2-40B4-BE49-F238E27FC236}">
                  <a16:creationId xmlns:a16="http://schemas.microsoft.com/office/drawing/2014/main" id="{9E869840-0981-4CB6-AAB3-EB74B7880BAC}"/>
                </a:ext>
              </a:extLst>
            </p:cNvPr>
            <p:cNvSpPr/>
            <p:nvPr/>
          </p:nvSpPr>
          <p:spPr>
            <a:xfrm>
              <a:off x="718008" y="6292311"/>
              <a:ext cx="11261267" cy="261680"/>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defTabSz="685775" fontAlgn="auto">
                <a:spcBef>
                  <a:spcPts val="0"/>
                </a:spcBef>
                <a:spcAft>
                  <a:spcPts val="0"/>
                </a:spcAft>
                <a:defRPr/>
              </a:pPr>
              <a:r>
                <a:rPr lang="en-US" sz="1176" b="0" dirty="0">
                  <a:solidFill>
                    <a:srgbClr val="353535"/>
                  </a:solidFill>
                  <a:latin typeface="Segoe UI Semilight"/>
                  <a:hlinkClick r:id="rId12"/>
                </a:rPr>
                <a:t>Expire data in Azure Cosmos DB collections automatically with time to live </a:t>
              </a:r>
              <a:endParaRPr lang="en-US" sz="1176" b="0" dirty="0">
                <a:solidFill>
                  <a:srgbClr val="353535"/>
                </a:solidFill>
                <a:latin typeface="Segoe UI Semilight"/>
              </a:endParaRPr>
            </a:p>
          </p:txBody>
        </p:sp>
        <p:sp>
          <p:nvSpPr>
            <p:cNvPr id="25" name="Oval 24">
              <a:extLst>
                <a:ext uri="{FF2B5EF4-FFF2-40B4-BE49-F238E27FC236}">
                  <a16:creationId xmlns:a16="http://schemas.microsoft.com/office/drawing/2014/main" id="{FF203908-B254-4AA7-964B-2D91317AC18D}"/>
                </a:ext>
              </a:extLst>
            </p:cNvPr>
            <p:cNvSpPr/>
            <p:nvPr/>
          </p:nvSpPr>
          <p:spPr bwMode="auto">
            <a:xfrm>
              <a:off x="396003" y="6356986"/>
              <a:ext cx="132331" cy="13233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41" tIns="109713" rIns="137141" bIns="109713"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699220">
                <a:defRPr/>
              </a:pPr>
              <a:endParaRPr lang="en-US" sz="1176" b="0" err="1">
                <a:solidFill>
                  <a:srgbClr val="353535"/>
                </a:solidFill>
                <a:latin typeface="Segoe UI Semilight"/>
                <a:ea typeface="Segoe UI" pitchFamily="34" charset="0"/>
                <a:cs typeface="Segoe UI" pitchFamily="34" charset="0"/>
              </a:endParaRPr>
            </a:p>
          </p:txBody>
        </p:sp>
      </p:grpSp>
      <p:grpSp>
        <p:nvGrpSpPr>
          <p:cNvPr id="36" name="Group 35">
            <a:extLst>
              <a:ext uri="{FF2B5EF4-FFF2-40B4-BE49-F238E27FC236}">
                <a16:creationId xmlns:a16="http://schemas.microsoft.com/office/drawing/2014/main" id="{E87AC434-B605-4C3B-A5C7-C3D361F5F9EF}"/>
              </a:ext>
            </a:extLst>
          </p:cNvPr>
          <p:cNvGrpSpPr/>
          <p:nvPr/>
        </p:nvGrpSpPr>
        <p:grpSpPr>
          <a:xfrm>
            <a:off x="291165" y="4797766"/>
            <a:ext cx="8516677" cy="182196"/>
            <a:chOff x="396003" y="6299251"/>
            <a:chExt cx="11583272" cy="247799"/>
          </a:xfrm>
        </p:grpSpPr>
        <p:sp>
          <p:nvSpPr>
            <p:cNvPr id="37" name="Rectangle 36">
              <a:extLst>
                <a:ext uri="{FF2B5EF4-FFF2-40B4-BE49-F238E27FC236}">
                  <a16:creationId xmlns:a16="http://schemas.microsoft.com/office/drawing/2014/main" id="{E8B48293-11A4-478A-B910-2BA23DE5FC84}"/>
                </a:ext>
              </a:extLst>
            </p:cNvPr>
            <p:cNvSpPr/>
            <p:nvPr/>
          </p:nvSpPr>
          <p:spPr>
            <a:xfrm>
              <a:off x="718008" y="6299251"/>
              <a:ext cx="11261267" cy="247799"/>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defTabSz="685775" fontAlgn="auto">
                <a:spcBef>
                  <a:spcPts val="0"/>
                </a:spcBef>
                <a:spcAft>
                  <a:spcPts val="0"/>
                </a:spcAft>
                <a:defRPr/>
              </a:pPr>
              <a:r>
                <a:rPr lang="en-US" sz="1176" b="0" dirty="0">
                  <a:solidFill>
                    <a:srgbClr val="353535"/>
                  </a:solidFill>
                  <a:latin typeface="Segoe UI Semilight"/>
                  <a:hlinkClick r:id="rId13"/>
                </a:rPr>
                <a:t>Automatic online backup and restore with Azure Cosmos DB</a:t>
              </a:r>
              <a:endParaRPr lang="en-US" sz="1176" b="0" dirty="0">
                <a:solidFill>
                  <a:srgbClr val="353535"/>
                </a:solidFill>
                <a:latin typeface="Segoe UI Semilight"/>
              </a:endParaRPr>
            </a:p>
          </p:txBody>
        </p:sp>
        <p:sp>
          <p:nvSpPr>
            <p:cNvPr id="38" name="Oval 37">
              <a:extLst>
                <a:ext uri="{FF2B5EF4-FFF2-40B4-BE49-F238E27FC236}">
                  <a16:creationId xmlns:a16="http://schemas.microsoft.com/office/drawing/2014/main" id="{293FB4C8-F308-44F5-9CAC-C17866A76642}"/>
                </a:ext>
              </a:extLst>
            </p:cNvPr>
            <p:cNvSpPr/>
            <p:nvPr/>
          </p:nvSpPr>
          <p:spPr bwMode="auto">
            <a:xfrm>
              <a:off x="396003" y="6356985"/>
              <a:ext cx="132331" cy="13233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41" tIns="109713" rIns="137141" bIns="109713"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699220">
                <a:defRPr/>
              </a:pPr>
              <a:endParaRPr lang="en-US" sz="1176" b="0" err="1">
                <a:solidFill>
                  <a:srgbClr val="353535"/>
                </a:solidFill>
                <a:latin typeface="Segoe UI Semilight"/>
                <a:ea typeface="Segoe UI" pitchFamily="34" charset="0"/>
                <a:cs typeface="Segoe UI" pitchFamily="34" charset="0"/>
              </a:endParaRPr>
            </a:p>
          </p:txBody>
        </p:sp>
      </p:grpSp>
      <p:grpSp>
        <p:nvGrpSpPr>
          <p:cNvPr id="39" name="Group 38">
            <a:extLst>
              <a:ext uri="{FF2B5EF4-FFF2-40B4-BE49-F238E27FC236}">
                <a16:creationId xmlns:a16="http://schemas.microsoft.com/office/drawing/2014/main" id="{3097B61A-31C2-4112-A05F-FEB3402508DA}"/>
              </a:ext>
            </a:extLst>
          </p:cNvPr>
          <p:cNvGrpSpPr/>
          <p:nvPr/>
        </p:nvGrpSpPr>
        <p:grpSpPr>
          <a:xfrm>
            <a:off x="291165" y="5092035"/>
            <a:ext cx="8516677" cy="201966"/>
            <a:chOff x="396003" y="6285807"/>
            <a:chExt cx="11583272" cy="274688"/>
          </a:xfrm>
        </p:grpSpPr>
        <p:sp>
          <p:nvSpPr>
            <p:cNvPr id="40" name="Rectangle 39">
              <a:extLst>
                <a:ext uri="{FF2B5EF4-FFF2-40B4-BE49-F238E27FC236}">
                  <a16:creationId xmlns:a16="http://schemas.microsoft.com/office/drawing/2014/main" id="{AE684792-4F48-466E-A418-0EC7696F37E6}"/>
                </a:ext>
              </a:extLst>
            </p:cNvPr>
            <p:cNvSpPr/>
            <p:nvPr/>
          </p:nvSpPr>
          <p:spPr>
            <a:xfrm>
              <a:off x="718008" y="6285807"/>
              <a:ext cx="11261267" cy="274688"/>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defTabSz="685775" fontAlgn="auto">
                <a:spcBef>
                  <a:spcPts val="0"/>
                </a:spcBef>
                <a:spcAft>
                  <a:spcPts val="0"/>
                </a:spcAft>
                <a:defRPr/>
              </a:pPr>
              <a:r>
                <a:rPr lang="en-US" sz="1176" b="0" dirty="0">
                  <a:solidFill>
                    <a:srgbClr val="353535"/>
                  </a:solidFill>
                  <a:latin typeface="Segoe UI Semilight"/>
                  <a:hlinkClick r:id="rId14"/>
                </a:rPr>
                <a:t>Integration of Cosmos DB with Spark</a:t>
              </a:r>
              <a:endParaRPr lang="en-US" sz="1176" b="0" dirty="0">
                <a:solidFill>
                  <a:srgbClr val="353535"/>
                </a:solidFill>
                <a:latin typeface="Segoe UI Semilight"/>
              </a:endParaRPr>
            </a:p>
          </p:txBody>
        </p:sp>
        <p:sp>
          <p:nvSpPr>
            <p:cNvPr id="41" name="Oval 40">
              <a:extLst>
                <a:ext uri="{FF2B5EF4-FFF2-40B4-BE49-F238E27FC236}">
                  <a16:creationId xmlns:a16="http://schemas.microsoft.com/office/drawing/2014/main" id="{947738CE-D5CE-4214-90A6-B19F2D910C4A}"/>
                </a:ext>
              </a:extLst>
            </p:cNvPr>
            <p:cNvSpPr/>
            <p:nvPr/>
          </p:nvSpPr>
          <p:spPr bwMode="auto">
            <a:xfrm>
              <a:off x="396003" y="6356986"/>
              <a:ext cx="132331" cy="13233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41" tIns="109713" rIns="137141" bIns="109713"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699220">
                <a:defRPr/>
              </a:pPr>
              <a:endParaRPr lang="en-US" sz="1176" b="0" err="1">
                <a:solidFill>
                  <a:srgbClr val="353535"/>
                </a:solidFill>
                <a:latin typeface="Segoe UI Semilight"/>
                <a:ea typeface="Segoe UI" pitchFamily="34" charset="0"/>
                <a:cs typeface="Segoe UI" pitchFamily="34" charset="0"/>
              </a:endParaRPr>
            </a:p>
          </p:txBody>
        </p:sp>
      </p:grpSp>
      <p:grpSp>
        <p:nvGrpSpPr>
          <p:cNvPr id="42" name="Group 41">
            <a:extLst>
              <a:ext uri="{FF2B5EF4-FFF2-40B4-BE49-F238E27FC236}">
                <a16:creationId xmlns:a16="http://schemas.microsoft.com/office/drawing/2014/main" id="{529BC80B-645F-450C-A6C8-2E80589A0944}"/>
              </a:ext>
            </a:extLst>
          </p:cNvPr>
          <p:cNvGrpSpPr/>
          <p:nvPr/>
        </p:nvGrpSpPr>
        <p:grpSpPr>
          <a:xfrm>
            <a:off x="291165" y="5406080"/>
            <a:ext cx="8516677" cy="201966"/>
            <a:chOff x="396003" y="6285807"/>
            <a:chExt cx="11583272" cy="274688"/>
          </a:xfrm>
        </p:grpSpPr>
        <p:sp>
          <p:nvSpPr>
            <p:cNvPr id="43" name="Rectangle 42">
              <a:extLst>
                <a:ext uri="{FF2B5EF4-FFF2-40B4-BE49-F238E27FC236}">
                  <a16:creationId xmlns:a16="http://schemas.microsoft.com/office/drawing/2014/main" id="{C1FAF46F-6839-4081-86D2-BEF53B2DC787}"/>
                </a:ext>
              </a:extLst>
            </p:cNvPr>
            <p:cNvSpPr/>
            <p:nvPr/>
          </p:nvSpPr>
          <p:spPr>
            <a:xfrm>
              <a:off x="718008" y="6285807"/>
              <a:ext cx="11261267" cy="274688"/>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defTabSz="685775" fontAlgn="auto">
                <a:spcBef>
                  <a:spcPts val="0"/>
                </a:spcBef>
                <a:spcAft>
                  <a:spcPts val="0"/>
                </a:spcAft>
                <a:defRPr/>
              </a:pPr>
              <a:r>
                <a:rPr lang="en-US" sz="1176" b="0" dirty="0">
                  <a:solidFill>
                    <a:srgbClr val="353535"/>
                  </a:solidFill>
                  <a:latin typeface="Segoe UI Semilight"/>
                  <a:hlinkClick r:id="rId15"/>
                </a:rPr>
                <a:t>Azure Cosmos DB SLA</a:t>
              </a:r>
              <a:endParaRPr lang="en-US" sz="1176" b="0" dirty="0">
                <a:solidFill>
                  <a:srgbClr val="353535"/>
                </a:solidFill>
                <a:latin typeface="Segoe UI Semilight"/>
              </a:endParaRPr>
            </a:p>
          </p:txBody>
        </p:sp>
        <p:sp>
          <p:nvSpPr>
            <p:cNvPr id="44" name="Oval 43">
              <a:extLst>
                <a:ext uri="{FF2B5EF4-FFF2-40B4-BE49-F238E27FC236}">
                  <a16:creationId xmlns:a16="http://schemas.microsoft.com/office/drawing/2014/main" id="{49001851-4FB2-4066-9847-01CA9E9DC3BD}"/>
                </a:ext>
              </a:extLst>
            </p:cNvPr>
            <p:cNvSpPr/>
            <p:nvPr/>
          </p:nvSpPr>
          <p:spPr bwMode="auto">
            <a:xfrm>
              <a:off x="396003" y="6356986"/>
              <a:ext cx="132331" cy="13233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41" tIns="109713" rIns="137141" bIns="109713"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699220">
                <a:defRPr/>
              </a:pPr>
              <a:endParaRPr lang="en-US" sz="1176" b="0" err="1">
                <a:solidFill>
                  <a:srgbClr val="353535"/>
                </a:solidFill>
                <a:latin typeface="Segoe UI Semilight"/>
                <a:ea typeface="Segoe UI" pitchFamily="34" charset="0"/>
                <a:cs typeface="Segoe UI" pitchFamily="34" charset="0"/>
              </a:endParaRPr>
            </a:p>
          </p:txBody>
        </p:sp>
      </p:grpSp>
    </p:spTree>
    <p:extLst>
      <p:ext uri="{BB962C8B-B14F-4D97-AF65-F5344CB8AC3E}">
        <p14:creationId xmlns:p14="http://schemas.microsoft.com/office/powerpoint/2010/main" val="16349530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Azure Storage Account Schematic</a:t>
            </a:r>
          </a:p>
        </p:txBody>
      </p:sp>
      <p:pic>
        <p:nvPicPr>
          <p:cNvPr id="8" name="Picture 6" descr="Storage Blob Hierarchy">
            <a:extLst>
              <a:ext uri="{FF2B5EF4-FFF2-40B4-BE49-F238E27FC236}">
                <a16:creationId xmlns:a16="http://schemas.microsoft.com/office/drawing/2014/main" id="{7023C43D-D52E-4884-BD14-EE6D4ABFD54A}"/>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6667" t="9172" r="16667" b="8475"/>
          <a:stretch/>
        </p:blipFill>
        <p:spPr bwMode="auto">
          <a:xfrm>
            <a:off x="228649" y="1700996"/>
            <a:ext cx="4093001" cy="1472856"/>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descr="Queue service components">
            <a:extLst>
              <a:ext uri="{FF2B5EF4-FFF2-40B4-BE49-F238E27FC236}">
                <a16:creationId xmlns:a16="http://schemas.microsoft.com/office/drawing/2014/main" id="{53764BD4-A1B6-4812-9B31-B216CFB024B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669301" y="3629808"/>
            <a:ext cx="3971876" cy="1838222"/>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10" descr="Storage table components">
            <a:extLst>
              <a:ext uri="{FF2B5EF4-FFF2-40B4-BE49-F238E27FC236}">
                <a16:creationId xmlns:a16="http://schemas.microsoft.com/office/drawing/2014/main" id="{BA59FB24-DC78-4C59-A033-B8EB4058BF7D}"/>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7453" r="8075"/>
          <a:stretch/>
        </p:blipFill>
        <p:spPr bwMode="auto">
          <a:xfrm>
            <a:off x="4721651" y="1700996"/>
            <a:ext cx="3919526" cy="1472856"/>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4" descr="File Service components">
            <a:extLst>
              <a:ext uri="{FF2B5EF4-FFF2-40B4-BE49-F238E27FC236}">
                <a16:creationId xmlns:a16="http://schemas.microsoft.com/office/drawing/2014/main" id="{EE76A68A-D798-434A-ADC8-C19E312A76BE}"/>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28649" y="3629808"/>
            <a:ext cx="4041002" cy="1954653"/>
          </a:xfrm>
          <a:prstGeom prst="rect">
            <a:avLst/>
          </a:prstGeom>
          <a:noFill/>
          <a:extLst>
            <a:ext uri="{909E8E84-426E-40DD-AFC4-6F175D3DCCD1}">
              <a14:hiddenFill xmlns:a14="http://schemas.microsoft.com/office/drawing/2010/main">
                <a:solidFill>
                  <a:srgbClr val="FFFFFF"/>
                </a:solidFill>
              </a14:hiddenFill>
            </a:ext>
          </a:extLst>
        </p:spPr>
      </p:pic>
      <p:sp>
        <p:nvSpPr>
          <p:cNvPr id="12" name="TextBox 11"/>
          <p:cNvSpPr txBox="1"/>
          <p:nvPr/>
        </p:nvSpPr>
        <p:spPr>
          <a:xfrm>
            <a:off x="1806348" y="3173852"/>
            <a:ext cx="1138918" cy="300082"/>
          </a:xfrm>
          <a:prstGeom prst="rect">
            <a:avLst/>
          </a:prstGeom>
          <a:noFill/>
        </p:spPr>
        <p:txBody>
          <a:bodyPr wrap="square" rtlCol="0">
            <a:spAutoFit/>
          </a:bodyPr>
          <a:lstStyle/>
          <a:p>
            <a:pPr defTabSz="342900" fontAlgn="auto">
              <a:spcBef>
                <a:spcPts val="0"/>
              </a:spcBef>
              <a:spcAft>
                <a:spcPts val="0"/>
              </a:spcAft>
              <a:defRPr/>
            </a:pPr>
            <a:r>
              <a:rPr lang="en-US" sz="1350" dirty="0">
                <a:solidFill>
                  <a:prstClr val="black"/>
                </a:solidFill>
                <a:latin typeface="Calibri" panose="020F0502020204030204"/>
                <a:cs typeface="+mn-cs"/>
              </a:rPr>
              <a:t>Blob Storage</a:t>
            </a:r>
          </a:p>
        </p:txBody>
      </p:sp>
      <p:sp>
        <p:nvSpPr>
          <p:cNvPr id="13" name="TextBox 12"/>
          <p:cNvSpPr txBox="1"/>
          <p:nvPr/>
        </p:nvSpPr>
        <p:spPr>
          <a:xfrm>
            <a:off x="1541009" y="5624918"/>
            <a:ext cx="1138918" cy="300082"/>
          </a:xfrm>
          <a:prstGeom prst="rect">
            <a:avLst/>
          </a:prstGeom>
          <a:noFill/>
        </p:spPr>
        <p:txBody>
          <a:bodyPr wrap="square" rtlCol="0">
            <a:spAutoFit/>
          </a:bodyPr>
          <a:lstStyle/>
          <a:p>
            <a:pPr defTabSz="342900" fontAlgn="auto">
              <a:spcBef>
                <a:spcPts val="0"/>
              </a:spcBef>
              <a:spcAft>
                <a:spcPts val="0"/>
              </a:spcAft>
              <a:defRPr/>
            </a:pPr>
            <a:r>
              <a:rPr lang="en-US" sz="1350" dirty="0">
                <a:solidFill>
                  <a:prstClr val="black"/>
                </a:solidFill>
                <a:latin typeface="Calibri" panose="020F0502020204030204"/>
                <a:cs typeface="+mn-cs"/>
              </a:rPr>
              <a:t>File Storage</a:t>
            </a:r>
          </a:p>
        </p:txBody>
      </p:sp>
      <p:sp>
        <p:nvSpPr>
          <p:cNvPr id="14" name="TextBox 13"/>
          <p:cNvSpPr txBox="1"/>
          <p:nvPr/>
        </p:nvSpPr>
        <p:spPr>
          <a:xfrm>
            <a:off x="6039531" y="3205942"/>
            <a:ext cx="1138918" cy="300082"/>
          </a:xfrm>
          <a:prstGeom prst="rect">
            <a:avLst/>
          </a:prstGeom>
          <a:noFill/>
        </p:spPr>
        <p:txBody>
          <a:bodyPr wrap="square" rtlCol="0">
            <a:spAutoFit/>
          </a:bodyPr>
          <a:lstStyle/>
          <a:p>
            <a:pPr defTabSz="342900" fontAlgn="auto">
              <a:spcBef>
                <a:spcPts val="0"/>
              </a:spcBef>
              <a:spcAft>
                <a:spcPts val="0"/>
              </a:spcAft>
              <a:defRPr/>
            </a:pPr>
            <a:r>
              <a:rPr lang="en-US" sz="1350" dirty="0">
                <a:solidFill>
                  <a:prstClr val="black"/>
                </a:solidFill>
                <a:latin typeface="Calibri" panose="020F0502020204030204"/>
                <a:cs typeface="+mn-cs"/>
              </a:rPr>
              <a:t>Azure Table</a:t>
            </a:r>
          </a:p>
        </p:txBody>
      </p:sp>
      <p:sp>
        <p:nvSpPr>
          <p:cNvPr id="15" name="TextBox 14"/>
          <p:cNvSpPr txBox="1"/>
          <p:nvPr/>
        </p:nvSpPr>
        <p:spPr>
          <a:xfrm>
            <a:off x="5874204" y="5624918"/>
            <a:ext cx="1138918" cy="300082"/>
          </a:xfrm>
          <a:prstGeom prst="rect">
            <a:avLst/>
          </a:prstGeom>
          <a:noFill/>
        </p:spPr>
        <p:txBody>
          <a:bodyPr wrap="square" rtlCol="0">
            <a:spAutoFit/>
          </a:bodyPr>
          <a:lstStyle/>
          <a:p>
            <a:pPr defTabSz="342900" fontAlgn="auto">
              <a:spcBef>
                <a:spcPts val="0"/>
              </a:spcBef>
              <a:spcAft>
                <a:spcPts val="0"/>
              </a:spcAft>
              <a:defRPr/>
            </a:pPr>
            <a:r>
              <a:rPr lang="en-US" sz="1350" dirty="0">
                <a:solidFill>
                  <a:prstClr val="black"/>
                </a:solidFill>
                <a:latin typeface="Calibri" panose="020F0502020204030204"/>
                <a:cs typeface="+mn-cs"/>
              </a:rPr>
              <a:t>Azure Queue</a:t>
            </a:r>
          </a:p>
        </p:txBody>
      </p:sp>
    </p:spTree>
    <p:extLst>
      <p:ext uri="{BB962C8B-B14F-4D97-AF65-F5344CB8AC3E}">
        <p14:creationId xmlns:p14="http://schemas.microsoft.com/office/powerpoint/2010/main" val="410760355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87791" y="1021964"/>
            <a:ext cx="8227559" cy="679033"/>
          </a:xfrm>
        </p:spPr>
        <p:txBody>
          <a:bodyPr/>
          <a:lstStyle/>
          <a:p>
            <a:r>
              <a:rPr lang="en-US" dirty="0"/>
              <a:t>Azure Storage Account</a:t>
            </a:r>
          </a:p>
        </p:txBody>
      </p:sp>
      <p:sp>
        <p:nvSpPr>
          <p:cNvPr id="5" name="Content Placeholder 4"/>
          <p:cNvSpPr>
            <a:spLocks noGrp="1"/>
          </p:cNvSpPr>
          <p:nvPr>
            <p:ph sz="half" idx="1"/>
          </p:nvPr>
        </p:nvSpPr>
        <p:spPr>
          <a:xfrm>
            <a:off x="167640" y="1816893"/>
            <a:ext cx="3616507" cy="4055270"/>
          </a:xfrm>
        </p:spPr>
        <p:txBody>
          <a:bodyPr>
            <a:normAutofit fontScale="77500" lnSpcReduction="20000"/>
          </a:bodyPr>
          <a:lstStyle/>
          <a:p>
            <a:pPr marL="0" indent="0">
              <a:buNone/>
            </a:pPr>
            <a:r>
              <a:rPr lang="en-US" sz="2475" b="1" u="sng" dirty="0"/>
              <a:t>Two Kinds of Storage Account</a:t>
            </a:r>
          </a:p>
          <a:p>
            <a:r>
              <a:rPr lang="en-US" dirty="0"/>
              <a:t>General Purpose Storage Account</a:t>
            </a:r>
          </a:p>
          <a:p>
            <a:pPr lvl="1"/>
            <a:r>
              <a:rPr lang="en-US" dirty="0"/>
              <a:t>Blobs</a:t>
            </a:r>
          </a:p>
          <a:p>
            <a:pPr lvl="1"/>
            <a:r>
              <a:rPr lang="en-US" dirty="0"/>
              <a:t>Files</a:t>
            </a:r>
          </a:p>
          <a:p>
            <a:pPr lvl="1"/>
            <a:r>
              <a:rPr lang="en-US" dirty="0"/>
              <a:t>Queues</a:t>
            </a:r>
          </a:p>
          <a:p>
            <a:pPr lvl="1"/>
            <a:r>
              <a:rPr lang="en-US" dirty="0"/>
              <a:t>Tables</a:t>
            </a:r>
          </a:p>
          <a:p>
            <a:pPr lvl="1"/>
            <a:r>
              <a:rPr lang="en-US" dirty="0"/>
              <a:t>VHD Disks(Page Blob)</a:t>
            </a:r>
          </a:p>
          <a:p>
            <a:r>
              <a:rPr lang="en-US" dirty="0"/>
              <a:t>Blob Storage Account</a:t>
            </a:r>
          </a:p>
          <a:p>
            <a:pPr lvl="1"/>
            <a:r>
              <a:rPr lang="en-US" dirty="0"/>
              <a:t>Block Blob</a:t>
            </a:r>
          </a:p>
          <a:p>
            <a:pPr lvl="1"/>
            <a:r>
              <a:rPr lang="en-US" dirty="0"/>
              <a:t>Append Blob</a:t>
            </a:r>
          </a:p>
          <a:p>
            <a:pPr lvl="1"/>
            <a:r>
              <a:rPr lang="en-US" dirty="0"/>
              <a:t>Page Blob</a:t>
            </a:r>
          </a:p>
          <a:p>
            <a:pPr marL="0" indent="0">
              <a:buNone/>
            </a:pPr>
            <a:r>
              <a:rPr lang="en-US" sz="2475" b="1" u="sng" dirty="0"/>
              <a:t>Performance Tier</a:t>
            </a:r>
          </a:p>
          <a:p>
            <a:r>
              <a:rPr lang="en-US" dirty="0"/>
              <a:t>General Purpose: </a:t>
            </a:r>
            <a:r>
              <a:rPr lang="en-US" b="1" dirty="0"/>
              <a:t>Standard</a:t>
            </a:r>
            <a:r>
              <a:rPr lang="en-US" dirty="0"/>
              <a:t>(HDD based), </a:t>
            </a:r>
            <a:r>
              <a:rPr lang="en-US" b="1" dirty="0"/>
              <a:t>Premium</a:t>
            </a:r>
            <a:r>
              <a:rPr lang="en-US" dirty="0"/>
              <a:t>(SSD based) for VM</a:t>
            </a:r>
          </a:p>
          <a:p>
            <a:r>
              <a:rPr lang="en-US" dirty="0"/>
              <a:t>Blob Account: </a:t>
            </a:r>
            <a:r>
              <a:rPr lang="en-US" b="1" dirty="0"/>
              <a:t>Hot</a:t>
            </a:r>
            <a:r>
              <a:rPr lang="en-US" dirty="0"/>
              <a:t>, </a:t>
            </a:r>
            <a:r>
              <a:rPr lang="en-US" b="1" dirty="0"/>
              <a:t>Cool</a:t>
            </a:r>
            <a:r>
              <a:rPr lang="en-US" dirty="0"/>
              <a:t>, </a:t>
            </a:r>
            <a:r>
              <a:rPr lang="en-US" b="1" dirty="0"/>
              <a:t>Archival</a:t>
            </a:r>
            <a:r>
              <a:rPr lang="en-US" dirty="0"/>
              <a:t>( Preview)</a:t>
            </a:r>
          </a:p>
          <a:p>
            <a:endParaRPr lang="en-US" dirty="0"/>
          </a:p>
        </p:txBody>
      </p:sp>
      <p:pic>
        <p:nvPicPr>
          <p:cNvPr id="3" name="Picture 2"/>
          <p:cNvPicPr>
            <a:picLocks noChangeAspect="1"/>
          </p:cNvPicPr>
          <p:nvPr/>
        </p:nvPicPr>
        <p:blipFill rotWithShape="1">
          <a:blip r:embed="rId3"/>
          <a:srcRect t="24366"/>
          <a:stretch/>
        </p:blipFill>
        <p:spPr>
          <a:xfrm>
            <a:off x="4708752" y="1273629"/>
            <a:ext cx="3869871" cy="2002291"/>
          </a:xfrm>
          <a:prstGeom prst="rect">
            <a:avLst/>
          </a:prstGeom>
        </p:spPr>
      </p:pic>
      <p:pic>
        <p:nvPicPr>
          <p:cNvPr id="8" name="Picture 7"/>
          <p:cNvPicPr>
            <a:picLocks noChangeAspect="1"/>
          </p:cNvPicPr>
          <p:nvPr/>
        </p:nvPicPr>
        <p:blipFill>
          <a:blip r:embed="rId4"/>
          <a:stretch>
            <a:fillRect/>
          </a:stretch>
        </p:blipFill>
        <p:spPr>
          <a:xfrm>
            <a:off x="4757737" y="3385693"/>
            <a:ext cx="3820886" cy="2431360"/>
          </a:xfrm>
          <a:prstGeom prst="rect">
            <a:avLst/>
          </a:prstGeom>
        </p:spPr>
      </p:pic>
    </p:spTree>
    <p:extLst>
      <p:ext uri="{BB962C8B-B14F-4D97-AF65-F5344CB8AC3E}">
        <p14:creationId xmlns:p14="http://schemas.microsoft.com/office/powerpoint/2010/main" val="175952416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US" sz="2700" b="1" dirty="0"/>
              <a:t>Azure Table Storage</a:t>
            </a:r>
          </a:p>
        </p:txBody>
      </p:sp>
      <p:sp>
        <p:nvSpPr>
          <p:cNvPr id="5" name="Content Placeholder 4"/>
          <p:cNvSpPr>
            <a:spLocks noGrp="1"/>
          </p:cNvSpPr>
          <p:nvPr>
            <p:ph type="body" sz="quarter" idx="10"/>
          </p:nvPr>
        </p:nvSpPr>
        <p:spPr>
          <a:xfrm>
            <a:off x="476945" y="1324993"/>
            <a:ext cx="8574837" cy="410903"/>
          </a:xfrm>
        </p:spPr>
        <p:txBody>
          <a:bodyPr>
            <a:noAutofit/>
          </a:bodyPr>
          <a:lstStyle/>
          <a:p>
            <a:r>
              <a:rPr lang="en-US" sz="2400" dirty="0"/>
              <a:t>Stores structure NoSQL</a:t>
            </a:r>
          </a:p>
          <a:p>
            <a:pPr lvl="1"/>
            <a:r>
              <a:rPr lang="en-US" sz="2100" dirty="0"/>
              <a:t>Key-value pair</a:t>
            </a:r>
          </a:p>
          <a:p>
            <a:pPr lvl="1"/>
            <a:r>
              <a:rPr lang="en-US" sz="2100" dirty="0"/>
              <a:t>Structured, non relational</a:t>
            </a:r>
          </a:p>
          <a:p>
            <a:pPr lvl="1"/>
            <a:r>
              <a:rPr lang="en-US" sz="2100" dirty="0" err="1"/>
              <a:t>Schemaless</a:t>
            </a:r>
            <a:endParaRPr lang="en-US" sz="2100" dirty="0"/>
          </a:p>
          <a:p>
            <a:r>
              <a:rPr lang="en-US" sz="2000" dirty="0"/>
              <a:t>Access data using the </a:t>
            </a:r>
            <a:r>
              <a:rPr lang="en-US" sz="2000" dirty="0" err="1"/>
              <a:t>Odata</a:t>
            </a:r>
            <a:r>
              <a:rPr lang="en-US" sz="2000" dirty="0"/>
              <a:t> &amp; LINQ .</a:t>
            </a:r>
          </a:p>
          <a:p>
            <a:r>
              <a:rPr lang="en-US" sz="2000" dirty="0"/>
              <a:t>Quickly query data using a clustered </a:t>
            </a:r>
            <a:br>
              <a:rPr lang="en-US" sz="2000" dirty="0"/>
            </a:br>
            <a:r>
              <a:rPr lang="en-US" sz="2000" dirty="0"/>
              <a:t>index</a:t>
            </a:r>
          </a:p>
          <a:p>
            <a:r>
              <a:rPr lang="en-US" sz="2000" dirty="0"/>
              <a:t>Data is consistent for other client reads </a:t>
            </a:r>
            <a:br>
              <a:rPr lang="en-US" sz="2000" dirty="0"/>
            </a:br>
            <a:r>
              <a:rPr lang="en-US" sz="2000" dirty="0"/>
              <a:t>after insert/update</a:t>
            </a:r>
          </a:p>
          <a:p>
            <a:endParaRPr lang="en-US" sz="2400" dirty="0"/>
          </a:p>
        </p:txBody>
      </p:sp>
      <p:sp>
        <p:nvSpPr>
          <p:cNvPr id="8" name="Content Placeholder 4"/>
          <p:cNvSpPr>
            <a:spLocks noGrp="1"/>
          </p:cNvSpPr>
          <p:nvPr>
            <p:ph sz="half" idx="4294967295"/>
          </p:nvPr>
        </p:nvSpPr>
        <p:spPr>
          <a:xfrm>
            <a:off x="5264150" y="1870075"/>
            <a:ext cx="3879850" cy="3794125"/>
          </a:xfrm>
        </p:spPr>
        <p:txBody>
          <a:bodyPr>
            <a:normAutofit/>
          </a:bodyPr>
          <a:lstStyle/>
          <a:p>
            <a:r>
              <a:rPr lang="en-US" sz="2400" dirty="0"/>
              <a:t>Fully managed file shares in the cloud</a:t>
            </a:r>
          </a:p>
          <a:p>
            <a:r>
              <a:rPr lang="en-US" sz="2400" dirty="0"/>
              <a:t>Supports SMB /CIFS protocol</a:t>
            </a:r>
          </a:p>
          <a:p>
            <a:r>
              <a:rPr lang="en-US" sz="2400" dirty="0"/>
              <a:t>Can be mounted concurrently</a:t>
            </a:r>
          </a:p>
          <a:p>
            <a:r>
              <a:rPr lang="en-US" sz="2400" dirty="0"/>
              <a:t>Azure File Sync(Preview)</a:t>
            </a:r>
          </a:p>
          <a:p>
            <a:r>
              <a:rPr lang="en-US" sz="2400" dirty="0"/>
              <a:t>Suitable for Lift &amp; Shift </a:t>
            </a:r>
          </a:p>
          <a:p>
            <a:r>
              <a:rPr lang="en-US" sz="2400" dirty="0"/>
              <a:t>LRS, GRS replication</a:t>
            </a:r>
          </a:p>
        </p:txBody>
      </p:sp>
      <p:sp>
        <p:nvSpPr>
          <p:cNvPr id="7" name="Title 3"/>
          <p:cNvSpPr txBox="1">
            <a:spLocks/>
          </p:cNvSpPr>
          <p:nvPr/>
        </p:nvSpPr>
        <p:spPr>
          <a:xfrm>
            <a:off x="4471988" y="1190929"/>
            <a:ext cx="3026909" cy="679033"/>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defTabSz="685800" fontAlgn="auto">
              <a:spcAft>
                <a:spcPts val="0"/>
              </a:spcAft>
              <a:defRPr/>
            </a:pPr>
            <a:r>
              <a:rPr lang="en-US" sz="2700" dirty="0">
                <a:solidFill>
                  <a:prstClr val="black"/>
                </a:solidFill>
                <a:latin typeface="Calibri Light" panose="020F0302020204030204"/>
              </a:rPr>
              <a:t>Azure File Storage</a:t>
            </a:r>
          </a:p>
        </p:txBody>
      </p:sp>
    </p:spTree>
    <p:extLst>
      <p:ext uri="{BB962C8B-B14F-4D97-AF65-F5344CB8AC3E}">
        <p14:creationId xmlns:p14="http://schemas.microsoft.com/office/powerpoint/2010/main" val="402055447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NG_MOC_Core_ModuleNew2">
  <a:themeElements>
    <a:clrScheme name="">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006699"/>
      </a:hlink>
      <a:folHlink>
        <a:srgbClr val="000066"/>
      </a:folHlink>
    </a:clrScheme>
    <a:fontScheme name="2_Master_Template">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gradFill rotWithShape="1">
          <a:gsLst>
            <a:gs pos="0">
              <a:srgbClr val="E4CD9A"/>
            </a:gs>
            <a:gs pos="100000">
              <a:srgbClr val="EEEFD7"/>
            </a:gs>
          </a:gsLst>
          <a:lin ang="2700000" scaled="1"/>
        </a:gradFill>
        <a:ln w="9525" cap="flat" cmpd="sng" algn="ctr">
          <a:noFill/>
          <a:prstDash val="solid"/>
          <a:round/>
          <a:headEnd type="none" w="med" len="med"/>
          <a:tailEnd type="none" w="med" len="med"/>
        </a:ln>
        <a:effectLst>
          <a:outerShdw dist="35921" dir="2700000" algn="ctr" rotWithShape="0">
            <a:srgbClr val="AFAFAF"/>
          </a:outerShdw>
        </a:effectLst>
      </a:spPr>
      <a:bodyPr vert="horz" wrap="square" lIns="182880" tIns="45720" rIns="182880" bIns="4572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800" b="1" i="0" u="none" strike="noStrike" cap="none" normalizeH="0" baseline="0" smtClean="0">
            <a:ln>
              <a:noFill/>
            </a:ln>
            <a:solidFill>
              <a:schemeClr val="tx1"/>
            </a:solidFill>
            <a:effectLst/>
            <a:latin typeface="Verdana" pitchFamily="34" charset="0"/>
          </a:defRPr>
        </a:defPPr>
      </a:lstStyle>
    </a:spDef>
    <a:lnDef>
      <a:spPr bwMode="auto">
        <a:xfrm>
          <a:off x="0" y="0"/>
          <a:ext cx="1" cy="1"/>
        </a:xfrm>
        <a:custGeom>
          <a:avLst/>
          <a:gdLst/>
          <a:ahLst/>
          <a:cxnLst/>
          <a:rect l="0" t="0" r="0" b="0"/>
          <a:pathLst/>
        </a:custGeom>
        <a:gradFill rotWithShape="1">
          <a:gsLst>
            <a:gs pos="0">
              <a:srgbClr val="E4CD9A"/>
            </a:gs>
            <a:gs pos="100000">
              <a:srgbClr val="EEEFD7"/>
            </a:gs>
          </a:gsLst>
          <a:lin ang="2700000" scaled="1"/>
        </a:gradFill>
        <a:ln w="9525" cap="flat" cmpd="sng" algn="ctr">
          <a:noFill/>
          <a:prstDash val="solid"/>
          <a:round/>
          <a:headEnd type="none" w="med" len="med"/>
          <a:tailEnd type="none" w="med" len="med"/>
        </a:ln>
        <a:effectLst>
          <a:outerShdw dist="35921" dir="2700000" algn="ctr" rotWithShape="0">
            <a:srgbClr val="AFAFAF"/>
          </a:outerShdw>
        </a:effectLst>
      </a:spPr>
      <a:bodyPr vert="horz" wrap="square" lIns="182880" tIns="45720" rIns="182880" bIns="4572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800" b="1" i="0" u="none" strike="noStrike" cap="none" normalizeH="0" baseline="0" smtClean="0">
            <a:ln>
              <a:noFill/>
            </a:ln>
            <a:solidFill>
              <a:schemeClr val="tx1"/>
            </a:solidFill>
            <a:effectLst/>
            <a:latin typeface="Verdana" pitchFamily="34" charset="0"/>
          </a:defRPr>
        </a:defPPr>
      </a:lstStyle>
    </a:lnDef>
  </a:objectDefaults>
  <a:extraClrSchemeLst>
    <a:extraClrScheme>
      <a:clrScheme name="2_Master_Template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2_Master_Template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2_Master_Template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2_Master_Template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2_Master_Template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2_Master_Template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2_Master_Template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2_Master_Template 8">
        <a:dk1>
          <a:srgbClr val="000000"/>
        </a:dk1>
        <a:lt1>
          <a:srgbClr val="FFFFFF"/>
        </a:lt1>
        <a:dk2>
          <a:srgbClr val="000000"/>
        </a:dk2>
        <a:lt2>
          <a:srgbClr val="C0C0C0"/>
        </a:lt2>
        <a:accent1>
          <a:srgbClr val="C1FEF9"/>
        </a:accent1>
        <a:accent2>
          <a:srgbClr val="DC0081"/>
        </a:accent2>
        <a:accent3>
          <a:srgbClr val="FFFFFF"/>
        </a:accent3>
        <a:accent4>
          <a:srgbClr val="000000"/>
        </a:accent4>
        <a:accent5>
          <a:srgbClr val="DDFEFB"/>
        </a:accent5>
        <a:accent6>
          <a:srgbClr val="C70074"/>
        </a:accent6>
        <a:hlink>
          <a:srgbClr val="618FFD"/>
        </a:hlink>
        <a:folHlink>
          <a:srgbClr val="CECECE"/>
        </a:folHlink>
      </a:clrScheme>
      <a:clrMap bg1="lt1" tx1="dk1" bg2="lt2" tx2="dk2" accent1="accent1" accent2="accent2" accent3="accent3" accent4="accent4" accent5="accent5" accent6="accent6" hlink="hlink" folHlink="folHlink"/>
    </a:extraClrScheme>
    <a:extraClrScheme>
      <a:clrScheme name="2_Master_Template 9">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618FFD"/>
        </a:hlink>
        <a:folHlink>
          <a:srgbClr val="CECECE"/>
        </a:folHlink>
      </a:clrScheme>
      <a:clrMap bg1="lt1" tx1="dk1" bg2="lt2" tx2="dk2" accent1="accent1" accent2="accent2" accent3="accent3" accent4="accent4" accent5="accent5" accent6="accent6" hlink="hlink" folHlink="folHlink"/>
    </a:extraClrScheme>
    <a:extraClrScheme>
      <a:clrScheme name="2_Master_Template 10">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333399"/>
        </a:hlink>
        <a:folHlink>
          <a:srgbClr val="CECECE"/>
        </a:folHlink>
      </a:clrScheme>
      <a:clrMap bg1="lt1" tx1="dk1" bg2="lt2" tx2="dk2" accent1="accent1" accent2="accent2" accent3="accent3" accent4="accent4" accent5="accent5" accent6="accent6" hlink="hlink" folHlink="folHlink"/>
    </a:extraClrScheme>
    <a:extraClrScheme>
      <a:clrScheme name="2_Master_Template 11">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000099"/>
        </a:hlink>
        <a:folHlink>
          <a:srgbClr val="CECECE"/>
        </a:folHlink>
      </a:clrScheme>
      <a:clrMap bg1="lt1" tx1="dk1" bg2="lt2" tx2="dk2" accent1="accent1" accent2="accent2" accent3="accent3" accent4="accent4" accent5="accent5" accent6="accent6" hlink="hlink" folHlink="folHlink"/>
    </a:extraClrScheme>
    <a:extraClrScheme>
      <a:clrScheme name="2_Master_Template 12">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0099CC"/>
        </a:hlink>
        <a:folHlink>
          <a:srgbClr val="CECECE"/>
        </a:folHlink>
      </a:clrScheme>
      <a:clrMap bg1="lt1" tx1="dk1" bg2="lt2" tx2="dk2" accent1="accent1" accent2="accent2" accent3="accent3" accent4="accent4" accent5="accent5" accent6="accent6" hlink="hlink" folHlink="folHlink"/>
    </a:extraClrScheme>
    <a:extraClrScheme>
      <a:clrScheme name="2_Master_Template 13">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006699"/>
        </a:hlink>
        <a:folHlink>
          <a:srgbClr val="CECECE"/>
        </a:folHlink>
      </a:clrScheme>
      <a:clrMap bg1="lt1" tx1="dk1" bg2="lt2" tx2="dk2" accent1="accent1" accent2="accent2" accent3="accent3" accent4="accent4" accent5="accent5" accent6="accent6" hlink="hlink" folHlink="folHlink"/>
    </a:extraClrScheme>
    <a:extraClrScheme>
      <a:clrScheme name="2_Master_Template 14">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436F9F"/>
        </a:hlink>
        <a:folHlink>
          <a:srgbClr val="CECECE"/>
        </a:folHlink>
      </a:clrScheme>
      <a:clrMap bg1="lt1" tx1="dk1" bg2="lt2" tx2="dk2" accent1="accent1" accent2="accent2" accent3="accent3" accent4="accent4" accent5="accent5" accent6="accent6" hlink="hlink" folHlink="folHlink"/>
    </a:extraClrScheme>
    <a:extraClrScheme>
      <a:clrScheme name="2_Master_Template 15">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E4BB0E"/>
        </a:hlink>
        <a:folHlink>
          <a:srgbClr val="CECECE"/>
        </a:folHlink>
      </a:clrScheme>
      <a:clrMap bg1="lt1" tx1="dk1" bg2="lt2" tx2="dk2" accent1="accent1" accent2="accent2" accent3="accent3" accent4="accent4" accent5="accent5" accent6="accent6" hlink="hlink" folHlink="folHlink"/>
    </a:extraClrScheme>
    <a:extraClrScheme>
      <a:clrScheme name="2_Master_Template 16">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FFFFFF"/>
        </a:hlink>
        <a:folHlink>
          <a:srgbClr val="CECECE"/>
        </a:folHlink>
      </a:clrScheme>
      <a:clrMap bg1="lt1" tx1="dk1" bg2="lt2" tx2="dk2" accent1="accent1" accent2="accent2" accent3="accent3" accent4="accent4" accent5="accent5" accent6="accent6" hlink="hlink" folHlink="folHlink"/>
    </a:extraClrScheme>
  </a:extraClrSchemeLst>
</a:theme>
</file>

<file path=ppt/theme/theme10.xml><?xml version="1.0" encoding="utf-8"?>
<a:theme xmlns:a="http://schemas.openxmlformats.org/drawingml/2006/main" name="14_3-50141_Digital_Transformation_Academy_Template">
  <a:themeElements>
    <a:clrScheme name="Digital Transformation Academy Template">
      <a:dk1>
        <a:srgbClr val="353535"/>
      </a:dk1>
      <a:lt1>
        <a:srgbClr val="FFFFFF"/>
      </a:lt1>
      <a:dk2>
        <a:srgbClr val="0078D7"/>
      </a:dk2>
      <a:lt2>
        <a:srgbClr val="E6E6E6"/>
      </a:lt2>
      <a:accent1>
        <a:srgbClr val="0078D7"/>
      </a:accent1>
      <a:accent2>
        <a:srgbClr val="002050"/>
      </a:accent2>
      <a:accent3>
        <a:srgbClr val="5C2D91"/>
      </a:accent3>
      <a:accent4>
        <a:srgbClr val="32145A"/>
      </a:accent4>
      <a:accent5>
        <a:srgbClr val="FFB900"/>
      </a:accent5>
      <a:accent6>
        <a:srgbClr val="00BCF2"/>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pp Innovation TECH 2017 10 18" id="{AD4B09B4-2C1D-47C6-84BA-EED9EE7F712A}" vid="{335ACBE7-A37D-421E-96D5-E75AE401765E}"/>
    </a:ext>
  </a:ext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COLOR TEMPLATE">
  <a:themeElements>
    <a:clrScheme name="Custom 1">
      <a:dk1>
        <a:srgbClr val="505050"/>
      </a:dk1>
      <a:lt1>
        <a:srgbClr val="FFFFFF"/>
      </a:lt1>
      <a:dk2>
        <a:srgbClr val="002050"/>
      </a:dk2>
      <a:lt2>
        <a:srgbClr val="CDF4FF"/>
      </a:lt2>
      <a:accent1>
        <a:srgbClr val="0078D7"/>
      </a:accent1>
      <a:accent2>
        <a:srgbClr val="D83B01"/>
      </a:accent2>
      <a:accent3>
        <a:srgbClr val="107C10"/>
      </a:accent3>
      <a:accent4>
        <a:srgbClr val="B4009E"/>
      </a:accent4>
      <a:accent5>
        <a:srgbClr val="5C2D91"/>
      </a:accent5>
      <a:accent6>
        <a:srgbClr val="008272"/>
      </a:accent6>
      <a:hlink>
        <a:srgbClr val="002050"/>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defTabSz="932472" fontAlgn="base">
          <a:spcBef>
            <a:spcPct val="0"/>
          </a:spcBef>
          <a:spcAft>
            <a:spcPct val="0"/>
          </a:spcAft>
          <a:defRPr sz="2400">
            <a:solidFill>
              <a:schemeClr val="tx1"/>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2D6B5C47-15D3-4853-A69E-31534ABCEC61}"/>
    </a:ext>
  </a:extLst>
</a:theme>
</file>

<file path=ppt/theme/theme3.xml><?xml version="1.0" encoding="utf-8"?>
<a:theme xmlns:a="http://schemas.openxmlformats.org/drawingml/2006/main" name="1_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3_3-50141_Digital_Transformation_Academy_Template">
  <a:themeElements>
    <a:clrScheme name="Digital Transformation Academy Template">
      <a:dk1>
        <a:srgbClr val="353535"/>
      </a:dk1>
      <a:lt1>
        <a:srgbClr val="FFFFFF"/>
      </a:lt1>
      <a:dk2>
        <a:srgbClr val="0078D7"/>
      </a:dk2>
      <a:lt2>
        <a:srgbClr val="E6E6E6"/>
      </a:lt2>
      <a:accent1>
        <a:srgbClr val="0078D7"/>
      </a:accent1>
      <a:accent2>
        <a:srgbClr val="002050"/>
      </a:accent2>
      <a:accent3>
        <a:srgbClr val="5C2D91"/>
      </a:accent3>
      <a:accent4>
        <a:srgbClr val="32145A"/>
      </a:accent4>
      <a:accent5>
        <a:srgbClr val="FFB900"/>
      </a:accent5>
      <a:accent6>
        <a:srgbClr val="00BCF2"/>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pp Innovation TECH 2017 10 18" id="{AD4B09B4-2C1D-47C6-84BA-EED9EE7F712A}" vid="{F6073087-7F26-4033-8A59-D89C08A4A1AC}"/>
    </a:ext>
  </a:extLst>
</a:theme>
</file>

<file path=ppt/theme/theme5.xml><?xml version="1.0" encoding="utf-8"?>
<a:theme xmlns:a="http://schemas.openxmlformats.org/drawingml/2006/main" name="SQL Server Theme">
  <a:themeElements>
    <a:clrScheme name="SQL + Linux">
      <a:dk1>
        <a:srgbClr val="2C2C2C"/>
      </a:dk1>
      <a:lt1>
        <a:srgbClr val="FFFFFF"/>
      </a:lt1>
      <a:dk2>
        <a:srgbClr val="505050"/>
      </a:dk2>
      <a:lt2>
        <a:srgbClr val="D2D2D2"/>
      </a:lt2>
      <a:accent1>
        <a:srgbClr val="C00000"/>
      </a:accent1>
      <a:accent2>
        <a:srgbClr val="0078D7"/>
      </a:accent2>
      <a:accent3>
        <a:srgbClr val="68217A"/>
      </a:accent3>
      <a:accent4>
        <a:srgbClr val="008272"/>
      </a:accent4>
      <a:accent5>
        <a:srgbClr val="FF8C00"/>
      </a:accent5>
      <a:accent6>
        <a:srgbClr val="00BCF2"/>
      </a:accent6>
      <a:hlink>
        <a:srgbClr val="0078D7"/>
      </a:hlink>
      <a:folHlink>
        <a:srgbClr val="68217A"/>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4"/>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marL="342900" indent="-342900" defTabSz="932472" fontAlgn="base">
          <a:lnSpc>
            <a:spcPct val="90000"/>
          </a:lnSpc>
          <a:spcBef>
            <a:spcPct val="0"/>
          </a:spcBef>
          <a:spcAft>
            <a:spcPct val="0"/>
          </a:spcAft>
          <a:buFont typeface="Wingdings 3" panose="05040102010807070707" pitchFamily="18" charset="2"/>
          <a:buChar char="Æ"/>
          <a:defRPr sz="2000" b="1" dirty="0" err="1" smtClean="0">
            <a:solidFill>
              <a:schemeClr val="bg1"/>
            </a:solidFill>
            <a:latin typeface="+mj-lt"/>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no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QL Server Theme" id="{08720634-0A96-4AD1-ADDF-D8DA3EE2BBCD}" vid="{A475B740-A5CC-4FDD-8FF7-9B66773E6D64}"/>
    </a:ext>
  </a:extLst>
</a:theme>
</file>

<file path=ppt/theme/theme6.xml><?xml version="1.0" encoding="utf-8"?>
<a:theme xmlns:a="http://schemas.openxmlformats.org/drawingml/2006/main" name="9_3-50141_Digital_Transformation_Academy_Template">
  <a:themeElements>
    <a:clrScheme name="Digital Transformation Academy Template">
      <a:dk1>
        <a:srgbClr val="353535"/>
      </a:dk1>
      <a:lt1>
        <a:srgbClr val="FFFFFF"/>
      </a:lt1>
      <a:dk2>
        <a:srgbClr val="0078D7"/>
      </a:dk2>
      <a:lt2>
        <a:srgbClr val="E6E6E6"/>
      </a:lt2>
      <a:accent1>
        <a:srgbClr val="0078D7"/>
      </a:accent1>
      <a:accent2>
        <a:srgbClr val="002050"/>
      </a:accent2>
      <a:accent3>
        <a:srgbClr val="5C2D91"/>
      </a:accent3>
      <a:accent4>
        <a:srgbClr val="32145A"/>
      </a:accent4>
      <a:accent5>
        <a:srgbClr val="FFB900"/>
      </a:accent5>
      <a:accent6>
        <a:srgbClr val="00BCF2"/>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pp Innovation TECH 2017 10 18" id="{AD4B09B4-2C1D-47C6-84BA-EED9EE7F712A}" vid="{8027F2B0-0EC5-40CE-A829-851BBA4DE4DC}"/>
    </a:ext>
  </a:extLst>
</a:theme>
</file>

<file path=ppt/theme/theme7.xml><?xml version="1.0" encoding="utf-8"?>
<a:theme xmlns:a="http://schemas.openxmlformats.org/drawingml/2006/main" name="10_3-50141_Digital_Transformation_Academy_Template">
  <a:themeElements>
    <a:clrScheme name="Digital Transformation Academy Template">
      <a:dk1>
        <a:srgbClr val="353535"/>
      </a:dk1>
      <a:lt1>
        <a:srgbClr val="FFFFFF"/>
      </a:lt1>
      <a:dk2>
        <a:srgbClr val="0078D7"/>
      </a:dk2>
      <a:lt2>
        <a:srgbClr val="E6E6E6"/>
      </a:lt2>
      <a:accent1>
        <a:srgbClr val="0078D7"/>
      </a:accent1>
      <a:accent2>
        <a:srgbClr val="002050"/>
      </a:accent2>
      <a:accent3>
        <a:srgbClr val="5C2D91"/>
      </a:accent3>
      <a:accent4>
        <a:srgbClr val="32145A"/>
      </a:accent4>
      <a:accent5>
        <a:srgbClr val="FFB900"/>
      </a:accent5>
      <a:accent6>
        <a:srgbClr val="00BCF2"/>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pp Innovation TECH 2017 10 18" id="{AD4B09B4-2C1D-47C6-84BA-EED9EE7F712A}" vid="{1C7B7649-B01C-4329-B8DC-8E47266E0F43}"/>
    </a:ext>
  </a:extLst>
</a:theme>
</file>

<file path=ppt/theme/theme8.xml><?xml version="1.0" encoding="utf-8"?>
<a:theme xmlns:a="http://schemas.openxmlformats.org/drawingml/2006/main" name="11_3-50141_Digital_Transformation_Academy_Template">
  <a:themeElements>
    <a:clrScheme name="Digital Transformation Academy Template">
      <a:dk1>
        <a:srgbClr val="353535"/>
      </a:dk1>
      <a:lt1>
        <a:srgbClr val="FFFFFF"/>
      </a:lt1>
      <a:dk2>
        <a:srgbClr val="0078D7"/>
      </a:dk2>
      <a:lt2>
        <a:srgbClr val="E6E6E6"/>
      </a:lt2>
      <a:accent1>
        <a:srgbClr val="0078D7"/>
      </a:accent1>
      <a:accent2>
        <a:srgbClr val="002050"/>
      </a:accent2>
      <a:accent3>
        <a:srgbClr val="5C2D91"/>
      </a:accent3>
      <a:accent4>
        <a:srgbClr val="32145A"/>
      </a:accent4>
      <a:accent5>
        <a:srgbClr val="FFB900"/>
      </a:accent5>
      <a:accent6>
        <a:srgbClr val="00BCF2"/>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pp Innovation TECH 2017 10 18" id="{AD4B09B4-2C1D-47C6-84BA-EED9EE7F712A}" vid="{E454A11D-3F3A-4D1E-9864-850D28481F79}"/>
    </a:ext>
  </a:extLst>
</a:theme>
</file>

<file path=ppt/theme/theme9.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App Innovation TECH 2017 10 18" id="{AD4B09B4-2C1D-47C6-84BA-EED9EE7F712A}" vid="{6C65C9BA-A737-4EC2-8C11-2D7C494ECDFD}"/>
    </a:ext>
  </a:extLst>
</a:theme>
</file>

<file path=docProps/app.xml><?xml version="1.0" encoding="utf-8"?>
<Properties xmlns="http://schemas.openxmlformats.org/officeDocument/2006/extended-properties" xmlns:vt="http://schemas.openxmlformats.org/officeDocument/2006/docPropsVTypes">
  <Template/>
  <TotalTime>0</TotalTime>
  <Words>4447</Words>
  <Application>Microsoft Office PowerPoint</Application>
  <PresentationFormat>On-screen Show (4:3)</PresentationFormat>
  <Paragraphs>849</Paragraphs>
  <Slides>63</Slides>
  <Notes>62</Notes>
  <HiddenSlides>0</HiddenSlides>
  <MMClips>0</MMClips>
  <ScaleCrop>false</ScaleCrop>
  <HeadingPairs>
    <vt:vector size="8" baseType="variant">
      <vt:variant>
        <vt:lpstr>Fonts Used</vt:lpstr>
      </vt:variant>
      <vt:variant>
        <vt:i4>20</vt:i4>
      </vt:variant>
      <vt:variant>
        <vt:lpstr>Theme</vt:lpstr>
      </vt:variant>
      <vt:variant>
        <vt:i4>10</vt:i4>
      </vt:variant>
      <vt:variant>
        <vt:lpstr>Embedded OLE Servers</vt:lpstr>
      </vt:variant>
      <vt:variant>
        <vt:i4>1</vt:i4>
      </vt:variant>
      <vt:variant>
        <vt:lpstr>Slide Titles</vt:lpstr>
      </vt:variant>
      <vt:variant>
        <vt:i4>63</vt:i4>
      </vt:variant>
    </vt:vector>
  </HeadingPairs>
  <TitlesOfParts>
    <vt:vector size="94" baseType="lpstr">
      <vt:lpstr>Times New Roman</vt:lpstr>
      <vt:lpstr>Verdana</vt:lpstr>
      <vt:lpstr>Segoe UI Semilight</vt:lpstr>
      <vt:lpstr>MS PGothic</vt:lpstr>
      <vt:lpstr>Segoe Semibold</vt:lpstr>
      <vt:lpstr>Segoe UI Historic</vt:lpstr>
      <vt:lpstr>Segoe UI Semibold</vt:lpstr>
      <vt:lpstr>Courier New</vt:lpstr>
      <vt:lpstr>segoe-ui_normal</vt:lpstr>
      <vt:lpstr>Segoe Pro Light</vt:lpstr>
      <vt:lpstr>Calibri</vt:lpstr>
      <vt:lpstr>Wingdings 3</vt:lpstr>
      <vt:lpstr>Consolas</vt:lpstr>
      <vt:lpstr>Arial Unicode MS</vt:lpstr>
      <vt:lpstr>Calibri Light</vt:lpstr>
      <vt:lpstr>MS PGothic</vt:lpstr>
      <vt:lpstr>Segoe UI Light</vt:lpstr>
      <vt:lpstr>Wingdings</vt:lpstr>
      <vt:lpstr>Segoe UI</vt:lpstr>
      <vt:lpstr>Arial</vt:lpstr>
      <vt:lpstr>NG_MOC_Core_ModuleNew2</vt:lpstr>
      <vt:lpstr>COLOR TEMPLATE</vt:lpstr>
      <vt:lpstr>1_Office Theme</vt:lpstr>
      <vt:lpstr>3_3-50141_Digital_Transformation_Academy_Template</vt:lpstr>
      <vt:lpstr>SQL Server Theme</vt:lpstr>
      <vt:lpstr>9_3-50141_Digital_Transformation_Academy_Template</vt:lpstr>
      <vt:lpstr>10_3-50141_Digital_Transformation_Academy_Template</vt:lpstr>
      <vt:lpstr>11_3-50141_Digital_Transformation_Academy_Template</vt:lpstr>
      <vt:lpstr>2_Office Theme</vt:lpstr>
      <vt:lpstr>14_3-50141_Digital_Transformation_Academy_Template</vt:lpstr>
      <vt:lpstr>think-cell Slide</vt:lpstr>
      <vt:lpstr>Design Data Implementation</vt:lpstr>
      <vt:lpstr>Design Data Implementation (15 – 20%)</vt:lpstr>
      <vt:lpstr>PowerPoint Presentation</vt:lpstr>
      <vt:lpstr>PowerPoint Presentation</vt:lpstr>
      <vt:lpstr>PowerPoint Presentation</vt:lpstr>
      <vt:lpstr>PowerPoint Presentation</vt:lpstr>
      <vt:lpstr>Azure Storage Account Schematic</vt:lpstr>
      <vt:lpstr>Azure Storage Account</vt:lpstr>
      <vt:lpstr>Azure Table Storage</vt:lpstr>
      <vt:lpstr>Azure Queue</vt:lpstr>
      <vt:lpstr>Table and Queue Storage via PowerShell</vt:lpstr>
      <vt:lpstr>Storage Options</vt:lpstr>
      <vt:lpstr>Azure Blob Storage</vt:lpstr>
      <vt:lpstr>Block Blobs</vt:lpstr>
      <vt:lpstr>Append Blobs</vt:lpstr>
      <vt:lpstr>Page Blob</vt:lpstr>
      <vt:lpstr>Replication for Table &amp; Blob Storage</vt:lpstr>
      <vt:lpstr>Blob Access</vt:lpstr>
      <vt:lpstr>Blob Access</vt:lpstr>
      <vt:lpstr>Shared Access Signatures (SAS)</vt:lpstr>
      <vt:lpstr>Azure Disk</vt:lpstr>
      <vt:lpstr>Example of SAS token</vt:lpstr>
      <vt:lpstr>PowerPoint Presentation</vt:lpstr>
      <vt:lpstr>PowerPoint Presentation</vt:lpstr>
      <vt:lpstr>Blob Encryption/Security</vt:lpstr>
      <vt:lpstr>Table &amp; Blob:  Performance, Storage Limits, etc.</vt:lpstr>
      <vt:lpstr>PowerPoint Presentation</vt:lpstr>
      <vt:lpstr>PowerPoint Presentation</vt:lpstr>
      <vt:lpstr>Sufficient bandwidth on VM</vt:lpstr>
      <vt:lpstr>Premium storage accounts Scalability</vt:lpstr>
      <vt:lpstr>If Using Storage Spaces Striping</vt:lpstr>
      <vt:lpstr>Pay Attention to I/O vs IOPs</vt:lpstr>
      <vt:lpstr>Azure Storage Samples</vt:lpstr>
      <vt:lpstr>Table Labs for .NET</vt:lpstr>
      <vt:lpstr>Blob Labs for .NET</vt:lpstr>
      <vt:lpstr>SAS Labs</vt:lpstr>
      <vt:lpstr>Azure Storage KeyWords</vt:lpstr>
      <vt:lpstr>Azure Data Services</vt:lpstr>
      <vt:lpstr>SQL Database</vt:lpstr>
      <vt:lpstr>Azure SQL Database</vt:lpstr>
      <vt:lpstr>Service Tiers</vt:lpstr>
      <vt:lpstr>Service Tier Attributes</vt:lpstr>
      <vt:lpstr>SQL Database Security</vt:lpstr>
      <vt:lpstr>Azure SQL KeyWords</vt:lpstr>
      <vt:lpstr>Stretch Database architecture</vt:lpstr>
      <vt:lpstr>PowerPoint Presentation</vt:lpstr>
      <vt:lpstr>SQL Database Videos</vt:lpstr>
      <vt:lpstr>PowerPoint Presentation</vt:lpstr>
      <vt:lpstr>PowerPoint Presentation</vt:lpstr>
      <vt:lpstr>PowerPoint Presentation</vt:lpstr>
      <vt:lpstr>Azure Database for PostgreSQL </vt:lpstr>
      <vt:lpstr>Azure Cosmos DB A globally distributed, massively scalable, multi-model database service</vt:lpstr>
      <vt:lpstr>PowerPoint Presentation</vt:lpstr>
      <vt:lpstr>PowerPoint Presentation</vt:lpstr>
      <vt:lpstr>Cosmos DB</vt:lpstr>
      <vt:lpstr>DocumentDB Programming Options</vt:lpstr>
      <vt:lpstr>DocumentDB Resources</vt:lpstr>
      <vt:lpstr>Azure CosmosDb KeyWords</vt:lpstr>
      <vt:lpstr>IoT and Telematics Solution Architecture</vt:lpstr>
      <vt:lpstr>Retail and Marketing Solution Architecture</vt:lpstr>
      <vt:lpstr>Gaming</vt:lpstr>
      <vt:lpstr>Scenarios</vt:lpstr>
      <vt:lpstr>Concept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7-09-15T19:14:02Z</dcterms:created>
  <dcterms:modified xsi:type="dcterms:W3CDTF">2018-06-06T02:19:3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75212135-9234-47a0-a836-df5f1b370b97_Enabled">
    <vt:lpwstr>True</vt:lpwstr>
  </property>
  <property fmtid="{D5CDD505-2E9C-101B-9397-08002B2CF9AE}" pid="3" name="MSIP_Label_75212135-9234-47a0-a836-df5f1b370b97_SiteId">
    <vt:lpwstr>511ce6e0-0e57-4c9f-acd1-4154a6b4c914</vt:lpwstr>
  </property>
  <property fmtid="{D5CDD505-2E9C-101B-9397-08002B2CF9AE}" pid="4" name="MSIP_Label_75212135-9234-47a0-a836-df5f1b370b97_Owner">
    <vt:lpwstr>jcruz@etms.com.mx</vt:lpwstr>
  </property>
  <property fmtid="{D5CDD505-2E9C-101B-9397-08002B2CF9AE}" pid="5" name="MSIP_Label_75212135-9234-47a0-a836-df5f1b370b97_SetDate">
    <vt:lpwstr>2018-06-06T02:19:22.7935339Z</vt:lpwstr>
  </property>
  <property fmtid="{D5CDD505-2E9C-101B-9397-08002B2CF9AE}" pid="6" name="MSIP_Label_75212135-9234-47a0-a836-df5f1b370b97_Name">
    <vt:lpwstr>Public</vt:lpwstr>
  </property>
  <property fmtid="{D5CDD505-2E9C-101B-9397-08002B2CF9AE}" pid="7" name="MSIP_Label_75212135-9234-47a0-a836-df5f1b370b97_Application">
    <vt:lpwstr>Microsoft Azure Information Protection</vt:lpwstr>
  </property>
  <property fmtid="{D5CDD505-2E9C-101B-9397-08002B2CF9AE}" pid="8" name="MSIP_Label_75212135-9234-47a0-a836-df5f1b370b97_Extended_MSFT_Method">
    <vt:lpwstr>Automatic</vt:lpwstr>
  </property>
  <property fmtid="{D5CDD505-2E9C-101B-9397-08002B2CF9AE}" pid="9" name="MSIP_Label_f42aa342-8706-4288-bd11-ebb85995028c_Enabled">
    <vt:lpwstr>True</vt:lpwstr>
  </property>
  <property fmtid="{D5CDD505-2E9C-101B-9397-08002B2CF9AE}" pid="10" name="MSIP_Label_f42aa342-8706-4288-bd11-ebb85995028c_SiteId">
    <vt:lpwstr>72f988bf-86f1-41af-91ab-2d7cd011db47</vt:lpwstr>
  </property>
  <property fmtid="{D5CDD505-2E9C-101B-9397-08002B2CF9AE}" pid="11" name="MSIP_Label_f42aa342-8706-4288-bd11-ebb85995028c_Owner">
    <vt:lpwstr>dstolts@microsoft.com</vt:lpwstr>
  </property>
  <property fmtid="{D5CDD505-2E9C-101B-9397-08002B2CF9AE}" pid="12" name="MSIP_Label_f42aa342-8706-4288-bd11-ebb85995028c_SetDate">
    <vt:lpwstr>2018-01-19T07:33:26.9972805Z</vt:lpwstr>
  </property>
  <property fmtid="{D5CDD505-2E9C-101B-9397-08002B2CF9AE}" pid="13" name="MSIP_Label_f42aa342-8706-4288-bd11-ebb85995028c_Name">
    <vt:lpwstr>General</vt:lpwstr>
  </property>
  <property fmtid="{D5CDD505-2E9C-101B-9397-08002B2CF9AE}" pid="14" name="MSIP_Label_f42aa342-8706-4288-bd11-ebb85995028c_Application">
    <vt:lpwstr>Microsoft Azure Information Protection</vt:lpwstr>
  </property>
  <property fmtid="{D5CDD505-2E9C-101B-9397-08002B2CF9AE}" pid="15" name="MSIP_Label_f42aa342-8706-4288-bd11-ebb85995028c_Extended_MSFT_Method">
    <vt:lpwstr>Automatic</vt:lpwstr>
  </property>
  <property fmtid="{D5CDD505-2E9C-101B-9397-08002B2CF9AE}" pid="16" name="Sensitivity">
    <vt:lpwstr>Public General</vt:lpwstr>
  </property>
</Properties>
</file>